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92" r:id="rId1"/>
  </p:sldMasterIdLst>
  <p:notesMasterIdLst>
    <p:notesMasterId r:id="rId68"/>
  </p:notesMasterIdLst>
  <p:handoutMasterIdLst>
    <p:handoutMasterId r:id="rId69"/>
  </p:handoutMasterIdLst>
  <p:sldIdLst>
    <p:sldId id="2850" r:id="rId2"/>
    <p:sldId id="2716" r:id="rId3"/>
    <p:sldId id="2680" r:id="rId4"/>
    <p:sldId id="2830" r:id="rId5"/>
    <p:sldId id="2720" r:id="rId6"/>
    <p:sldId id="2721" r:id="rId7"/>
    <p:sldId id="2851" r:id="rId8"/>
    <p:sldId id="2854" r:id="rId9"/>
    <p:sldId id="2855" r:id="rId10"/>
    <p:sldId id="2835" r:id="rId11"/>
    <p:sldId id="2726" r:id="rId12"/>
    <p:sldId id="469" r:id="rId13"/>
    <p:sldId id="2833" r:id="rId14"/>
    <p:sldId id="2834" r:id="rId15"/>
    <p:sldId id="2677" r:id="rId16"/>
    <p:sldId id="2837" r:id="rId17"/>
    <p:sldId id="2733" r:id="rId18"/>
    <p:sldId id="2715" r:id="rId19"/>
    <p:sldId id="2819" r:id="rId20"/>
    <p:sldId id="2682" r:id="rId21"/>
    <p:sldId id="2794" r:id="rId22"/>
    <p:sldId id="2742" r:id="rId23"/>
    <p:sldId id="2688" r:id="rId24"/>
    <p:sldId id="2731" r:id="rId25"/>
    <p:sldId id="302" r:id="rId26"/>
    <p:sldId id="2838" r:id="rId27"/>
    <p:sldId id="2845" r:id="rId28"/>
    <p:sldId id="2847" r:id="rId29"/>
    <p:sldId id="2848" r:id="rId30"/>
    <p:sldId id="2846" r:id="rId31"/>
    <p:sldId id="2748" r:id="rId32"/>
    <p:sldId id="2681" r:id="rId33"/>
    <p:sldId id="2852" r:id="rId34"/>
    <p:sldId id="2824" r:id="rId35"/>
    <p:sldId id="2710" r:id="rId36"/>
    <p:sldId id="2795" r:id="rId37"/>
    <p:sldId id="2797" r:id="rId38"/>
    <p:sldId id="2831" r:id="rId39"/>
    <p:sldId id="2832" r:id="rId40"/>
    <p:sldId id="2674" r:id="rId41"/>
    <p:sldId id="2712" r:id="rId42"/>
    <p:sldId id="2711" r:id="rId43"/>
    <p:sldId id="2594" r:id="rId44"/>
    <p:sldId id="2701" r:id="rId45"/>
    <p:sldId id="2693" r:id="rId46"/>
    <p:sldId id="2709" r:id="rId47"/>
    <p:sldId id="2590" r:id="rId48"/>
    <p:sldId id="2629" r:id="rId49"/>
    <p:sldId id="2690" r:id="rId50"/>
    <p:sldId id="2698" r:id="rId51"/>
    <p:sldId id="2839" r:id="rId52"/>
    <p:sldId id="2689" r:id="rId53"/>
    <p:sldId id="2821" r:id="rId54"/>
    <p:sldId id="2841" r:id="rId55"/>
    <p:sldId id="2842" r:id="rId56"/>
    <p:sldId id="888" r:id="rId57"/>
    <p:sldId id="2827" r:id="rId58"/>
    <p:sldId id="2844" r:id="rId59"/>
    <p:sldId id="2843" r:id="rId60"/>
    <p:sldId id="2378" r:id="rId61"/>
    <p:sldId id="2379" r:id="rId62"/>
    <p:sldId id="2380" r:id="rId63"/>
    <p:sldId id="2381" r:id="rId64"/>
    <p:sldId id="2382" r:id="rId65"/>
    <p:sldId id="257" r:id="rId66"/>
    <p:sldId id="2820" r:id="rId67"/>
  </p:sldIdLst>
  <p:sldSz cx="12192000" cy="6858000"/>
  <p:notesSz cx="6858000" cy="9144000"/>
  <p:defaultTextStyle>
    <a:defPPr>
      <a:defRPr lang="en-US"/>
    </a:defPPr>
    <a:lvl1pPr marL="0" algn="l" defTabSz="9142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09" algn="l" defTabSz="9142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17" algn="l" defTabSz="9142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26" algn="l" defTabSz="9142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34" algn="l" defTabSz="9142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43" algn="l" defTabSz="9142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52" algn="l" defTabSz="9142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760" algn="l" defTabSz="9142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869" algn="l" defTabSz="9142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rganization - Title, Breaks, End" id="{521A7193-283A-3440-BDD6-57E381B90EF9}">
          <p14:sldIdLst>
            <p14:sldId id="2850"/>
            <p14:sldId id="2716"/>
            <p14:sldId id="2680"/>
            <p14:sldId id="2830"/>
            <p14:sldId id="2720"/>
            <p14:sldId id="2721"/>
            <p14:sldId id="2851"/>
            <p14:sldId id="2854"/>
            <p14:sldId id="2855"/>
            <p14:sldId id="2835"/>
            <p14:sldId id="2726"/>
            <p14:sldId id="469"/>
          </p14:sldIdLst>
        </p14:section>
        <p14:section name="Basic - Use These to Create Custom Slides" id="{29743A43-D33D-F545-90D0-7AB5D53C137B}">
          <p14:sldIdLst>
            <p14:sldId id="2833"/>
            <p14:sldId id="2834"/>
            <p14:sldId id="2677"/>
            <p14:sldId id="2837"/>
            <p14:sldId id="2733"/>
            <p14:sldId id="2715"/>
            <p14:sldId id="2819"/>
          </p14:sldIdLst>
        </p14:section>
        <p14:section name="Text &amp; Copy - Slides That Are Predominantly Text" id="{25023E1B-5687-CE42-B74A-860CB231CC57}">
          <p14:sldIdLst>
            <p14:sldId id="2682"/>
            <p14:sldId id="2794"/>
            <p14:sldId id="2742"/>
            <p14:sldId id="2688"/>
            <p14:sldId id="2731"/>
          </p14:sldIdLst>
        </p14:section>
        <p14:section name="Text + Images" id="{7C6587FA-C255-8D46-BD44-4216C9A9BF72}">
          <p14:sldIdLst>
            <p14:sldId id="302"/>
            <p14:sldId id="2838"/>
            <p14:sldId id="2845"/>
            <p14:sldId id="2847"/>
            <p14:sldId id="2848"/>
            <p14:sldId id="2846"/>
            <p14:sldId id="2748"/>
            <p14:sldId id="2681"/>
            <p14:sldId id="2852"/>
            <p14:sldId id="2824"/>
          </p14:sldIdLst>
        </p14:section>
        <p14:section name="Diagrams" id="{9C0DD0D6-C655-B540-B077-21BDF0DE54C6}">
          <p14:sldIdLst>
            <p14:sldId id="2710"/>
            <p14:sldId id="2795"/>
            <p14:sldId id="2797"/>
            <p14:sldId id="2831"/>
            <p14:sldId id="2832"/>
            <p14:sldId id="2674"/>
          </p14:sldIdLst>
        </p14:section>
        <p14:section name="Maps" id="{B8B76576-DFB1-8842-BAC7-FD99A3DFD466}">
          <p14:sldIdLst>
            <p14:sldId id="2712"/>
            <p14:sldId id="2711"/>
          </p14:sldIdLst>
        </p14:section>
        <p14:section name="Charts &amp; Graphs" id="{BDE35CB8-1063-A343-AD59-543B78220B97}">
          <p14:sldIdLst>
            <p14:sldId id="2594"/>
            <p14:sldId id="2701"/>
            <p14:sldId id="2693"/>
            <p14:sldId id="2709"/>
            <p14:sldId id="2590"/>
            <p14:sldId id="2629"/>
            <p14:sldId id="2690"/>
          </p14:sldIdLst>
        </p14:section>
        <p14:section name="Executive Summaries &amp; Recommendations" id="{D6767DB7-8994-F84A-ADFF-667C45D14211}">
          <p14:sldIdLst>
            <p14:sldId id="2698"/>
            <p14:sldId id="2839"/>
            <p14:sldId id="2689"/>
            <p14:sldId id="2821"/>
            <p14:sldId id="2841"/>
            <p14:sldId id="2842"/>
            <p14:sldId id="888"/>
            <p14:sldId id="2827"/>
            <p14:sldId id="2844"/>
            <p14:sldId id="2843"/>
          </p14:sldIdLst>
        </p14:section>
        <p14:section name="Icons" id="{01B0FEAD-12AE-3D4B-B65E-D3F29C7BC0FB}">
          <p14:sldIdLst>
            <p14:sldId id="2378"/>
            <p14:sldId id="2379"/>
            <p14:sldId id="2380"/>
            <p14:sldId id="2381"/>
            <p14:sldId id="2382"/>
            <p14:sldId id="257"/>
            <p14:sldId id="2820"/>
          </p14:sldIdLst>
        </p14:section>
      </p14:sectionLst>
    </p:ext>
    <p:ext uri="{EFAFB233-063F-42B5-8137-9DF3F51BA10A}">
      <p15:sldGuideLst xmlns:p15="http://schemas.microsoft.com/office/powerpoint/2012/main">
        <p15:guide id="1" pos="3864" userDrawn="1">
          <p15:clr>
            <a:srgbClr val="A4A3A4"/>
          </p15:clr>
        </p15:guide>
        <p15:guide id="2" pos="1968" userDrawn="1">
          <p15:clr>
            <a:srgbClr val="A4A3A4"/>
          </p15:clr>
        </p15:guide>
        <p15:guide id="3" pos="5784" userDrawn="1">
          <p15:clr>
            <a:srgbClr val="A4A3A4"/>
          </p15:clr>
        </p15:guide>
        <p15:guide id="4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ke numamoto" initials="mn" lastIdx="80" clrIdx="0"/>
  <p:cmAuthor id="2" name="Vashte Johnson" initials="VJ" lastIdx="6" clrIdx="1">
    <p:extLst>
      <p:ext uri="{19B8F6BF-5375-455C-9EA6-DF929625EA0E}">
        <p15:presenceInfo xmlns:p15="http://schemas.microsoft.com/office/powerpoint/2012/main" userId="192cf7eafa34fa5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080C"/>
    <a:srgbClr val="000000"/>
    <a:srgbClr val="7D7E75"/>
    <a:srgbClr val="EFCA08"/>
    <a:srgbClr val="FFFFFF"/>
    <a:srgbClr val="D95D39"/>
    <a:srgbClr val="EE6C4D"/>
    <a:srgbClr val="DB5461"/>
    <a:srgbClr val="E55812"/>
    <a:srgbClr val="DE6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91"/>
    <p:restoredTop sz="96208"/>
  </p:normalViewPr>
  <p:slideViewPr>
    <p:cSldViewPr snapToGrid="0" snapToObjects="1">
      <p:cViewPr varScale="1">
        <p:scale>
          <a:sx n="73" d="100"/>
          <a:sy n="73" d="100"/>
        </p:scale>
        <p:origin x="1110" y="60"/>
      </p:cViewPr>
      <p:guideLst>
        <p:guide pos="3864"/>
        <p:guide pos="1968"/>
        <p:guide pos="5784"/>
        <p:guide orient="horz" pos="2160"/>
      </p:guideLst>
    </p:cSldViewPr>
  </p:slideViewPr>
  <p:outlineViewPr>
    <p:cViewPr>
      <p:scale>
        <a:sx n="33" d="100"/>
        <a:sy n="33" d="100"/>
      </p:scale>
      <p:origin x="0" y="-396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1" d="100"/>
        <a:sy n="61" d="100"/>
      </p:scale>
      <p:origin x="0" y="0"/>
    </p:cViewPr>
  </p:sorterViewPr>
  <p:notesViewPr>
    <p:cSldViewPr snapToGrid="0" snapToObjects="1">
      <p:cViewPr varScale="1">
        <p:scale>
          <a:sx n="94" d="100"/>
          <a:sy n="94" d="100"/>
        </p:scale>
        <p:origin x="2440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5</c:f>
              <c:numCache>
                <c:formatCode>0%</c:formatCode>
                <c:ptCount val="4"/>
                <c:pt idx="0">
                  <c:v>0.43</c:v>
                </c:pt>
                <c:pt idx="1">
                  <c:v>0.25</c:v>
                </c:pt>
                <c:pt idx="2">
                  <c:v>0.35</c:v>
                </c:pt>
                <c:pt idx="3">
                  <c:v>0.4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8598-C448-A3C8-5B3A518B9CC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C$2:$C$5</c:f>
              <c:numCache>
                <c:formatCode>0%</c:formatCode>
                <c:ptCount val="4"/>
                <c:pt idx="0">
                  <c:v>0.24</c:v>
                </c:pt>
                <c:pt idx="1">
                  <c:v>0.44</c:v>
                </c:pt>
                <c:pt idx="2">
                  <c:v>0.18</c:v>
                </c:pt>
                <c:pt idx="3">
                  <c:v>0.2800000000000000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8598-C448-A3C8-5B3A518B9CCA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2:$D$5</c:f>
              <c:numCache>
                <c:formatCode>0%</c:formatCode>
                <c:ptCount val="4"/>
                <c:pt idx="0">
                  <c:v>0.2</c:v>
                </c:pt>
                <c:pt idx="1">
                  <c:v>0.2</c:v>
                </c:pt>
                <c:pt idx="2">
                  <c:v>0.3</c:v>
                </c:pt>
                <c:pt idx="3">
                  <c:v>0.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8598-C448-A3C8-5B3A518B9CC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75"/>
        <c:axId val="-2109332288"/>
        <c:axId val="-2109551264"/>
      </c:barChart>
      <c:catAx>
        <c:axId val="-2109332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09551264"/>
        <c:crosses val="autoZero"/>
        <c:auto val="1"/>
        <c:lblAlgn val="ctr"/>
        <c:lblOffset val="100"/>
        <c:noMultiLvlLbl val="0"/>
      </c:catAx>
      <c:valAx>
        <c:axId val="-210955126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-2109332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5</c:f>
              <c:numCache>
                <c:formatCode>0%</c:formatCode>
                <c:ptCount val="4"/>
                <c:pt idx="0">
                  <c:v>0.43</c:v>
                </c:pt>
                <c:pt idx="1">
                  <c:v>0.25</c:v>
                </c:pt>
                <c:pt idx="2">
                  <c:v>0.35</c:v>
                </c:pt>
                <c:pt idx="3">
                  <c:v>0.4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8598-C448-A3C8-5B3A518B9CC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C$2:$C$5</c:f>
              <c:numCache>
                <c:formatCode>0%</c:formatCode>
                <c:ptCount val="4"/>
                <c:pt idx="0">
                  <c:v>0.24</c:v>
                </c:pt>
                <c:pt idx="1">
                  <c:v>0.44</c:v>
                </c:pt>
                <c:pt idx="2">
                  <c:v>0.18</c:v>
                </c:pt>
                <c:pt idx="3">
                  <c:v>0.2800000000000000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8598-C448-A3C8-5B3A518B9CCA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2:$D$5</c:f>
              <c:numCache>
                <c:formatCode>0%</c:formatCode>
                <c:ptCount val="4"/>
                <c:pt idx="0">
                  <c:v>0.2</c:v>
                </c:pt>
                <c:pt idx="1">
                  <c:v>0.2</c:v>
                </c:pt>
                <c:pt idx="2">
                  <c:v>0.3</c:v>
                </c:pt>
                <c:pt idx="3">
                  <c:v>0.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8598-C448-A3C8-5B3A518B9CC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75"/>
        <c:axId val="-2109332288"/>
        <c:axId val="-2109551264"/>
      </c:barChart>
      <c:catAx>
        <c:axId val="-2109332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09551264"/>
        <c:crosses val="autoZero"/>
        <c:auto val="1"/>
        <c:lblAlgn val="ctr"/>
        <c:lblOffset val="100"/>
        <c:noMultiLvlLbl val="0"/>
      </c:catAx>
      <c:valAx>
        <c:axId val="-210955126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-2109332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5</c:f>
              <c:numCache>
                <c:formatCode>0%</c:formatCode>
                <c:ptCount val="4"/>
                <c:pt idx="0">
                  <c:v>0.43</c:v>
                </c:pt>
                <c:pt idx="1">
                  <c:v>0.25</c:v>
                </c:pt>
                <c:pt idx="2">
                  <c:v>0.35</c:v>
                </c:pt>
                <c:pt idx="3">
                  <c:v>0.4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CF02-3D4D-BE69-BF90C0E7E68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C$2:$C$5</c:f>
              <c:numCache>
                <c:formatCode>0%</c:formatCode>
                <c:ptCount val="4"/>
                <c:pt idx="0">
                  <c:v>0.24</c:v>
                </c:pt>
                <c:pt idx="1">
                  <c:v>0.44</c:v>
                </c:pt>
                <c:pt idx="2">
                  <c:v>0.18</c:v>
                </c:pt>
                <c:pt idx="3">
                  <c:v>0.2800000000000000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CF02-3D4D-BE69-BF90C0E7E68A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2:$D$5</c:f>
              <c:numCache>
                <c:formatCode>0%</c:formatCode>
                <c:ptCount val="4"/>
                <c:pt idx="0">
                  <c:v>0.2</c:v>
                </c:pt>
                <c:pt idx="1">
                  <c:v>0.2</c:v>
                </c:pt>
                <c:pt idx="2">
                  <c:v>0.3</c:v>
                </c:pt>
                <c:pt idx="3">
                  <c:v>0.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CF02-3D4D-BE69-BF90C0E7E68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75"/>
        <c:axId val="-2109332288"/>
        <c:axId val="-2109551264"/>
      </c:barChart>
      <c:catAx>
        <c:axId val="-2109332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09551264"/>
        <c:crosses val="autoZero"/>
        <c:auto val="1"/>
        <c:lblAlgn val="ctr"/>
        <c:lblOffset val="100"/>
        <c:noMultiLvlLbl val="0"/>
      </c:catAx>
      <c:valAx>
        <c:axId val="-210955126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-2109332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658734232940358E-2"/>
          <c:y val="0"/>
          <c:w val="0.97008756506677252"/>
          <c:h val="0.882640201360063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5</c:f>
              <c:numCache>
                <c:formatCode>0%</c:formatCode>
                <c:ptCount val="4"/>
                <c:pt idx="0">
                  <c:v>0.43</c:v>
                </c:pt>
                <c:pt idx="1">
                  <c:v>0.15</c:v>
                </c:pt>
                <c:pt idx="2">
                  <c:v>0.35</c:v>
                </c:pt>
                <c:pt idx="3">
                  <c:v>0.4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8598-C448-A3C8-5B3A518B9CC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C$2:$C$5</c:f>
              <c:numCache>
                <c:formatCode>0%</c:formatCode>
                <c:ptCount val="4"/>
                <c:pt idx="0">
                  <c:v>0.15</c:v>
                </c:pt>
                <c:pt idx="1">
                  <c:v>0.44</c:v>
                </c:pt>
                <c:pt idx="2">
                  <c:v>0.18</c:v>
                </c:pt>
                <c:pt idx="3">
                  <c:v>0.2800000000000000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8598-C448-A3C8-5B3A518B9CCA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2:$D$5</c:f>
              <c:numCache>
                <c:formatCode>0%</c:formatCode>
                <c:ptCount val="4"/>
                <c:pt idx="0">
                  <c:v>0.2</c:v>
                </c:pt>
                <c:pt idx="1">
                  <c:v>0.2</c:v>
                </c:pt>
                <c:pt idx="2">
                  <c:v>0.3</c:v>
                </c:pt>
                <c:pt idx="3">
                  <c:v>0.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8598-C448-A3C8-5B3A518B9CC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25"/>
        <c:overlap val="100"/>
        <c:axId val="-2109332288"/>
        <c:axId val="-2109551264"/>
      </c:barChart>
      <c:catAx>
        <c:axId val="-2109332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09551264"/>
        <c:crosses val="autoZero"/>
        <c:auto val="1"/>
        <c:lblAlgn val="ctr"/>
        <c:lblOffset val="100"/>
        <c:noMultiLvlLbl val="0"/>
      </c:catAx>
      <c:valAx>
        <c:axId val="-2109551264"/>
        <c:scaling>
          <c:orientation val="minMax"/>
          <c:max val="1"/>
        </c:scaling>
        <c:delete val="1"/>
        <c:axPos val="l"/>
        <c:numFmt formatCode="0%" sourceLinked="1"/>
        <c:majorTickMark val="out"/>
        <c:minorTickMark val="none"/>
        <c:tickLblPos val="nextTo"/>
        <c:crossAx val="-2109332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495510740732209"/>
          <c:y val="9.1922675919277039E-2"/>
          <c:w val="0.52183993181500032"/>
          <c:h val="0.6730542710209760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ercentages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92C-7141-9592-08EDA27A6EE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92C-7141-9592-08EDA27A6EE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B17C-D040-A52F-F92E63DEE53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17C-D040-A52F-F92E63DEE53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17C-D040-A52F-F92E63DEE53F}"/>
              </c:ext>
            </c:extLst>
          </c:dPt>
          <c:dPt>
            <c:idx val="5"/>
            <c:bubble3D val="0"/>
            <c:spPr>
              <a:solidFill>
                <a:schemeClr val="tx2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B17C-D040-A52F-F92E63DEE53F}"/>
              </c:ext>
            </c:extLst>
          </c:dPt>
          <c:dLbls>
            <c:dLbl>
              <c:idx val="0"/>
              <c:layout>
                <c:manualLayout>
                  <c:x val="3.8256604535861799E-2"/>
                  <c:y val="9.8684556346870456E-2"/>
                </c:manualLayout>
              </c:layout>
              <c:tx>
                <c:rich>
                  <a:bodyPr/>
                  <a:lstStyle/>
                  <a:p>
                    <a:fld id="{4D545955-A23E-3C49-8EE2-B26A59A3AAE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 </a:t>
                    </a:r>
                    <a:fld id="{202DA8AB-3140-EF45-81D2-67D9F5D7744D}" type="PERCENTAGE">
                      <a:rPr lang="en-US" sz="1600" b="1" baseline="0">
                        <a:solidFill>
                          <a:schemeClr val="accent1"/>
                        </a:solidFill>
                      </a:rPr>
                      <a:pPr/>
                      <a:t>[PERCENTAGE]</a:t>
                    </a:fld>
                    <a:endParaRPr lang="en-US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92C-7141-9592-08EDA27A6EEC}"/>
                </c:ext>
              </c:extLst>
            </c:dLbl>
            <c:dLbl>
              <c:idx val="1"/>
              <c:layout>
                <c:manualLayout>
                  <c:x val="0.27004662025314202"/>
                  <c:y val="-4.353730427067827E-2"/>
                </c:manualLayout>
              </c:layout>
              <c:tx>
                <c:rich>
                  <a:bodyPr/>
                  <a:lstStyle/>
                  <a:p>
                    <a:fld id="{C9D9825A-87D1-FF41-8950-303EEEF43290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 </a:t>
                    </a:r>
                    <a:fld id="{DEFA22AE-1364-D249-BA19-3A4560F81D86}" type="PERCENTAGE">
                      <a:rPr lang="en-US" sz="1600" b="1" baseline="0">
                        <a:solidFill>
                          <a:schemeClr val="accent2"/>
                        </a:solidFill>
                      </a:rPr>
                      <a:pPr/>
                      <a:t>[PERCENTAGE]</a:t>
                    </a:fld>
                    <a:endParaRPr lang="en-US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92C-7141-9592-08EDA27A6EE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AB0DD8A-92C8-0149-8A77-CEF15103B970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 </a:t>
                    </a:r>
                    <a:fld id="{9F80727D-A567-6044-8DD8-5AFB899C66B8}" type="PERCENTAGE">
                      <a:rPr lang="en-US" sz="1600" b="1" baseline="0">
                        <a:solidFill>
                          <a:schemeClr val="accent3"/>
                        </a:solidFill>
                      </a:rPr>
                      <a:pPr/>
                      <a:t>[PERCENTAGE]</a:t>
                    </a:fld>
                    <a:endParaRPr lang="en-US" baseline="0" dirty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B17C-D040-A52F-F92E63DEE53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39D0E19-25E6-0A42-8C5A-0551E7AA68D8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 </a:t>
                    </a:r>
                    <a:fld id="{67BA436A-232C-9342-85C5-36F59E62ECE0}" type="PERCENTAGE">
                      <a:rPr lang="en-US" sz="1600" b="1" baseline="0">
                        <a:solidFill>
                          <a:schemeClr val="accent4"/>
                        </a:solidFill>
                      </a:rPr>
                      <a:pPr/>
                      <a:t>[PERCENTAGE]</a:t>
                    </a:fld>
                    <a:endParaRPr lang="en-US" baseline="0" dirty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B17C-D040-A52F-F92E63DEE53F}"/>
                </c:ext>
              </c:extLst>
            </c:dLbl>
            <c:dLbl>
              <c:idx val="4"/>
              <c:layout>
                <c:manualLayout>
                  <c:x val="-4.5007770042190358E-2"/>
                  <c:y val="1.4512434756892722E-2"/>
                </c:manualLayout>
              </c:layout>
              <c:tx>
                <c:rich>
                  <a:bodyPr/>
                  <a:lstStyle/>
                  <a:p>
                    <a:fld id="{7CA1BC2E-CBB3-0043-B02E-5D321D0301D3}" type="CATEGORYNAME">
                      <a:rPr lang="en-US" smtClean="0"/>
                      <a:pPr/>
                      <a:t>[CATEGORY NAME]</a:t>
                    </a:fld>
                    <a:endParaRPr lang="en-US" baseline="0" dirty="0"/>
                  </a:p>
                  <a:p>
                    <a:fld id="{3C6E6CC2-A52D-AB41-86FD-A97ED07E18F7}" type="PERCENTAGE">
                      <a:rPr lang="en-US" sz="1600" b="1" baseline="0" smtClean="0">
                        <a:solidFill>
                          <a:schemeClr val="accent5"/>
                        </a:solidFill>
                      </a:rPr>
                      <a:pPr/>
                      <a:t>[PERCENTAGE]</a:t>
                    </a:fld>
                    <a:endParaRPr lang="en-US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17C-D040-A52F-F92E63DEE53F}"/>
                </c:ext>
              </c:extLst>
            </c:dLbl>
            <c:dLbl>
              <c:idx val="5"/>
              <c:layout>
                <c:manualLayout>
                  <c:x val="9.0015540084380674E-2"/>
                  <c:y val="-2.0317408659649816E-2"/>
                </c:manualLayout>
              </c:layout>
              <c:tx>
                <c:rich>
                  <a:bodyPr/>
                  <a:lstStyle/>
                  <a:p>
                    <a:fld id="{500D2EED-1F16-A648-ADDA-D3011304D4C6}" type="CATEGORYNAME">
                      <a:rPr lang="en-US" smtClean="0"/>
                      <a:pPr/>
                      <a:t>[CATEGORY NAME]</a:t>
                    </a:fld>
                    <a:endParaRPr lang="en-US" baseline="0" dirty="0"/>
                  </a:p>
                  <a:p>
                    <a:fld id="{192C10F7-953E-514E-A2E6-761BDE2053BB}" type="PERCENTAGE">
                      <a:rPr lang="en-US" sz="1600" b="1" baseline="0" smtClean="0">
                        <a:solidFill>
                          <a:schemeClr val="tx2"/>
                        </a:solidFill>
                      </a:rPr>
                      <a:pPr/>
                      <a:t>[PERCENTAGE]</a:t>
                    </a:fld>
                    <a:endParaRPr lang="en-US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B17C-D040-A52F-F92E63DEE53F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eparator> </c:separator>
            <c:showLeaderLines val="1"/>
            <c:leaderLines>
              <c:spPr>
                <a:ln w="9525" cap="flat" cmpd="sng" algn="ctr">
                  <a:solidFill>
                    <a:schemeClr val="tx2"/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4</c:v>
                </c:pt>
                <c:pt idx="1">
                  <c:v>0.2</c:v>
                </c:pt>
                <c:pt idx="2">
                  <c:v>0.15</c:v>
                </c:pt>
                <c:pt idx="3">
                  <c:v>0.1</c:v>
                </c:pt>
                <c:pt idx="4">
                  <c:v>0.09</c:v>
                </c:pt>
                <c:pt idx="5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2C-7141-9592-08EDA27A6EE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4754273523204695E-2"/>
          <c:y val="0.83950298453362981"/>
          <c:w val="0.93515868782858791"/>
          <c:h val="0.14191469979371776"/>
        </c:manualLayout>
      </c:layout>
      <c:overlay val="0"/>
      <c:spPr>
        <a:solidFill>
          <a:schemeClr val="bg1">
            <a:lumMod val="95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495510740732209"/>
          <c:y val="9.1922675919277039E-2"/>
          <c:w val="0.52183993181500032"/>
          <c:h val="0.6730542710209760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ercentages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987-4744-86F4-AB784B268C1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987-4744-86F4-AB784B268C1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987-4744-86F4-AB784B268C1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987-4744-86F4-AB784B268C1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E987-4744-86F4-AB784B268C16}"/>
              </c:ext>
            </c:extLst>
          </c:dPt>
          <c:dPt>
            <c:idx val="5"/>
            <c:bubble3D val="0"/>
            <c:spPr>
              <a:solidFill>
                <a:schemeClr val="tx2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E987-4744-86F4-AB784B268C16}"/>
              </c:ext>
            </c:extLst>
          </c:dPt>
          <c:dLbls>
            <c:dLbl>
              <c:idx val="0"/>
              <c:layout>
                <c:manualLayout>
                  <c:x val="3.8256604535861799E-2"/>
                  <c:y val="9.8684556346870456E-2"/>
                </c:manualLayout>
              </c:layout>
              <c:tx>
                <c:rich>
                  <a:bodyPr/>
                  <a:lstStyle/>
                  <a:p>
                    <a:fld id="{4D545955-A23E-3C49-8EE2-B26A59A3AAE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 </a:t>
                    </a:r>
                    <a:fld id="{202DA8AB-3140-EF45-81D2-67D9F5D7744D}" type="PERCENTAGE">
                      <a:rPr lang="en-US" sz="1600" b="1" baseline="0">
                        <a:solidFill>
                          <a:schemeClr val="accent1"/>
                        </a:solidFill>
                      </a:rPr>
                      <a:pPr/>
                      <a:t>[PERCENTAGE]</a:t>
                    </a:fld>
                    <a:endParaRPr lang="en-US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987-4744-86F4-AB784B268C16}"/>
                </c:ext>
              </c:extLst>
            </c:dLbl>
            <c:dLbl>
              <c:idx val="1"/>
              <c:layout>
                <c:manualLayout>
                  <c:x val="0.27004662025314202"/>
                  <c:y val="-4.353730427067827E-2"/>
                </c:manualLayout>
              </c:layout>
              <c:tx>
                <c:rich>
                  <a:bodyPr/>
                  <a:lstStyle/>
                  <a:p>
                    <a:fld id="{C9D9825A-87D1-FF41-8950-303EEEF43290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 </a:t>
                    </a:r>
                    <a:fld id="{DEFA22AE-1364-D249-BA19-3A4560F81D86}" type="PERCENTAGE">
                      <a:rPr lang="en-US" sz="1600" b="1" baseline="0">
                        <a:solidFill>
                          <a:schemeClr val="accent2"/>
                        </a:solidFill>
                      </a:rPr>
                      <a:pPr/>
                      <a:t>[PERCENTAGE]</a:t>
                    </a:fld>
                    <a:endParaRPr lang="en-US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987-4744-86F4-AB784B268C1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AB0DD8A-92C8-0149-8A77-CEF15103B970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 </a:t>
                    </a:r>
                    <a:fld id="{9F80727D-A567-6044-8DD8-5AFB899C66B8}" type="PERCENTAGE">
                      <a:rPr lang="en-US" sz="1600" b="1" baseline="0">
                        <a:solidFill>
                          <a:schemeClr val="accent3"/>
                        </a:solidFill>
                      </a:rPr>
                      <a:pPr/>
                      <a:t>[PERCENTAGE]</a:t>
                    </a:fld>
                    <a:endParaRPr lang="en-US" baseline="0" dirty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987-4744-86F4-AB784B268C16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39D0E19-25E6-0A42-8C5A-0551E7AA68D8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 </a:t>
                    </a:r>
                    <a:fld id="{67BA436A-232C-9342-85C5-36F59E62ECE0}" type="PERCENTAGE">
                      <a:rPr lang="en-US" sz="1600" b="1" baseline="0">
                        <a:solidFill>
                          <a:schemeClr val="accent4"/>
                        </a:solidFill>
                      </a:rPr>
                      <a:pPr/>
                      <a:t>[PERCENTAGE]</a:t>
                    </a:fld>
                    <a:endParaRPr lang="en-US" baseline="0" dirty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987-4744-86F4-AB784B268C16}"/>
                </c:ext>
              </c:extLst>
            </c:dLbl>
            <c:dLbl>
              <c:idx val="4"/>
              <c:layout>
                <c:manualLayout>
                  <c:x val="-4.5007770042190358E-2"/>
                  <c:y val="1.4512434756892722E-2"/>
                </c:manualLayout>
              </c:layout>
              <c:tx>
                <c:rich>
                  <a:bodyPr/>
                  <a:lstStyle/>
                  <a:p>
                    <a:fld id="{7CA1BC2E-CBB3-0043-B02E-5D321D0301D3}" type="CATEGORYNAME">
                      <a:rPr lang="en-US" smtClean="0"/>
                      <a:pPr/>
                      <a:t>[CATEGORY NAME]</a:t>
                    </a:fld>
                    <a:endParaRPr lang="en-US" baseline="0" dirty="0"/>
                  </a:p>
                  <a:p>
                    <a:fld id="{3C6E6CC2-A52D-AB41-86FD-A97ED07E18F7}" type="PERCENTAGE">
                      <a:rPr lang="en-US" sz="1600" b="1" baseline="0" smtClean="0">
                        <a:solidFill>
                          <a:schemeClr val="accent5"/>
                        </a:solidFill>
                      </a:rPr>
                      <a:pPr/>
                      <a:t>[PERCENTAGE]</a:t>
                    </a:fld>
                    <a:endParaRPr lang="en-US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E987-4744-86F4-AB784B268C16}"/>
                </c:ext>
              </c:extLst>
            </c:dLbl>
            <c:dLbl>
              <c:idx val="5"/>
              <c:layout>
                <c:manualLayout>
                  <c:x val="9.0015540084380674E-2"/>
                  <c:y val="-2.0317408659649816E-2"/>
                </c:manualLayout>
              </c:layout>
              <c:tx>
                <c:rich>
                  <a:bodyPr/>
                  <a:lstStyle/>
                  <a:p>
                    <a:fld id="{500D2EED-1F16-A648-ADDA-D3011304D4C6}" type="CATEGORYNAME">
                      <a:rPr lang="en-US" smtClean="0"/>
                      <a:pPr/>
                      <a:t>[CATEGORY NAME]</a:t>
                    </a:fld>
                    <a:endParaRPr lang="en-US" baseline="0" dirty="0"/>
                  </a:p>
                  <a:p>
                    <a:fld id="{192C10F7-953E-514E-A2E6-761BDE2053BB}" type="PERCENTAGE">
                      <a:rPr lang="en-US" sz="1600" b="1" baseline="0" smtClean="0">
                        <a:solidFill>
                          <a:schemeClr val="tx2"/>
                        </a:solidFill>
                      </a:rPr>
                      <a:pPr/>
                      <a:t>[PERCENTAGE]</a:t>
                    </a:fld>
                    <a:endParaRPr lang="en-US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E987-4744-86F4-AB784B268C16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eparator> </c:separator>
            <c:showLeaderLines val="1"/>
            <c:leaderLines>
              <c:spPr>
                <a:ln w="9525" cap="flat" cmpd="sng" algn="ctr">
                  <a:solidFill>
                    <a:schemeClr val="tx2"/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4</c:v>
                </c:pt>
                <c:pt idx="1">
                  <c:v>0.2</c:v>
                </c:pt>
                <c:pt idx="2">
                  <c:v>0.15</c:v>
                </c:pt>
                <c:pt idx="3">
                  <c:v>0.1</c:v>
                </c:pt>
                <c:pt idx="4">
                  <c:v>0.09</c:v>
                </c:pt>
                <c:pt idx="5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987-4744-86F4-AB784B268C1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4754273523204695E-2"/>
          <c:y val="0.83950298453362981"/>
          <c:w val="0.93515868782858791"/>
          <c:h val="0.14191469979371776"/>
        </c:manualLayout>
      </c:layout>
      <c:overlay val="0"/>
      <c:spPr>
        <a:solidFill>
          <a:schemeClr val="bg1">
            <a:lumMod val="95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5</c:f>
              <c:numCache>
                <c:formatCode>0%</c:formatCode>
                <c:ptCount val="4"/>
                <c:pt idx="0">
                  <c:v>0.43</c:v>
                </c:pt>
                <c:pt idx="1">
                  <c:v>0.25</c:v>
                </c:pt>
                <c:pt idx="2">
                  <c:v>0.35</c:v>
                </c:pt>
                <c:pt idx="3">
                  <c:v>0.4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17F9-1745-AD54-8D19314416B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C$2:$C$5</c:f>
              <c:numCache>
                <c:formatCode>0%</c:formatCode>
                <c:ptCount val="4"/>
                <c:pt idx="0">
                  <c:v>0.24</c:v>
                </c:pt>
                <c:pt idx="1">
                  <c:v>0.44</c:v>
                </c:pt>
                <c:pt idx="2">
                  <c:v>0.18</c:v>
                </c:pt>
                <c:pt idx="3">
                  <c:v>0.2800000000000000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17F9-1745-AD54-8D19314416B2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2:$D$5</c:f>
              <c:numCache>
                <c:formatCode>0%</c:formatCode>
                <c:ptCount val="4"/>
                <c:pt idx="0">
                  <c:v>0.2</c:v>
                </c:pt>
                <c:pt idx="1">
                  <c:v>0.2</c:v>
                </c:pt>
                <c:pt idx="2">
                  <c:v>0.3</c:v>
                </c:pt>
                <c:pt idx="3">
                  <c:v>0.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17F9-1745-AD54-8D19314416B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-25"/>
        <c:axId val="-2109332288"/>
        <c:axId val="-2109551264"/>
      </c:barChart>
      <c:catAx>
        <c:axId val="-210933228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09551264"/>
        <c:crosses val="autoZero"/>
        <c:auto val="1"/>
        <c:lblAlgn val="ctr"/>
        <c:lblOffset val="100"/>
        <c:noMultiLvlLbl val="0"/>
      </c:catAx>
      <c:valAx>
        <c:axId val="-2109551264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-2109332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5</c:f>
              <c:numCache>
                <c:formatCode>0%</c:formatCode>
                <c:ptCount val="4"/>
                <c:pt idx="0">
                  <c:v>0.43</c:v>
                </c:pt>
                <c:pt idx="1">
                  <c:v>0.25</c:v>
                </c:pt>
                <c:pt idx="2">
                  <c:v>0.35</c:v>
                </c:pt>
                <c:pt idx="3">
                  <c:v>0.4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7EFF-6F49-9F71-8C36EB7757F9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C$2:$C$5</c:f>
              <c:numCache>
                <c:formatCode>0%</c:formatCode>
                <c:ptCount val="4"/>
                <c:pt idx="0">
                  <c:v>0.24</c:v>
                </c:pt>
                <c:pt idx="1">
                  <c:v>0.44</c:v>
                </c:pt>
                <c:pt idx="2">
                  <c:v>0.18</c:v>
                </c:pt>
                <c:pt idx="3">
                  <c:v>0.2800000000000000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7EFF-6F49-9F71-8C36EB7757F9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2:$D$5</c:f>
              <c:numCache>
                <c:formatCode>0%</c:formatCode>
                <c:ptCount val="4"/>
                <c:pt idx="0">
                  <c:v>0.2</c:v>
                </c:pt>
                <c:pt idx="1">
                  <c:v>0.2</c:v>
                </c:pt>
                <c:pt idx="2">
                  <c:v>0.3</c:v>
                </c:pt>
                <c:pt idx="3">
                  <c:v>0.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7EFF-6F49-9F71-8C36EB7757F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-25"/>
        <c:axId val="-2109332288"/>
        <c:axId val="-2109551264"/>
      </c:barChart>
      <c:catAx>
        <c:axId val="-210933228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09551264"/>
        <c:crosses val="autoZero"/>
        <c:auto val="1"/>
        <c:lblAlgn val="ctr"/>
        <c:lblOffset val="100"/>
        <c:noMultiLvlLbl val="0"/>
      </c:catAx>
      <c:valAx>
        <c:axId val="-2109551264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-2109332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236562697776472E-3"/>
          <c:y val="3.211084477596611E-2"/>
          <c:w val="0.99063918040004928"/>
          <c:h val="0.8086872857181106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A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square"/>
            <c:size val="12"/>
            <c:spPr>
              <a:solidFill>
                <a:schemeClr val="bg1"/>
              </a:solidFill>
              <a:ln w="25400">
                <a:solidFill>
                  <a:schemeClr val="accent1"/>
                </a:solidFill>
              </a:ln>
              <a:effectLst/>
            </c:spPr>
          </c:marker>
          <c:dLbls>
            <c:dLbl>
              <c:idx val="3"/>
              <c:layout>
                <c:manualLayout>
                  <c:x val="-4.2376042628128691E-2"/>
                  <c:y val="3.21838016906240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5C8-1748-B4D7-84088BD471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TTRIBUTE 1</c:v>
                </c:pt>
                <c:pt idx="1">
                  <c:v>ATTRIBUTE 2</c:v>
                </c:pt>
                <c:pt idx="2">
                  <c:v>ATTRIBUTE 3</c:v>
                </c:pt>
                <c:pt idx="3">
                  <c:v>ATTRIBUTE 4</c:v>
                </c:pt>
                <c:pt idx="4">
                  <c:v>ATTRIBUTE 5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43</c:v>
                </c:pt>
                <c:pt idx="1">
                  <c:v>0.25</c:v>
                </c:pt>
                <c:pt idx="2">
                  <c:v>0.35</c:v>
                </c:pt>
                <c:pt idx="3">
                  <c:v>0.45</c:v>
                </c:pt>
                <c:pt idx="4">
                  <c:v>0.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598-C448-A3C8-5B3A518B9CC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B</c:v>
                </c:pt>
              </c:strCache>
            </c:strRef>
          </c:tx>
          <c:spPr>
            <a:ln w="38100" cap="rnd">
              <a:solidFill>
                <a:schemeClr val="tx2"/>
              </a:solidFill>
              <a:round/>
            </a:ln>
            <a:effectLst/>
          </c:spPr>
          <c:marker>
            <c:symbol val="triangle"/>
            <c:size val="12"/>
            <c:spPr>
              <a:solidFill>
                <a:schemeClr val="bg1"/>
              </a:solidFill>
              <a:ln w="25400">
                <a:solidFill>
                  <a:schemeClr val="tx2"/>
                </a:solidFill>
              </a:ln>
              <a:effectLst/>
            </c:spPr>
          </c:marker>
          <c:dLbls>
            <c:dLbl>
              <c:idx val="2"/>
              <c:layout>
                <c:manualLayout>
                  <c:x val="-5.0328651164238632E-2"/>
                  <c:y val="1.4592180510533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5C8-1748-B4D7-84088BD471F5}"/>
                </c:ext>
              </c:extLst>
            </c:dLbl>
            <c:dLbl>
              <c:idx val="3"/>
              <c:layout>
                <c:manualLayout>
                  <c:x val="-2.6470825555908805E-2"/>
                  <c:y val="5.68120713427504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5C8-1748-B4D7-84088BD471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bg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TTRIBUTE 1</c:v>
                </c:pt>
                <c:pt idx="1">
                  <c:v>ATTRIBUTE 2</c:v>
                </c:pt>
                <c:pt idx="2">
                  <c:v>ATTRIBUTE 3</c:v>
                </c:pt>
                <c:pt idx="3">
                  <c:v>ATTRIBUTE 4</c:v>
                </c:pt>
                <c:pt idx="4">
                  <c:v>ATTRIBUTE 5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24</c:v>
                </c:pt>
                <c:pt idx="1">
                  <c:v>0.44</c:v>
                </c:pt>
                <c:pt idx="2">
                  <c:v>0.18</c:v>
                </c:pt>
                <c:pt idx="3">
                  <c:v>0.28000000000000003</c:v>
                </c:pt>
                <c:pt idx="4">
                  <c:v>0.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598-C448-A3C8-5B3A518B9CCA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Series C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diamond"/>
            <c:size val="12"/>
            <c:spPr>
              <a:solidFill>
                <a:schemeClr val="bg1"/>
              </a:solidFill>
              <a:ln w="25400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6470825555908805E-2"/>
                  <c:y val="8.74392223339898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5C8-1748-B4D7-84088BD471F5}"/>
                </c:ext>
              </c:extLst>
            </c:dLbl>
            <c:dLbl>
              <c:idx val="1"/>
              <c:layout>
                <c:manualLayout>
                  <c:x val="-4.5159902894087531E-3"/>
                  <c:y val="-3.21838081306520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5C8-1748-B4D7-84088BD471F5}"/>
                </c:ext>
              </c:extLst>
            </c:dLbl>
            <c:dLbl>
              <c:idx val="4"/>
              <c:layout>
                <c:manualLayout>
                  <c:x val="-2.6470825555908805E-2"/>
                  <c:y val="5.92926284458453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5C8-1748-B4D7-84088BD471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bg1">
                          <a:lumMod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TTRIBUTE 1</c:v>
                </c:pt>
                <c:pt idx="1">
                  <c:v>ATTRIBUTE 2</c:v>
                </c:pt>
                <c:pt idx="2">
                  <c:v>ATTRIBUTE 3</c:v>
                </c:pt>
                <c:pt idx="3">
                  <c:v>ATTRIBUTE 4</c:v>
                </c:pt>
                <c:pt idx="4">
                  <c:v>ATTRIBUTE 5</c:v>
                </c:pt>
              </c:strCache>
            </c:strRef>
          </c:cat>
          <c:val>
            <c:numRef>
              <c:f>Sheet1!$D$2:$D$6</c:f>
              <c:numCache>
                <c:formatCode>0%</c:formatCode>
                <c:ptCount val="5"/>
                <c:pt idx="0">
                  <c:v>0.18</c:v>
                </c:pt>
                <c:pt idx="1">
                  <c:v>0.05</c:v>
                </c:pt>
                <c:pt idx="2">
                  <c:v>0.09</c:v>
                </c:pt>
                <c:pt idx="3">
                  <c:v>0.11</c:v>
                </c:pt>
                <c:pt idx="4">
                  <c:v>0.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C7A-CD42-91B6-94DAA87AF695}"/>
            </c:ext>
          </c:extLst>
        </c:ser>
        <c:ser>
          <c:idx val="4"/>
          <c:order val="3"/>
          <c:tx>
            <c:strRef>
              <c:f>Sheet1!$E$1</c:f>
              <c:strCache>
                <c:ptCount val="1"/>
                <c:pt idx="0">
                  <c:v>Series D</c:v>
                </c:pt>
              </c:strCache>
            </c:strRef>
          </c:tx>
          <c:spPr>
            <a:ln w="3810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12"/>
            <c:spPr>
              <a:solidFill>
                <a:schemeClr val="bg1"/>
              </a:solidFill>
              <a:ln w="25400">
                <a:solidFill>
                  <a:schemeClr val="accent4"/>
                </a:solidFill>
              </a:ln>
              <a:effectLst/>
            </c:spPr>
          </c:marker>
          <c:dLbls>
            <c:dLbl>
              <c:idx val="2"/>
              <c:layout>
                <c:manualLayout>
                  <c:x val="-8.2934346162290232E-3"/>
                  <c:y val="-4.17010072657550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5C8-1748-B4D7-84088BD471F5}"/>
                </c:ext>
              </c:extLst>
            </c:dLbl>
            <c:dLbl>
              <c:idx val="3"/>
              <c:layout>
                <c:manualLayout>
                  <c:x val="-4.8851738150389639E-3"/>
                  <c:y val="1.81105047465518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5C8-1748-B4D7-84088BD471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bg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TTRIBUTE 1</c:v>
                </c:pt>
                <c:pt idx="1">
                  <c:v>ATTRIBUTE 2</c:v>
                </c:pt>
                <c:pt idx="2">
                  <c:v>ATTRIBUTE 3</c:v>
                </c:pt>
                <c:pt idx="3">
                  <c:v>ATTRIBUTE 4</c:v>
                </c:pt>
                <c:pt idx="4">
                  <c:v>ATTRIBUTE 5</c:v>
                </c:pt>
              </c:strCache>
            </c:strRef>
          </c:cat>
          <c:val>
            <c:numRef>
              <c:f>Sheet1!$E$2:$E$6</c:f>
              <c:numCache>
                <c:formatCode>0%</c:formatCode>
                <c:ptCount val="5"/>
                <c:pt idx="0">
                  <c:v>0.64</c:v>
                </c:pt>
                <c:pt idx="1">
                  <c:v>0.72</c:v>
                </c:pt>
                <c:pt idx="2">
                  <c:v>0.22</c:v>
                </c:pt>
                <c:pt idx="3">
                  <c:v>0.36</c:v>
                </c:pt>
                <c:pt idx="4">
                  <c:v>0.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C7A-CD42-91B6-94DAA87AF69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-2109332288"/>
        <c:axId val="-2109551264"/>
      </c:lineChart>
      <c:catAx>
        <c:axId val="-2109332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09551264"/>
        <c:crosses val="autoZero"/>
        <c:auto val="1"/>
        <c:lblAlgn val="ctr"/>
        <c:lblOffset val="100"/>
        <c:noMultiLvlLbl val="0"/>
      </c:catAx>
      <c:valAx>
        <c:axId val="-2109551264"/>
        <c:scaling>
          <c:orientation val="minMax"/>
        </c:scaling>
        <c:delete val="1"/>
        <c:axPos val="r"/>
        <c:numFmt formatCode="0%" sourceLinked="1"/>
        <c:majorTickMark val="none"/>
        <c:minorTickMark val="none"/>
        <c:tickLblPos val="nextTo"/>
        <c:crossAx val="-210933228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3-25T14:08:26.343" idx="77">
    <p:pos x="10" y="10"/>
    <p:text>MInutiae question/request - the title text spills over to 2 lines.  I know it disappears when you click on it, but can we delete one word - maybe Here to get it on one line.  Just looks neater?
</p:text>
    <p:extLst>
      <p:ext uri="{C676402C-5697-4E1C-873F-D02D1690AC5C}">
        <p15:threadingInfo xmlns:p15="http://schemas.microsoft.com/office/powerpoint/2012/main" timeZoneBias="4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3-25T14:06:13.530" idx="76">
    <p:pos x="10" y="10"/>
    <p:text>Should these text inputs say just Click to edit?
</p:text>
    <p:extLst>
      <p:ext uri="{C676402C-5697-4E1C-873F-D02D1690AC5C}">
        <p15:threadingInfo xmlns:p15="http://schemas.microsoft.com/office/powerpoint/2012/main" timeZoneBias="42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3-25T14:04:31.042" idx="74">
    <p:pos x="10" y="10"/>
    <p:text>I think this is a 5 yr chart, but looks like there is a Yr6 - delete? Yr 5 looks to go off the right side a bit?  PPT online abberation?
</p:text>
    <p:extLst>
      <p:ext uri="{C676402C-5697-4E1C-873F-D02D1690AC5C}">
        <p15:threadingInfo xmlns:p15="http://schemas.microsoft.com/office/powerpoint/2012/main" timeZoneBias="4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17CE469-D506-974B-A7A7-C93ACC5BB62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898687-569B-594C-81BB-4F37005A009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469CCB-A624-4245-A04F-EA51C5D471E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7FDDB4-FE78-694E-B2D3-7746E02C7EE0}" type="slidenum">
              <a:rPr lang="en-US" smtClean="0">
                <a:latin typeface="Corbel" panose="020B0503020204020204" pitchFamily="34" charset="0"/>
              </a:rPr>
              <a:t>‹#›</a:t>
            </a:fld>
            <a:endParaRPr lang="en-US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92959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orbel" panose="020B0503020204020204" pitchFamily="34" charset="0"/>
              </a:defRPr>
            </a:lvl1pPr>
          </a:lstStyle>
          <a:p>
            <a:fld id="{5D5AA620-DF1F-914D-91FB-688BD9E116D6}" type="datetimeFigureOut">
              <a:rPr lang="en-US" smtClean="0"/>
              <a:pPr/>
              <a:t>4/8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orbel" panose="020B0503020204020204" pitchFamily="34" charset="0"/>
              </a:defRPr>
            </a:lvl1pPr>
          </a:lstStyle>
          <a:p>
            <a:fld id="{7B042D51-9EE0-A542-A7FA-D1AABC60FF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78512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17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1pPr>
    <a:lvl2pPr marL="457109" algn="l" defTabSz="914217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2pPr>
    <a:lvl3pPr marL="914217" algn="l" defTabSz="914217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3pPr>
    <a:lvl4pPr marL="1371326" algn="l" defTabSz="914217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4pPr>
    <a:lvl5pPr marL="1828434" algn="l" defTabSz="914217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5pPr>
    <a:lvl6pPr marL="2285543" algn="l" defTabSz="9142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52" algn="l" defTabSz="9142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60" algn="l" defTabSz="9142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69" algn="l" defTabSz="9142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042D51-9EE0-A542-A7FA-D1AABC60FF8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69732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042D51-9EE0-A542-A7FA-D1AABC60FF8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761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042D51-9EE0-A542-A7FA-D1AABC60FF8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7948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399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5623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5335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05973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Text Box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-16994188" y="-11796713"/>
            <a:ext cx="22169438" cy="12471401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sp>
      <p:sp>
        <p:nvSpPr>
          <p:cNvPr id="21506" name="Text Box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64175" cy="40925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186273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4978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4711C26-D4AE-1A43-BAF7-72CA8F57D03B}"/>
              </a:ext>
            </a:extLst>
          </p:cNvPr>
          <p:cNvSpPr/>
          <p:nvPr userDrawn="1"/>
        </p:nvSpPr>
        <p:spPr>
          <a:xfrm>
            <a:off x="0" y="1296538"/>
            <a:ext cx="12192000" cy="2743199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C8D05FF-F14D-5A4B-B4E2-B066EF8E57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425282" y="412313"/>
            <a:ext cx="1341436" cy="275513"/>
          </a:xfrm>
          <a:prstGeom prst="rect">
            <a:avLst/>
          </a:prstGeom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B697515A-7FC6-D547-984A-B8365E87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808" y="1367232"/>
            <a:ext cx="10578341" cy="1594331"/>
          </a:xfrm>
        </p:spPr>
        <p:txBody>
          <a:bodyPr lIns="0" anchor="b">
            <a:noAutofit/>
          </a:bodyPr>
          <a:lstStyle>
            <a:lvl1pPr marL="0" algn="l" defTabSz="914217" rtl="0" eaLnBrk="1" latinLnBrk="0" hangingPunct="1">
              <a:lnSpc>
                <a:spcPct val="80000"/>
              </a:lnSpc>
              <a:spcAft>
                <a:spcPts val="1200"/>
              </a:spcAft>
              <a:defRPr lang="en-US" sz="4000" b="1" kern="1200" spc="14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Goes Here Franklin Gothic Medium 40 on 1-2 Lines Up to 12-15 Words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13913F6-714E-9B45-AD7F-E94CA1A190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9300" y="2993690"/>
            <a:ext cx="10578342" cy="936072"/>
          </a:xfrm>
        </p:spPr>
        <p:txBody>
          <a:bodyPr lIns="0">
            <a:noAutofit/>
          </a:bodyPr>
          <a:lstStyle>
            <a:lvl1pPr marL="0" marR="0" indent="0" algn="l" defTabSz="91421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80000"/>
              <a:buFontTx/>
              <a:buNone/>
              <a:tabLst/>
              <a:defRPr lang="en-US" sz="2000" kern="1200" spc="15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 HERE FRANKLIN GOTHIC BOOK 20 ON 2-3 LINES UP TO 20-25 WORDS LOREM IPSUM DOLOR SIT AMET, CONSECTETUER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E5E7835-A9DE-224A-9A20-4CAE2BE7DD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©2020 Foldax, Inc. All rights reserved. Confidential information.</a:t>
            </a:r>
          </a:p>
        </p:txBody>
      </p:sp>
      <p:sp>
        <p:nvSpPr>
          <p:cNvPr id="10" name="1 Título">
            <a:extLst>
              <a:ext uri="{FF2B5EF4-FFF2-40B4-BE49-F238E27FC236}">
                <a16:creationId xmlns:a16="http://schemas.microsoft.com/office/drawing/2014/main" id="{1BDE0E84-49EE-8C47-B563-55893FBD60E7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519138" y="5975409"/>
            <a:ext cx="2394907" cy="154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chemeClr val="bg1"/>
                </a:solidFill>
                <a:latin typeface="+mn-lt"/>
              </a:rPr>
              <a:t>Contact U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2FE69A-C1C3-D84C-8328-339685206E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0" y="6026727"/>
            <a:ext cx="4572000" cy="332366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fld id="{87A6DDF4-CAE6-0F4F-9211-F40398005AE0}" type="datetime4">
              <a:rPr lang="en-US" smtClean="0"/>
              <a:t>March 16, 2020</a:t>
            </a:fld>
            <a:endParaRPr lang="en-US" dirty="0"/>
          </a:p>
        </p:txBody>
      </p:sp>
      <p:sp>
        <p:nvSpPr>
          <p:cNvPr id="17" name="1 Título">
            <a:extLst>
              <a:ext uri="{FF2B5EF4-FFF2-40B4-BE49-F238E27FC236}">
                <a16:creationId xmlns:a16="http://schemas.microsoft.com/office/drawing/2014/main" id="{2E29150D-7BD0-B648-A709-D42F78819D0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519138" y="6030536"/>
            <a:ext cx="239490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prstClr val="white">
                    <a:lumMod val="50000"/>
                  </a:prstClr>
                </a:solidFill>
                <a:latin typeface="+mn-lt"/>
              </a:rPr>
              <a:t>Foldax, Inc.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prstClr val="white">
                    <a:lumMod val="50000"/>
                  </a:prstClr>
                </a:solidFill>
                <a:latin typeface="+mn-lt"/>
              </a:rPr>
              <a:t>825 North 300 West #NE500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prstClr val="white">
                    <a:lumMod val="50000"/>
                  </a:prstClr>
                </a:solidFill>
                <a:latin typeface="+mn-lt"/>
              </a:rPr>
              <a:t>Salt Lake City, UT 84103 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50" dirty="0" err="1">
                <a:solidFill>
                  <a:prstClr val="white">
                    <a:lumMod val="50000"/>
                  </a:prstClr>
                </a:solidFill>
                <a:latin typeface="+mn-lt"/>
              </a:rPr>
              <a:t>info@foldax.com</a:t>
            </a:r>
            <a:endParaRPr lang="en-US" sz="1050" dirty="0">
              <a:solidFill>
                <a:prstClr val="white">
                  <a:lumMod val="50000"/>
                </a:prstClr>
              </a:solidFill>
              <a:latin typeface="+mn-lt"/>
            </a:endParaRPr>
          </a:p>
        </p:txBody>
      </p:sp>
      <p:sp>
        <p:nvSpPr>
          <p:cNvPr id="19" name="1 Título">
            <a:extLst>
              <a:ext uri="{FF2B5EF4-FFF2-40B4-BE49-F238E27FC236}">
                <a16:creationId xmlns:a16="http://schemas.microsoft.com/office/drawing/2014/main" id="{16301D10-9A26-5B49-B89D-070586378F1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519138" y="5851149"/>
            <a:ext cx="2394907" cy="154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solidFill>
                  <a:schemeClr val="accent1"/>
                </a:solidFill>
                <a:latin typeface="+mn-lt"/>
              </a:rPr>
              <a:t>Contact U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87C9498-CF49-3148-A8C1-5C7B26ED2733}"/>
              </a:ext>
            </a:extLst>
          </p:cNvPr>
          <p:cNvSpPr txBox="1"/>
          <p:nvPr userDrawn="1"/>
        </p:nvSpPr>
        <p:spPr>
          <a:xfrm>
            <a:off x="4903384" y="719652"/>
            <a:ext cx="238523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0" dirty="0">
                <a:solidFill>
                  <a:schemeClr val="tx2"/>
                </a:solidFill>
                <a:latin typeface="+mj-lt"/>
              </a:rPr>
              <a:t>WWW.</a:t>
            </a:r>
            <a:r>
              <a:rPr lang="en-US" sz="1000" b="0" i="0" dirty="0">
                <a:solidFill>
                  <a:schemeClr val="accent1"/>
                </a:solidFill>
                <a:latin typeface="+mj-lt"/>
              </a:rPr>
              <a:t>FOLDAX</a:t>
            </a:r>
            <a:r>
              <a:rPr lang="en-US" sz="1000" b="0" i="0" dirty="0">
                <a:solidFill>
                  <a:schemeClr val="tx2"/>
                </a:solidFill>
                <a:latin typeface="+mj-lt"/>
              </a:rPr>
              <a:t>.COM</a:t>
            </a:r>
          </a:p>
        </p:txBody>
      </p:sp>
    </p:spTree>
    <p:extLst>
      <p:ext uri="{BB962C8B-B14F-4D97-AF65-F5344CB8AC3E}">
        <p14:creationId xmlns:p14="http://schemas.microsoft.com/office/powerpoint/2010/main" val="28028225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ldax Aubergine Section Brea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2D9271-FC21-3641-8DD1-407D199AE5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6F37DAE-3B96-EA4C-B086-8821ED3C736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833E749-D895-3847-99D3-6E95A5ADE3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b="0" i="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©2020 Foldax, Inc. All rights reserved. Confidential information.</a:t>
            </a:r>
          </a:p>
        </p:txBody>
      </p:sp>
      <p:sp>
        <p:nvSpPr>
          <p:cNvPr id="13" name="1 Título">
            <a:extLst>
              <a:ext uri="{FF2B5EF4-FFF2-40B4-BE49-F238E27FC236}">
                <a16:creationId xmlns:a16="http://schemas.microsoft.com/office/drawing/2014/main" id="{2BDF9343-A188-6F4E-A77D-4B3F222EB884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11886CF8-7A94-634A-9094-19F1495763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808" y="3008376"/>
            <a:ext cx="10134599" cy="1828800"/>
          </a:xfrm>
        </p:spPr>
        <p:txBody>
          <a:bodyPr lIns="0" anchor="b">
            <a:noAutofit/>
          </a:bodyPr>
          <a:lstStyle>
            <a:lvl1pPr marL="0" algn="l" defTabSz="914217" rtl="0" eaLnBrk="1" latinLnBrk="0" hangingPunct="1">
              <a:lnSpc>
                <a:spcPct val="80000"/>
              </a:lnSpc>
              <a:spcAft>
                <a:spcPts val="1200"/>
              </a:spcAft>
              <a:defRPr lang="en-US" sz="4800" b="1" kern="1200" spc="14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Title Here Franklin Gothic Medium 48 1-2 Lin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426BA3-9B4C-C344-A17E-7812EB3D5D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28601" y="412313"/>
            <a:ext cx="1341436" cy="275513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3ADAA523-1461-7F40-AAD4-2C1AACCDA9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9300" y="4986263"/>
            <a:ext cx="10134600" cy="936072"/>
          </a:xfrm>
        </p:spPr>
        <p:txBody>
          <a:bodyPr lIns="0">
            <a:noAutofit/>
          </a:bodyPr>
          <a:lstStyle>
            <a:lvl1pPr marL="0" indent="0" algn="l" defTabSz="9142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2000" kern="1200" spc="15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 HERE FRANKLIN GOTHIC BOOK 20 ON 2-3 LINES UP TO 20-25 WORDS LOREM IPSUM DOLOR SIT AMET, CONSECTETUER</a:t>
            </a:r>
          </a:p>
        </p:txBody>
      </p:sp>
    </p:spTree>
    <p:extLst>
      <p:ext uri="{BB962C8B-B14F-4D97-AF65-F5344CB8AC3E}">
        <p14:creationId xmlns:p14="http://schemas.microsoft.com/office/powerpoint/2010/main" val="269101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ldax Dk Blue Section Brea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2D9271-FC21-3641-8DD1-407D199AE5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339061D5-5627-DF4C-855C-9D17316D6D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40322" y="457201"/>
            <a:ext cx="1715541" cy="36869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0577FB4-5B59-5F4B-8D4F-7F3917BCB2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4318A5-BE21-824C-B052-FD2D8C741B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b="0" i="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©2020 Foldax, Inc. All rights reserved. Confidential information.</a:t>
            </a:r>
          </a:p>
        </p:txBody>
      </p:sp>
      <p:sp>
        <p:nvSpPr>
          <p:cNvPr id="13" name="1 Título">
            <a:extLst>
              <a:ext uri="{FF2B5EF4-FFF2-40B4-BE49-F238E27FC236}">
                <a16:creationId xmlns:a16="http://schemas.microsoft.com/office/drawing/2014/main" id="{576C08AF-3C18-374C-95BD-BE749B10053E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7" name="Title 2">
            <a:extLst>
              <a:ext uri="{FF2B5EF4-FFF2-40B4-BE49-F238E27FC236}">
                <a16:creationId xmlns:a16="http://schemas.microsoft.com/office/drawing/2014/main" id="{8EE9FC7B-E574-9649-99A3-4FD5BA6E6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808" y="3008376"/>
            <a:ext cx="10134599" cy="1828800"/>
          </a:xfrm>
        </p:spPr>
        <p:txBody>
          <a:bodyPr lIns="0" anchor="b">
            <a:noAutofit/>
          </a:bodyPr>
          <a:lstStyle>
            <a:lvl1pPr marL="0" algn="l" defTabSz="914217" rtl="0" eaLnBrk="1" latinLnBrk="0" hangingPunct="1">
              <a:lnSpc>
                <a:spcPct val="80000"/>
              </a:lnSpc>
              <a:spcAft>
                <a:spcPts val="1200"/>
              </a:spcAft>
              <a:defRPr lang="en-US" sz="4800" b="1" kern="1200" spc="14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Title Here Franklin Gothic Medium 48 1-2 Lin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345C58C-8A20-3D45-B352-3412EF0DC52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228601" y="412313"/>
            <a:ext cx="1341436" cy="275513"/>
          </a:xfrm>
          <a:prstGeom prst="rect">
            <a:avLst/>
          </a:prstGeom>
        </p:spPr>
      </p:pic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E7C6A870-30B9-A245-AB4F-F29F1C8BFBF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9300" y="4986263"/>
            <a:ext cx="10134600" cy="936072"/>
          </a:xfrm>
        </p:spPr>
        <p:txBody>
          <a:bodyPr lIns="0">
            <a:noAutofit/>
          </a:bodyPr>
          <a:lstStyle>
            <a:lvl1pPr marL="0" indent="0" algn="l" defTabSz="9142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2000" kern="1200" spc="15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 HERE FRANKLIN GOTHIC BOOK 20 ON 2-3 LINES UP TO 20-25 WORDS LOREM IPSUM DOLOR SIT AMET, CONSECTETUER</a:t>
            </a:r>
          </a:p>
        </p:txBody>
      </p:sp>
    </p:spTree>
    <p:extLst>
      <p:ext uri="{BB962C8B-B14F-4D97-AF65-F5344CB8AC3E}">
        <p14:creationId xmlns:p14="http://schemas.microsoft.com/office/powerpoint/2010/main" val="37582932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ldax Azure Section Brea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2D9271-FC21-3641-8DD1-407D199AE5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339061D5-5627-DF4C-855C-9D17316D6D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40322" y="457201"/>
            <a:ext cx="1715541" cy="36869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0577FB4-5B59-5F4B-8D4F-7F3917BCB2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2817268-5D0B-A643-A7EE-3238F687DC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b="0" i="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©2020 Foldax, Inc. All rights reserved. Confidential information.</a:t>
            </a:r>
          </a:p>
        </p:txBody>
      </p:sp>
      <p:sp>
        <p:nvSpPr>
          <p:cNvPr id="8" name="1 Título">
            <a:extLst>
              <a:ext uri="{FF2B5EF4-FFF2-40B4-BE49-F238E27FC236}">
                <a16:creationId xmlns:a16="http://schemas.microsoft.com/office/drawing/2014/main" id="{7201A06F-0876-B543-A8BC-05074AB6A742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CB6E5211-5BDF-3242-9025-7F15B81C43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808" y="3008376"/>
            <a:ext cx="10134599" cy="1828800"/>
          </a:xfrm>
        </p:spPr>
        <p:txBody>
          <a:bodyPr lIns="0" anchor="b">
            <a:noAutofit/>
          </a:bodyPr>
          <a:lstStyle>
            <a:lvl1pPr marL="0" algn="l" defTabSz="914217" rtl="0" eaLnBrk="1" latinLnBrk="0" hangingPunct="1">
              <a:lnSpc>
                <a:spcPct val="80000"/>
              </a:lnSpc>
              <a:spcAft>
                <a:spcPts val="1200"/>
              </a:spcAft>
              <a:defRPr lang="en-US" sz="4800" b="1" kern="1200" spc="14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Title Here Franklin Gothic Medium 48 1-2 Lin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CD7F76-E194-404F-89FE-AFD5CCBB430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228601" y="412313"/>
            <a:ext cx="1341436" cy="275513"/>
          </a:xfrm>
          <a:prstGeom prst="rect">
            <a:avLst/>
          </a:prstGeom>
        </p:spPr>
      </p:pic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06D26D43-1021-9842-B0BE-7DCE484F30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9300" y="4986263"/>
            <a:ext cx="10134600" cy="936072"/>
          </a:xfrm>
        </p:spPr>
        <p:txBody>
          <a:bodyPr lIns="0">
            <a:noAutofit/>
          </a:bodyPr>
          <a:lstStyle>
            <a:lvl1pPr marL="0" indent="0" algn="l" defTabSz="9142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2000" kern="1200" spc="15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 HERE FRANKLIN GOTHIC BOOK 20 ON 2-3 LINES UP TO 20-25 WORDS LOREM IPSUM DOLOR SIT AMET, CONSECTETUER</a:t>
            </a:r>
          </a:p>
        </p:txBody>
      </p:sp>
    </p:spTree>
    <p:extLst>
      <p:ext uri="{BB962C8B-B14F-4D97-AF65-F5344CB8AC3E}">
        <p14:creationId xmlns:p14="http://schemas.microsoft.com/office/powerpoint/2010/main" val="6757123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ldax Ash Grey Section Brea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2D9271-FC21-3641-8DD1-407D199AE5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248E1979-3161-6841-A377-5F76359454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58600" y="6329220"/>
            <a:ext cx="293076" cy="282959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B697515A-7FC6-D547-984A-B8365E87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808" y="3008376"/>
            <a:ext cx="10131552" cy="1828800"/>
          </a:xfrm>
        </p:spPr>
        <p:txBody>
          <a:bodyPr lIns="0" anchor="b">
            <a:noAutofit/>
          </a:bodyPr>
          <a:lstStyle>
            <a:lvl1pPr marL="0" algn="l" defTabSz="914217" rtl="0" eaLnBrk="1" latinLnBrk="0" hangingPunct="1">
              <a:lnSpc>
                <a:spcPct val="80000"/>
              </a:lnSpc>
              <a:spcAft>
                <a:spcPts val="1200"/>
              </a:spcAft>
              <a:defRPr lang="en-US" sz="4800" b="1" kern="1200" spc="14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Title Here Franklin Gothic Medium 48 1-2 Lines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7ED9E70-F519-7A48-A5AF-925C6E4A6A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b="0" i="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©2020 Foldax, Inc. All rights reserved. Confidential information.</a:t>
            </a:r>
          </a:p>
        </p:txBody>
      </p:sp>
      <p:sp>
        <p:nvSpPr>
          <p:cNvPr id="16" name="1 Título">
            <a:extLst>
              <a:ext uri="{FF2B5EF4-FFF2-40B4-BE49-F238E27FC236}">
                <a16:creationId xmlns:a16="http://schemas.microsoft.com/office/drawing/2014/main" id="{4A304F3A-D4DE-004F-86C1-58B8F0B92F77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8CC22D-14BD-9F44-9A79-82521D5F13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28601" y="412313"/>
            <a:ext cx="1341436" cy="275513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67FE534F-5993-164A-A834-F5E19DDFEA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9300" y="4986263"/>
            <a:ext cx="10134600" cy="936072"/>
          </a:xfrm>
        </p:spPr>
        <p:txBody>
          <a:bodyPr lIns="0">
            <a:noAutofit/>
          </a:bodyPr>
          <a:lstStyle>
            <a:lvl1pPr marL="0" indent="0" algn="l" defTabSz="9142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2000" kern="1200" spc="15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 HERE FRANKLIN GOTHIC BOOK 20 ON 2-3 LINES UP TO 20-25 WORDS LOREM IPSUM DOLOR SIT AMET, CONSECTETUER</a:t>
            </a:r>
          </a:p>
        </p:txBody>
      </p:sp>
    </p:spTree>
    <p:extLst>
      <p:ext uri="{BB962C8B-B14F-4D97-AF65-F5344CB8AC3E}">
        <p14:creationId xmlns:p14="http://schemas.microsoft.com/office/powerpoint/2010/main" val="19868235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Width Picture Section Break">
    <p:bg>
      <p:bgPr>
        <a:solidFill>
          <a:schemeClr val="bg1">
            <a:alpha val="5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1">
            <a:extLst>
              <a:ext uri="{FF2B5EF4-FFF2-40B4-BE49-F238E27FC236}">
                <a16:creationId xmlns:a16="http://schemas.microsoft.com/office/drawing/2014/main" id="{D2E7A44D-1920-4B43-BCF4-DCFF44120A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40322" y="457201"/>
            <a:ext cx="1715541" cy="368690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4E65B43-10E8-374E-B90D-8365735DD7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/Video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121F1-2EB7-0042-AD34-1EF0BC80D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808" y="3008376"/>
            <a:ext cx="10131552" cy="1828800"/>
          </a:xfrm>
        </p:spPr>
        <p:txBody>
          <a:bodyPr lIns="0" anchor="b">
            <a:noAutofit/>
          </a:bodyPr>
          <a:lstStyle>
            <a:lvl1pPr marL="0" algn="l" defTabSz="914217" rtl="0" eaLnBrk="1" latinLnBrk="0" hangingPunct="1">
              <a:lnSpc>
                <a:spcPct val="80000"/>
              </a:lnSpc>
              <a:spcAft>
                <a:spcPts val="1200"/>
              </a:spcAft>
              <a:defRPr lang="en-US" sz="4800" b="1" kern="1200" spc="14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Title Here Franklin Gothic Medium 48 1-2 Lines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B024C98-F570-AE42-81E1-486CD1600B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9300" y="4986263"/>
            <a:ext cx="10134600" cy="936072"/>
          </a:xfrm>
        </p:spPr>
        <p:txBody>
          <a:bodyPr lIns="0">
            <a:noAutofit/>
          </a:bodyPr>
          <a:lstStyle>
            <a:lvl1pPr marL="0" indent="0" algn="l" defTabSz="9142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2000" kern="1200" spc="15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 HERE FRANKLIN GOTHIC BOOK 20 ON 2-3 LINES UP TO 20-25 WORDS LOREM IPSUM DOLOR SIT AMET, CONSECTETU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D27D1EF2-CA70-414D-9F75-98E4D7B16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29220"/>
            <a:ext cx="293076" cy="282959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D01AADC4-E08A-C143-952F-CAE375535E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b="0" i="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©2020 Foldax, Inc. All rights reserved. Confidential information.</a:t>
            </a:r>
          </a:p>
        </p:txBody>
      </p:sp>
      <p:sp>
        <p:nvSpPr>
          <p:cNvPr id="14" name="1 Título">
            <a:extLst>
              <a:ext uri="{FF2B5EF4-FFF2-40B4-BE49-F238E27FC236}">
                <a16:creationId xmlns:a16="http://schemas.microsoft.com/office/drawing/2014/main" id="{5C77DD99-6F1A-DC49-B93E-9C913FB3321D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</p:spTree>
    <p:extLst>
      <p:ext uri="{BB962C8B-B14F-4D97-AF65-F5344CB8AC3E}">
        <p14:creationId xmlns:p14="http://schemas.microsoft.com/office/powerpoint/2010/main" val="34366405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2745CC-31FE-7C47-AC7A-221FEB23D7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50EB297-47FA-E14E-9736-BBE81495498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©2020 Foldax, Inc. All rights reserved. Confidential information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FD8DB69-B8DD-3849-AB88-215592A7E4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68322"/>
            <a:ext cx="9891712" cy="317500"/>
          </a:xfrm>
        </p:spPr>
        <p:txBody>
          <a:bodyPr anchor="t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Here to Enter subtitle Franklin Gothic Book 16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FE2C1F3-4FF4-3D4D-A573-83BA9D595CB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28600" y="1371600"/>
            <a:ext cx="11365992" cy="4352544"/>
          </a:xfrm>
        </p:spPr>
        <p:txBody>
          <a:bodyPr/>
          <a:lstStyle>
            <a:lvl2pPr marL="466725" indent="-233363">
              <a:buFontTx/>
              <a:buBlip>
                <a:blip r:embed="rId2"/>
              </a:buBlip>
              <a:defRPr/>
            </a:lvl2pPr>
            <a:lvl3pPr marL="687388" indent="-219075">
              <a:buFontTx/>
              <a:buBlip>
                <a:blip r:embed="rId3"/>
              </a:buBlip>
              <a:defRPr/>
            </a:lvl3pPr>
            <a:lvl4pPr marL="860425" indent="-171450">
              <a:buFontTx/>
              <a:buBlip>
                <a:blip r:embed="rId3"/>
              </a:buBlip>
              <a:defRPr/>
            </a:lvl4pPr>
            <a:lvl5pPr marL="1035050" indent="-174625">
              <a:buFontTx/>
              <a:buBlip>
                <a:blip r:embed="rId3"/>
              </a:buBlip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1523BFF2-2EA1-4D4B-8B8F-5E3BDA4A35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18A7E5-8249-4241-B028-7FD95F9C4D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312" y="6446520"/>
            <a:ext cx="7315200" cy="192024"/>
          </a:xfrm>
        </p:spPr>
        <p:txBody>
          <a:bodyPr/>
          <a:lstStyle>
            <a:lvl1pPr marL="0" indent="0">
              <a:buFontTx/>
              <a:buNone/>
              <a:defRPr lang="en-US" sz="700" kern="1200" dirty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 *SOURCE OR REFERENCE HERE</a:t>
            </a:r>
          </a:p>
        </p:txBody>
      </p:sp>
    </p:spTree>
    <p:extLst>
      <p:ext uri="{BB962C8B-B14F-4D97-AF65-F5344CB8AC3E}">
        <p14:creationId xmlns:p14="http://schemas.microsoft.com/office/powerpoint/2010/main" val="4035312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2745CC-31FE-7C47-AC7A-221FEB23D7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50EB297-47FA-E14E-9736-BBE81495498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FE2C1F3-4FF4-3D4D-A573-83BA9D595CB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28600" y="1371600"/>
            <a:ext cx="11365992" cy="4352544"/>
          </a:xfrm>
        </p:spPr>
        <p:txBody>
          <a:bodyPr/>
          <a:lstStyle>
            <a:lvl2pPr marL="466725" indent="-233363">
              <a:buFontTx/>
              <a:buBlip>
                <a:blip r:embed="rId2"/>
              </a:buBlip>
              <a:defRPr/>
            </a:lvl2pPr>
            <a:lvl3pPr marL="687388" indent="-219075">
              <a:buFontTx/>
              <a:buBlip>
                <a:blip r:embed="rId3"/>
              </a:buBlip>
              <a:defRPr/>
            </a:lvl3pPr>
            <a:lvl4pPr marL="860425" indent="-171450">
              <a:buFontTx/>
              <a:buBlip>
                <a:blip r:embed="rId3"/>
              </a:buBlip>
              <a:defRPr/>
            </a:lvl4pPr>
            <a:lvl5pPr marL="1035050" indent="-174625">
              <a:buFontTx/>
              <a:buBlip>
                <a:blip r:embed="rId3"/>
              </a:buBlip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1523BFF2-2EA1-4D4B-8B8F-5E3BDA4A35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CF02803-CD51-E146-A56D-EBB5AC7A54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312" y="6446520"/>
            <a:ext cx="7315200" cy="192024"/>
          </a:xfrm>
        </p:spPr>
        <p:txBody>
          <a:bodyPr/>
          <a:lstStyle>
            <a:lvl1pPr marL="0" indent="0">
              <a:buFontTx/>
              <a:buNone/>
              <a:defRPr lang="en-US" sz="700" kern="1200" dirty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 *SOURCE OR REFERENCE HERE</a:t>
            </a:r>
          </a:p>
        </p:txBody>
      </p:sp>
    </p:spTree>
    <p:extLst>
      <p:ext uri="{BB962C8B-B14F-4D97-AF65-F5344CB8AC3E}">
        <p14:creationId xmlns:p14="http://schemas.microsoft.com/office/powerpoint/2010/main" val="14841869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83601E-988A-3C4C-B19E-4F622F3145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DFF4F9-3259-424F-A79D-4BA6CC1701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425F692A-A51C-DA49-9864-B8CE7923F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6A25630-B4E0-DB46-B0F1-B13C7A02FB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68322"/>
            <a:ext cx="9891712" cy="317500"/>
          </a:xfrm>
        </p:spPr>
        <p:txBody>
          <a:bodyPr anchor="t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Here to Enter subtitle Franklin Gothic Book 16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F50C36B-E89E-6048-B328-0684876680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312" y="6446520"/>
            <a:ext cx="7315200" cy="192024"/>
          </a:xfrm>
        </p:spPr>
        <p:txBody>
          <a:bodyPr/>
          <a:lstStyle>
            <a:lvl1pPr marL="0" indent="0">
              <a:buFontTx/>
              <a:buNone/>
              <a:defRPr lang="en-US" sz="700" kern="1200" dirty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 *SOURCE OR REFERENCE HERE</a:t>
            </a:r>
          </a:p>
        </p:txBody>
      </p:sp>
    </p:spTree>
    <p:extLst>
      <p:ext uri="{BB962C8B-B14F-4D97-AF65-F5344CB8AC3E}">
        <p14:creationId xmlns:p14="http://schemas.microsoft.com/office/powerpoint/2010/main" val="15070156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83601E-988A-3C4C-B19E-4F622F3145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DFF4F9-3259-424F-A79D-4BA6CC1701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425F692A-A51C-DA49-9864-B8CE7923F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C686568-6524-8342-A968-3DA39C0F9DE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312" y="6446520"/>
            <a:ext cx="7315200" cy="192024"/>
          </a:xfrm>
        </p:spPr>
        <p:txBody>
          <a:bodyPr/>
          <a:lstStyle>
            <a:lvl1pPr marL="0" indent="0">
              <a:buFontTx/>
              <a:buNone/>
              <a:defRPr lang="en-US" sz="700" kern="1200" dirty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 *SOURCE OR REFERENCE HERE</a:t>
            </a:r>
          </a:p>
        </p:txBody>
      </p:sp>
    </p:spTree>
    <p:extLst>
      <p:ext uri="{BB962C8B-B14F-4D97-AF65-F5344CB8AC3E}">
        <p14:creationId xmlns:p14="http://schemas.microsoft.com/office/powerpoint/2010/main" val="2957231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os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425F692A-A51C-DA49-9864-B8CE7923F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8132FE-4878-9841-B894-8C24952AB50C}"/>
              </a:ext>
            </a:extLst>
          </p:cNvPr>
          <p:cNvSpPr/>
          <p:nvPr userDrawn="1"/>
        </p:nvSpPr>
        <p:spPr>
          <a:xfrm>
            <a:off x="0" y="5814646"/>
            <a:ext cx="12192000" cy="10433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Picture 11">
            <a:extLst>
              <a:ext uri="{FF2B5EF4-FFF2-40B4-BE49-F238E27FC236}">
                <a16:creationId xmlns:a16="http://schemas.microsoft.com/office/drawing/2014/main" id="{73E3405E-CC77-5942-894D-AAE299B5E7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410200" y="6188937"/>
            <a:ext cx="1371600" cy="294773"/>
          </a:xfrm>
          <a:prstGeom prst="rect">
            <a:avLst/>
          </a:prstGeom>
        </p:spPr>
      </p:pic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26F055E4-5239-064F-9B77-2C8AB8A785C8}"/>
              </a:ext>
            </a:extLst>
          </p:cNvPr>
          <p:cNvSpPr txBox="1">
            <a:spLocks/>
          </p:cNvSpPr>
          <p:nvPr userDrawn="1"/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en-US"/>
            </a:defPPr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0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7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6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34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43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52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0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6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071C218-9977-BA41-9751-0233C4192CC2}"/>
              </a:ext>
            </a:extLst>
          </p:cNvPr>
          <p:cNvSpPr/>
          <p:nvPr userDrawn="1"/>
        </p:nvSpPr>
        <p:spPr>
          <a:xfrm>
            <a:off x="0" y="5814646"/>
            <a:ext cx="12192000" cy="10433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9C779FC7-B567-E042-BCF1-A3DF9ED567F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5410200" y="6195469"/>
            <a:ext cx="1371600" cy="28170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C8C128A-2652-4A42-9F94-4FE627B2D580}"/>
              </a:ext>
            </a:extLst>
          </p:cNvPr>
          <p:cNvSpPr/>
          <p:nvPr userDrawn="1"/>
        </p:nvSpPr>
        <p:spPr>
          <a:xfrm>
            <a:off x="228600" y="550422"/>
            <a:ext cx="11658600" cy="36576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8D396DFD-8415-E849-9BAB-9ACEB55B93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228600" y="1141554"/>
            <a:ext cx="11658600" cy="4530997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1000"/>
            </a:lvl1pPr>
            <a:lvl2pPr marL="114300" indent="-114300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+mj-lt"/>
              <a:buAutoNum type="arabicPeriod"/>
              <a:defRPr sz="1000"/>
            </a:lvl2pPr>
            <a:lvl3pPr marL="114300" indent="-114300">
              <a:lnSpc>
                <a:spcPct val="100000"/>
              </a:lnSpc>
              <a:spcBef>
                <a:spcPts val="300"/>
              </a:spcBef>
              <a:buFontTx/>
              <a:buBlip>
                <a:blip r:embed="rId5"/>
              </a:buBlip>
              <a:defRPr sz="1000"/>
            </a:lvl3pPr>
            <a:lvl4pPr marL="230188" indent="-115888">
              <a:lnSpc>
                <a:spcPct val="100000"/>
              </a:lnSpc>
              <a:spcBef>
                <a:spcPts val="300"/>
              </a:spcBef>
              <a:buFontTx/>
              <a:buBlip>
                <a:blip r:embed="rId6"/>
              </a:buBlip>
              <a:defRPr sz="1000"/>
            </a:lvl4pPr>
            <a:lvl5pPr marL="344488" indent="-114300">
              <a:lnSpc>
                <a:spcPct val="100000"/>
              </a:lnSpc>
              <a:spcBef>
                <a:spcPts val="300"/>
              </a:spcBef>
              <a:buFontTx/>
              <a:buBlip>
                <a:blip r:embed="rId7"/>
              </a:buBlip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1 Título">
            <a:extLst>
              <a:ext uri="{FF2B5EF4-FFF2-40B4-BE49-F238E27FC236}">
                <a16:creationId xmlns:a16="http://schemas.microsoft.com/office/drawing/2014/main" id="{EA74EF65-1632-A94C-AA73-C56073C22DA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519138" y="6030536"/>
            <a:ext cx="239490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prstClr val="white">
                    <a:lumMod val="50000"/>
                  </a:prstClr>
                </a:solidFill>
                <a:latin typeface="+mn-lt"/>
              </a:rPr>
              <a:t>Foldax, Inc.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prstClr val="white">
                    <a:lumMod val="50000"/>
                  </a:prstClr>
                </a:solidFill>
                <a:latin typeface="+mn-lt"/>
              </a:rPr>
              <a:t>825 North 300 West #NE500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prstClr val="white">
                    <a:lumMod val="50000"/>
                  </a:prstClr>
                </a:solidFill>
                <a:latin typeface="+mn-lt"/>
              </a:rPr>
              <a:t>Salt Lake City, UT 84103 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50" dirty="0" err="1">
                <a:solidFill>
                  <a:prstClr val="white">
                    <a:lumMod val="50000"/>
                  </a:prstClr>
                </a:solidFill>
                <a:latin typeface="+mn-lt"/>
              </a:rPr>
              <a:t>info@foldax.com</a:t>
            </a:r>
            <a:endParaRPr lang="en-US" sz="1050" dirty="0">
              <a:solidFill>
                <a:prstClr val="white">
                  <a:lumMod val="50000"/>
                </a:prstClr>
              </a:solidFill>
              <a:latin typeface="+mn-lt"/>
            </a:endParaRPr>
          </a:p>
        </p:txBody>
      </p:sp>
      <p:sp>
        <p:nvSpPr>
          <p:cNvPr id="20" name="1 Título">
            <a:extLst>
              <a:ext uri="{FF2B5EF4-FFF2-40B4-BE49-F238E27FC236}">
                <a16:creationId xmlns:a16="http://schemas.microsoft.com/office/drawing/2014/main" id="{B2FEFEAD-70C9-C046-8005-01AD7020026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519138" y="5851149"/>
            <a:ext cx="2394907" cy="154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solidFill>
                  <a:schemeClr val="bg1"/>
                </a:solidFill>
                <a:latin typeface="+mn-lt"/>
              </a:rPr>
              <a:t>Contact Us</a:t>
            </a:r>
          </a:p>
        </p:txBody>
      </p:sp>
    </p:spTree>
    <p:extLst>
      <p:ext uri="{BB962C8B-B14F-4D97-AF65-F5344CB8AC3E}">
        <p14:creationId xmlns:p14="http://schemas.microsoft.com/office/powerpoint/2010/main" val="4008616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911C4FA-D74D-9B48-8FCB-B9F06D04BBC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506413"/>
            <a:ext cx="9015984" cy="5308600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Icon to Add Picture/Video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2DE167-DFB2-D544-BCEC-59F090FE8FA2}"/>
              </a:ext>
            </a:extLst>
          </p:cNvPr>
          <p:cNvSpPr/>
          <p:nvPr/>
        </p:nvSpPr>
        <p:spPr>
          <a:xfrm>
            <a:off x="0" y="5814646"/>
            <a:ext cx="12192000" cy="10433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93CD02-1223-124D-9D7D-5E91A47A9D3E}"/>
              </a:ext>
            </a:extLst>
          </p:cNvPr>
          <p:cNvSpPr txBox="1"/>
          <p:nvPr/>
        </p:nvSpPr>
        <p:spPr>
          <a:xfrm>
            <a:off x="4903384" y="132798"/>
            <a:ext cx="238523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0" dirty="0">
                <a:solidFill>
                  <a:schemeClr val="tx2"/>
                </a:solidFill>
                <a:latin typeface="+mj-lt"/>
              </a:rPr>
              <a:t>WWW.FOLDAX.COM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1D104FA-9A50-A747-B7C1-B007276D68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410200" y="6188937"/>
            <a:ext cx="1371600" cy="294773"/>
          </a:xfrm>
          <a:prstGeom prst="rect">
            <a:avLst/>
          </a:prstGeom>
        </p:spPr>
      </p:pic>
      <p:sp>
        <p:nvSpPr>
          <p:cNvPr id="13" name="1 Título">
            <a:extLst>
              <a:ext uri="{FF2B5EF4-FFF2-40B4-BE49-F238E27FC236}">
                <a16:creationId xmlns:a16="http://schemas.microsoft.com/office/drawing/2014/main" id="{61F11B4B-DBF6-E44C-A1B2-0C2AC767380A}"/>
              </a:ext>
            </a:extLst>
          </p:cNvPr>
          <p:cNvSpPr txBox="1">
            <a:spLocks/>
          </p:cNvSpPr>
          <p:nvPr/>
        </p:nvSpPr>
        <p:spPr bwMode="auto">
          <a:xfrm>
            <a:off x="9519138" y="6209782"/>
            <a:ext cx="2394907" cy="413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prstClr val="white">
                    <a:lumMod val="50000"/>
                  </a:prstClr>
                </a:solidFill>
                <a:latin typeface="+mn-lt"/>
              </a:rPr>
              <a:t>Foldax, Inc.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prstClr val="white">
                    <a:lumMod val="50000"/>
                  </a:prstClr>
                </a:solidFill>
                <a:latin typeface="+mn-lt"/>
              </a:rPr>
              <a:t>123 Address St Ste 999</a:t>
            </a:r>
            <a:br>
              <a:rPr lang="en-US" sz="800" dirty="0">
                <a:solidFill>
                  <a:prstClr val="white">
                    <a:lumMod val="50000"/>
                  </a:prstClr>
                </a:solidFill>
                <a:latin typeface="+mn-lt"/>
              </a:rPr>
            </a:br>
            <a:r>
              <a:rPr lang="en-US" sz="800" dirty="0">
                <a:solidFill>
                  <a:prstClr val="white">
                    <a:lumMod val="50000"/>
                  </a:prstClr>
                </a:solidFill>
                <a:latin typeface="+mn-lt"/>
              </a:rPr>
              <a:t>City, CA, 99999 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prstClr val="white">
                    <a:lumMod val="50000"/>
                  </a:prstClr>
                </a:solidFill>
                <a:latin typeface="+mn-lt"/>
              </a:rPr>
              <a:t>P.  999 999 9999 / </a:t>
            </a:r>
            <a:r>
              <a:rPr lang="en-US" sz="800" dirty="0" err="1">
                <a:solidFill>
                  <a:prstClr val="white">
                    <a:lumMod val="50000"/>
                  </a:prstClr>
                </a:solidFill>
                <a:latin typeface="+mn-lt"/>
              </a:rPr>
              <a:t>info@foldax.com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+mn-lt"/>
            </a:endParaRPr>
          </a:p>
        </p:txBody>
      </p:sp>
      <p:sp>
        <p:nvSpPr>
          <p:cNvPr id="14" name="1 Título">
            <a:extLst>
              <a:ext uri="{FF2B5EF4-FFF2-40B4-BE49-F238E27FC236}">
                <a16:creationId xmlns:a16="http://schemas.microsoft.com/office/drawing/2014/main" id="{E6E3074C-D714-754B-86B4-A16061910890}"/>
              </a:ext>
            </a:extLst>
          </p:cNvPr>
          <p:cNvSpPr txBox="1">
            <a:spLocks/>
          </p:cNvSpPr>
          <p:nvPr/>
        </p:nvSpPr>
        <p:spPr bwMode="auto">
          <a:xfrm>
            <a:off x="9519138" y="5975409"/>
            <a:ext cx="2394907" cy="154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chemeClr val="bg1"/>
                </a:solidFill>
                <a:latin typeface="+mn-lt"/>
              </a:rPr>
              <a:t>Contact U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B0A60DD-B712-AB4D-8C94-4ED2701C0342}"/>
              </a:ext>
            </a:extLst>
          </p:cNvPr>
          <p:cNvSpPr/>
          <p:nvPr/>
        </p:nvSpPr>
        <p:spPr>
          <a:xfrm>
            <a:off x="3178826" y="506413"/>
            <a:ext cx="9013174" cy="5307760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0"/>
                </a:schemeClr>
              </a:gs>
              <a:gs pos="54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A7091E2-4708-484E-B930-C9E5B7DDD8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7B527A-0F0A-0B4A-9A8E-7FD987266F10}"/>
              </a:ext>
            </a:extLst>
          </p:cNvPr>
          <p:cNvSpPr/>
          <p:nvPr userDrawn="1"/>
        </p:nvSpPr>
        <p:spPr>
          <a:xfrm>
            <a:off x="0" y="5814646"/>
            <a:ext cx="12192000" cy="10433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8" name="Picture 11">
            <a:extLst>
              <a:ext uri="{FF2B5EF4-FFF2-40B4-BE49-F238E27FC236}">
                <a16:creationId xmlns:a16="http://schemas.microsoft.com/office/drawing/2014/main" id="{AB3AE3F1-398A-CD4E-931E-70638B7FE64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5410200" y="6195469"/>
            <a:ext cx="1371600" cy="281709"/>
          </a:xfrm>
          <a:prstGeom prst="rect">
            <a:avLst/>
          </a:prstGeom>
        </p:spPr>
      </p:pic>
      <p:sp>
        <p:nvSpPr>
          <p:cNvPr id="19" name="1 Título">
            <a:extLst>
              <a:ext uri="{FF2B5EF4-FFF2-40B4-BE49-F238E27FC236}">
                <a16:creationId xmlns:a16="http://schemas.microsoft.com/office/drawing/2014/main" id="{9DE678EB-D131-4545-8F22-951AC693427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519138" y="6030536"/>
            <a:ext cx="239490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prstClr val="white">
                    <a:lumMod val="50000"/>
                  </a:prstClr>
                </a:solidFill>
                <a:latin typeface="+mn-lt"/>
              </a:rPr>
              <a:t>Foldax, Inc.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prstClr val="white">
                    <a:lumMod val="50000"/>
                  </a:prstClr>
                </a:solidFill>
                <a:latin typeface="+mn-lt"/>
              </a:rPr>
              <a:t>825 North 300 West #NE500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prstClr val="white">
                    <a:lumMod val="50000"/>
                  </a:prstClr>
                </a:solidFill>
                <a:latin typeface="+mn-lt"/>
              </a:rPr>
              <a:t>Salt Lake City, UT 84103 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50" dirty="0" err="1">
                <a:solidFill>
                  <a:prstClr val="white">
                    <a:lumMod val="50000"/>
                  </a:prstClr>
                </a:solidFill>
                <a:latin typeface="+mn-lt"/>
              </a:rPr>
              <a:t>info@foldax.com</a:t>
            </a:r>
            <a:endParaRPr lang="en-US" sz="1050" dirty="0">
              <a:solidFill>
                <a:prstClr val="white">
                  <a:lumMod val="50000"/>
                </a:prstClr>
              </a:solidFill>
              <a:latin typeface="+mn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7DD3CAE-DBC1-8545-92D7-0B2A90E60AE1}"/>
              </a:ext>
            </a:extLst>
          </p:cNvPr>
          <p:cNvSpPr/>
          <p:nvPr userDrawn="1"/>
        </p:nvSpPr>
        <p:spPr>
          <a:xfrm>
            <a:off x="3178826" y="506413"/>
            <a:ext cx="9013174" cy="5307760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0"/>
                </a:schemeClr>
              </a:gs>
              <a:gs pos="54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69E50A5-19E4-AB4E-A697-D7C4DFAEF9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8575" y="1938198"/>
            <a:ext cx="5029200" cy="1618488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lang="en-US" sz="2800" baseline="0" dirty="0"/>
            </a:lvl1pPr>
          </a:lstStyle>
          <a:p>
            <a:r>
              <a:rPr lang="en-US" spc="100" dirty="0"/>
              <a:t>Title Goes Here Franklin Gothic Medium 28 on 1-4 Lines Up to 12-15 Words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25FE8C7-D5F3-E843-A1E2-EC3969768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98575" y="3729804"/>
            <a:ext cx="5029200" cy="914400"/>
          </a:xfrm>
        </p:spPr>
        <p:txBody>
          <a:bodyPr anchor="ctr">
            <a:noAutofit/>
          </a:bodyPr>
          <a:lstStyle>
            <a:lvl1pPr marL="0" indent="0" algn="l">
              <a:buNone/>
              <a:defRPr lang="en-US" dirty="0">
                <a:solidFill>
                  <a:schemeClr val="bg1"/>
                </a:solidFill>
              </a:defRPr>
            </a:lvl1pPr>
            <a:lvl2pPr marL="233362" indent="0">
              <a:buNone/>
              <a:defRPr/>
            </a:lvl2pPr>
          </a:lstStyle>
          <a:p>
            <a:r>
              <a:rPr lang="en-US" dirty="0"/>
              <a:t>Subtitle Here Franklin Gothic Book 20 on 2-3 Lines Up to 20-25 Words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endParaRPr lang="en-US" dirty="0"/>
          </a:p>
        </p:txBody>
      </p:sp>
      <p:sp>
        <p:nvSpPr>
          <p:cNvPr id="20" name="1 Título">
            <a:extLst>
              <a:ext uri="{FF2B5EF4-FFF2-40B4-BE49-F238E27FC236}">
                <a16:creationId xmlns:a16="http://schemas.microsoft.com/office/drawing/2014/main" id="{1A551C34-EF48-A149-AC82-C98BF1C0F4A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519138" y="5851149"/>
            <a:ext cx="2394907" cy="154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solidFill>
                  <a:schemeClr val="bg1"/>
                </a:solidFill>
                <a:latin typeface="+mn-lt"/>
              </a:rPr>
              <a:t>Contact Us</a:t>
            </a:r>
          </a:p>
        </p:txBody>
      </p:sp>
    </p:spTree>
    <p:extLst>
      <p:ext uri="{BB962C8B-B14F-4D97-AF65-F5344CB8AC3E}">
        <p14:creationId xmlns:p14="http://schemas.microsoft.com/office/powerpoint/2010/main" val="8864972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idebar +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83601E-988A-3C4C-B19E-4F622F3145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DFF4F9-3259-424F-A79D-4BA6CC1701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915F4F0-EF96-8646-881B-AB1C197C2214}"/>
              </a:ext>
            </a:extLst>
          </p:cNvPr>
          <p:cNvSpPr/>
          <p:nvPr/>
        </p:nvSpPr>
        <p:spPr>
          <a:xfrm>
            <a:off x="1648691" y="400050"/>
            <a:ext cx="10543309" cy="6572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52DCA2F-D02D-9840-B5E4-10464B0ACA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089" y="2528021"/>
            <a:ext cx="4061624" cy="928689"/>
          </a:xfrm>
        </p:spPr>
        <p:txBody>
          <a:bodyPr anchor="b">
            <a:noAutofit/>
          </a:bodyPr>
          <a:lstStyle>
            <a:lvl1pPr algn="l">
              <a:lnSpc>
                <a:spcPct val="120000"/>
              </a:lnSpc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akeaway about this slide goes here in Franklin Gothic Medium 22. If more room is needed, move the horizontal line down.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45FAD4-62F9-9540-A00A-6BC71371AD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6089" y="3536001"/>
            <a:ext cx="4061624" cy="804546"/>
          </a:xfrm>
        </p:spPr>
        <p:txBody>
          <a:bodyPr anchor="t">
            <a:noAutofit/>
          </a:bodyPr>
          <a:lstStyle>
            <a:lvl1pPr marL="0" marR="0" indent="0" algn="l" defTabSz="914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marL="0" marR="0" lvl="0" indent="0" algn="l" defTabSz="914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dirty="0"/>
              <a:t>Click Here to Enter subtitle Franklin Gothic Book 16 </a:t>
            </a:r>
            <a:r>
              <a:rPr lang="en-US" dirty="0" err="1"/>
              <a:t>Pellentesque</a:t>
            </a:r>
            <a:r>
              <a:rPr lang="en-US" dirty="0"/>
              <a:t> semper,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blandit</a:t>
            </a:r>
            <a:r>
              <a:rPr lang="en-US" dirty="0"/>
              <a:t> </a:t>
            </a:r>
            <a:r>
              <a:rPr lang="en-US" dirty="0" err="1"/>
              <a:t>blandit</a:t>
            </a:r>
            <a:r>
              <a:rPr lang="en-US" dirty="0"/>
              <a:t>, magna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, sed </a:t>
            </a:r>
            <a:r>
              <a:rPr lang="en-US" dirty="0" err="1"/>
              <a:t>ornare</a:t>
            </a:r>
            <a:r>
              <a:rPr lang="en-US" dirty="0"/>
              <a:t> dolor dolor id sem. Ut dictum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1B964D4-51A6-BC4C-9937-3B33EC1925B3}"/>
              </a:ext>
            </a:extLst>
          </p:cNvPr>
          <p:cNvSpPr/>
          <p:nvPr userDrawn="1"/>
        </p:nvSpPr>
        <p:spPr>
          <a:xfrm>
            <a:off x="110348" y="243654"/>
            <a:ext cx="10543309" cy="6572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B0C4CA6-AE02-0D48-A545-7C30868F6999}"/>
              </a:ext>
            </a:extLst>
          </p:cNvPr>
          <p:cNvSpPr/>
          <p:nvPr userDrawn="1"/>
        </p:nvSpPr>
        <p:spPr>
          <a:xfrm>
            <a:off x="0" y="6428232"/>
            <a:ext cx="12188952" cy="36576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38AEB7D-071C-884E-AA1C-31EFCD6906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312" y="6446520"/>
            <a:ext cx="7315200" cy="192024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700" kern="1200" dirty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 *SOURCE OR REFERENCE HERE</a:t>
            </a:r>
          </a:p>
        </p:txBody>
      </p:sp>
    </p:spTree>
    <p:extLst>
      <p:ext uri="{BB962C8B-B14F-4D97-AF65-F5344CB8AC3E}">
        <p14:creationId xmlns:p14="http://schemas.microsoft.com/office/powerpoint/2010/main" val="35086353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idebar + Image +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83601E-988A-3C4C-B19E-4F622F3145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DFF4F9-3259-424F-A79D-4BA6CC1701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52DCA2F-D02D-9840-B5E4-10464B0ACA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300" y="584790"/>
            <a:ext cx="5029200" cy="1823653"/>
          </a:xfrm>
        </p:spPr>
        <p:txBody>
          <a:bodyPr anchor="b">
            <a:noAutofit/>
          </a:bodyPr>
          <a:lstStyle>
            <a:lvl1pPr marL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b="0" i="0" kern="1200" spc="0" baseline="0" dirty="0">
                <a:solidFill>
                  <a:schemeClr val="accent5"/>
                </a:solidFill>
                <a:latin typeface="+mj-lt"/>
                <a:ea typeface="+mj-lt"/>
                <a:cs typeface="+mj-lt"/>
              </a:defRPr>
            </a:lvl1pPr>
          </a:lstStyle>
          <a:p>
            <a:r>
              <a:rPr lang="en-US" dirty="0"/>
              <a:t>Click Here to Enter Title Franklin Gothic Medium 32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B0C4CA6-AE02-0D48-A545-7C30868F6999}"/>
              </a:ext>
            </a:extLst>
          </p:cNvPr>
          <p:cNvSpPr/>
          <p:nvPr userDrawn="1"/>
        </p:nvSpPr>
        <p:spPr>
          <a:xfrm>
            <a:off x="0" y="6428232"/>
            <a:ext cx="12188952" cy="36576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274DDB53-9E4E-014E-A6CD-69CE17B87A9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00133" y="2445021"/>
            <a:ext cx="6374989" cy="3749039"/>
          </a:xfrm>
        </p:spPr>
        <p:txBody>
          <a:bodyPr>
            <a:noAutofit/>
          </a:bodyPr>
          <a:lstStyle>
            <a:lvl1pPr>
              <a:defRPr sz="2400"/>
            </a:lvl1pPr>
            <a:lvl2pPr marL="466725" indent="-233363">
              <a:buFontTx/>
              <a:buBlip>
                <a:blip r:embed="rId2"/>
              </a:buBlip>
              <a:defRPr sz="2000"/>
            </a:lvl2pPr>
            <a:lvl3pPr marL="687388" indent="-219075">
              <a:buFontTx/>
              <a:buBlip>
                <a:blip r:embed="rId3"/>
              </a:buBlip>
              <a:defRPr sz="1800"/>
            </a:lvl3pPr>
            <a:lvl4pPr marL="860425" indent="-171450">
              <a:buFontTx/>
              <a:buBlip>
                <a:blip r:embed="rId3"/>
              </a:buBlip>
              <a:defRPr sz="1600"/>
            </a:lvl4pPr>
            <a:lvl5pPr marL="1035050" indent="-174625">
              <a:buFontTx/>
              <a:buBlip>
                <a:blip r:embed="rId3"/>
              </a:buBlip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8159395-376F-BA4E-A245-81C23C41EFF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2445021"/>
            <a:ext cx="5029200" cy="3749039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algn="ctr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7611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idebar + Image +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83601E-988A-3C4C-B19E-4F622F3145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DFF4F9-3259-424F-A79D-4BA6CC1701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52DCA2F-D02D-9840-B5E4-10464B0ACA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5922" y="584790"/>
            <a:ext cx="5029200" cy="1823653"/>
          </a:xfrm>
        </p:spPr>
        <p:txBody>
          <a:bodyPr anchor="b">
            <a:noAutofit/>
          </a:bodyPr>
          <a:lstStyle>
            <a:lvl1pPr marL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b="0" i="0" kern="1200" spc="0" baseline="0" dirty="0">
                <a:solidFill>
                  <a:schemeClr val="accent5"/>
                </a:solidFill>
                <a:latin typeface="+mj-lt"/>
                <a:ea typeface="+mj-lt"/>
                <a:cs typeface="+mj-lt"/>
              </a:defRPr>
            </a:lvl1pPr>
          </a:lstStyle>
          <a:p>
            <a:r>
              <a:rPr lang="en-US" dirty="0"/>
              <a:t>Click Here to Enter Title Franklin Gothic Medium 32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B0C4CA6-AE02-0D48-A545-7C30868F6999}"/>
              </a:ext>
            </a:extLst>
          </p:cNvPr>
          <p:cNvSpPr/>
          <p:nvPr userDrawn="1"/>
        </p:nvSpPr>
        <p:spPr>
          <a:xfrm>
            <a:off x="0" y="6428232"/>
            <a:ext cx="12188952" cy="36576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274DDB53-9E4E-014E-A6CD-69CE17B87A9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95872" y="2445021"/>
            <a:ext cx="6374989" cy="3749039"/>
          </a:xfrm>
        </p:spPr>
        <p:txBody>
          <a:bodyPr>
            <a:noAutofit/>
          </a:bodyPr>
          <a:lstStyle>
            <a:lvl1pPr>
              <a:defRPr sz="2400"/>
            </a:lvl1pPr>
            <a:lvl2pPr marL="466725" indent="-233363">
              <a:buFontTx/>
              <a:buBlip>
                <a:blip r:embed="rId2"/>
              </a:buBlip>
              <a:defRPr sz="2000"/>
            </a:lvl2pPr>
            <a:lvl3pPr marL="687388" indent="-219075">
              <a:buFontTx/>
              <a:buBlip>
                <a:blip r:embed="rId3"/>
              </a:buBlip>
              <a:defRPr sz="1800"/>
            </a:lvl3pPr>
            <a:lvl4pPr marL="860425" indent="-171450">
              <a:buFontTx/>
              <a:buBlip>
                <a:blip r:embed="rId3"/>
              </a:buBlip>
              <a:defRPr sz="1600"/>
            </a:lvl4pPr>
            <a:lvl5pPr marL="1035050" indent="-174625">
              <a:buFontTx/>
              <a:buBlip>
                <a:blip r:embed="rId3"/>
              </a:buBlip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8159395-376F-BA4E-A245-81C23C41EFF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945922" y="2445021"/>
            <a:ext cx="5029200" cy="3749039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algn="ctr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7901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Coll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83601E-988A-3C4C-B19E-4F622F3145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DFF4F9-3259-424F-A79D-4BA6CC1701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B0C4CA6-AE02-0D48-A545-7C30868F6999}"/>
              </a:ext>
            </a:extLst>
          </p:cNvPr>
          <p:cNvSpPr/>
          <p:nvPr userDrawn="1"/>
        </p:nvSpPr>
        <p:spPr>
          <a:xfrm>
            <a:off x="0" y="6428232"/>
            <a:ext cx="12188952" cy="36576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274DDB53-9E4E-014E-A6CD-69CE17B87A9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854890" y="1266049"/>
            <a:ext cx="6120232" cy="4659694"/>
          </a:xfrm>
        </p:spPr>
        <p:txBody>
          <a:bodyPr>
            <a:noAutofit/>
          </a:bodyPr>
          <a:lstStyle>
            <a:lvl1pPr>
              <a:defRPr sz="2400"/>
            </a:lvl1pPr>
            <a:lvl2pPr marL="466725" indent="-233363">
              <a:buFontTx/>
              <a:buBlip>
                <a:blip r:embed="rId2"/>
              </a:buBlip>
              <a:defRPr sz="2000"/>
            </a:lvl2pPr>
            <a:lvl3pPr marL="687388" indent="-219075">
              <a:buFontTx/>
              <a:buBlip>
                <a:blip r:embed="rId3"/>
              </a:buBlip>
              <a:defRPr sz="1800"/>
            </a:lvl3pPr>
            <a:lvl4pPr marL="860425" indent="-171450">
              <a:buFontTx/>
              <a:buBlip>
                <a:blip r:embed="rId3"/>
              </a:buBlip>
              <a:defRPr sz="1600"/>
            </a:lvl4pPr>
            <a:lvl5pPr marL="1035050" indent="-174625">
              <a:buFontTx/>
              <a:buBlip>
                <a:blip r:embed="rId3"/>
              </a:buBlip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8159395-376F-BA4E-A245-81C23C41EFF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28600" y="1266049"/>
            <a:ext cx="2602742" cy="2286000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marL="228543" indent="-228543" algn="ctr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32ED553-ECE6-1041-800C-39EAC54424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9527DC9-571C-0C45-B4B9-03BC172D6AD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28600" y="3639744"/>
            <a:ext cx="2602742" cy="2286000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marL="228543" indent="-228543" algn="ctr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18E4F4D7-E995-BB4A-9BFD-58A2425CA4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914367" y="1266049"/>
            <a:ext cx="2602742" cy="4659695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marL="228543" indent="-228543" algn="ctr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8126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Coll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83601E-988A-3C4C-B19E-4F622F3145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DFF4F9-3259-424F-A79D-4BA6CC1701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B0C4CA6-AE02-0D48-A545-7C30868F6999}"/>
              </a:ext>
            </a:extLst>
          </p:cNvPr>
          <p:cNvSpPr/>
          <p:nvPr userDrawn="1"/>
        </p:nvSpPr>
        <p:spPr>
          <a:xfrm>
            <a:off x="0" y="6428232"/>
            <a:ext cx="12188952" cy="36576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274DDB53-9E4E-014E-A6CD-69CE17B87A9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28600" y="1266049"/>
            <a:ext cx="6120232" cy="4659694"/>
          </a:xfrm>
        </p:spPr>
        <p:txBody>
          <a:bodyPr>
            <a:noAutofit/>
          </a:bodyPr>
          <a:lstStyle>
            <a:lvl1pPr>
              <a:defRPr sz="2400"/>
            </a:lvl1pPr>
            <a:lvl2pPr marL="466725" indent="-233363">
              <a:buFontTx/>
              <a:buBlip>
                <a:blip r:embed="rId2"/>
              </a:buBlip>
              <a:defRPr sz="2000"/>
            </a:lvl2pPr>
            <a:lvl3pPr marL="687388" indent="-219075">
              <a:buFontTx/>
              <a:buBlip>
                <a:blip r:embed="rId3"/>
              </a:buBlip>
              <a:defRPr sz="1800"/>
            </a:lvl3pPr>
            <a:lvl4pPr marL="860425" indent="-171450">
              <a:buFontTx/>
              <a:buBlip>
                <a:blip r:embed="rId3"/>
              </a:buBlip>
              <a:defRPr sz="1600"/>
            </a:lvl4pPr>
            <a:lvl5pPr marL="1035050" indent="-174625">
              <a:buFontTx/>
              <a:buBlip>
                <a:blip r:embed="rId3"/>
              </a:buBlip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8159395-376F-BA4E-A245-81C23C41EFF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86613" y="1266049"/>
            <a:ext cx="2602742" cy="2286000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algn="ctr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32ED553-ECE6-1041-800C-39EAC54424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9527DC9-571C-0C45-B4B9-03BC172D6AD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86613" y="3639744"/>
            <a:ext cx="2602742" cy="2286000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algn="ctr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18E4F4D7-E995-BB4A-9BFD-58A2425CA4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372380" y="1266049"/>
            <a:ext cx="2602742" cy="2743200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algn="ctr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12" name="Picture Placeholder 14">
            <a:extLst>
              <a:ext uri="{FF2B5EF4-FFF2-40B4-BE49-F238E27FC236}">
                <a16:creationId xmlns:a16="http://schemas.microsoft.com/office/drawing/2014/main" id="{E9066270-42DE-1A46-A7B4-D72A0CEE88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372380" y="4096944"/>
            <a:ext cx="2602742" cy="1828800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algn="ctr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4048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2EEA08-D3D3-F34C-8E1D-336037422E1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2020 Foldax, Inc. All rights reserved. Confidential information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1ABC00-B275-DF45-9CF3-F8EDC136752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9297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Width Picture">
    <p:bg>
      <p:bgPr>
        <a:solidFill>
          <a:schemeClr val="bg1">
            <a:alpha val="5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1">
            <a:extLst>
              <a:ext uri="{FF2B5EF4-FFF2-40B4-BE49-F238E27FC236}">
                <a16:creationId xmlns:a16="http://schemas.microsoft.com/office/drawing/2014/main" id="{D2E7A44D-1920-4B43-BCF4-DCFF44120A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40322" y="457201"/>
            <a:ext cx="1715541" cy="368690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F024D8-906D-D64D-A357-260368D6AA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>
                <a:solidFill>
                  <a:schemeClr val="bg1"/>
                </a:solidFill>
                <a:latin typeface="Raleway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5" name="1 Título">
            <a:extLst>
              <a:ext uri="{FF2B5EF4-FFF2-40B4-BE49-F238E27FC236}">
                <a16:creationId xmlns:a16="http://schemas.microsoft.com/office/drawing/2014/main" id="{004B95FC-B0E6-5B43-B5D6-1DE13EB7034B}"/>
              </a:ext>
            </a:extLst>
          </p:cNvPr>
          <p:cNvSpPr txBox="1">
            <a:spLocks/>
          </p:cNvSpPr>
          <p:nvPr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Termina" pitchFamily="2" charset="77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4E65B43-10E8-374E-B90D-8365735DD7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/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/Video</a:t>
            </a:r>
          </a:p>
        </p:txBody>
      </p:sp>
    </p:spTree>
    <p:extLst>
      <p:ext uri="{BB962C8B-B14F-4D97-AF65-F5344CB8AC3E}">
        <p14:creationId xmlns:p14="http://schemas.microsoft.com/office/powerpoint/2010/main" val="22103138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ldax Red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2D9271-FC21-3641-8DD1-407D199AE5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339061D5-5627-DF4C-855C-9D17316D6D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40322" y="457201"/>
            <a:ext cx="1715541" cy="368690"/>
          </a:xfrm>
          <a:prstGeom prst="rect">
            <a:avLst/>
          </a:prstGeom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2817268-5D0B-A643-A7EE-3238F687DC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>
                <a:solidFill>
                  <a:schemeClr val="bg1"/>
                </a:solidFill>
                <a:latin typeface="Raleway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6" name="1 Título">
            <a:extLst>
              <a:ext uri="{FF2B5EF4-FFF2-40B4-BE49-F238E27FC236}">
                <a16:creationId xmlns:a16="http://schemas.microsoft.com/office/drawing/2014/main" id="{C85312F2-076B-564D-8C39-09F3990EBF4E}"/>
              </a:ext>
            </a:extLst>
          </p:cNvPr>
          <p:cNvSpPr txBox="1">
            <a:spLocks/>
          </p:cNvSpPr>
          <p:nvPr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Termina" pitchFamily="2" charset="77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0577FB4-5B59-5F4B-8D4F-7F3917BCB2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2E4AAAA-23FA-5C44-B8D0-29420C6F3818}"/>
              </a:ext>
            </a:extLst>
          </p:cNvPr>
          <p:cNvSpPr txBox="1">
            <a:spLocks/>
          </p:cNvSpPr>
          <p:nvPr userDrawn="1"/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7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6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34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43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52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0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6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©2020 Foldax, Inc. All rights reserved. Confidential information.</a:t>
            </a:r>
          </a:p>
        </p:txBody>
      </p:sp>
      <p:sp>
        <p:nvSpPr>
          <p:cNvPr id="11" name="1 Título">
            <a:extLst>
              <a:ext uri="{FF2B5EF4-FFF2-40B4-BE49-F238E27FC236}">
                <a16:creationId xmlns:a16="http://schemas.microsoft.com/office/drawing/2014/main" id="{DC1FCF47-114C-9A49-A252-E0F9800C0F99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2" name="Slide Number Placeholder 12">
            <a:extLst>
              <a:ext uri="{FF2B5EF4-FFF2-40B4-BE49-F238E27FC236}">
                <a16:creationId xmlns:a16="http://schemas.microsoft.com/office/drawing/2014/main" id="{7A8D64E7-BB87-E04F-971F-316DDFE398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82046" y="6495543"/>
            <a:ext cx="293076" cy="282959"/>
          </a:xfrm>
          <a:prstGeom prst="rect">
            <a:avLst/>
          </a:prstGeom>
          <a:noFill/>
        </p:spPr>
        <p:txBody>
          <a:bodyPr vert="horz" lIns="18288" tIns="18288" rIns="18288" bIns="18288" rtlCol="0" anchor="ctr"/>
          <a:lstStyle>
            <a:lvl1pPr algn="ctr">
              <a:lnSpc>
                <a:spcPct val="100000"/>
              </a:lnSpc>
              <a:defRPr sz="105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DC975FC-85EB-CD44-A7B2-A196B2C945C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228601" y="412313"/>
            <a:ext cx="1341436" cy="27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6050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ldax Blu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2D9271-FC21-3641-8DD1-407D199AE5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339061D5-5627-DF4C-855C-9D17316D6D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40322" y="457201"/>
            <a:ext cx="1715541" cy="368690"/>
          </a:xfrm>
          <a:prstGeom prst="rect">
            <a:avLst/>
          </a:prstGeom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2817268-5D0B-A643-A7EE-3238F687DC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>
                <a:solidFill>
                  <a:schemeClr val="bg1"/>
                </a:solidFill>
                <a:latin typeface="Raleway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6" name="1 Título">
            <a:extLst>
              <a:ext uri="{FF2B5EF4-FFF2-40B4-BE49-F238E27FC236}">
                <a16:creationId xmlns:a16="http://schemas.microsoft.com/office/drawing/2014/main" id="{C85312F2-076B-564D-8C39-09F3990EBF4E}"/>
              </a:ext>
            </a:extLst>
          </p:cNvPr>
          <p:cNvSpPr txBox="1">
            <a:spLocks/>
          </p:cNvSpPr>
          <p:nvPr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Termina" pitchFamily="2" charset="77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0577FB4-5B59-5F4B-8D4F-7F3917BCB2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BE35C37-604B-F949-8990-99FC5B77561E}"/>
              </a:ext>
            </a:extLst>
          </p:cNvPr>
          <p:cNvSpPr txBox="1">
            <a:spLocks/>
          </p:cNvSpPr>
          <p:nvPr userDrawn="1"/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7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6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34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43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52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0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6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©2020 Foldax, Inc. All rights reserved. Confidential information.</a:t>
            </a:r>
          </a:p>
        </p:txBody>
      </p:sp>
      <p:sp>
        <p:nvSpPr>
          <p:cNvPr id="11" name="1 Título">
            <a:extLst>
              <a:ext uri="{FF2B5EF4-FFF2-40B4-BE49-F238E27FC236}">
                <a16:creationId xmlns:a16="http://schemas.microsoft.com/office/drawing/2014/main" id="{F276337E-A864-FD4C-8500-09B21FAF6FCE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2" name="Slide Number Placeholder 12">
            <a:extLst>
              <a:ext uri="{FF2B5EF4-FFF2-40B4-BE49-F238E27FC236}">
                <a16:creationId xmlns:a16="http://schemas.microsoft.com/office/drawing/2014/main" id="{E583B21D-5A5C-2548-95FA-472E53D72B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82046" y="6495543"/>
            <a:ext cx="293076" cy="282959"/>
          </a:xfrm>
          <a:prstGeom prst="rect">
            <a:avLst/>
          </a:prstGeom>
          <a:solidFill>
            <a:schemeClr val="accent1"/>
          </a:solidFill>
        </p:spPr>
        <p:txBody>
          <a:bodyPr vert="horz" lIns="18288" tIns="18288" rIns="18288" bIns="18288" rtlCol="0" anchor="ctr"/>
          <a:lstStyle>
            <a:lvl1pPr algn="ctr">
              <a:lnSpc>
                <a:spcPct val="100000"/>
              </a:lnSpc>
              <a:defRPr sz="105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255887A-66EB-214E-8CAD-92318B391A3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228601" y="412313"/>
            <a:ext cx="1341436" cy="27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8951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ldax Aubergin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2D9271-FC21-3641-8DD1-407D199AE5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D8AD96A-0292-C347-8371-7626B7DE0E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>
                <a:solidFill>
                  <a:schemeClr val="bg1"/>
                </a:solidFill>
                <a:latin typeface="Raleway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0" name="1 Título">
            <a:extLst>
              <a:ext uri="{FF2B5EF4-FFF2-40B4-BE49-F238E27FC236}">
                <a16:creationId xmlns:a16="http://schemas.microsoft.com/office/drawing/2014/main" id="{3C45C97E-45CA-4643-837C-C486B9FAE95E}"/>
              </a:ext>
            </a:extLst>
          </p:cNvPr>
          <p:cNvSpPr txBox="1">
            <a:spLocks/>
          </p:cNvSpPr>
          <p:nvPr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Termina" pitchFamily="2" charset="77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6F37DAE-3B96-EA4C-B086-8821ED3C736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2AF8DD8-D330-E249-87ED-8B3746385C75}"/>
              </a:ext>
            </a:extLst>
          </p:cNvPr>
          <p:cNvSpPr txBox="1">
            <a:spLocks/>
          </p:cNvSpPr>
          <p:nvPr userDrawn="1"/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7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6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34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43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52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0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6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©2020 Foldax, Inc. All rights reserved. Confidential information.</a:t>
            </a:r>
          </a:p>
        </p:txBody>
      </p:sp>
      <p:sp>
        <p:nvSpPr>
          <p:cNvPr id="12" name="1 Título">
            <a:extLst>
              <a:ext uri="{FF2B5EF4-FFF2-40B4-BE49-F238E27FC236}">
                <a16:creationId xmlns:a16="http://schemas.microsoft.com/office/drawing/2014/main" id="{9267CEFE-32CB-4C4D-840C-E992550DE795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7375398D-EA2A-4746-BA06-F03C7181F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82046" y="6495543"/>
            <a:ext cx="293076" cy="282959"/>
          </a:xfrm>
          <a:prstGeom prst="rect">
            <a:avLst/>
          </a:prstGeom>
          <a:solidFill>
            <a:schemeClr val="accent1"/>
          </a:solidFill>
        </p:spPr>
        <p:txBody>
          <a:bodyPr vert="horz" lIns="18288" tIns="18288" rIns="18288" bIns="18288" rtlCol="0" anchor="ctr"/>
          <a:lstStyle>
            <a:lvl1pPr algn="ctr">
              <a:lnSpc>
                <a:spcPct val="100000"/>
              </a:lnSpc>
              <a:defRPr sz="105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1FA9115-D7DD-EF4F-8AD8-03E1631E5B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28601" y="412313"/>
            <a:ext cx="1341436" cy="27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11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B -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AB5F8B1-5B94-654B-824F-F969DB983C14}"/>
              </a:ext>
            </a:extLst>
          </p:cNvPr>
          <p:cNvSpPr/>
          <p:nvPr/>
        </p:nvSpPr>
        <p:spPr>
          <a:xfrm>
            <a:off x="5733288" y="0"/>
            <a:ext cx="645871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3636EA39-3990-3240-938D-452D946347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733288" cy="6858000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Icon to Add Picture/Video</a:t>
            </a: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DF3C0A32-8CA1-DA41-B49D-3A127566BC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8575" y="1938198"/>
            <a:ext cx="5029200" cy="1618488"/>
          </a:xfrm>
        </p:spPr>
        <p:txBody>
          <a:bodyPr anchor="b">
            <a:noAutofit/>
          </a:bodyPr>
          <a:lstStyle>
            <a:lvl1pPr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0" i="0" kern="1200" spc="1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itle Goes Here Franklin Gothic Medium 28 on 1-4 Lines Up to 12-15 Word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CBEDAE1-D6BB-9C45-AFE8-B16E82ABB6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98575" y="3729804"/>
            <a:ext cx="5029200" cy="914400"/>
          </a:xfrm>
        </p:spPr>
        <p:txBody>
          <a:bodyPr anchor="ctr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en-US" sz="2000" b="0" i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3362" indent="0">
              <a:buNone/>
              <a:defRPr/>
            </a:lvl2pPr>
          </a:lstStyle>
          <a:p>
            <a:r>
              <a:rPr lang="en-US" dirty="0"/>
              <a:t>Subtitle Here Franklin Gothic Book 20 on 2-3 Lines Up to 20-25 Words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endParaRPr lang="en-US" dirty="0"/>
          </a:p>
        </p:txBody>
      </p:sp>
      <p:pic>
        <p:nvPicPr>
          <p:cNvPr id="18" name="Picture 11">
            <a:extLst>
              <a:ext uri="{FF2B5EF4-FFF2-40B4-BE49-F238E27FC236}">
                <a16:creationId xmlns:a16="http://schemas.microsoft.com/office/drawing/2014/main" id="{8713B120-C6D3-5E4D-B1F0-4A8E343201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276844" y="5976034"/>
            <a:ext cx="1371600" cy="28170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85BDD5E4-E26E-A54B-935D-04E1999DC160}"/>
              </a:ext>
            </a:extLst>
          </p:cNvPr>
          <p:cNvSpPr/>
          <p:nvPr/>
        </p:nvSpPr>
        <p:spPr>
          <a:xfrm>
            <a:off x="0" y="0"/>
            <a:ext cx="5733798" cy="6858000"/>
          </a:xfrm>
          <a:prstGeom prst="rect">
            <a:avLst/>
          </a:prstGeom>
          <a:gradFill flip="none" rotWithShape="1">
            <a:gsLst>
              <a:gs pos="50000">
                <a:schemeClr val="tx1">
                  <a:alpha val="0"/>
                </a:schemeClr>
              </a:gs>
              <a:gs pos="19000">
                <a:schemeClr val="tx1"/>
              </a:gs>
              <a:gs pos="89000">
                <a:schemeClr val="tx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4E6EBD5-39E6-A842-AC62-FB8658ACE837}"/>
              </a:ext>
            </a:extLst>
          </p:cNvPr>
          <p:cNvSpPr txBox="1"/>
          <p:nvPr userDrawn="1"/>
        </p:nvSpPr>
        <p:spPr>
          <a:xfrm>
            <a:off x="7770028" y="132798"/>
            <a:ext cx="238523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0" dirty="0">
                <a:solidFill>
                  <a:schemeClr val="bg1"/>
                </a:solidFill>
                <a:latin typeface="+mj-lt"/>
              </a:rPr>
              <a:t>WWW.FOLDAX.CO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FC7DFF-A425-CD45-AF9F-0729191C2E3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03720" y="6419088"/>
            <a:ext cx="4114800" cy="365125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1311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ldax Dk Blue Backgroun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2D9271-FC21-3641-8DD1-407D199AE5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339061D5-5627-DF4C-855C-9D17316D6D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40322" y="457201"/>
            <a:ext cx="1715541" cy="368690"/>
          </a:xfrm>
          <a:prstGeom prst="rect">
            <a:avLst/>
          </a:prstGeom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2817268-5D0B-A643-A7EE-3238F687DC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>
                <a:solidFill>
                  <a:schemeClr val="bg1"/>
                </a:solidFill>
                <a:latin typeface="Raleway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6" name="1 Título">
            <a:extLst>
              <a:ext uri="{FF2B5EF4-FFF2-40B4-BE49-F238E27FC236}">
                <a16:creationId xmlns:a16="http://schemas.microsoft.com/office/drawing/2014/main" id="{C85312F2-076B-564D-8C39-09F3990EBF4E}"/>
              </a:ext>
            </a:extLst>
          </p:cNvPr>
          <p:cNvSpPr txBox="1">
            <a:spLocks/>
          </p:cNvSpPr>
          <p:nvPr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Termina" pitchFamily="2" charset="77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0577FB4-5B59-5F4B-8D4F-7F3917BCB2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0FC5766-8326-4A4B-9A63-713182E72D20}"/>
              </a:ext>
            </a:extLst>
          </p:cNvPr>
          <p:cNvSpPr txBox="1">
            <a:spLocks/>
          </p:cNvSpPr>
          <p:nvPr userDrawn="1"/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7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6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34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43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52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0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6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©2020 Foldax, Inc. All rights reserved. Confidential information.</a:t>
            </a:r>
          </a:p>
        </p:txBody>
      </p:sp>
      <p:sp>
        <p:nvSpPr>
          <p:cNvPr id="11" name="1 Título">
            <a:extLst>
              <a:ext uri="{FF2B5EF4-FFF2-40B4-BE49-F238E27FC236}">
                <a16:creationId xmlns:a16="http://schemas.microsoft.com/office/drawing/2014/main" id="{6C13071A-D6A8-1241-97EC-3766B8054F48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2" name="Slide Number Placeholder 12">
            <a:extLst>
              <a:ext uri="{FF2B5EF4-FFF2-40B4-BE49-F238E27FC236}">
                <a16:creationId xmlns:a16="http://schemas.microsoft.com/office/drawing/2014/main" id="{3A6F27D1-1AD6-5A42-A6EE-BD63124579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82046" y="6495543"/>
            <a:ext cx="293076" cy="282959"/>
          </a:xfrm>
          <a:prstGeom prst="rect">
            <a:avLst/>
          </a:prstGeom>
          <a:solidFill>
            <a:schemeClr val="accent1"/>
          </a:solidFill>
        </p:spPr>
        <p:txBody>
          <a:bodyPr vert="horz" lIns="18288" tIns="18288" rIns="18288" bIns="18288" rtlCol="0" anchor="ctr"/>
          <a:lstStyle>
            <a:lvl1pPr algn="ctr">
              <a:lnSpc>
                <a:spcPct val="100000"/>
              </a:lnSpc>
              <a:defRPr sz="105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766FEDE-0523-B94C-8B10-21CD0F9352A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228601" y="412313"/>
            <a:ext cx="1341436" cy="27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2630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ldax Azur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2D9271-FC21-3641-8DD1-407D199AE5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339061D5-5627-DF4C-855C-9D17316D6D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40322" y="457201"/>
            <a:ext cx="1715541" cy="368690"/>
          </a:xfrm>
          <a:prstGeom prst="rect">
            <a:avLst/>
          </a:prstGeom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2817268-5D0B-A643-A7EE-3238F687DC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>
                <a:solidFill>
                  <a:schemeClr val="bg1"/>
                </a:solidFill>
                <a:latin typeface="Raleway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6" name="1 Título">
            <a:extLst>
              <a:ext uri="{FF2B5EF4-FFF2-40B4-BE49-F238E27FC236}">
                <a16:creationId xmlns:a16="http://schemas.microsoft.com/office/drawing/2014/main" id="{C85312F2-076B-564D-8C39-09F3990EBF4E}"/>
              </a:ext>
            </a:extLst>
          </p:cNvPr>
          <p:cNvSpPr txBox="1">
            <a:spLocks/>
          </p:cNvSpPr>
          <p:nvPr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Termina" pitchFamily="2" charset="77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0577FB4-5B59-5F4B-8D4F-7F3917BCB2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101E45A-7C69-9A47-A76E-007B2562A158}"/>
              </a:ext>
            </a:extLst>
          </p:cNvPr>
          <p:cNvSpPr txBox="1">
            <a:spLocks/>
          </p:cNvSpPr>
          <p:nvPr userDrawn="1"/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7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6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34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43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52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0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6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©2020 Foldax, Inc. All rights reserved. Confidential information.</a:t>
            </a:r>
          </a:p>
        </p:txBody>
      </p:sp>
      <p:sp>
        <p:nvSpPr>
          <p:cNvPr id="12" name="Slide Number Placeholder 12">
            <a:extLst>
              <a:ext uri="{FF2B5EF4-FFF2-40B4-BE49-F238E27FC236}">
                <a16:creationId xmlns:a16="http://schemas.microsoft.com/office/drawing/2014/main" id="{00E12E56-1FAC-6342-AE32-ABC2E3D6BA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82046" y="6495543"/>
            <a:ext cx="293076" cy="282959"/>
          </a:xfrm>
          <a:prstGeom prst="rect">
            <a:avLst/>
          </a:prstGeom>
          <a:solidFill>
            <a:schemeClr val="accent1"/>
          </a:solidFill>
        </p:spPr>
        <p:txBody>
          <a:bodyPr vert="horz" lIns="18288" tIns="18288" rIns="18288" bIns="18288" rtlCol="0" anchor="ctr"/>
          <a:lstStyle>
            <a:lvl1pPr algn="ctr">
              <a:lnSpc>
                <a:spcPct val="100000"/>
              </a:lnSpc>
              <a:defRPr sz="105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1 Título">
            <a:extLst>
              <a:ext uri="{FF2B5EF4-FFF2-40B4-BE49-F238E27FC236}">
                <a16:creationId xmlns:a16="http://schemas.microsoft.com/office/drawing/2014/main" id="{0FC70E8E-2B98-AD4F-8479-4DFBFDE9113D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E2ABFA4-C072-D84E-967B-4FBD76EAB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228601" y="412313"/>
            <a:ext cx="1341436" cy="27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2821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ldax Ash Grey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2D9271-FC21-3641-8DD1-407D199AE5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248E1979-3161-6841-A377-5F76359454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58600" y="6329220"/>
            <a:ext cx="293076" cy="28295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AB387DE-BFEA-C74E-BFE2-130331C505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>
                <a:solidFill>
                  <a:schemeClr val="bg1"/>
                </a:solidFill>
                <a:latin typeface="Raleway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0" name="1 Título">
            <a:extLst>
              <a:ext uri="{FF2B5EF4-FFF2-40B4-BE49-F238E27FC236}">
                <a16:creationId xmlns:a16="http://schemas.microsoft.com/office/drawing/2014/main" id="{EDA92B61-A825-574D-8D03-6D53410B415A}"/>
              </a:ext>
            </a:extLst>
          </p:cNvPr>
          <p:cNvSpPr txBox="1">
            <a:spLocks/>
          </p:cNvSpPr>
          <p:nvPr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Termina" pitchFamily="2" charset="77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82E39EE-5C85-D94E-A5D9-AE1AD2680F8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CE13DFE-66B5-DB40-ADE0-0F8A7AE6DFC4}"/>
              </a:ext>
            </a:extLst>
          </p:cNvPr>
          <p:cNvSpPr txBox="1">
            <a:spLocks/>
          </p:cNvSpPr>
          <p:nvPr userDrawn="1"/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7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6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34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43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52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0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6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©2020 Foldax, Inc. All rights reserved. Confidential information.</a:t>
            </a:r>
          </a:p>
        </p:txBody>
      </p:sp>
      <p:sp>
        <p:nvSpPr>
          <p:cNvPr id="14" name="1 Título">
            <a:extLst>
              <a:ext uri="{FF2B5EF4-FFF2-40B4-BE49-F238E27FC236}">
                <a16:creationId xmlns:a16="http://schemas.microsoft.com/office/drawing/2014/main" id="{2EC4CDFC-5CC3-9544-86DA-45E63D56C417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5" name="Slide Number Placeholder 12">
            <a:extLst>
              <a:ext uri="{FF2B5EF4-FFF2-40B4-BE49-F238E27FC236}">
                <a16:creationId xmlns:a16="http://schemas.microsoft.com/office/drawing/2014/main" id="{F19E1099-DA3D-2949-A49C-7C538C5D86A0}"/>
              </a:ext>
            </a:extLst>
          </p:cNvPr>
          <p:cNvSpPr txBox="1">
            <a:spLocks/>
          </p:cNvSpPr>
          <p:nvPr userDrawn="1"/>
        </p:nvSpPr>
        <p:spPr>
          <a:xfrm>
            <a:off x="11682046" y="6495543"/>
            <a:ext cx="293076" cy="282959"/>
          </a:xfrm>
          <a:prstGeom prst="rect">
            <a:avLst/>
          </a:prstGeom>
          <a:solidFill>
            <a:schemeClr val="accent1"/>
          </a:solidFill>
        </p:spPr>
        <p:txBody>
          <a:bodyPr vert="horz" lIns="18288" tIns="18288" rIns="18288" bIns="18288" rtlCol="0" anchor="ctr"/>
          <a:lstStyle>
            <a:defPPr>
              <a:defRPr lang="en-US"/>
            </a:defPPr>
            <a:lvl1pPr marL="0" algn="ctr" defTabSz="914217" rtl="0" eaLnBrk="1" latinLnBrk="0" hangingPunct="1">
              <a:lnSpc>
                <a:spcPct val="100000"/>
              </a:lnSpc>
              <a:defRPr sz="1050" b="0" i="0" kern="12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10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7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6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34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43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52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0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6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5BFE277-5FAC-FD45-8047-AC3B14EF3A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28601" y="412313"/>
            <a:ext cx="1341436" cy="27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3683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ldax Gradient Background">
    <p:bg>
      <p:bgPr>
        <a:gradFill>
          <a:gsLst>
            <a:gs pos="50000">
              <a:schemeClr val="accent2"/>
            </a:gs>
            <a:gs pos="0">
              <a:schemeClr val="accent1"/>
            </a:gs>
            <a:gs pos="100000">
              <a:schemeClr val="accent4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2D9271-FC21-3641-8DD1-407D199AE5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AB387DE-BFEA-C74E-BFE2-130331C505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>
                <a:solidFill>
                  <a:schemeClr val="bg1"/>
                </a:solidFill>
                <a:latin typeface="Raleway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0" name="1 Título">
            <a:extLst>
              <a:ext uri="{FF2B5EF4-FFF2-40B4-BE49-F238E27FC236}">
                <a16:creationId xmlns:a16="http://schemas.microsoft.com/office/drawing/2014/main" id="{EDA92B61-A825-574D-8D03-6D53410B415A}"/>
              </a:ext>
            </a:extLst>
          </p:cNvPr>
          <p:cNvSpPr txBox="1">
            <a:spLocks/>
          </p:cNvSpPr>
          <p:nvPr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Termina" pitchFamily="2" charset="77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82E39EE-5C85-D94E-A5D9-AE1AD2680F8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2DB28877-09D2-0D45-9F11-BDF54C5EB8C1}"/>
              </a:ext>
            </a:extLst>
          </p:cNvPr>
          <p:cNvSpPr txBox="1">
            <a:spLocks/>
          </p:cNvSpPr>
          <p:nvPr userDrawn="1"/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7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6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34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43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52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0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6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©2020 Foldax, Inc. All rights reserved. Confidential information.</a:t>
            </a:r>
          </a:p>
        </p:txBody>
      </p:sp>
      <p:sp>
        <p:nvSpPr>
          <p:cNvPr id="16" name="1 Título">
            <a:extLst>
              <a:ext uri="{FF2B5EF4-FFF2-40B4-BE49-F238E27FC236}">
                <a16:creationId xmlns:a16="http://schemas.microsoft.com/office/drawing/2014/main" id="{F9629160-7304-9442-9BAE-EA9679F69497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7" name="Slide Number Placeholder 12">
            <a:extLst>
              <a:ext uri="{FF2B5EF4-FFF2-40B4-BE49-F238E27FC236}">
                <a16:creationId xmlns:a16="http://schemas.microsoft.com/office/drawing/2014/main" id="{582388C6-724A-0C4D-9884-B3EE5486F0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82046" y="6495543"/>
            <a:ext cx="293076" cy="282959"/>
          </a:xfrm>
          <a:prstGeom prst="rect">
            <a:avLst/>
          </a:prstGeom>
          <a:noFill/>
        </p:spPr>
        <p:txBody>
          <a:bodyPr vert="horz" lIns="18288" tIns="18288" rIns="18288" bIns="18288" rtlCol="0" anchor="ctr"/>
          <a:lstStyle>
            <a:lvl1pPr algn="ctr">
              <a:lnSpc>
                <a:spcPct val="100000"/>
              </a:lnSpc>
              <a:defRPr sz="105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610B95-2F80-6E48-B6E7-054451C3AC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28601" y="412313"/>
            <a:ext cx="1341436" cy="27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7289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ldax Dk Blue Bottom Ba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573DD42-1EDA-7745-B6DF-F65729091ADA}"/>
              </a:ext>
            </a:extLst>
          </p:cNvPr>
          <p:cNvSpPr/>
          <p:nvPr/>
        </p:nvSpPr>
        <p:spPr>
          <a:xfrm>
            <a:off x="0" y="6276109"/>
            <a:ext cx="12192000" cy="5818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1" name="Picture 11">
            <a:extLst>
              <a:ext uri="{FF2B5EF4-FFF2-40B4-BE49-F238E27FC236}">
                <a16:creationId xmlns:a16="http://schemas.microsoft.com/office/drawing/2014/main" id="{35AACD7D-0892-FF42-A37B-663C5F2413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40322" y="465371"/>
            <a:ext cx="1715541" cy="352350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716A9B4-40E3-1F4D-BED8-1E7491CF56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9" name="1 Título">
            <a:extLst>
              <a:ext uri="{FF2B5EF4-FFF2-40B4-BE49-F238E27FC236}">
                <a16:creationId xmlns:a16="http://schemas.microsoft.com/office/drawing/2014/main" id="{F19401CD-D5B0-A041-9EFE-9A881CD9742F}"/>
              </a:ext>
            </a:extLst>
          </p:cNvPr>
          <p:cNvSpPr txBox="1">
            <a:spLocks/>
          </p:cNvSpPr>
          <p:nvPr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0" name="Slide Number Placeholder 12">
            <a:extLst>
              <a:ext uri="{FF2B5EF4-FFF2-40B4-BE49-F238E27FC236}">
                <a16:creationId xmlns:a16="http://schemas.microsoft.com/office/drawing/2014/main" id="{66A2EF65-9F4E-494F-A562-5878A62785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82046" y="6495543"/>
            <a:ext cx="293076" cy="282959"/>
          </a:xfrm>
          <a:prstGeom prst="rect">
            <a:avLst/>
          </a:prstGeom>
          <a:solidFill>
            <a:schemeClr val="accent1"/>
          </a:solidFill>
        </p:spPr>
        <p:txBody>
          <a:bodyPr vert="horz" lIns="18288" tIns="18288" rIns="18288" bIns="18288" rtlCol="0" anchor="ctr"/>
          <a:lstStyle>
            <a:lvl1pPr algn="ctr">
              <a:lnSpc>
                <a:spcPct val="100000"/>
              </a:lnSpc>
              <a:defRPr sz="105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1754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Quot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573DD42-1EDA-7745-B6DF-F65729091ADA}"/>
              </a:ext>
            </a:extLst>
          </p:cNvPr>
          <p:cNvSpPr/>
          <p:nvPr/>
        </p:nvSpPr>
        <p:spPr>
          <a:xfrm>
            <a:off x="0" y="6276109"/>
            <a:ext cx="12192000" cy="5818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1" name="Picture 11">
            <a:extLst>
              <a:ext uri="{FF2B5EF4-FFF2-40B4-BE49-F238E27FC236}">
                <a16:creationId xmlns:a16="http://schemas.microsoft.com/office/drawing/2014/main" id="{35AACD7D-0892-FF42-A37B-663C5F2413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40322" y="465371"/>
            <a:ext cx="1715541" cy="352350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716A9B4-40E3-1F4D-BED8-1E7491CF56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9" name="1 Título">
            <a:extLst>
              <a:ext uri="{FF2B5EF4-FFF2-40B4-BE49-F238E27FC236}">
                <a16:creationId xmlns:a16="http://schemas.microsoft.com/office/drawing/2014/main" id="{F19401CD-D5B0-A041-9EFE-9A881CD9742F}"/>
              </a:ext>
            </a:extLst>
          </p:cNvPr>
          <p:cNvSpPr txBox="1">
            <a:spLocks/>
          </p:cNvSpPr>
          <p:nvPr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0" name="Slide Number Placeholder 12">
            <a:extLst>
              <a:ext uri="{FF2B5EF4-FFF2-40B4-BE49-F238E27FC236}">
                <a16:creationId xmlns:a16="http://schemas.microsoft.com/office/drawing/2014/main" id="{66A2EF65-9F4E-494F-A562-5878A62785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82046" y="6495543"/>
            <a:ext cx="293076" cy="282959"/>
          </a:xfrm>
          <a:prstGeom prst="rect">
            <a:avLst/>
          </a:prstGeom>
          <a:solidFill>
            <a:schemeClr val="accent1"/>
          </a:solidFill>
        </p:spPr>
        <p:txBody>
          <a:bodyPr vert="horz" lIns="18288" tIns="18288" rIns="18288" bIns="18288" rtlCol="0" anchor="ctr">
            <a:noAutofit/>
          </a:bodyPr>
          <a:lstStyle>
            <a:lvl1pPr algn="ctr">
              <a:lnSpc>
                <a:spcPct val="100000"/>
              </a:lnSpc>
              <a:defRPr sz="105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A6FB16-CE5A-A04F-A7C9-C4B9B66EF8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611" y="2226407"/>
            <a:ext cx="7982712" cy="2834640"/>
          </a:xfrm>
        </p:spPr>
        <p:txBody>
          <a:bodyPr>
            <a:noAutofit/>
          </a:bodyPr>
          <a:lstStyle>
            <a:lvl1pPr marL="0" indent="0" algn="l" defTabSz="914217" rtl="0" eaLnBrk="1" latinLnBrk="0" hangingPunct="1">
              <a:lnSpc>
                <a:spcPct val="90000"/>
              </a:lnSpc>
              <a:buFontTx/>
              <a:buNone/>
              <a:defRPr lang="en-US" sz="6600" b="1" kern="1200" spc="1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217" rtl="0" eaLnBrk="1" latinLnBrk="0" hangingPunct="1">
              <a:lnSpc>
                <a:spcPct val="90000"/>
              </a:lnSpc>
              <a:buFontTx/>
              <a:buNone/>
              <a:defRPr lang="en-US" sz="6600" b="1" kern="1200" spc="1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l" defTabSz="914217" rtl="0" eaLnBrk="1" latinLnBrk="0" hangingPunct="1">
              <a:lnSpc>
                <a:spcPct val="90000"/>
              </a:lnSpc>
              <a:buFontTx/>
              <a:buNone/>
              <a:defRPr lang="en-US" sz="6600" b="1" kern="1200" spc="1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l" defTabSz="914217" rtl="0" eaLnBrk="1" latinLnBrk="0" hangingPunct="1">
              <a:lnSpc>
                <a:spcPct val="90000"/>
              </a:lnSpc>
              <a:buFontTx/>
              <a:buNone/>
              <a:defRPr lang="en-US" sz="6600" b="1" kern="1200" spc="1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l" defTabSz="914217" rtl="0" eaLnBrk="1" latinLnBrk="0" hangingPunct="1">
              <a:lnSpc>
                <a:spcPct val="90000"/>
              </a:lnSpc>
              <a:buFontTx/>
              <a:buNone/>
              <a:defRPr lang="en-US" sz="6600" b="1" kern="1200" spc="1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>
              <a:lnSpc>
                <a:spcPct val="90000"/>
              </a:lnSpc>
            </a:pPr>
            <a:r>
              <a:rPr lang="en-US" sz="6600" b="1" spc="1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“Insert quote here Franklin Gothic Medium Bold 66pt.”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94AAAF-DF99-6544-8029-A4D7002F73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39449" y="4917931"/>
            <a:ext cx="9500616" cy="274320"/>
          </a:xfrm>
        </p:spPr>
        <p:txBody>
          <a:bodyPr anchor="ctr">
            <a:noAutofit/>
          </a:bodyPr>
          <a:lstStyle>
            <a:lvl1pPr marL="0" marR="0" indent="0" algn="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 lang="en-US" sz="1400" kern="1200" spc="1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0" indent="0" algn="r" defTabSz="914217" rtl="0" eaLnBrk="1" latinLnBrk="0" hangingPunct="1">
              <a:lnSpc>
                <a:spcPct val="90000"/>
              </a:lnSpc>
              <a:buFontTx/>
              <a:buNone/>
              <a:defRPr lang="en-US" sz="1400" kern="1200" spc="1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 marL="0" indent="0" algn="r" defTabSz="914217" rtl="0" eaLnBrk="1" latinLnBrk="0" hangingPunct="1">
              <a:lnSpc>
                <a:spcPct val="90000"/>
              </a:lnSpc>
              <a:buFontTx/>
              <a:buNone/>
              <a:defRPr lang="en-US" sz="1400" kern="1200" spc="1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 marL="0" indent="0" algn="r" defTabSz="914217" rtl="0" eaLnBrk="1" latinLnBrk="0" hangingPunct="1">
              <a:lnSpc>
                <a:spcPct val="90000"/>
              </a:lnSpc>
              <a:buFontTx/>
              <a:buNone/>
              <a:defRPr lang="en-US" sz="1400" kern="1200" spc="1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 marL="0" indent="0" algn="r" defTabSz="914217" rtl="0" eaLnBrk="1" latinLnBrk="0" hangingPunct="1">
              <a:lnSpc>
                <a:spcPct val="90000"/>
              </a:lnSpc>
              <a:buFontTx/>
              <a:buNone/>
              <a:defRPr lang="en-US" sz="1400" kern="1200" spc="10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marL="0" marR="0" lvl="0" indent="0" algn="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sz="1400" spc="100" dirty="0">
                <a:solidFill>
                  <a:schemeClr val="bg1"/>
                </a:solidFill>
                <a:ea typeface="+mj-ea"/>
                <a:cs typeface="+mj-cs"/>
              </a:rPr>
              <a:t>—PERSON</a:t>
            </a:r>
          </a:p>
        </p:txBody>
      </p:sp>
    </p:spTree>
    <p:extLst>
      <p:ext uri="{BB962C8B-B14F-4D97-AF65-F5344CB8AC3E}">
        <p14:creationId xmlns:p14="http://schemas.microsoft.com/office/powerpoint/2010/main" val="27712020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ldax Red Bottom Ba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573DD42-1EDA-7745-B6DF-F65729091ADA}"/>
              </a:ext>
            </a:extLst>
          </p:cNvPr>
          <p:cNvSpPr/>
          <p:nvPr/>
        </p:nvSpPr>
        <p:spPr>
          <a:xfrm>
            <a:off x="0" y="6276109"/>
            <a:ext cx="12192000" cy="5818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02ABDFA-43DE-7643-9808-F3D6AAFCC0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9" name="1 Título">
            <a:extLst>
              <a:ext uri="{FF2B5EF4-FFF2-40B4-BE49-F238E27FC236}">
                <a16:creationId xmlns:a16="http://schemas.microsoft.com/office/drawing/2014/main" id="{1A9C1463-6A70-5548-B441-69CD67863E4F}"/>
              </a:ext>
            </a:extLst>
          </p:cNvPr>
          <p:cNvSpPr txBox="1">
            <a:spLocks/>
          </p:cNvSpPr>
          <p:nvPr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0" name="Slide Number Placeholder 12">
            <a:extLst>
              <a:ext uri="{FF2B5EF4-FFF2-40B4-BE49-F238E27FC236}">
                <a16:creationId xmlns:a16="http://schemas.microsoft.com/office/drawing/2014/main" id="{A69863CB-79A4-F946-9D87-E7DF868001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82046" y="6495543"/>
            <a:ext cx="293076" cy="282959"/>
          </a:xfrm>
          <a:prstGeom prst="rect">
            <a:avLst/>
          </a:prstGeom>
          <a:solidFill>
            <a:schemeClr val="accent1"/>
          </a:solidFill>
        </p:spPr>
        <p:txBody>
          <a:bodyPr vert="horz" lIns="18288" tIns="18288" rIns="18288" bIns="18288" rtlCol="0" anchor="ctr"/>
          <a:lstStyle>
            <a:lvl1pPr algn="ctr">
              <a:lnSpc>
                <a:spcPct val="100000"/>
              </a:lnSpc>
              <a:defRPr sz="105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1">
            <a:extLst>
              <a:ext uri="{FF2B5EF4-FFF2-40B4-BE49-F238E27FC236}">
                <a16:creationId xmlns:a16="http://schemas.microsoft.com/office/drawing/2014/main" id="{20CEB14F-4F94-6744-844A-4BF7F4AD89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40322" y="465371"/>
            <a:ext cx="1715541" cy="352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2095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Quotes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573DD42-1EDA-7745-B6DF-F65729091ADA}"/>
              </a:ext>
            </a:extLst>
          </p:cNvPr>
          <p:cNvSpPr/>
          <p:nvPr/>
        </p:nvSpPr>
        <p:spPr>
          <a:xfrm>
            <a:off x="0" y="6276109"/>
            <a:ext cx="12192000" cy="5818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02ABDFA-43DE-7643-9808-F3D6AAFCC0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9" name="1 Título">
            <a:extLst>
              <a:ext uri="{FF2B5EF4-FFF2-40B4-BE49-F238E27FC236}">
                <a16:creationId xmlns:a16="http://schemas.microsoft.com/office/drawing/2014/main" id="{1A9C1463-6A70-5548-B441-69CD67863E4F}"/>
              </a:ext>
            </a:extLst>
          </p:cNvPr>
          <p:cNvSpPr txBox="1">
            <a:spLocks/>
          </p:cNvSpPr>
          <p:nvPr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0" name="Slide Number Placeholder 12">
            <a:extLst>
              <a:ext uri="{FF2B5EF4-FFF2-40B4-BE49-F238E27FC236}">
                <a16:creationId xmlns:a16="http://schemas.microsoft.com/office/drawing/2014/main" id="{A69863CB-79A4-F946-9D87-E7DF868001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82046" y="6495543"/>
            <a:ext cx="293076" cy="282959"/>
          </a:xfrm>
          <a:prstGeom prst="rect">
            <a:avLst/>
          </a:prstGeom>
          <a:solidFill>
            <a:schemeClr val="accent1"/>
          </a:solidFill>
        </p:spPr>
        <p:txBody>
          <a:bodyPr vert="horz" lIns="18288" tIns="18288" rIns="18288" bIns="18288" rtlCol="0" anchor="ctr">
            <a:noAutofit/>
          </a:bodyPr>
          <a:lstStyle>
            <a:lvl1pPr algn="ctr">
              <a:lnSpc>
                <a:spcPct val="100000"/>
              </a:lnSpc>
              <a:defRPr sz="105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1">
            <a:extLst>
              <a:ext uri="{FF2B5EF4-FFF2-40B4-BE49-F238E27FC236}">
                <a16:creationId xmlns:a16="http://schemas.microsoft.com/office/drawing/2014/main" id="{20CEB14F-4F94-6744-844A-4BF7F4AD89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40322" y="465371"/>
            <a:ext cx="1715541" cy="35235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0B3D88-DD7C-C148-9639-409970E37C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7112" y="1876048"/>
            <a:ext cx="9637776" cy="3044952"/>
          </a:xfrm>
        </p:spPr>
        <p:txBody>
          <a:bodyPr>
            <a:noAutofit/>
          </a:bodyPr>
          <a:lstStyle>
            <a:lvl1pPr marL="0" algn="ctr" defTabSz="914217" rtl="0" eaLnBrk="1" latinLnBrk="0" hangingPunct="1">
              <a:defRPr lang="en-US" sz="2800" b="1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ctr" defTabSz="914217" rtl="0" eaLnBrk="1" latinLnBrk="0" hangingPunct="1">
              <a:defRPr lang="en-US" sz="2800" b="1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ctr" defTabSz="914217" rtl="0" eaLnBrk="1" latinLnBrk="0" hangingPunct="1">
              <a:defRPr lang="en-US" sz="2800" b="1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ctr" defTabSz="914217" rtl="0" eaLnBrk="1" latinLnBrk="0" hangingPunct="1">
              <a:defRPr lang="en-US" sz="2800" b="1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ctr" defTabSz="914217" rtl="0" eaLnBrk="1" latinLnBrk="0" hangingPunct="1">
              <a:defRPr lang="en-US" sz="28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algn="ctr"/>
            <a:r>
              <a:rPr lang="en-US" sz="2800" b="1" dirty="0">
                <a:solidFill>
                  <a:schemeClr val="bg1"/>
                </a:solidFill>
                <a:latin typeface="+mj-lt"/>
              </a:rPr>
              <a:t>LOREM IPSUM DOLOR SIT AMET, CONSECTETUER ADIPISCING ELIT. MAECENAS PORTTITOR CONGUE MASSA. FUSCE POSUERE, FRANKLIN GOTHIC BOLD 28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08F45C-D515-F94D-9DAE-DD9B8D7E05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9953" y="4215140"/>
            <a:ext cx="4700016" cy="594360"/>
          </a:xfrm>
        </p:spPr>
        <p:txBody>
          <a:bodyPr>
            <a:noAutofit/>
          </a:bodyPr>
          <a:lstStyle>
            <a:lvl1pPr marL="0" indent="0" algn="l" defTabSz="914217" rtl="0" eaLnBrk="1" latinLnBrk="0" hangingPunct="1">
              <a:lnSpc>
                <a:spcPct val="90000"/>
              </a:lnSpc>
              <a:buFontTx/>
              <a:buNone/>
              <a:defRPr lang="en-US" sz="1800" kern="1200" spc="10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233362" indent="0">
              <a:buFontTx/>
              <a:buNone/>
              <a:defRPr>
                <a:solidFill>
                  <a:schemeClr val="bg1"/>
                </a:solidFill>
              </a:defRPr>
            </a:lvl2pPr>
            <a:lvl3pPr marL="468313" indent="0">
              <a:buFontTx/>
              <a:buNone/>
              <a:defRPr>
                <a:solidFill>
                  <a:schemeClr val="bg1"/>
                </a:solidFill>
              </a:defRPr>
            </a:lvl3pPr>
            <a:lvl4pPr marL="688975" indent="0">
              <a:buFontTx/>
              <a:buNone/>
              <a:defRPr>
                <a:solidFill>
                  <a:schemeClr val="bg1"/>
                </a:solidFill>
              </a:defRPr>
            </a:lvl4pPr>
            <a:lvl5pPr marL="8604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algn="l">
              <a:lnSpc>
                <a:spcPct val="90000"/>
              </a:lnSpc>
            </a:pPr>
            <a:r>
              <a:rPr lang="en-US" spc="100" dirty="0">
                <a:solidFill>
                  <a:schemeClr val="bg1"/>
                </a:solidFill>
                <a:ea typeface="+mj-ea"/>
                <a:cs typeface="+mj-cs"/>
              </a:rPr>
              <a:t>“Insert Quote, Theme, or Big, Bold Idea Here Franklin Gothic 18.”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F545E4D-B14A-C341-B372-7F2EE38D29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4369" y="4215140"/>
            <a:ext cx="4700016" cy="594360"/>
          </a:xfrm>
        </p:spPr>
        <p:txBody>
          <a:bodyPr>
            <a:noAutofit/>
          </a:bodyPr>
          <a:lstStyle>
            <a:lvl1pPr marL="0" indent="0" algn="l" defTabSz="914217" rtl="0" eaLnBrk="1" latinLnBrk="0" hangingPunct="1">
              <a:lnSpc>
                <a:spcPct val="90000"/>
              </a:lnSpc>
              <a:buFontTx/>
              <a:buNone/>
              <a:defRPr lang="en-US" sz="1800" kern="1200" spc="10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233362" indent="0">
              <a:buFontTx/>
              <a:buNone/>
              <a:defRPr>
                <a:solidFill>
                  <a:schemeClr val="bg1"/>
                </a:solidFill>
              </a:defRPr>
            </a:lvl2pPr>
            <a:lvl3pPr marL="468313" indent="0">
              <a:buFontTx/>
              <a:buNone/>
              <a:defRPr>
                <a:solidFill>
                  <a:schemeClr val="bg1"/>
                </a:solidFill>
              </a:defRPr>
            </a:lvl3pPr>
            <a:lvl4pPr marL="688975" indent="0">
              <a:buFontTx/>
              <a:buNone/>
              <a:defRPr>
                <a:solidFill>
                  <a:schemeClr val="bg1"/>
                </a:solidFill>
              </a:defRPr>
            </a:lvl4pPr>
            <a:lvl5pPr marL="8604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algn="l">
              <a:lnSpc>
                <a:spcPct val="90000"/>
              </a:lnSpc>
            </a:pPr>
            <a:r>
              <a:rPr lang="en-US" spc="100" dirty="0">
                <a:solidFill>
                  <a:schemeClr val="bg1"/>
                </a:solidFill>
                <a:ea typeface="+mj-ea"/>
                <a:cs typeface="+mj-cs"/>
              </a:rPr>
              <a:t>“Insert Quote, Theme, or Big, Bold Idea Here Franklin Gothic 18.”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F4EDE93-66E5-1840-B181-930C46B35F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9954" y="5009494"/>
            <a:ext cx="4700016" cy="310896"/>
          </a:xfrm>
        </p:spPr>
        <p:txBody>
          <a:bodyPr>
            <a:noAutofit/>
          </a:bodyPr>
          <a:lstStyle>
            <a:lvl1pPr marL="0" algn="r" defTabSz="914217" rtl="0" eaLnBrk="1" latinLnBrk="0" hangingPunct="1">
              <a:lnSpc>
                <a:spcPct val="90000"/>
              </a:lnSpc>
              <a:defRPr lang="en-US" sz="1800" dirty="0"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90000"/>
              </a:lnSpc>
            </a:pPr>
            <a:r>
              <a:rPr lang="en-US" sz="2000" spc="100" dirty="0">
                <a:solidFill>
                  <a:schemeClr val="bg1"/>
                </a:solidFill>
                <a:ea typeface="+mj-ea"/>
                <a:cs typeface="+mj-cs"/>
              </a:rPr>
              <a:t>—PERSON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F0FF0C7D-5B28-9447-9AC3-511398DA4A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54370" y="5009494"/>
            <a:ext cx="4700016" cy="310896"/>
          </a:xfrm>
        </p:spPr>
        <p:txBody>
          <a:bodyPr>
            <a:noAutofit/>
          </a:bodyPr>
          <a:lstStyle>
            <a:lvl1pPr marL="0" algn="r" defTabSz="914217" rtl="0" eaLnBrk="1" latinLnBrk="0" hangingPunct="1">
              <a:lnSpc>
                <a:spcPct val="90000"/>
              </a:lnSpc>
              <a:defRPr lang="en-US" sz="1800" dirty="0"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90000"/>
              </a:lnSpc>
            </a:pPr>
            <a:r>
              <a:rPr lang="en-US" sz="2000" spc="100" dirty="0">
                <a:solidFill>
                  <a:schemeClr val="bg1"/>
                </a:solidFill>
                <a:ea typeface="+mj-ea"/>
                <a:cs typeface="+mj-cs"/>
              </a:rPr>
              <a:t>—PERSON</a:t>
            </a:r>
          </a:p>
        </p:txBody>
      </p:sp>
    </p:spTree>
    <p:extLst>
      <p:ext uri="{BB962C8B-B14F-4D97-AF65-F5344CB8AC3E}">
        <p14:creationId xmlns:p14="http://schemas.microsoft.com/office/powerpoint/2010/main" val="13877220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438D817-1447-7642-B398-065A7DC9E72E}"/>
              </a:ext>
            </a:extLst>
          </p:cNvPr>
          <p:cNvSpPr/>
          <p:nvPr userDrawn="1"/>
        </p:nvSpPr>
        <p:spPr>
          <a:xfrm>
            <a:off x="0" y="1028700"/>
            <a:ext cx="12192000" cy="5323965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accent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6BD33D5-BB17-9A4F-B3B9-EBF675E532C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28600" y="1282408"/>
            <a:ext cx="5608674" cy="4816549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2800" b="1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, video, valve image… (transparent backgrounds on valve images please!)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6139069D-4F0B-8C44-8B6F-87F3786A09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5BCFAC12-D270-DD49-84E4-FB978F8D7E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5" name="1 Título">
            <a:extLst>
              <a:ext uri="{FF2B5EF4-FFF2-40B4-BE49-F238E27FC236}">
                <a16:creationId xmlns:a16="http://schemas.microsoft.com/office/drawing/2014/main" id="{67CCD13D-9B13-CC41-902B-4687FA31A418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accent4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6" name="Slide Number Placeholder 12">
            <a:extLst>
              <a:ext uri="{FF2B5EF4-FFF2-40B4-BE49-F238E27FC236}">
                <a16:creationId xmlns:a16="http://schemas.microsoft.com/office/drawing/2014/main" id="{17CB50A0-B6F7-114C-8689-FBF1E3E9DC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82046" y="6495543"/>
            <a:ext cx="293076" cy="282959"/>
          </a:xfrm>
          <a:prstGeom prst="rect">
            <a:avLst/>
          </a:prstGeom>
          <a:solidFill>
            <a:schemeClr val="accent1"/>
          </a:solidFill>
        </p:spPr>
        <p:txBody>
          <a:bodyPr vert="horz" lIns="18288" tIns="18288" rIns="18288" bIns="18288" rtlCol="0" anchor="ctr">
            <a:noAutofit/>
          </a:bodyPr>
          <a:lstStyle>
            <a:lvl1pPr algn="ctr">
              <a:lnSpc>
                <a:spcPct val="100000"/>
              </a:lnSpc>
              <a:defRPr sz="105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10">
            <a:extLst>
              <a:ext uri="{FF2B5EF4-FFF2-40B4-BE49-F238E27FC236}">
                <a16:creationId xmlns:a16="http://schemas.microsoft.com/office/drawing/2014/main" id="{F42E4BA2-1666-8C42-B0B5-7C379A326B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714230" y="414723"/>
            <a:ext cx="1180347" cy="27069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41CD998-8C72-1C47-8860-B8501EF8F27A}"/>
              </a:ext>
            </a:extLst>
          </p:cNvPr>
          <p:cNvSpPr/>
          <p:nvPr userDrawn="1"/>
        </p:nvSpPr>
        <p:spPr>
          <a:xfrm>
            <a:off x="228600" y="550422"/>
            <a:ext cx="10332720" cy="36576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7046CA1-2514-8041-A8C3-5838BD5AD8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10899" y="1502346"/>
            <a:ext cx="4846320" cy="421294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 sz="1400" b="1" dirty="0" err="1">
                <a:solidFill>
                  <a:schemeClr val="bg1"/>
                </a:solidFill>
                <a:cs typeface="Arial" panose="020B0604020202020204" pitchFamily="34" charset="0"/>
              </a:rPr>
              <a:t>Pellentesque</a:t>
            </a:r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</a:rPr>
              <a:t> semper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tellu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ege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blandi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blandi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, magna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leo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lique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sapien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, sed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ornare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dolor dolor id sem. Ut dictum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eu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lacu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u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egesta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 Sed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lacu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veli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, dictum ac gravida in,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tincidun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a ipsum. Duis vitae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finibu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est.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Praesen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elementum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ege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odio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et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iaculi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Suspendisse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et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luctu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urna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pellentesque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ultrice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odio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 Sed vel maximus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nibh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Donec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commodo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lique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risu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u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pulvinar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lectu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fringilla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sit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enean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convallis gravida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vulputate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Nullam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qui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ccumsan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era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 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Vestibulum lacinia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sagitti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era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gravida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dapibu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Proin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dapibu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metu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ac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tempor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luctu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justo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puru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fringilla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ex,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eu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suscipi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lectu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nisi sit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metu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 Ut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neque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quam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ccumsan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id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dapibu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at,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tincidun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non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era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743979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Left Half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0BE2304-4284-2C4C-96DB-2E11DCAC4D5D}"/>
              </a:ext>
            </a:extLst>
          </p:cNvPr>
          <p:cNvSpPr/>
          <p:nvPr/>
        </p:nvSpPr>
        <p:spPr>
          <a:xfrm>
            <a:off x="0" y="-4"/>
            <a:ext cx="6099176" cy="68580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492963E9-59CE-8349-880F-87F89697F6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985085"/>
            <a:ext cx="5606934" cy="13858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re to Enter Title. Franklin Gothic Medium 28, 1-3 Lines, About 15-20 Words of Text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BA480E-FF45-6442-8144-2C7449B87C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5913C81-D467-4347-95A6-524A523B43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2" name="1 Título">
            <a:extLst>
              <a:ext uri="{FF2B5EF4-FFF2-40B4-BE49-F238E27FC236}">
                <a16:creationId xmlns:a16="http://schemas.microsoft.com/office/drawing/2014/main" id="{39347757-826F-A548-A7B8-41372DE0040F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accent4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pic>
        <p:nvPicPr>
          <p:cNvPr id="9" name="Picture 10">
            <a:extLst>
              <a:ext uri="{FF2B5EF4-FFF2-40B4-BE49-F238E27FC236}">
                <a16:creationId xmlns:a16="http://schemas.microsoft.com/office/drawing/2014/main" id="{0D41D745-02AB-6D44-9423-F224F5B762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714230" y="414723"/>
            <a:ext cx="1180347" cy="27069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D2DDBF9-F7E2-4B4E-B12D-2B62C26D5C5C}"/>
              </a:ext>
            </a:extLst>
          </p:cNvPr>
          <p:cNvSpPr/>
          <p:nvPr userDrawn="1"/>
        </p:nvSpPr>
        <p:spPr>
          <a:xfrm>
            <a:off x="228600" y="550422"/>
            <a:ext cx="10332720" cy="36576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74424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- L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AB5F8B1-5B94-654B-824F-F969DB983C14}"/>
              </a:ext>
            </a:extLst>
          </p:cNvPr>
          <p:cNvSpPr/>
          <p:nvPr/>
        </p:nvSpPr>
        <p:spPr>
          <a:xfrm>
            <a:off x="5733288" y="0"/>
            <a:ext cx="645871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3636EA39-3990-3240-938D-452D946347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733288" cy="6858000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Icon to Add Picture/Vide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CBEDAE1-D6BB-9C45-AFE8-B16E82ABB6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98575" y="3729804"/>
            <a:ext cx="5029200" cy="914400"/>
          </a:xfrm>
        </p:spPr>
        <p:txBody>
          <a:bodyPr anchor="ctr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en-US" sz="2000" b="0" i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3362" indent="0">
              <a:buNone/>
              <a:defRPr/>
            </a:lvl2pPr>
          </a:lstStyle>
          <a:p>
            <a:r>
              <a:rPr lang="en-US" dirty="0"/>
              <a:t>Subtitle Here Franklin Gothic Book 20 on 2-3 Lines Up to 20-25 Words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endParaRPr lang="en-US" dirty="0"/>
          </a:p>
        </p:txBody>
      </p:sp>
      <p:pic>
        <p:nvPicPr>
          <p:cNvPr id="13" name="Picture 11">
            <a:extLst>
              <a:ext uri="{FF2B5EF4-FFF2-40B4-BE49-F238E27FC236}">
                <a16:creationId xmlns:a16="http://schemas.microsoft.com/office/drawing/2014/main" id="{F9233C3C-6648-C34F-BB54-F604203438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276844" y="5976034"/>
            <a:ext cx="1371596" cy="281708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2B24B18E-81BD-614F-AE98-6A30FEA5A9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8575" y="1938198"/>
            <a:ext cx="5029200" cy="1618488"/>
          </a:xfrm>
        </p:spPr>
        <p:txBody>
          <a:bodyPr anchor="b">
            <a:noAutofit/>
          </a:bodyPr>
          <a:lstStyle>
            <a:lvl1pPr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0" i="0" kern="1200" spc="1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itle Goes Here Franklin Gothic Medium 28 on 1-4 Lines Up to 12-15 Word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FADBFB3-F096-F841-B8D9-275FC522A804}"/>
              </a:ext>
            </a:extLst>
          </p:cNvPr>
          <p:cNvSpPr txBox="1"/>
          <p:nvPr userDrawn="1"/>
        </p:nvSpPr>
        <p:spPr>
          <a:xfrm>
            <a:off x="7770028" y="132798"/>
            <a:ext cx="238523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0" dirty="0">
                <a:solidFill>
                  <a:schemeClr val="bg1"/>
                </a:solidFill>
                <a:latin typeface="+mj-lt"/>
              </a:rPr>
              <a:t>WWW.FOLDAX.COM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73A8FCC-0DFA-1147-A78C-B70952C438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03720" y="6419088"/>
            <a:ext cx="4114800" cy="365125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274805D-7150-5948-A527-526CD3E78FC1}"/>
              </a:ext>
            </a:extLst>
          </p:cNvPr>
          <p:cNvSpPr/>
          <p:nvPr userDrawn="1"/>
        </p:nvSpPr>
        <p:spPr>
          <a:xfrm>
            <a:off x="0" y="0"/>
            <a:ext cx="5733798" cy="6858000"/>
          </a:xfrm>
          <a:prstGeom prst="rect">
            <a:avLst/>
          </a:prstGeom>
          <a:gradFill flip="none" rotWithShape="1">
            <a:gsLst>
              <a:gs pos="50000">
                <a:schemeClr val="tx1">
                  <a:alpha val="0"/>
                </a:schemeClr>
              </a:gs>
              <a:gs pos="19000">
                <a:schemeClr val="tx1"/>
              </a:gs>
              <a:gs pos="89000">
                <a:schemeClr val="tx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0020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Right Half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0BE2304-4284-2C4C-96DB-2E11DCAC4D5D}"/>
              </a:ext>
            </a:extLst>
          </p:cNvPr>
          <p:cNvSpPr/>
          <p:nvPr/>
        </p:nvSpPr>
        <p:spPr>
          <a:xfrm>
            <a:off x="6092824" y="-4"/>
            <a:ext cx="6099176" cy="68580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492963E9-59CE-8349-880F-87F89697F6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945" y="998733"/>
            <a:ext cx="5606934" cy="13858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re to Enter Title. Franklin Gothic Medium 28, 1-3 Lines, About 15-20 Words of Text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BA480E-FF45-6442-8144-2C7449B87C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5913C81-D467-4347-95A6-524A523B43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2" name="1 Título">
            <a:extLst>
              <a:ext uri="{FF2B5EF4-FFF2-40B4-BE49-F238E27FC236}">
                <a16:creationId xmlns:a16="http://schemas.microsoft.com/office/drawing/2014/main" id="{39347757-826F-A548-A7B8-41372DE0040F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pic>
        <p:nvPicPr>
          <p:cNvPr id="9" name="Picture 10">
            <a:extLst>
              <a:ext uri="{FF2B5EF4-FFF2-40B4-BE49-F238E27FC236}">
                <a16:creationId xmlns:a16="http://schemas.microsoft.com/office/drawing/2014/main" id="{0D41D745-02AB-6D44-9423-F224F5B762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09144" y="433363"/>
            <a:ext cx="1180347" cy="27069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D2DDBF9-F7E2-4B4E-B12D-2B62C26D5C5C}"/>
              </a:ext>
            </a:extLst>
          </p:cNvPr>
          <p:cNvSpPr/>
          <p:nvPr userDrawn="1"/>
        </p:nvSpPr>
        <p:spPr>
          <a:xfrm>
            <a:off x="1661614" y="550422"/>
            <a:ext cx="10332720" cy="36576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363561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Left Half (USE FOR AGENDA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0BE2304-4284-2C4C-96DB-2E11DCAC4D5D}"/>
              </a:ext>
            </a:extLst>
          </p:cNvPr>
          <p:cNvSpPr/>
          <p:nvPr/>
        </p:nvSpPr>
        <p:spPr>
          <a:xfrm>
            <a:off x="0" y="-4"/>
            <a:ext cx="6099176" cy="68580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492963E9-59CE-8349-880F-87F89697F6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985085"/>
            <a:ext cx="5606934" cy="13858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re to Enter Title. Franklin Gothic Medium 28, 1-3 Lines, About 15-20 Words of Text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BA480E-FF45-6442-8144-2C7449B87C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5913C81-D467-4347-95A6-524A523B43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2" name="1 Título">
            <a:extLst>
              <a:ext uri="{FF2B5EF4-FFF2-40B4-BE49-F238E27FC236}">
                <a16:creationId xmlns:a16="http://schemas.microsoft.com/office/drawing/2014/main" id="{39347757-826F-A548-A7B8-41372DE0040F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accent4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pic>
        <p:nvPicPr>
          <p:cNvPr id="9" name="Picture 10">
            <a:extLst>
              <a:ext uri="{FF2B5EF4-FFF2-40B4-BE49-F238E27FC236}">
                <a16:creationId xmlns:a16="http://schemas.microsoft.com/office/drawing/2014/main" id="{0D41D745-02AB-6D44-9423-F224F5B762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714230" y="414723"/>
            <a:ext cx="1180347" cy="27069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D2DDBF9-F7E2-4B4E-B12D-2B62C26D5C5C}"/>
              </a:ext>
            </a:extLst>
          </p:cNvPr>
          <p:cNvSpPr/>
          <p:nvPr userDrawn="1"/>
        </p:nvSpPr>
        <p:spPr>
          <a:xfrm>
            <a:off x="228600" y="550422"/>
            <a:ext cx="10332720" cy="36576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4A69DE8D-07C7-BA44-9C8C-1407A68DD17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485860" y="985085"/>
            <a:ext cx="5477539" cy="4739059"/>
          </a:xfrm>
        </p:spPr>
        <p:txBody>
          <a:bodyPr>
            <a:noAutofit/>
          </a:bodyPr>
          <a:lstStyle>
            <a:lvl2pPr marL="466725" indent="-233363">
              <a:buFontTx/>
              <a:buBlip>
                <a:blip r:embed="rId3"/>
              </a:buBlip>
              <a:defRPr/>
            </a:lvl2pPr>
            <a:lvl3pPr marL="687388" indent="-219075">
              <a:buFontTx/>
              <a:buBlip>
                <a:blip r:embed="rId4"/>
              </a:buBlip>
              <a:defRPr/>
            </a:lvl3pPr>
            <a:lvl4pPr marL="860425" indent="-171450">
              <a:buFontTx/>
              <a:buBlip>
                <a:blip r:embed="rId4"/>
              </a:buBlip>
              <a:defRPr/>
            </a:lvl4pPr>
            <a:lvl5pPr marL="1035050" indent="-174625">
              <a:buFontTx/>
              <a:buBlip>
                <a:blip r:embed="rId4"/>
              </a:buBlip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18823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Rt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0BE2304-4284-2C4C-96DB-2E11DCAC4D5D}"/>
              </a:ext>
            </a:extLst>
          </p:cNvPr>
          <p:cNvSpPr/>
          <p:nvPr/>
        </p:nvSpPr>
        <p:spPr>
          <a:xfrm>
            <a:off x="6092824" y="-4"/>
            <a:ext cx="6099176" cy="68580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492963E9-59CE-8349-880F-87F89697F6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6466" y="985085"/>
            <a:ext cx="5606934" cy="13858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re to Enter Title. Franklin Gothic Medium 28, 1-3 Lines, About 15-20 Words of Text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BA480E-FF45-6442-8144-2C7449B87C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5913C81-D467-4347-95A6-524A523B43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2" name="1 Título">
            <a:extLst>
              <a:ext uri="{FF2B5EF4-FFF2-40B4-BE49-F238E27FC236}">
                <a16:creationId xmlns:a16="http://schemas.microsoft.com/office/drawing/2014/main" id="{39347757-826F-A548-A7B8-41372DE0040F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accent4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pic>
        <p:nvPicPr>
          <p:cNvPr id="9" name="Picture 10">
            <a:extLst>
              <a:ext uri="{FF2B5EF4-FFF2-40B4-BE49-F238E27FC236}">
                <a16:creationId xmlns:a16="http://schemas.microsoft.com/office/drawing/2014/main" id="{0D41D745-02AB-6D44-9423-F224F5B762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714230" y="414723"/>
            <a:ext cx="1180347" cy="27069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D2DDBF9-F7E2-4B4E-B12D-2B62C26D5C5C}"/>
              </a:ext>
            </a:extLst>
          </p:cNvPr>
          <p:cNvSpPr/>
          <p:nvPr userDrawn="1"/>
        </p:nvSpPr>
        <p:spPr>
          <a:xfrm>
            <a:off x="228600" y="550422"/>
            <a:ext cx="10332720" cy="36576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4A69DE8D-07C7-BA44-9C8C-1407A68DD17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28601" y="985085"/>
            <a:ext cx="5477539" cy="4739059"/>
          </a:xfrm>
        </p:spPr>
        <p:txBody>
          <a:bodyPr>
            <a:noAutofit/>
          </a:bodyPr>
          <a:lstStyle>
            <a:lvl2pPr marL="466725" indent="-233363">
              <a:buFontTx/>
              <a:buBlip>
                <a:blip r:embed="rId3"/>
              </a:buBlip>
              <a:defRPr/>
            </a:lvl2pPr>
            <a:lvl3pPr marL="687388" indent="-219075">
              <a:buFontTx/>
              <a:buBlip>
                <a:blip r:embed="rId4"/>
              </a:buBlip>
              <a:defRPr/>
            </a:lvl3pPr>
            <a:lvl4pPr marL="860425" indent="-171450">
              <a:buFontTx/>
              <a:buBlip>
                <a:blip r:embed="rId4"/>
              </a:buBlip>
              <a:defRPr/>
            </a:lvl4pPr>
            <a:lvl5pPr marL="1035050" indent="-174625">
              <a:buFontTx/>
              <a:buBlip>
                <a:blip r:embed="rId4"/>
              </a:buBlip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18140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Left 1/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0BE2304-4284-2C4C-96DB-2E11DCAC4D5D}"/>
              </a:ext>
            </a:extLst>
          </p:cNvPr>
          <p:cNvSpPr/>
          <p:nvPr/>
        </p:nvSpPr>
        <p:spPr>
          <a:xfrm>
            <a:off x="0" y="-4"/>
            <a:ext cx="4023360" cy="68580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492963E9-59CE-8349-880F-87F89697F6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985085"/>
            <a:ext cx="3673548" cy="13858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re to Enter Title. Franklin Gothic Medium 24, 1-4 Lines, About 15-22 Words of Text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BA480E-FF45-6442-8144-2C7449B87C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5913C81-D467-4347-95A6-524A523B43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2" name="1 Título">
            <a:extLst>
              <a:ext uri="{FF2B5EF4-FFF2-40B4-BE49-F238E27FC236}">
                <a16:creationId xmlns:a16="http://schemas.microsoft.com/office/drawing/2014/main" id="{39347757-826F-A548-A7B8-41372DE0040F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accent4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pic>
        <p:nvPicPr>
          <p:cNvPr id="9" name="Picture 10">
            <a:extLst>
              <a:ext uri="{FF2B5EF4-FFF2-40B4-BE49-F238E27FC236}">
                <a16:creationId xmlns:a16="http://schemas.microsoft.com/office/drawing/2014/main" id="{0D41D745-02AB-6D44-9423-F224F5B762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714230" y="414723"/>
            <a:ext cx="1180347" cy="27069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D2DDBF9-F7E2-4B4E-B12D-2B62C26D5C5C}"/>
              </a:ext>
            </a:extLst>
          </p:cNvPr>
          <p:cNvSpPr/>
          <p:nvPr userDrawn="1"/>
        </p:nvSpPr>
        <p:spPr>
          <a:xfrm>
            <a:off x="228600" y="550422"/>
            <a:ext cx="10332720" cy="36576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4A69DE8D-07C7-BA44-9C8C-1407A68DD17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25434" y="985085"/>
            <a:ext cx="7837966" cy="4739059"/>
          </a:xfrm>
        </p:spPr>
        <p:txBody>
          <a:bodyPr>
            <a:noAutofit/>
          </a:bodyPr>
          <a:lstStyle>
            <a:lvl2pPr marL="466725" indent="-233363">
              <a:buFontTx/>
              <a:buBlip>
                <a:blip r:embed="rId3"/>
              </a:buBlip>
              <a:defRPr/>
            </a:lvl2pPr>
            <a:lvl3pPr marL="687388" indent="-219075">
              <a:buFontTx/>
              <a:buBlip>
                <a:blip r:embed="rId4"/>
              </a:buBlip>
              <a:defRPr/>
            </a:lvl3pPr>
            <a:lvl4pPr marL="860425" indent="-171450">
              <a:buFontTx/>
              <a:buBlip>
                <a:blip r:embed="rId4"/>
              </a:buBlip>
              <a:defRPr/>
            </a:lvl4pPr>
            <a:lvl5pPr marL="1035050" indent="-174625">
              <a:buFontTx/>
              <a:buBlip>
                <a:blip r:embed="rId4"/>
              </a:buBlip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75046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Rt 1/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0BE2304-4284-2C4C-96DB-2E11DCAC4D5D}"/>
              </a:ext>
            </a:extLst>
          </p:cNvPr>
          <p:cNvSpPr/>
          <p:nvPr/>
        </p:nvSpPr>
        <p:spPr>
          <a:xfrm>
            <a:off x="8168640" y="-4"/>
            <a:ext cx="4023360" cy="68580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492963E9-59CE-8349-880F-87F89697F6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9852" y="985085"/>
            <a:ext cx="3673548" cy="13858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re to Enter Title. Franklin Gothic Medium 24, 1-4 Lines, About 15-22 Words of Text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BA480E-FF45-6442-8144-2C7449B87C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5913C81-D467-4347-95A6-524A523B43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04028" y="6444114"/>
            <a:ext cx="3393132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pic>
        <p:nvPicPr>
          <p:cNvPr id="9" name="Picture 10">
            <a:extLst>
              <a:ext uri="{FF2B5EF4-FFF2-40B4-BE49-F238E27FC236}">
                <a16:creationId xmlns:a16="http://schemas.microsoft.com/office/drawing/2014/main" id="{0D41D745-02AB-6D44-9423-F224F5B762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714230" y="428855"/>
            <a:ext cx="1180347" cy="24242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D2DDBF9-F7E2-4B4E-B12D-2B62C26D5C5C}"/>
              </a:ext>
            </a:extLst>
          </p:cNvPr>
          <p:cNvSpPr/>
          <p:nvPr userDrawn="1"/>
        </p:nvSpPr>
        <p:spPr>
          <a:xfrm>
            <a:off x="228600" y="550422"/>
            <a:ext cx="10332720" cy="36576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4A69DE8D-07C7-BA44-9C8C-1407A68DD17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44550" y="985085"/>
            <a:ext cx="7837966" cy="4739059"/>
          </a:xfrm>
        </p:spPr>
        <p:txBody>
          <a:bodyPr>
            <a:noAutofit/>
          </a:bodyPr>
          <a:lstStyle>
            <a:lvl2pPr marL="466725" indent="-233363">
              <a:buFontTx/>
              <a:buBlip>
                <a:blip r:embed="rId3"/>
              </a:buBlip>
              <a:defRPr/>
            </a:lvl2pPr>
            <a:lvl3pPr marL="687388" indent="-219075">
              <a:buFontTx/>
              <a:buBlip>
                <a:blip r:embed="rId4"/>
              </a:buBlip>
              <a:defRPr/>
            </a:lvl3pPr>
            <a:lvl4pPr marL="860425" indent="-171450">
              <a:buFontTx/>
              <a:buBlip>
                <a:blip r:embed="rId4"/>
              </a:buBlip>
              <a:defRPr/>
            </a:lvl4pPr>
            <a:lvl5pPr marL="1035050" indent="-174625">
              <a:buFontTx/>
              <a:buBlip>
                <a:blip r:embed="rId4"/>
              </a:buBlip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1 Título">
            <a:extLst>
              <a:ext uri="{FF2B5EF4-FFF2-40B4-BE49-F238E27FC236}">
                <a16:creationId xmlns:a16="http://schemas.microsoft.com/office/drawing/2014/main" id="{39347757-826F-A548-A7B8-41372DE0040F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</p:spTree>
    <p:extLst>
      <p:ext uri="{BB962C8B-B14F-4D97-AF65-F5344CB8AC3E}">
        <p14:creationId xmlns:p14="http://schemas.microsoft.com/office/powerpoint/2010/main" val="199952672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ey Themes or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CFCC29-B23F-E44B-995F-FDE1F214CA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3B33AC-E76E-B645-B4D6-44903D9CEFE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AA883D-4872-354F-AE7A-225DB09D56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EB4E62E-BF89-D64B-BFD3-9FA7EC9AB8A3}"/>
              </a:ext>
            </a:extLst>
          </p:cNvPr>
          <p:cNvSpPr/>
          <p:nvPr userDrawn="1"/>
        </p:nvSpPr>
        <p:spPr>
          <a:xfrm>
            <a:off x="6379564" y="1300438"/>
            <a:ext cx="5120640" cy="51436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0310485-0932-C540-A052-1F4B5CEB87B0}"/>
              </a:ext>
            </a:extLst>
          </p:cNvPr>
          <p:cNvSpPr/>
          <p:nvPr userDrawn="1"/>
        </p:nvSpPr>
        <p:spPr>
          <a:xfrm>
            <a:off x="741505" y="1300438"/>
            <a:ext cx="5120640" cy="51436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8086C9D-9F59-FE4F-A6A2-34CB39F70F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8665" y="879003"/>
            <a:ext cx="4846320" cy="423863"/>
          </a:xfrm>
        </p:spPr>
        <p:txBody>
          <a:bodyPr>
            <a:noAutofit/>
          </a:bodyPr>
          <a:lstStyle>
            <a:lvl1pPr marL="0" indent="0" algn="l" defTabSz="914217" rtl="0" eaLnBrk="1" latinLnBrk="0" hangingPunct="1">
              <a:buFont typeface="Arial" panose="020B0604020202020204" pitchFamily="34" charset="0"/>
              <a:buNone/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0" algn="l" defTabSz="914217" rtl="0" eaLnBrk="1" latinLnBrk="0" hangingPunct="1"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2pPr>
            <a:lvl3pPr marL="0" algn="l" defTabSz="914217" rtl="0" eaLnBrk="1" latinLnBrk="0" hangingPunct="1"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3pPr>
            <a:lvl4pPr marL="0" algn="l" defTabSz="914217" rtl="0" eaLnBrk="1" latinLnBrk="0" hangingPunct="1"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4pPr>
            <a:lvl5pPr marL="0" algn="l" defTabSz="914217" rtl="0" eaLnBrk="1" latinLnBrk="0" hangingPunct="1">
              <a:defRPr lang="en-US" sz="2000" kern="1200" dirty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 HER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01BD2792-75CD-2D48-9BCE-787C73CF3A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16724" y="882025"/>
            <a:ext cx="4846320" cy="423863"/>
          </a:xfrm>
        </p:spPr>
        <p:txBody>
          <a:bodyPr>
            <a:noAutofit/>
          </a:bodyPr>
          <a:lstStyle>
            <a:lvl1pPr marL="0" indent="0" algn="l" defTabSz="914217" rtl="0" eaLnBrk="1" latinLnBrk="0" hangingPunct="1">
              <a:buFont typeface="Arial" panose="020B0604020202020204" pitchFamily="34" charset="0"/>
              <a:buNone/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0" algn="l" defTabSz="914217" rtl="0" eaLnBrk="1" latinLnBrk="0" hangingPunct="1"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2pPr>
            <a:lvl3pPr marL="0" algn="l" defTabSz="914217" rtl="0" eaLnBrk="1" latinLnBrk="0" hangingPunct="1"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3pPr>
            <a:lvl4pPr marL="0" algn="l" defTabSz="914217" rtl="0" eaLnBrk="1" latinLnBrk="0" hangingPunct="1"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4pPr>
            <a:lvl5pPr marL="0" algn="l" defTabSz="914217" rtl="0" eaLnBrk="1" latinLnBrk="0" hangingPunct="1">
              <a:defRPr lang="en-US" sz="2000" kern="1200" dirty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 HERE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3893B0D4-4DB7-004F-9769-FEB958A3E0A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16724" y="1705691"/>
            <a:ext cx="4846320" cy="457228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466725" indent="-233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687388" indent="-21907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860425" indent="-17145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1035050" indent="-17462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967F2949-0132-8C43-8A97-EDF1304BF78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78665" y="1705691"/>
            <a:ext cx="4846320" cy="457228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466725" indent="-233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687388" indent="-21907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860425" indent="-17145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1035050" indent="-17462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9605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ey Themes or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CFCC29-B23F-E44B-995F-FDE1F214CA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3B33AC-E76E-B645-B4D6-44903D9CEFE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AA883D-4872-354F-AE7A-225DB09D56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0310485-0932-C540-A052-1F4B5CEB87B0}"/>
              </a:ext>
            </a:extLst>
          </p:cNvPr>
          <p:cNvSpPr/>
          <p:nvPr userDrawn="1"/>
        </p:nvSpPr>
        <p:spPr>
          <a:xfrm>
            <a:off x="263385" y="1300438"/>
            <a:ext cx="3794760" cy="51436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8086C9D-9F59-FE4F-A6A2-34CB39F70F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685" y="879003"/>
            <a:ext cx="3566160" cy="423863"/>
          </a:xfrm>
        </p:spPr>
        <p:txBody>
          <a:bodyPr>
            <a:noAutofit/>
          </a:bodyPr>
          <a:lstStyle>
            <a:lvl1pPr marL="0" indent="0" algn="l" defTabSz="914217" rtl="0" eaLnBrk="1" latinLnBrk="0" hangingPunct="1">
              <a:buFont typeface="Arial" panose="020B0604020202020204" pitchFamily="34" charset="0"/>
              <a:buNone/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0" algn="l" defTabSz="914217" rtl="0" eaLnBrk="1" latinLnBrk="0" hangingPunct="1"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2pPr>
            <a:lvl3pPr marL="0" algn="l" defTabSz="914217" rtl="0" eaLnBrk="1" latinLnBrk="0" hangingPunct="1"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3pPr>
            <a:lvl4pPr marL="0" algn="l" defTabSz="914217" rtl="0" eaLnBrk="1" latinLnBrk="0" hangingPunct="1"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4pPr>
            <a:lvl5pPr marL="0" algn="l" defTabSz="914217" rtl="0" eaLnBrk="1" latinLnBrk="0" hangingPunct="1">
              <a:defRPr lang="en-US" sz="2000" kern="1200" dirty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 HERE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967F2949-0132-8C43-8A97-EDF1304BF78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7685" y="1705691"/>
            <a:ext cx="3566160" cy="457228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466725" indent="-233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687388" indent="-21907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860425" indent="-17145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1035050" indent="-17462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316F9D-8A8B-D248-8B1F-F405586A8548}"/>
              </a:ext>
            </a:extLst>
          </p:cNvPr>
          <p:cNvSpPr/>
          <p:nvPr userDrawn="1"/>
        </p:nvSpPr>
        <p:spPr>
          <a:xfrm>
            <a:off x="4189129" y="1298010"/>
            <a:ext cx="3794760" cy="51436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AD04C130-E1AC-EB4D-A18A-D849C790EE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3429" y="876575"/>
            <a:ext cx="3566160" cy="423863"/>
          </a:xfrm>
        </p:spPr>
        <p:txBody>
          <a:bodyPr>
            <a:noAutofit/>
          </a:bodyPr>
          <a:lstStyle>
            <a:lvl1pPr marL="0" indent="0" algn="l" defTabSz="914217" rtl="0" eaLnBrk="1" latinLnBrk="0" hangingPunct="1">
              <a:buFont typeface="Arial" panose="020B0604020202020204" pitchFamily="34" charset="0"/>
              <a:buNone/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0" algn="l" defTabSz="914217" rtl="0" eaLnBrk="1" latinLnBrk="0" hangingPunct="1"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2pPr>
            <a:lvl3pPr marL="0" algn="l" defTabSz="914217" rtl="0" eaLnBrk="1" latinLnBrk="0" hangingPunct="1"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3pPr>
            <a:lvl4pPr marL="0" algn="l" defTabSz="914217" rtl="0" eaLnBrk="1" latinLnBrk="0" hangingPunct="1"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4pPr>
            <a:lvl5pPr marL="0" algn="l" defTabSz="914217" rtl="0" eaLnBrk="1" latinLnBrk="0" hangingPunct="1">
              <a:defRPr lang="en-US" sz="2000" kern="1200" dirty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 HERE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51345775-FDC7-9040-8AB3-AB56E11884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303429" y="1703263"/>
            <a:ext cx="3566160" cy="457228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466725" indent="-233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687388" indent="-21907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860425" indent="-17145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1035050" indent="-17462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C92DB81-8C96-DF4C-85F4-6956DEEC6184}"/>
              </a:ext>
            </a:extLst>
          </p:cNvPr>
          <p:cNvSpPr/>
          <p:nvPr userDrawn="1"/>
        </p:nvSpPr>
        <p:spPr>
          <a:xfrm>
            <a:off x="8114873" y="1295582"/>
            <a:ext cx="3794760" cy="51436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DAC3B811-2924-EE46-A425-1AF038CCCD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29173" y="874147"/>
            <a:ext cx="3566160" cy="423863"/>
          </a:xfrm>
        </p:spPr>
        <p:txBody>
          <a:bodyPr>
            <a:noAutofit/>
          </a:bodyPr>
          <a:lstStyle>
            <a:lvl1pPr marL="0" indent="0" algn="l" defTabSz="914217" rtl="0" eaLnBrk="1" latinLnBrk="0" hangingPunct="1">
              <a:buFont typeface="Arial" panose="020B0604020202020204" pitchFamily="34" charset="0"/>
              <a:buNone/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0" algn="l" defTabSz="914217" rtl="0" eaLnBrk="1" latinLnBrk="0" hangingPunct="1"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2pPr>
            <a:lvl3pPr marL="0" algn="l" defTabSz="914217" rtl="0" eaLnBrk="1" latinLnBrk="0" hangingPunct="1"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3pPr>
            <a:lvl4pPr marL="0" algn="l" defTabSz="914217" rtl="0" eaLnBrk="1" latinLnBrk="0" hangingPunct="1">
              <a:defRPr lang="en-US" sz="200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4pPr>
            <a:lvl5pPr marL="0" algn="l" defTabSz="914217" rtl="0" eaLnBrk="1" latinLnBrk="0" hangingPunct="1">
              <a:defRPr lang="en-US" sz="2000" kern="1200" dirty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 HERE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C476FED2-DAB7-8D49-B107-2E5B9E8ACCD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229173" y="1700835"/>
            <a:ext cx="3566160" cy="457228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466725" indent="-233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687388" indent="-21907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860425" indent="-17145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1035050" indent="-17462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49321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Key Themes or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12602A-AD14-3147-B2A8-9A75DDAA3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94DA72-7859-F14D-8B96-FC70170908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FFEB0A-B2F0-2F45-94D8-911BF5F3D0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355FEB-2240-5747-9B3C-1B2AC272CCF0}"/>
              </a:ext>
            </a:extLst>
          </p:cNvPr>
          <p:cNvSpPr/>
          <p:nvPr userDrawn="1"/>
        </p:nvSpPr>
        <p:spPr>
          <a:xfrm>
            <a:off x="256270" y="1387813"/>
            <a:ext cx="2743200" cy="42032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>
            <a:noAutofit/>
          </a:bodyPr>
          <a:lstStyle/>
          <a:p>
            <a:pPr algn="ctr">
              <a:spcAft>
                <a:spcPts val="1200"/>
              </a:spcAft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6651460-947A-A646-BF1E-A2DCD085A3C7}"/>
              </a:ext>
            </a:extLst>
          </p:cNvPr>
          <p:cNvSpPr/>
          <p:nvPr userDrawn="1"/>
        </p:nvSpPr>
        <p:spPr>
          <a:xfrm>
            <a:off x="3248154" y="1387813"/>
            <a:ext cx="2743200" cy="4203246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>
            <a:noAutofit/>
          </a:bodyPr>
          <a:lstStyle/>
          <a:p>
            <a:pPr algn="ctr">
              <a:spcAft>
                <a:spcPts val="1200"/>
              </a:spcAft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AAC7531-F018-9C47-B3E7-776175A7BBED}"/>
              </a:ext>
            </a:extLst>
          </p:cNvPr>
          <p:cNvSpPr/>
          <p:nvPr userDrawn="1"/>
        </p:nvSpPr>
        <p:spPr>
          <a:xfrm>
            <a:off x="9231922" y="1387813"/>
            <a:ext cx="2743200" cy="420324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>
            <a:noAutofit/>
          </a:bodyPr>
          <a:lstStyle/>
          <a:p>
            <a:pPr algn="ctr">
              <a:spcAft>
                <a:spcPts val="1200"/>
              </a:spcAft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AAB0D60-977D-CE42-9774-ECB5B54FF9C6}"/>
              </a:ext>
            </a:extLst>
          </p:cNvPr>
          <p:cNvSpPr/>
          <p:nvPr userDrawn="1"/>
        </p:nvSpPr>
        <p:spPr>
          <a:xfrm>
            <a:off x="6240038" y="1387813"/>
            <a:ext cx="2743200" cy="420324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>
            <a:noAutofit/>
          </a:bodyPr>
          <a:lstStyle/>
          <a:p>
            <a:pPr algn="ctr">
              <a:spcAft>
                <a:spcPts val="120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5E255DE-FBCB-6F45-8FB3-CFB7C24808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270" y="1387586"/>
            <a:ext cx="2743200" cy="515642"/>
          </a:xfrm>
        </p:spPr>
        <p:txBody>
          <a:bodyPr>
            <a:noAutofit/>
          </a:bodyPr>
          <a:lstStyle>
            <a:lvl1pPr marL="0" indent="0" algn="ctr" rtl="0" eaLnBrk="1" latinLnBrk="0" hangingPunct="1">
              <a:spcAft>
                <a:spcPts val="1200"/>
              </a:spcAft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None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 1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BEB39BD-5C34-3D4E-9AE6-48233ECCD0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6270" y="2007818"/>
            <a:ext cx="2743200" cy="3583241"/>
          </a:xfrm>
        </p:spPr>
        <p:txBody>
          <a:bodyPr>
            <a:noAutofit/>
          </a:bodyPr>
          <a:lstStyle>
            <a:lvl1pPr marL="0" indent="0" algn="ctr" rtl="0" eaLnBrk="1" latinLnBrk="0" hangingPunct="1">
              <a:spcAft>
                <a:spcPts val="1200"/>
              </a:spcAft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endParaRPr lang="en-US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B53CAD51-475F-9D43-8F51-A0BF90B897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48154" y="1387586"/>
            <a:ext cx="2743200" cy="515642"/>
          </a:xfrm>
        </p:spPr>
        <p:txBody>
          <a:bodyPr>
            <a:noAutofit/>
          </a:bodyPr>
          <a:lstStyle>
            <a:lvl1pPr marL="0" indent="0" algn="ctr" rtl="0" eaLnBrk="1" latinLnBrk="0" hangingPunct="1">
              <a:spcAft>
                <a:spcPts val="1200"/>
              </a:spcAft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None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 2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982F3241-1D7F-4949-A13A-44A26958E03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8154" y="2007818"/>
            <a:ext cx="2743200" cy="3583241"/>
          </a:xfrm>
        </p:spPr>
        <p:txBody>
          <a:bodyPr>
            <a:noAutofit/>
          </a:bodyPr>
          <a:lstStyle>
            <a:lvl1pPr marL="0" indent="0" algn="ctr" rtl="0" eaLnBrk="1" latinLnBrk="0" hangingPunct="1">
              <a:spcAft>
                <a:spcPts val="1200"/>
              </a:spcAft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0C44A74E-D53E-384B-9455-365EAC15E8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40038" y="1387586"/>
            <a:ext cx="2743200" cy="515642"/>
          </a:xfrm>
        </p:spPr>
        <p:txBody>
          <a:bodyPr>
            <a:noAutofit/>
          </a:bodyPr>
          <a:lstStyle>
            <a:lvl1pPr marL="0" indent="0" algn="ctr" rtl="0" eaLnBrk="1" latinLnBrk="0" hangingPunct="1">
              <a:spcAft>
                <a:spcPts val="1200"/>
              </a:spcAft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None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 3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7D181F2-DB4D-AC47-B1B2-A31E034644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40038" y="2007818"/>
            <a:ext cx="2743200" cy="3583241"/>
          </a:xfrm>
        </p:spPr>
        <p:txBody>
          <a:bodyPr>
            <a:noAutofit/>
          </a:bodyPr>
          <a:lstStyle>
            <a:lvl1pPr marL="0" indent="0" algn="ctr" rtl="0" eaLnBrk="1" latinLnBrk="0" hangingPunct="1">
              <a:spcAft>
                <a:spcPts val="1200"/>
              </a:spcAft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C92AF2A-D4A3-9042-B492-173E8EC8A2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231922" y="1387586"/>
            <a:ext cx="2743200" cy="515642"/>
          </a:xfrm>
        </p:spPr>
        <p:txBody>
          <a:bodyPr>
            <a:noAutofit/>
          </a:bodyPr>
          <a:lstStyle>
            <a:lvl1pPr marL="0" indent="0" algn="ctr" rtl="0" eaLnBrk="1" latinLnBrk="0" hangingPunct="1">
              <a:spcAft>
                <a:spcPts val="1200"/>
              </a:spcAft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None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 4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CE32632-FC57-004A-A0CB-EFFF902DFAA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31922" y="2007818"/>
            <a:ext cx="2743200" cy="3583241"/>
          </a:xfrm>
        </p:spPr>
        <p:txBody>
          <a:bodyPr>
            <a:noAutofit/>
          </a:bodyPr>
          <a:lstStyle>
            <a:lvl1pPr marL="0" indent="0" algn="ctr" rtl="0" eaLnBrk="1" latinLnBrk="0" hangingPunct="1">
              <a:spcAft>
                <a:spcPts val="1200"/>
              </a:spcAft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42900" indent="-342900" algn="l" defTabSz="914172" rtl="0" eaLnBrk="1" latinLnBrk="0" hangingPunct="1">
              <a:spcAft>
                <a:spcPts val="1200"/>
              </a:spcAft>
              <a:buClr>
                <a:schemeClr val="accent1"/>
              </a:buClr>
              <a:buSzPct val="100000"/>
              <a:buBlip>
                <a:blip r:embed="rId2"/>
              </a:buBlip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232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83601E-988A-3C4C-B19E-4F622F3145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DFF4F9-3259-424F-A79D-4BA6CC1701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425F692A-A51C-DA49-9864-B8CE7923F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6A25630-B4E0-DB46-B0F1-B13C7A02FB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68322"/>
            <a:ext cx="9891712" cy="317500"/>
          </a:xfrm>
        </p:spPr>
        <p:txBody>
          <a:bodyPr anchor="t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Here to Enter subtitle Franklin Gothic Book 16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F50C36B-E89E-6048-B328-0684876680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312" y="6446520"/>
            <a:ext cx="7315200" cy="192024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700" kern="1200" dirty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 *SOURCE OR REFERENCE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81C98E-5275-E642-96D9-178A2B44E89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6574" y="1114426"/>
            <a:ext cx="10735056" cy="1271016"/>
          </a:xfrm>
          <a:prstGeom prst="rightArrow">
            <a:avLst>
              <a:gd name="adj1" fmla="val 78777"/>
              <a:gd name="adj2" fmla="val 50000"/>
            </a:avLst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l" defTabSz="914217" rtl="0" eaLnBrk="1" latinLnBrk="0" hangingPunct="1">
              <a:lnSpc>
                <a:spcPct val="90000"/>
              </a:lnSpc>
              <a:buFontTx/>
              <a:buNone/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C1E084E1-B3E8-1F47-8EBE-E7512687F5A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46034" y="2576308"/>
            <a:ext cx="7443216" cy="1271016"/>
          </a:xfrm>
          <a:prstGeom prst="rightArrow">
            <a:avLst>
              <a:gd name="adj1" fmla="val 78777"/>
              <a:gd name="adj2" fmla="val 50000"/>
            </a:avLst>
          </a:prstGeom>
          <a:solidFill>
            <a:schemeClr val="accent2"/>
          </a:solidFill>
        </p:spPr>
        <p:txBody>
          <a:bodyPr anchor="ctr">
            <a:noAutofit/>
          </a:bodyPr>
          <a:lstStyle>
            <a:lvl1pPr marL="0" indent="0" algn="l" defTabSz="914217" rtl="0" eaLnBrk="1" latinLnBrk="0" hangingPunct="1">
              <a:lnSpc>
                <a:spcPct val="90000"/>
              </a:lnSpc>
              <a:buFontTx/>
              <a:buNone/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94DC5AF-68A9-C34C-B172-88A16358E70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47018" y="4037620"/>
            <a:ext cx="4142232" cy="1271016"/>
          </a:xfrm>
          <a:prstGeom prst="rightArrow">
            <a:avLst>
              <a:gd name="adj1" fmla="val 78777"/>
              <a:gd name="adj2" fmla="val 50000"/>
            </a:avLst>
          </a:prstGeom>
          <a:solidFill>
            <a:schemeClr val="accent4"/>
          </a:solidFill>
        </p:spPr>
        <p:txBody>
          <a:bodyPr anchor="ctr">
            <a:noAutofit/>
          </a:bodyPr>
          <a:lstStyle>
            <a:lvl1pPr marL="0" indent="0" algn="l" defTabSz="914217" rtl="0" eaLnBrk="1" latinLnBrk="0" hangingPunct="1">
              <a:lnSpc>
                <a:spcPct val="90000"/>
              </a:lnSpc>
              <a:buFontTx/>
              <a:buNone/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99E4E94-5F6F-4A4A-B607-DB8B1079D5F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2842" y="2430758"/>
            <a:ext cx="3291840" cy="685800"/>
          </a:xfrm>
        </p:spPr>
        <p:txBody>
          <a:bodyPr>
            <a:noAutofit/>
          </a:bodyPr>
          <a:lstStyle>
            <a:lvl1pPr marL="0" indent="0" algn="l" defTabSz="914217" rtl="0" eaLnBrk="1" latinLnBrk="0" hangingPunct="1">
              <a:spcAft>
                <a:spcPts val="600"/>
              </a:spcAft>
              <a:buFontTx/>
              <a:buNone/>
              <a:defRPr lang="en-US" sz="18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33362" indent="0">
              <a:buFontTx/>
              <a:buNone/>
              <a:defRPr/>
            </a:lvl2pPr>
            <a:lvl3pPr marL="468313" indent="0">
              <a:buFontTx/>
              <a:buNone/>
              <a:defRPr/>
            </a:lvl3pPr>
            <a:lvl4pPr marL="688975" indent="0">
              <a:buFontTx/>
              <a:buNone/>
              <a:defRPr/>
            </a:lvl4pPr>
            <a:lvl5pPr marL="86042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D652987C-E7FF-114C-82EB-055A25219B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44682" y="3885590"/>
            <a:ext cx="3291840" cy="685800"/>
          </a:xfrm>
        </p:spPr>
        <p:txBody>
          <a:bodyPr>
            <a:noAutofit/>
          </a:bodyPr>
          <a:lstStyle>
            <a:lvl1pPr marL="0" indent="0" algn="l" defTabSz="914217" rtl="0" eaLnBrk="1" latinLnBrk="0" hangingPunct="1">
              <a:spcAft>
                <a:spcPts val="600"/>
              </a:spcAft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33362" indent="0">
              <a:buFontTx/>
              <a:buNone/>
              <a:defRPr/>
            </a:lvl2pPr>
            <a:lvl3pPr marL="468313" indent="0">
              <a:buFontTx/>
              <a:buNone/>
              <a:defRPr/>
            </a:lvl3pPr>
            <a:lvl4pPr marL="688975" indent="0">
              <a:buFontTx/>
              <a:buNone/>
              <a:defRPr/>
            </a:lvl4pPr>
            <a:lvl5pPr marL="86042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16EA7E7B-676B-7B4F-A332-0B05EB7DE96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48865" y="5300954"/>
            <a:ext cx="3291840" cy="685800"/>
          </a:xfrm>
        </p:spPr>
        <p:txBody>
          <a:bodyPr>
            <a:noAutofit/>
          </a:bodyPr>
          <a:lstStyle>
            <a:lvl1pPr marL="0" indent="0" algn="l" defTabSz="914217" rtl="0" eaLnBrk="1" latinLnBrk="0" hangingPunct="1">
              <a:spcAft>
                <a:spcPts val="600"/>
              </a:spcAft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33362" indent="0">
              <a:buFontTx/>
              <a:buNone/>
              <a:defRPr/>
            </a:lvl2pPr>
            <a:lvl3pPr marL="468313" indent="0">
              <a:buFontTx/>
              <a:buNone/>
              <a:defRPr/>
            </a:lvl3pPr>
            <a:lvl4pPr marL="688975" indent="0">
              <a:buFontTx/>
              <a:buNone/>
              <a:defRPr/>
            </a:lvl4pPr>
            <a:lvl5pPr marL="86042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</p:spTree>
    <p:extLst>
      <p:ext uri="{BB962C8B-B14F-4D97-AF65-F5344CB8AC3E}">
        <p14:creationId xmlns:p14="http://schemas.microsoft.com/office/powerpoint/2010/main" val="84093065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n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83601E-988A-3C4C-B19E-4F622F3145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DFF4F9-3259-424F-A79D-4BA6CC1701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425F692A-A51C-DA49-9864-B8CE7923F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6A25630-B4E0-DB46-B0F1-B13C7A02FB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68322"/>
            <a:ext cx="9891712" cy="317500"/>
          </a:xfrm>
        </p:spPr>
        <p:txBody>
          <a:bodyPr anchor="t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Here to Enter subtitle Franklin Gothic Book 16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F50C36B-E89E-6048-B328-0684876680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312" y="6446520"/>
            <a:ext cx="7315200" cy="192024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700" kern="1200" dirty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 *SOURCE OR REFERENCE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005C2D-00E3-B148-9482-A7E54FC34731}"/>
              </a:ext>
            </a:extLst>
          </p:cNvPr>
          <p:cNvCxnSpPr>
            <a:cxnSpLocks/>
          </p:cNvCxnSpPr>
          <p:nvPr userDrawn="1"/>
        </p:nvCxnSpPr>
        <p:spPr>
          <a:xfrm>
            <a:off x="1237281" y="2887012"/>
            <a:ext cx="6949440" cy="0"/>
          </a:xfrm>
          <a:prstGeom prst="line">
            <a:avLst/>
          </a:prstGeom>
          <a:ln w="254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F43C7FB-F2AB-C04B-ACC1-2E083F6EDD58}"/>
              </a:ext>
            </a:extLst>
          </p:cNvPr>
          <p:cNvCxnSpPr>
            <a:cxnSpLocks/>
          </p:cNvCxnSpPr>
          <p:nvPr userDrawn="1"/>
        </p:nvCxnSpPr>
        <p:spPr>
          <a:xfrm>
            <a:off x="1237281" y="4502786"/>
            <a:ext cx="6949440" cy="0"/>
          </a:xfrm>
          <a:prstGeom prst="line">
            <a:avLst/>
          </a:prstGeom>
          <a:ln w="254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riangle 14">
            <a:extLst>
              <a:ext uri="{FF2B5EF4-FFF2-40B4-BE49-F238E27FC236}">
                <a16:creationId xmlns:a16="http://schemas.microsoft.com/office/drawing/2014/main" id="{78EE5A57-5F97-DD49-B057-08608E648C6C}"/>
              </a:ext>
            </a:extLst>
          </p:cNvPr>
          <p:cNvSpPr/>
          <p:nvPr userDrawn="1"/>
        </p:nvSpPr>
        <p:spPr>
          <a:xfrm flipV="1">
            <a:off x="5597466" y="1271238"/>
            <a:ext cx="6088566" cy="4847321"/>
          </a:xfrm>
          <a:prstGeom prst="triangle">
            <a:avLst/>
          </a:prstGeom>
          <a:gradFill>
            <a:gsLst>
              <a:gs pos="50000">
                <a:schemeClr val="accent4"/>
              </a:gs>
              <a:gs pos="0">
                <a:schemeClr val="accent2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FF8C210-3099-6C40-8A8E-FBC491DBA8B6}"/>
              </a:ext>
            </a:extLst>
          </p:cNvPr>
          <p:cNvCxnSpPr/>
          <p:nvPr userDrawn="1"/>
        </p:nvCxnSpPr>
        <p:spPr>
          <a:xfrm>
            <a:off x="1084881" y="1271238"/>
            <a:ext cx="10786821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923B217-668A-B34D-9279-4FBC95BD5BF1}"/>
              </a:ext>
            </a:extLst>
          </p:cNvPr>
          <p:cNvCxnSpPr/>
          <p:nvPr userDrawn="1"/>
        </p:nvCxnSpPr>
        <p:spPr>
          <a:xfrm>
            <a:off x="1084881" y="6118559"/>
            <a:ext cx="10786821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1998D4E-3F5C-8246-9127-4E8A37E0F11A}"/>
              </a:ext>
            </a:extLst>
          </p:cNvPr>
          <p:cNvCxnSpPr>
            <a:cxnSpLocks/>
          </p:cNvCxnSpPr>
          <p:nvPr userDrawn="1"/>
        </p:nvCxnSpPr>
        <p:spPr>
          <a:xfrm>
            <a:off x="6584197" y="2887012"/>
            <a:ext cx="5241011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1996C39-DD5A-C248-880C-09E22F33721C}"/>
              </a:ext>
            </a:extLst>
          </p:cNvPr>
          <p:cNvCxnSpPr>
            <a:cxnSpLocks/>
          </p:cNvCxnSpPr>
          <p:nvPr userDrawn="1"/>
        </p:nvCxnSpPr>
        <p:spPr>
          <a:xfrm>
            <a:off x="7609668" y="4502786"/>
            <a:ext cx="4262034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2CD2F22-70D5-324E-B652-D4076864D15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2164" y="1453112"/>
            <a:ext cx="4846320" cy="1252728"/>
          </a:xfrm>
        </p:spPr>
        <p:txBody>
          <a:bodyPr anchor="ctr">
            <a:noAutofit/>
          </a:bodyPr>
          <a:lstStyle>
            <a:lvl1pPr marL="0" indent="0" algn="ctr" defTabSz="914217" rtl="0" eaLnBrk="1" latinLnBrk="0" hangingPunct="1">
              <a:spcAft>
                <a:spcPts val="600"/>
              </a:spcAft>
              <a:buFontTx/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2" indent="0">
              <a:buFontTx/>
              <a:buNone/>
              <a:defRPr/>
            </a:lvl2pPr>
            <a:lvl3pPr marL="468313" indent="0">
              <a:buFontTx/>
              <a:buNone/>
              <a:defRPr/>
            </a:lvl3pPr>
            <a:lvl4pPr marL="688975" indent="0">
              <a:buFontTx/>
              <a:buNone/>
              <a:defRPr/>
            </a:lvl4pPr>
            <a:lvl5pPr marL="86042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EED1171A-19F6-BF49-8749-84CC836C71D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37877" y="3068184"/>
            <a:ext cx="4846320" cy="1252728"/>
          </a:xfrm>
        </p:spPr>
        <p:txBody>
          <a:bodyPr anchor="ctr">
            <a:noAutofit/>
          </a:bodyPr>
          <a:lstStyle>
            <a:lvl1pPr marL="0" indent="0" algn="ctr" defTabSz="914217" rtl="0" eaLnBrk="1" latinLnBrk="0" hangingPunct="1">
              <a:spcAft>
                <a:spcPts val="600"/>
              </a:spcAft>
              <a:buFontTx/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2" indent="0">
              <a:buFontTx/>
              <a:buNone/>
              <a:defRPr/>
            </a:lvl2pPr>
            <a:lvl3pPr marL="468313" indent="0">
              <a:buFontTx/>
              <a:buNone/>
              <a:defRPr/>
            </a:lvl3pPr>
            <a:lvl4pPr marL="688975" indent="0">
              <a:buFontTx/>
              <a:buNone/>
              <a:defRPr/>
            </a:lvl4pPr>
            <a:lvl5pPr marL="86042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D15D2CD8-8E4B-4548-91DC-DEC1803BA34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63348" y="4683956"/>
            <a:ext cx="4846320" cy="1252728"/>
          </a:xfrm>
        </p:spPr>
        <p:txBody>
          <a:bodyPr anchor="ctr">
            <a:noAutofit/>
          </a:bodyPr>
          <a:lstStyle>
            <a:lvl1pPr marL="0" indent="0" algn="ctr" defTabSz="914217" rtl="0" eaLnBrk="1" latinLnBrk="0" hangingPunct="1">
              <a:spcAft>
                <a:spcPts val="600"/>
              </a:spcAft>
              <a:buFontTx/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2" indent="0">
              <a:buFontTx/>
              <a:buNone/>
              <a:defRPr/>
            </a:lvl2pPr>
            <a:lvl3pPr marL="468313" indent="0">
              <a:buFontTx/>
              <a:buNone/>
              <a:defRPr/>
            </a:lvl3pPr>
            <a:lvl4pPr marL="688975" indent="0">
              <a:buFontTx/>
              <a:buNone/>
              <a:defRPr/>
            </a:lvl4pPr>
            <a:lvl5pPr marL="86042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A91AB6C3-DE0E-F94B-BB1E-592D4945BC7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96818" y="1268516"/>
            <a:ext cx="4089862" cy="1618488"/>
          </a:xfrm>
        </p:spPr>
        <p:txBody>
          <a:bodyPr lIns="91440" rIns="91440" anchor="ctr">
            <a:noAutofit/>
          </a:bodyPr>
          <a:lstStyle>
            <a:lvl1pPr marL="0" indent="0" algn="ctr" defTabSz="914217" rtl="0" eaLnBrk="1" latinLnBrk="0" hangingPunct="1">
              <a:spcAft>
                <a:spcPts val="600"/>
              </a:spcAft>
              <a:buFontTx/>
              <a:buNone/>
              <a:defRPr lang="en-US" sz="18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3362" indent="0">
              <a:buFontTx/>
              <a:buNone/>
              <a:defRPr/>
            </a:lvl2pPr>
            <a:lvl3pPr marL="468313" indent="0">
              <a:buFontTx/>
              <a:buNone/>
              <a:defRPr/>
            </a:lvl3pPr>
            <a:lvl4pPr marL="688975" indent="0">
              <a:buFontTx/>
              <a:buNone/>
              <a:defRPr/>
            </a:lvl4pPr>
            <a:lvl5pPr marL="86042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FF521BE4-5901-DF43-8FA8-38634489F80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94345" y="2925972"/>
            <a:ext cx="2094808" cy="1529650"/>
          </a:xfrm>
        </p:spPr>
        <p:txBody>
          <a:bodyPr lIns="91440" rIns="91440" anchor="ctr">
            <a:noAutofit/>
          </a:bodyPr>
          <a:lstStyle>
            <a:lvl1pPr marL="0" indent="0" algn="ctr" defTabSz="914217" rtl="0" eaLnBrk="1" latinLnBrk="0" hangingPunct="1">
              <a:spcAft>
                <a:spcPts val="600"/>
              </a:spcAft>
              <a:buFontTx/>
              <a:buNone/>
              <a:defRPr lang="en-US" sz="18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3362" indent="0">
              <a:buFontTx/>
              <a:buNone/>
              <a:defRPr/>
            </a:lvl2pPr>
            <a:lvl3pPr marL="468313" indent="0">
              <a:buFontTx/>
              <a:buNone/>
              <a:defRPr/>
            </a:lvl3pPr>
            <a:lvl4pPr marL="688975" indent="0">
              <a:buFontTx/>
              <a:buNone/>
              <a:defRPr/>
            </a:lvl4pPr>
            <a:lvl5pPr marL="86042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E52D30FE-91FB-6540-948B-28F4A81CAB8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73653" y="4521414"/>
            <a:ext cx="1536192" cy="1078992"/>
          </a:xfrm>
        </p:spPr>
        <p:txBody>
          <a:bodyPr lIns="91440" rIns="91440" anchor="ctr">
            <a:noAutofit/>
          </a:bodyPr>
          <a:lstStyle>
            <a:lvl1pPr marL="0" indent="0" algn="ctr" defTabSz="914217" rtl="0" eaLnBrk="1" latinLnBrk="0" hangingPunct="1">
              <a:spcAft>
                <a:spcPts val="600"/>
              </a:spcAft>
              <a:buFontTx/>
              <a:buNone/>
              <a:defRPr lang="en-US" sz="18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3362" indent="0">
              <a:buFontTx/>
              <a:buNone/>
              <a:defRPr/>
            </a:lvl2pPr>
            <a:lvl3pPr marL="468313" indent="0">
              <a:buFontTx/>
              <a:buNone/>
              <a:defRPr/>
            </a:lvl3pPr>
            <a:lvl4pPr marL="688975" indent="0">
              <a:buFontTx/>
              <a:buNone/>
              <a:defRPr/>
            </a:lvl4pPr>
            <a:lvl5pPr marL="860425" indent="0">
              <a:buFontTx/>
              <a:buNone/>
              <a:defRPr/>
            </a:lvl5pPr>
          </a:lstStyle>
          <a:p>
            <a:pPr lvl="0"/>
            <a:r>
              <a:rPr lang="en-US" dirty="0"/>
              <a:t>Click </a:t>
            </a:r>
            <a:r>
              <a:rPr lang="en-US"/>
              <a:t>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3712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 - DK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AB5F8B1-5B94-654B-824F-F969DB983C14}"/>
              </a:ext>
            </a:extLst>
          </p:cNvPr>
          <p:cNvSpPr/>
          <p:nvPr/>
        </p:nvSpPr>
        <p:spPr>
          <a:xfrm>
            <a:off x="5733288" y="0"/>
            <a:ext cx="6458712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3636EA39-3990-3240-938D-452D946347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733288" cy="6858000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Icon to Add Picture/Video</a:t>
            </a:r>
          </a:p>
        </p:txBody>
      </p:sp>
      <p:pic>
        <p:nvPicPr>
          <p:cNvPr id="13" name="Picture 11">
            <a:extLst>
              <a:ext uri="{FF2B5EF4-FFF2-40B4-BE49-F238E27FC236}">
                <a16:creationId xmlns:a16="http://schemas.microsoft.com/office/drawing/2014/main" id="{0C129598-EA21-B045-AAD3-24BEAB710F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276844" y="5969502"/>
            <a:ext cx="1371596" cy="29477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5EC1FE31-343D-644A-840C-4216681D00D9}"/>
              </a:ext>
            </a:extLst>
          </p:cNvPr>
          <p:cNvSpPr txBox="1"/>
          <p:nvPr/>
        </p:nvSpPr>
        <p:spPr>
          <a:xfrm>
            <a:off x="7770028" y="132798"/>
            <a:ext cx="238523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0" dirty="0">
                <a:solidFill>
                  <a:schemeClr val="bg1"/>
                </a:solidFill>
                <a:latin typeface="Termina" pitchFamily="2" charset="77"/>
              </a:rPr>
              <a:t>WWW.FOLDAX.CO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3528E5-A038-744B-9E94-ED37E86002E5}"/>
              </a:ext>
            </a:extLst>
          </p:cNvPr>
          <p:cNvSpPr/>
          <p:nvPr userDrawn="1"/>
        </p:nvSpPr>
        <p:spPr>
          <a:xfrm>
            <a:off x="5733288" y="0"/>
            <a:ext cx="6458712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8" name="Picture 11">
            <a:extLst>
              <a:ext uri="{FF2B5EF4-FFF2-40B4-BE49-F238E27FC236}">
                <a16:creationId xmlns:a16="http://schemas.microsoft.com/office/drawing/2014/main" id="{B0ED895F-AC45-534C-9E1C-DE0A6C56B4A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8276844" y="5976034"/>
            <a:ext cx="1371596" cy="281708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DF9767F-1682-594C-ADD1-B58240DA1D45}"/>
              </a:ext>
            </a:extLst>
          </p:cNvPr>
          <p:cNvSpPr txBox="1"/>
          <p:nvPr userDrawn="1"/>
        </p:nvSpPr>
        <p:spPr>
          <a:xfrm>
            <a:off x="7770028" y="132798"/>
            <a:ext cx="238523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0" dirty="0">
                <a:solidFill>
                  <a:schemeClr val="bg1"/>
                </a:solidFill>
                <a:latin typeface="+mj-lt"/>
              </a:rPr>
              <a:t>WWW.FOLDAX.COM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3D1F81FB-4B91-A443-BC90-D065A1FCAC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03720" y="6419088"/>
            <a:ext cx="4114800" cy="365125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3B6EAC0B-1829-044D-B5A3-DB11C2A9E3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98575" y="3729804"/>
            <a:ext cx="5029200" cy="914400"/>
          </a:xfrm>
        </p:spPr>
        <p:txBody>
          <a:bodyPr anchor="ctr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en-US" sz="2000" b="0" i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3362" indent="0">
              <a:buNone/>
              <a:defRPr/>
            </a:lvl2pPr>
          </a:lstStyle>
          <a:p>
            <a:r>
              <a:rPr lang="en-US" dirty="0"/>
              <a:t>Subtitle Here Franklin Gothic Book 20 on 2-3 Lines Up to 20-25 Words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endParaRPr lang="en-US" dirty="0"/>
          </a:p>
        </p:txBody>
      </p:sp>
      <p:sp>
        <p:nvSpPr>
          <p:cNvPr id="28" name="Title 4">
            <a:extLst>
              <a:ext uri="{FF2B5EF4-FFF2-40B4-BE49-F238E27FC236}">
                <a16:creationId xmlns:a16="http://schemas.microsoft.com/office/drawing/2014/main" id="{1B0056B8-C4AB-5140-AD49-BF1A28030E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8575" y="1938198"/>
            <a:ext cx="5029200" cy="1618488"/>
          </a:xfrm>
        </p:spPr>
        <p:txBody>
          <a:bodyPr anchor="b">
            <a:noAutofit/>
          </a:bodyPr>
          <a:lstStyle>
            <a:lvl1pPr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0" i="0" kern="1200" spc="1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itle Goes Here Franklin Gothic Medium 28 on 1-4 Lines Up to 12-15 Word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82A805E-9ADE-4D45-B49D-8D09830488DE}"/>
              </a:ext>
            </a:extLst>
          </p:cNvPr>
          <p:cNvSpPr/>
          <p:nvPr userDrawn="1"/>
        </p:nvSpPr>
        <p:spPr>
          <a:xfrm>
            <a:off x="0" y="0"/>
            <a:ext cx="5733798" cy="6858000"/>
          </a:xfrm>
          <a:prstGeom prst="rect">
            <a:avLst/>
          </a:prstGeom>
          <a:gradFill flip="none" rotWithShape="1">
            <a:gsLst>
              <a:gs pos="50000">
                <a:schemeClr val="tx1">
                  <a:alpha val="0"/>
                </a:schemeClr>
              </a:gs>
              <a:gs pos="19000">
                <a:schemeClr val="tx1"/>
              </a:gs>
              <a:gs pos="89000">
                <a:schemeClr val="tx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69925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83601E-988A-3C4C-B19E-4F622F3145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DFF4F9-3259-424F-A79D-4BA6CC1701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425F692A-A51C-DA49-9864-B8CE7923F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E9DA9D-94C7-9B43-BBC3-ABD3FF243166}"/>
              </a:ext>
            </a:extLst>
          </p:cNvPr>
          <p:cNvSpPr/>
          <p:nvPr userDrawn="1"/>
        </p:nvSpPr>
        <p:spPr>
          <a:xfrm>
            <a:off x="925173" y="2333241"/>
            <a:ext cx="3406777" cy="16733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>
            <a:noAutofit/>
          </a:bodyPr>
          <a:lstStyle/>
          <a:p>
            <a:pPr algn="ctr"/>
            <a:endParaRPr lang="en-US" sz="900">
              <a:cs typeface="Lato Ligh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E8A90C8-F9A1-2E4A-8924-E593FF88E94D}"/>
              </a:ext>
            </a:extLst>
          </p:cNvPr>
          <p:cNvSpPr/>
          <p:nvPr userDrawn="1"/>
        </p:nvSpPr>
        <p:spPr>
          <a:xfrm>
            <a:off x="925173" y="4072592"/>
            <a:ext cx="3406777" cy="16733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>
            <a:noAutofit/>
          </a:bodyPr>
          <a:lstStyle/>
          <a:p>
            <a:pPr algn="ctr"/>
            <a:endParaRPr lang="en-US" sz="900">
              <a:cs typeface="Lato Ligh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DB92B8-E229-634C-A0CA-AD7291E96D7C}"/>
              </a:ext>
            </a:extLst>
          </p:cNvPr>
          <p:cNvSpPr/>
          <p:nvPr userDrawn="1"/>
        </p:nvSpPr>
        <p:spPr>
          <a:xfrm>
            <a:off x="4392612" y="2333241"/>
            <a:ext cx="3406777" cy="1673352"/>
          </a:xfrm>
          <a:prstGeom prst="rect">
            <a:avLst/>
          </a:prstGeom>
          <a:solidFill>
            <a:schemeClr val="accent3"/>
          </a:solidFill>
          <a:ln w="5715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>
            <a:noAutofit/>
          </a:bodyPr>
          <a:lstStyle/>
          <a:p>
            <a:pPr algn="ctr"/>
            <a:endParaRPr lang="en-US" sz="900">
              <a:cs typeface="Lato Ligh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93A698D-0A81-044C-850A-E3D145636BD8}"/>
              </a:ext>
            </a:extLst>
          </p:cNvPr>
          <p:cNvSpPr/>
          <p:nvPr userDrawn="1"/>
        </p:nvSpPr>
        <p:spPr>
          <a:xfrm>
            <a:off x="4392612" y="4072592"/>
            <a:ext cx="3406777" cy="167335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>
            <a:noAutofit/>
          </a:bodyPr>
          <a:lstStyle/>
          <a:p>
            <a:pPr algn="ctr"/>
            <a:endParaRPr lang="en-US" sz="900">
              <a:cs typeface="Lato Ligh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DAF6693-9144-D24D-B308-0DD1FA13ED03}"/>
              </a:ext>
            </a:extLst>
          </p:cNvPr>
          <p:cNvSpPr/>
          <p:nvPr userDrawn="1"/>
        </p:nvSpPr>
        <p:spPr>
          <a:xfrm>
            <a:off x="7860051" y="2333241"/>
            <a:ext cx="3406777" cy="167335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>
            <a:noAutofit/>
          </a:bodyPr>
          <a:lstStyle/>
          <a:p>
            <a:pPr algn="ctr"/>
            <a:endParaRPr lang="en-US" sz="900">
              <a:cs typeface="Lato Ligh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347AE6-2509-7946-80DD-7405016D2F76}"/>
              </a:ext>
            </a:extLst>
          </p:cNvPr>
          <p:cNvSpPr/>
          <p:nvPr userDrawn="1"/>
        </p:nvSpPr>
        <p:spPr>
          <a:xfrm>
            <a:off x="7860051" y="4072592"/>
            <a:ext cx="3406777" cy="1673352"/>
          </a:xfrm>
          <a:prstGeom prst="rect">
            <a:avLst/>
          </a:prstGeom>
          <a:solidFill>
            <a:schemeClr val="tx2"/>
          </a:solidFill>
          <a:ln w="381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  <a:cs typeface="Lato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7068D6-2AE1-3442-8544-24C53E3BD8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34355" y="2517740"/>
            <a:ext cx="3200400" cy="317500"/>
          </a:xfrm>
        </p:spPr>
        <p:txBody>
          <a:bodyPr>
            <a:noAutofit/>
          </a:bodyPr>
          <a:lstStyle>
            <a:lvl1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217" rtl="0" eaLnBrk="1" latinLnBrk="0" hangingPunct="1">
              <a:buFontTx/>
              <a:buNone/>
              <a:defRPr lang="en-US" sz="1400" b="1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text Franklin Gothic 14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544374D-B63B-DD4F-ADAB-C43EF1A4875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34355" y="2888600"/>
            <a:ext cx="3200400" cy="781757"/>
          </a:xfrm>
        </p:spPr>
        <p:txBody>
          <a:bodyPr>
            <a:noAutofit/>
          </a:bodyPr>
          <a:lstStyle>
            <a:lvl1pPr marL="0" marR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217" rtl="0" eaLnBrk="1" latinLnBrk="0" hangingPunct="1">
              <a:buFontTx/>
              <a:buNone/>
              <a:defRPr lang="en-US" sz="1400" b="1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consectetuer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dipiscing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eli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 Maecenas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porttitor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congue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massa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6DA1D40D-28FF-4F43-A8F0-96D0D382E7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5724" y="2517740"/>
            <a:ext cx="3200400" cy="317500"/>
          </a:xfrm>
        </p:spPr>
        <p:txBody>
          <a:bodyPr>
            <a:noAutofit/>
          </a:bodyPr>
          <a:lstStyle>
            <a:lvl1pPr marL="0" marR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217" rtl="0" eaLnBrk="1" latinLnBrk="0" hangingPunct="1">
              <a:buFontTx/>
              <a:buNone/>
              <a:defRPr lang="en-US" sz="1400" b="1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dirty="0"/>
              <a:t>Click to add text Franklin Gothic 14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60FA15A-B377-004F-A62B-B484B3ADBE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7118" y="2888600"/>
            <a:ext cx="3200400" cy="781757"/>
          </a:xfrm>
        </p:spPr>
        <p:txBody>
          <a:bodyPr>
            <a:noAutofit/>
          </a:bodyPr>
          <a:lstStyle>
            <a:lvl1pPr marL="0" marR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217" rtl="0" eaLnBrk="1" latinLnBrk="0" hangingPunct="1">
              <a:buFontTx/>
              <a:buNone/>
              <a:defRPr lang="en-US" sz="1400" b="1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consectetuer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dipiscing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eli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 Maecenas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porttitor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congue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massa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657E8D2-B7DA-E643-A12A-54C2B358EE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4355" y="4191092"/>
            <a:ext cx="3200400" cy="317500"/>
          </a:xfrm>
        </p:spPr>
        <p:txBody>
          <a:bodyPr>
            <a:noAutofit/>
          </a:bodyPr>
          <a:lstStyle>
            <a:lvl1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217" rtl="0" eaLnBrk="1" latinLnBrk="0" hangingPunct="1">
              <a:buFontTx/>
              <a:buNone/>
              <a:defRPr lang="en-US" sz="1400" b="1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text Franklin Gothic 14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54DE36AE-CF66-1B40-A7F0-06D975409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34355" y="4561952"/>
            <a:ext cx="3200400" cy="781757"/>
          </a:xfrm>
        </p:spPr>
        <p:txBody>
          <a:bodyPr>
            <a:noAutofit/>
          </a:bodyPr>
          <a:lstStyle>
            <a:lvl1pPr marL="0" marR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217" rtl="0" eaLnBrk="1" latinLnBrk="0" hangingPunct="1">
              <a:buFontTx/>
              <a:buNone/>
              <a:defRPr lang="en-US" sz="1400" b="1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consectetuer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dipiscing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eli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 Maecenas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porttitor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congue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massa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F085A411-6D93-8144-A3C0-692C2DB514C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31559" y="2517740"/>
            <a:ext cx="3200400" cy="317500"/>
          </a:xfrm>
        </p:spPr>
        <p:txBody>
          <a:bodyPr>
            <a:noAutofit/>
          </a:bodyPr>
          <a:lstStyle>
            <a:lvl1pPr marL="0" marR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217" rtl="0" eaLnBrk="1" latinLnBrk="0" hangingPunct="1">
              <a:buFontTx/>
              <a:buNone/>
              <a:defRPr lang="en-US" sz="1400" b="1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dirty="0"/>
              <a:t>Click to add text Franklin Gothic 14</a:t>
            </a:r>
          </a:p>
          <a:p>
            <a:pPr lvl="0"/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2416AC45-70DF-C24E-AC50-EC5B9CA6511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32953" y="2888600"/>
            <a:ext cx="3200400" cy="781757"/>
          </a:xfrm>
        </p:spPr>
        <p:txBody>
          <a:bodyPr>
            <a:noAutofit/>
          </a:bodyPr>
          <a:lstStyle>
            <a:lvl1pPr marL="0" marR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217" rtl="0" eaLnBrk="1" latinLnBrk="0" hangingPunct="1">
              <a:buFontTx/>
              <a:buNone/>
              <a:defRPr lang="en-US" sz="1400" b="1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consectetuer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dipiscing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eli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 Maecenas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porttitor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congue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massa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5B4C3CD-0B7A-BB4A-AE23-C772D9517E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95724" y="4182778"/>
            <a:ext cx="3200400" cy="317500"/>
          </a:xfrm>
        </p:spPr>
        <p:txBody>
          <a:bodyPr>
            <a:noAutofit/>
          </a:bodyPr>
          <a:lstStyle>
            <a:lvl1pPr marL="0" marR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217" rtl="0" eaLnBrk="1" latinLnBrk="0" hangingPunct="1">
              <a:buFontTx/>
              <a:buNone/>
              <a:defRPr lang="en-US" sz="1400" b="1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dirty="0"/>
              <a:t>Click to add text Franklin Gothic 14</a:t>
            </a:r>
          </a:p>
          <a:p>
            <a:pPr lvl="0"/>
            <a:endParaRPr lang="en-US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0C24157C-ED0D-2E4D-A21A-B2E5D61C629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97118" y="4553638"/>
            <a:ext cx="3200400" cy="781757"/>
          </a:xfrm>
        </p:spPr>
        <p:txBody>
          <a:bodyPr>
            <a:noAutofit/>
          </a:bodyPr>
          <a:lstStyle>
            <a:lvl1pPr marL="0" marR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217" rtl="0" eaLnBrk="1" latinLnBrk="0" hangingPunct="1">
              <a:buFontTx/>
              <a:buNone/>
              <a:defRPr lang="en-US" sz="1400" b="1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consectetuer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dipiscing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eli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 Maecenas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porttitor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congue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massa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2B34C2EA-513F-FE4B-AAA1-E62897546C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31559" y="4182778"/>
            <a:ext cx="3200400" cy="317500"/>
          </a:xfrm>
        </p:spPr>
        <p:txBody>
          <a:bodyPr>
            <a:noAutofit/>
          </a:bodyPr>
          <a:lstStyle>
            <a:lvl1pPr marL="0" marR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217" rtl="0" eaLnBrk="1" latinLnBrk="0" hangingPunct="1">
              <a:buFontTx/>
              <a:buNone/>
              <a:defRPr lang="en-US" sz="1400" b="1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dirty="0"/>
              <a:t>Click to add text Franklin Gothic 14</a:t>
            </a:r>
          </a:p>
          <a:p>
            <a:pPr lvl="0"/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D8B33D56-255A-0A44-9D83-0E8E8B927D3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32953" y="4553638"/>
            <a:ext cx="3200400" cy="781757"/>
          </a:xfrm>
        </p:spPr>
        <p:txBody>
          <a:bodyPr>
            <a:noAutofit/>
          </a:bodyPr>
          <a:lstStyle>
            <a:lvl1pPr marL="0" marR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0" indent="0" algn="l" defTabSz="914217" rtl="0" eaLnBrk="1" latinLnBrk="0" hangingPunct="1">
              <a:buFontTx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217" rtl="0" eaLnBrk="1" latinLnBrk="0" hangingPunct="1">
              <a:buFontTx/>
              <a:buNone/>
              <a:defRPr lang="en-US" sz="1400" b="1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consectetuer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adipiscing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elit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 Maecenas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porttitor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congue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cs typeface="Arial" panose="020B0604020202020204" pitchFamily="34" charset="0"/>
              </a:rPr>
              <a:t>massa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FCC4C6F5-F8C0-7840-9B76-49F207220F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68322"/>
            <a:ext cx="9891712" cy="317500"/>
          </a:xfrm>
        </p:spPr>
        <p:txBody>
          <a:bodyPr anchor="t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Here to Enter subtitle Franklin Gothic Book 16</a:t>
            </a:r>
          </a:p>
        </p:txBody>
      </p:sp>
    </p:spTree>
    <p:extLst>
      <p:ext uri="{BB962C8B-B14F-4D97-AF65-F5344CB8AC3E}">
        <p14:creationId xmlns:p14="http://schemas.microsoft.com/office/powerpoint/2010/main" val="226234258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83601E-988A-3C4C-B19E-4F622F3145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DFF4F9-3259-424F-A79D-4BA6CC1701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425F692A-A51C-DA49-9864-B8CE7923F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6A25630-B4E0-DB46-B0F1-B13C7A02FB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68322"/>
            <a:ext cx="9891712" cy="317500"/>
          </a:xfrm>
        </p:spPr>
        <p:txBody>
          <a:bodyPr anchor="t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Here to Enter subtitle Franklin Gothic Book 16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F50C36B-E89E-6048-B328-0684876680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312" y="6446520"/>
            <a:ext cx="7315200" cy="192024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700" kern="1200" dirty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 *SOURCE OR REFERENCE HER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C60FE46-E3EA-6E49-B415-E679D7E8A3F2}"/>
              </a:ext>
            </a:extLst>
          </p:cNvPr>
          <p:cNvCxnSpPr/>
          <p:nvPr userDrawn="1"/>
        </p:nvCxnSpPr>
        <p:spPr>
          <a:xfrm>
            <a:off x="2123268" y="4377749"/>
            <a:ext cx="7764651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3B855-6A6E-D842-8FFA-2A94057E2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259" y="2659468"/>
            <a:ext cx="3657600" cy="594360"/>
          </a:xfrm>
        </p:spPr>
        <p:txBody>
          <a:bodyPr>
            <a:noAutofit/>
          </a:bodyPr>
          <a:lstStyle>
            <a:lvl1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accent2"/>
                </a:solidFill>
              </a:rPr>
              <a:t>Lorem ipsum dolor sit </a:t>
            </a:r>
            <a:r>
              <a:rPr lang="en-US" b="1" dirty="0" err="1">
                <a:solidFill>
                  <a:schemeClr val="accent2"/>
                </a:solidFill>
              </a:rPr>
              <a:t>amet</a:t>
            </a:r>
            <a:r>
              <a:rPr lang="en-US" b="1" dirty="0">
                <a:solidFill>
                  <a:schemeClr val="accent2"/>
                </a:solidFill>
              </a:rPr>
              <a:t>, </a:t>
            </a:r>
            <a:r>
              <a:rPr lang="en-US" b="1" dirty="0" err="1">
                <a:solidFill>
                  <a:schemeClr val="accent2"/>
                </a:solidFill>
              </a:rPr>
              <a:t>consectetuer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b="1" dirty="0" err="1">
                <a:solidFill>
                  <a:schemeClr val="accent2"/>
                </a:solidFill>
              </a:rPr>
              <a:t>adipiscing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b="1" dirty="0" err="1">
                <a:solidFill>
                  <a:schemeClr val="accent2"/>
                </a:solidFill>
              </a:rPr>
              <a:t>elit</a:t>
            </a:r>
            <a:r>
              <a:rPr lang="en-US" b="1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1685E7-46DD-DB48-9A52-A4E8BAE88F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7200" y="2662897"/>
            <a:ext cx="3657600" cy="594360"/>
          </a:xfrm>
        </p:spPr>
        <p:txBody>
          <a:bodyPr>
            <a:noAutofit/>
          </a:bodyPr>
          <a:lstStyle>
            <a:lvl1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BD8BF6E-46CD-6E4C-B3C2-6D82E611E9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5238" y="2662897"/>
            <a:ext cx="3657600" cy="594360"/>
          </a:xfrm>
        </p:spPr>
        <p:txBody>
          <a:bodyPr>
            <a:noAutofit/>
          </a:bodyPr>
          <a:lstStyle>
            <a:lvl1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1BBAD66-A93B-F649-8CF8-4F1FE7F275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3259" y="5535823"/>
            <a:ext cx="3657600" cy="594360"/>
          </a:xfrm>
        </p:spPr>
        <p:txBody>
          <a:bodyPr>
            <a:noAutofit/>
          </a:bodyPr>
          <a:lstStyle>
            <a:lvl1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kern="1200" dirty="0" smtClean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F19F3FA8-5747-7A4B-B80A-B88C69E637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67200" y="5535823"/>
            <a:ext cx="3657600" cy="594360"/>
          </a:xfrm>
        </p:spPr>
        <p:txBody>
          <a:bodyPr>
            <a:noAutofit/>
          </a:bodyPr>
          <a:lstStyle>
            <a:lvl1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kern="1200" dirty="0" smtClean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3244E513-023C-064D-9CBB-A8F46FBB62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5238" y="5535823"/>
            <a:ext cx="3657600" cy="594360"/>
          </a:xfrm>
        </p:spPr>
        <p:txBody>
          <a:bodyPr>
            <a:noAutofit/>
          </a:bodyPr>
          <a:lstStyle>
            <a:lvl1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kern="1200" dirty="0" smtClean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18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10ED77E8-FBAA-5646-A9CC-11EC38AFECE0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1291621" y="3510828"/>
            <a:ext cx="1737360" cy="1737360"/>
          </a:xfr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>
              <a:buFontTx/>
              <a:buNone/>
              <a:defRPr lang="en-US" b="1" dirty="0" smtClean="0">
                <a:solidFill>
                  <a:schemeClr val="lt1"/>
                </a:solidFill>
              </a:defRPr>
            </a:lvl1pPr>
          </a:lstStyle>
          <a:p>
            <a:pPr marL="0" lvl="0" algn="ctr" defTabSz="914217"/>
            <a:r>
              <a:rPr lang="en-US" dirty="0"/>
              <a:t>CLICK TO EDIT MASTER TEXT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96E30EF-F14F-BB41-8AA5-D7AF7D2C37AB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5229079" y="3507311"/>
            <a:ext cx="1737360" cy="1737360"/>
          </a:xfr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>
              <a:buFontTx/>
              <a:buNone/>
              <a:defRPr lang="en-US" b="1" dirty="0" smtClean="0">
                <a:solidFill>
                  <a:schemeClr val="lt1"/>
                </a:solidFill>
              </a:defRPr>
            </a:lvl1pPr>
          </a:lstStyle>
          <a:p>
            <a:pPr marL="0" lvl="0" algn="ctr" defTabSz="914217"/>
            <a:r>
              <a:rPr lang="en-US" dirty="0"/>
              <a:t>CLICK TO EDIT MASTER TEX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9D38EB67-7EE8-3E42-A817-4B42AB1CCBE5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>
          <a:xfrm>
            <a:off x="9197117" y="3507311"/>
            <a:ext cx="1737360" cy="1737360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>
              <a:buFontTx/>
              <a:buNone/>
              <a:defRPr lang="en-US" b="1" dirty="0" smtClean="0">
                <a:solidFill>
                  <a:schemeClr val="lt1"/>
                </a:solidFill>
              </a:defRPr>
            </a:lvl1pPr>
          </a:lstStyle>
          <a:p>
            <a:pPr marL="0" lvl="0" algn="ctr" defTabSz="914217"/>
            <a:r>
              <a:rPr lang="en-US" dirty="0"/>
              <a:t>CLICK TO EDIT MASTER TEX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77A1E2B-A40E-6749-90E6-DDE0ECF3FD8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66700" y="1719072"/>
            <a:ext cx="11658600" cy="704088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 defTabSz="914217" rtl="0" eaLnBrk="1" latinLnBrk="0" hangingPunct="1">
              <a:lnSpc>
                <a:spcPct val="90000"/>
              </a:lnSpc>
              <a:buFontTx/>
              <a:buNone/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963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n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7CE337C-AFB4-AF43-BAB1-A93972169D50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40129" y="1215910"/>
            <a:ext cx="4754880" cy="4754880"/>
          </a:xfrm>
          <a:prstGeom prst="ellipse">
            <a:avLst/>
          </a:prstGeom>
          <a:solidFill>
            <a:srgbClr val="999999">
              <a:alpha val="65098"/>
            </a:srgbClr>
          </a:solidFill>
        </p:spPr>
        <p:txBody>
          <a:bodyPr anchor="ctr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5C70A288-5151-7B4D-B10D-F5627ABECEA6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05681" y="1215910"/>
            <a:ext cx="4754880" cy="4754880"/>
          </a:xfrm>
          <a:prstGeom prst="ellipse">
            <a:avLst/>
          </a:prstGeom>
          <a:solidFill>
            <a:srgbClr val="999999">
              <a:alpha val="65098"/>
            </a:srgbClr>
          </a:solidFill>
        </p:spPr>
        <p:txBody>
          <a:bodyPr anchor="ctr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E23964-4FD1-A34A-9235-B9FC53A942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D22C35-9387-DD4C-BAB0-FE57FD5D2AC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D96BB5D3-7980-3C4A-B3EC-53C70A225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018F10-31BB-A242-A336-E5E32DAD5E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568322"/>
            <a:ext cx="9891712" cy="317500"/>
          </a:xfrm>
        </p:spPr>
        <p:txBody>
          <a:bodyPr anchor="t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Here to Enter subtitle Franklin Gothic Book 16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063971-1142-D141-BD89-152A03215F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6616" y="3323844"/>
            <a:ext cx="1737360" cy="640080"/>
          </a:xfrm>
        </p:spPr>
        <p:txBody>
          <a:bodyPr>
            <a:noAutofit/>
          </a:bodyPr>
          <a:lstStyle>
            <a:lvl1pPr marL="0" indent="0" algn="r" defTabSz="914217" rtl="0" eaLnBrk="1" latinLnBrk="0" hangingPunct="1">
              <a:buFontTx/>
              <a:buNone/>
              <a:defRPr lang="en-US" sz="1800" b="1" kern="1200" dirty="0">
                <a:solidFill>
                  <a:schemeClr val="accent1"/>
                </a:solidFill>
                <a:latin typeface="+mj-lt"/>
                <a:ea typeface="Helvetica Neue" charset="0"/>
                <a:cs typeface="Arial" panose="020B0604020202020204" pitchFamily="34" charset="0"/>
              </a:defRPr>
            </a:lvl1pPr>
            <a:lvl2pPr marL="233362" indent="0">
              <a:buFontTx/>
              <a:buNone/>
              <a:defRPr/>
            </a:lvl2pPr>
            <a:lvl3pPr marL="468313" indent="0">
              <a:buFontTx/>
              <a:buNone/>
              <a:defRPr/>
            </a:lvl3pPr>
            <a:lvl4pPr marL="688975" indent="0">
              <a:buFontTx/>
              <a:buNone/>
              <a:defRPr/>
            </a:lvl4pPr>
            <a:lvl5pPr marL="860425" indent="0">
              <a:buFontTx/>
              <a:buNone/>
              <a:defRPr/>
            </a:lvl5pPr>
          </a:lstStyle>
          <a:p>
            <a:pPr algn="r"/>
            <a:r>
              <a:rPr lang="en-US" b="1" dirty="0">
                <a:solidFill>
                  <a:schemeClr val="accent1"/>
                </a:solidFill>
                <a:latin typeface="+mj-lt"/>
                <a:ea typeface="Helvetica Neue" charset="0"/>
                <a:cs typeface="Arial" panose="020B0604020202020204" pitchFamily="34" charset="0"/>
              </a:rPr>
              <a:t>Franklin Gothic Med 18 2 Lin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085F068-5F7F-9246-81AA-1DE6784457A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204704" y="3323844"/>
            <a:ext cx="1737360" cy="640080"/>
          </a:xfrm>
        </p:spPr>
        <p:txBody>
          <a:bodyPr>
            <a:noAutofit/>
          </a:bodyPr>
          <a:lstStyle>
            <a:lvl1pPr marL="0" indent="0" algn="l" defTabSz="914217" rtl="0" eaLnBrk="1" latinLnBrk="0" hangingPunct="1">
              <a:buFont typeface="Arial" panose="020B0604020202020204" pitchFamily="34" charset="0"/>
              <a:buNone/>
              <a:defRPr lang="en-US" sz="1800" b="1" kern="1200" dirty="0" smtClean="0">
                <a:solidFill>
                  <a:schemeClr val="accent2"/>
                </a:solidFill>
                <a:latin typeface="+mj-lt"/>
                <a:ea typeface="Helvetica Neue" charset="0"/>
                <a:cs typeface="Arial" panose="020B0604020202020204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68313" indent="0">
              <a:buFont typeface="Arial" panose="020B0604020202020204" pitchFamily="34" charset="0"/>
              <a:buNone/>
              <a:defRPr/>
            </a:lvl3pPr>
            <a:lvl4pPr marL="688975" indent="0">
              <a:buFont typeface="Arial" panose="020B0604020202020204" pitchFamily="34" charset="0"/>
              <a:buNone/>
              <a:defRPr/>
            </a:lvl4pPr>
            <a:lvl5pPr marL="86042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Franklin Gothic Med 18 2 Lines</a:t>
            </a:r>
          </a:p>
        </p:txBody>
      </p:sp>
    </p:spTree>
    <p:extLst>
      <p:ext uri="{BB962C8B-B14F-4D97-AF65-F5344CB8AC3E}">
        <p14:creationId xmlns:p14="http://schemas.microsoft.com/office/powerpoint/2010/main" val="13906320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6BD33D5-BB17-9A4F-B3B9-EBF675E532C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50306" y="1164817"/>
            <a:ext cx="5303520" cy="4989240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2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icon to add picture or Vide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253647-5FE2-2E4C-A6D0-88427E0B018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0C0A2E-DEF4-B34D-A903-6C0FE80908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F2B06CC2-1ADC-7340-8C67-EA514C9CF1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9E659BE1-2A03-DA4F-BF83-646A8A57EE8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228600" y="1164817"/>
            <a:ext cx="5303520" cy="4989240"/>
          </a:xfrm>
        </p:spPr>
        <p:txBody>
          <a:bodyPr>
            <a:noAutofit/>
          </a:bodyPr>
          <a:lstStyle>
            <a:lvl2pPr marL="466725" indent="-233363">
              <a:buFontTx/>
              <a:buBlip>
                <a:blip r:embed="rId2"/>
              </a:buBlip>
              <a:defRPr/>
            </a:lvl2pPr>
            <a:lvl3pPr marL="687388" indent="-219075">
              <a:buFontTx/>
              <a:buBlip>
                <a:blip r:embed="rId3"/>
              </a:buBlip>
              <a:defRPr/>
            </a:lvl3pPr>
            <a:lvl4pPr marL="860425" indent="-171450">
              <a:buFontTx/>
              <a:buBlip>
                <a:blip r:embed="rId3"/>
              </a:buBlip>
              <a:defRPr/>
            </a:lvl4pPr>
            <a:lvl5pPr marL="1035050" indent="-174625">
              <a:buFontTx/>
              <a:buBlip>
                <a:blip r:embed="rId3"/>
              </a:buBlip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A03B141-CE72-234C-801E-3C1375A3FA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568322"/>
            <a:ext cx="9891712" cy="317500"/>
          </a:xfrm>
        </p:spPr>
        <p:txBody>
          <a:bodyPr anchor="t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Here to Enter subtitle Franklin Gothic Book 16</a:t>
            </a:r>
          </a:p>
        </p:txBody>
      </p:sp>
    </p:spTree>
    <p:extLst>
      <p:ext uri="{BB962C8B-B14F-4D97-AF65-F5344CB8AC3E}">
        <p14:creationId xmlns:p14="http://schemas.microsoft.com/office/powerpoint/2010/main" val="239058070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6BD33D5-BB17-9A4F-B3B9-EBF675E532C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28600" y="1164817"/>
            <a:ext cx="5303520" cy="4989240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2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icon to add picture or Vide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253647-5FE2-2E4C-A6D0-88427E0B018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0C0A2E-DEF4-B34D-A903-6C0FE80908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F2B06CC2-1ADC-7340-8C67-EA514C9CF1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9E659BE1-2A03-DA4F-BF83-646A8A57EE8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51576" y="1164817"/>
            <a:ext cx="5303520" cy="4989240"/>
          </a:xfrm>
        </p:spPr>
        <p:txBody>
          <a:bodyPr>
            <a:noAutofit/>
          </a:bodyPr>
          <a:lstStyle>
            <a:lvl2pPr marL="466725" indent="-233363">
              <a:buFontTx/>
              <a:buBlip>
                <a:blip r:embed="rId2"/>
              </a:buBlip>
              <a:defRPr/>
            </a:lvl2pPr>
            <a:lvl3pPr marL="687388" indent="-219075">
              <a:buFontTx/>
              <a:buBlip>
                <a:blip r:embed="rId3"/>
              </a:buBlip>
              <a:defRPr/>
            </a:lvl3pPr>
            <a:lvl4pPr marL="860425" indent="-171450">
              <a:buFontTx/>
              <a:buBlip>
                <a:blip r:embed="rId3"/>
              </a:buBlip>
              <a:defRPr/>
            </a:lvl4pPr>
            <a:lvl5pPr marL="1035050" indent="-174625">
              <a:buFontTx/>
              <a:buBlip>
                <a:blip r:embed="rId3"/>
              </a:buBlip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7E93CF7-C48A-D64A-A320-33A41A1EB4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568322"/>
            <a:ext cx="9891712" cy="317500"/>
          </a:xfrm>
        </p:spPr>
        <p:txBody>
          <a:bodyPr anchor="t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Here to Enter subtitle Franklin Gothic Book 16</a:t>
            </a:r>
          </a:p>
        </p:txBody>
      </p:sp>
    </p:spTree>
    <p:extLst>
      <p:ext uri="{BB962C8B-B14F-4D97-AF65-F5344CB8AC3E}">
        <p14:creationId xmlns:p14="http://schemas.microsoft.com/office/powerpoint/2010/main" val="313225390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w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253647-5FE2-2E4C-A6D0-88427E0B018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7F385753-10CD-2E40-9D8F-9C20178E52E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19908" y="1968095"/>
            <a:ext cx="4435399" cy="4321583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2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icon to add picture or Video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A75512-92CF-7A4B-BF90-1F5F5D5E6E7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88702BD-5F48-9946-87E2-39C3E0D4DBD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736693" y="1968095"/>
            <a:ext cx="4435399" cy="4321583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2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icon to add picture or Video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EC50BCDD-9705-304B-9589-92D8E78E7A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F6C605B-5F05-1A4A-B167-8231001BE4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568322"/>
            <a:ext cx="9891712" cy="317500"/>
          </a:xfrm>
        </p:spPr>
        <p:txBody>
          <a:bodyPr anchor="t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Here to Enter subtitle Franklin Gothic Book 16</a:t>
            </a:r>
          </a:p>
        </p:txBody>
      </p:sp>
    </p:spTree>
    <p:extLst>
      <p:ext uri="{BB962C8B-B14F-4D97-AF65-F5344CB8AC3E}">
        <p14:creationId xmlns:p14="http://schemas.microsoft.com/office/powerpoint/2010/main" val="344387949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2 Valv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B986AE-FF22-104A-8F0A-70C165B7A9EA}"/>
              </a:ext>
            </a:extLst>
          </p:cNvPr>
          <p:cNvSpPr/>
          <p:nvPr userDrawn="1"/>
        </p:nvSpPr>
        <p:spPr>
          <a:xfrm>
            <a:off x="583695" y="885822"/>
            <a:ext cx="5805055" cy="58050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Picture Placeholder 25">
            <a:extLst>
              <a:ext uri="{FF2B5EF4-FFF2-40B4-BE49-F238E27FC236}">
                <a16:creationId xmlns:a16="http://schemas.microsoft.com/office/drawing/2014/main" id="{CCEE59B8-FE72-B342-B2E4-92890276185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15841" y="1371135"/>
            <a:ext cx="2560320" cy="2523744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marL="457200" indent="-457200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Drag/Drop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EE4A11-8B0F-5544-9570-D06318F66CF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E1E3F-4546-584D-BB48-FF2E8C96371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CB58757-232C-2242-A85C-3DE5FE209A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24" name="Picture Placeholder 25">
            <a:extLst>
              <a:ext uri="{FF2B5EF4-FFF2-40B4-BE49-F238E27FC236}">
                <a16:creationId xmlns:a16="http://schemas.microsoft.com/office/drawing/2014/main" id="{C16675A4-4B87-9C4A-AF51-63885C3779B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703720" y="1372744"/>
            <a:ext cx="2560320" cy="2523744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marL="457200" indent="-457200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Drag/Drop to Add Picture</a:t>
            </a:r>
          </a:p>
        </p:txBody>
      </p:sp>
      <p:sp>
        <p:nvSpPr>
          <p:cNvPr id="25" name="Picture Placeholder 25">
            <a:extLst>
              <a:ext uri="{FF2B5EF4-FFF2-40B4-BE49-F238E27FC236}">
                <a16:creationId xmlns:a16="http://schemas.microsoft.com/office/drawing/2014/main" id="{FB757ACF-64FC-4342-807B-B468B888B28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015841" y="3961574"/>
            <a:ext cx="2560320" cy="2523744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marL="457200" indent="-457200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Drag/Drop to Add Picture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C4CA0C0C-3B4B-0B4F-95FB-561044F0985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703720" y="3961574"/>
            <a:ext cx="2560320" cy="2523744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marL="457200" indent="-457200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Drag/Drop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B8920E-DBE5-E84D-BC83-E27BEB1FE0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15841" y="1063669"/>
            <a:ext cx="2560320" cy="256032"/>
          </a:xfrm>
          <a:solidFill>
            <a:schemeClr val="accent3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 defTabSz="914217" rtl="0" eaLnBrk="1" latinLnBrk="0" hangingPunct="1">
              <a:lnSpc>
                <a:spcPct val="100000"/>
              </a:lnSpc>
              <a:buFontTx/>
              <a:buNone/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sz="1800" dirty="0" smtClean="0">
                <a:solidFill>
                  <a:schemeClr val="lt1"/>
                </a:solidFill>
              </a:defRPr>
            </a:lvl4pPr>
            <a:lvl5pPr>
              <a:defRPr lang="en-US" sz="1800" dirty="0">
                <a:solidFill>
                  <a:schemeClr val="lt1"/>
                </a:solidFill>
              </a:defRPr>
            </a:lvl5pPr>
          </a:lstStyle>
          <a:p>
            <a:pPr marL="0" lvl="0" algn="ctr" defTabSz="914217"/>
            <a:r>
              <a:rPr lang="en-US" dirty="0"/>
              <a:t>Click to add tex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65F5866B-ADA5-0B44-A8B4-A6042D5E49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03720" y="1063669"/>
            <a:ext cx="2560320" cy="256032"/>
          </a:xfrm>
          <a:solidFill>
            <a:schemeClr val="accent3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 defTabSz="914217" rtl="0" eaLnBrk="1" latinLnBrk="0" hangingPunct="1">
              <a:lnSpc>
                <a:spcPct val="100000"/>
              </a:lnSpc>
              <a:buFontTx/>
              <a:buNone/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sz="1800" dirty="0" smtClean="0">
                <a:solidFill>
                  <a:schemeClr val="lt1"/>
                </a:solidFill>
              </a:defRPr>
            </a:lvl4pPr>
            <a:lvl5pPr>
              <a:defRPr lang="en-US" sz="1800" dirty="0">
                <a:solidFill>
                  <a:schemeClr val="lt1"/>
                </a:solidFill>
              </a:defRPr>
            </a:lvl5pPr>
          </a:lstStyle>
          <a:p>
            <a:pPr marL="0" lvl="0" algn="ctr" defTabSz="914217"/>
            <a:r>
              <a:rPr lang="en-US" dirty="0"/>
              <a:t>Click to add tex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349BEE06-FC58-DD4D-BE96-BDE67DDF79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 rot="16200000">
            <a:off x="-429900" y="2530735"/>
            <a:ext cx="2560320" cy="256032"/>
          </a:xfrm>
          <a:solidFill>
            <a:schemeClr val="accent3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 defTabSz="914217" rtl="0" eaLnBrk="1" latinLnBrk="0" hangingPunct="1">
              <a:lnSpc>
                <a:spcPct val="100000"/>
              </a:lnSpc>
              <a:buFontTx/>
              <a:buNone/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sz="1800" dirty="0" smtClean="0">
                <a:solidFill>
                  <a:schemeClr val="lt1"/>
                </a:solidFill>
              </a:defRPr>
            </a:lvl4pPr>
            <a:lvl5pPr>
              <a:defRPr lang="en-US" sz="1800" dirty="0">
                <a:solidFill>
                  <a:schemeClr val="lt1"/>
                </a:solidFill>
              </a:defRPr>
            </a:lvl5pPr>
          </a:lstStyle>
          <a:p>
            <a:pPr marL="0" lvl="0" algn="ctr" defTabSz="914217"/>
            <a:r>
              <a:rPr lang="en-US" dirty="0"/>
              <a:t>Click to add tex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C9031380-AFA2-E142-97B4-5AC479146E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429899" y="5077036"/>
            <a:ext cx="2560320" cy="256032"/>
          </a:xfrm>
          <a:solidFill>
            <a:schemeClr val="accent3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 defTabSz="914217" rtl="0" eaLnBrk="1" latinLnBrk="0" hangingPunct="1">
              <a:lnSpc>
                <a:spcPct val="100000"/>
              </a:lnSpc>
              <a:buFontTx/>
              <a:buNone/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sz="1800" dirty="0" smtClean="0">
                <a:solidFill>
                  <a:schemeClr val="lt1"/>
                </a:solidFill>
              </a:defRPr>
            </a:lvl4pPr>
            <a:lvl5pPr>
              <a:defRPr lang="en-US" sz="1800" dirty="0">
                <a:solidFill>
                  <a:schemeClr val="lt1"/>
                </a:solidFill>
              </a:defRPr>
            </a:lvl5pPr>
          </a:lstStyle>
          <a:p>
            <a:pPr marL="0" lvl="0" algn="ctr" defTabSz="914217"/>
            <a:r>
              <a:rPr lang="en-US" dirty="0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A955B51-F91A-E84C-93F0-18FC507911D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7200" y="568322"/>
            <a:ext cx="9891712" cy="317500"/>
          </a:xfrm>
        </p:spPr>
        <p:txBody>
          <a:bodyPr anchor="t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Here to Enter subtitle Franklin Gothic Book 16</a:t>
            </a:r>
          </a:p>
        </p:txBody>
      </p:sp>
    </p:spTree>
    <p:extLst>
      <p:ext uri="{BB962C8B-B14F-4D97-AF65-F5344CB8AC3E}">
        <p14:creationId xmlns:p14="http://schemas.microsoft.com/office/powerpoint/2010/main" val="229996271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3 Valv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5">
            <a:extLst>
              <a:ext uri="{FF2B5EF4-FFF2-40B4-BE49-F238E27FC236}">
                <a16:creationId xmlns:a16="http://schemas.microsoft.com/office/drawing/2014/main" id="{CCEE59B8-FE72-B342-B2E4-92890276185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7410" y="1371135"/>
            <a:ext cx="2560320" cy="1828800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marL="457200" indent="-457200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Drag/Drop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EE4A11-8B0F-5544-9570-D06318F66CF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E1E3F-4546-584D-BB48-FF2E8C96371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CB58757-232C-2242-A85C-3DE5FE209A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 Franklin Gothic Medium 24, 10-15 Words on 1 Line. </a:t>
            </a:r>
          </a:p>
        </p:txBody>
      </p:sp>
      <p:sp>
        <p:nvSpPr>
          <p:cNvPr id="24" name="Picture Placeholder 25">
            <a:extLst>
              <a:ext uri="{FF2B5EF4-FFF2-40B4-BE49-F238E27FC236}">
                <a16:creationId xmlns:a16="http://schemas.microsoft.com/office/drawing/2014/main" id="{C16675A4-4B87-9C4A-AF51-63885C3779B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535680" y="1372744"/>
            <a:ext cx="2560320" cy="1828800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marL="457200" indent="-457200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Drag/Drop to Add Picture</a:t>
            </a:r>
          </a:p>
        </p:txBody>
      </p:sp>
      <p:sp>
        <p:nvSpPr>
          <p:cNvPr id="25" name="Picture Placeholder 25">
            <a:extLst>
              <a:ext uri="{FF2B5EF4-FFF2-40B4-BE49-F238E27FC236}">
                <a16:creationId xmlns:a16="http://schemas.microsoft.com/office/drawing/2014/main" id="{FB757ACF-64FC-4342-807B-B468B888B28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7410" y="3375992"/>
            <a:ext cx="2560320" cy="1828800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marL="457200" indent="-457200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Drag/Drop to Add Picture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C4CA0C0C-3B4B-0B4F-95FB-561044F0985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35680" y="3375992"/>
            <a:ext cx="2560320" cy="1828800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marL="457200" indent="-457200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Drag/Drop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B8920E-DBE5-E84D-BC83-E27BEB1FE0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7410" y="1063669"/>
            <a:ext cx="2560320" cy="256032"/>
          </a:xfrm>
          <a:solidFill>
            <a:schemeClr val="accent3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 defTabSz="914217" rtl="0" eaLnBrk="1" latinLnBrk="0" hangingPunct="1">
              <a:lnSpc>
                <a:spcPct val="100000"/>
              </a:lnSpc>
              <a:buFontTx/>
              <a:buNone/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sz="1800" dirty="0" smtClean="0">
                <a:solidFill>
                  <a:schemeClr val="lt1"/>
                </a:solidFill>
              </a:defRPr>
            </a:lvl4pPr>
            <a:lvl5pPr>
              <a:defRPr lang="en-US" sz="1800" dirty="0">
                <a:solidFill>
                  <a:schemeClr val="lt1"/>
                </a:solidFill>
              </a:defRPr>
            </a:lvl5pPr>
          </a:lstStyle>
          <a:p>
            <a:pPr marL="0" lvl="0" algn="ctr" defTabSz="914217"/>
            <a:r>
              <a:rPr lang="en-US" dirty="0"/>
              <a:t>Click to add tex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65F5866B-ADA5-0B44-A8B4-A6042D5E49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35680" y="1063669"/>
            <a:ext cx="2560320" cy="256032"/>
          </a:xfrm>
          <a:solidFill>
            <a:schemeClr val="accent3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 defTabSz="914217" rtl="0" eaLnBrk="1" latinLnBrk="0" hangingPunct="1">
              <a:lnSpc>
                <a:spcPct val="100000"/>
              </a:lnSpc>
              <a:buFontTx/>
              <a:buNone/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sz="1800" dirty="0" smtClean="0">
                <a:solidFill>
                  <a:schemeClr val="lt1"/>
                </a:solidFill>
              </a:defRPr>
            </a:lvl4pPr>
            <a:lvl5pPr>
              <a:defRPr lang="en-US" sz="1800" dirty="0">
                <a:solidFill>
                  <a:schemeClr val="lt1"/>
                </a:solidFill>
              </a:defRPr>
            </a:lvl5pPr>
          </a:lstStyle>
          <a:p>
            <a:pPr marL="0" lvl="0" algn="ctr" defTabSz="914217"/>
            <a:r>
              <a:rPr lang="en-US" dirty="0"/>
              <a:t>Click to add tex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F557D04-88AB-E34A-82C2-029DFC0540A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53949" y="1063669"/>
            <a:ext cx="2560320" cy="256032"/>
          </a:xfrm>
          <a:solidFill>
            <a:schemeClr val="accent3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 defTabSz="914217" rtl="0" eaLnBrk="1" latinLnBrk="0" hangingPunct="1">
              <a:lnSpc>
                <a:spcPct val="100000"/>
              </a:lnSpc>
              <a:buFontTx/>
              <a:buNone/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sz="1800" dirty="0" smtClean="0">
                <a:solidFill>
                  <a:schemeClr val="lt1"/>
                </a:solidFill>
              </a:defRPr>
            </a:lvl4pPr>
            <a:lvl5pPr>
              <a:defRPr lang="en-US" sz="1800" dirty="0">
                <a:solidFill>
                  <a:schemeClr val="lt1"/>
                </a:solidFill>
              </a:defRPr>
            </a:lvl5pPr>
          </a:lstStyle>
          <a:p>
            <a:pPr marL="0" lvl="0" algn="ctr" defTabSz="914217"/>
            <a:r>
              <a:rPr lang="en-US" dirty="0"/>
              <a:t>Click to add text</a:t>
            </a:r>
          </a:p>
        </p:txBody>
      </p:sp>
      <p:sp>
        <p:nvSpPr>
          <p:cNvPr id="21" name="Picture Placeholder 25">
            <a:extLst>
              <a:ext uri="{FF2B5EF4-FFF2-40B4-BE49-F238E27FC236}">
                <a16:creationId xmlns:a16="http://schemas.microsoft.com/office/drawing/2014/main" id="{2690E688-EE03-5F48-BBCB-E3938FCB7C5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53949" y="1371135"/>
            <a:ext cx="2560320" cy="1828800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marL="457200" indent="-457200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Drag/Drop to Add Picture</a:t>
            </a:r>
          </a:p>
        </p:txBody>
      </p:sp>
      <p:sp>
        <p:nvSpPr>
          <p:cNvPr id="22" name="Picture Placeholder 25">
            <a:extLst>
              <a:ext uri="{FF2B5EF4-FFF2-40B4-BE49-F238E27FC236}">
                <a16:creationId xmlns:a16="http://schemas.microsoft.com/office/drawing/2014/main" id="{77901AC6-C415-9E4D-BCE9-187FEFFF4773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53949" y="3375992"/>
            <a:ext cx="2560320" cy="1828800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marL="457200" indent="-457200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Drag/Drop to Add Pictur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5103B98-D184-8240-9926-03EB2930F38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72218" y="1063669"/>
            <a:ext cx="2560320" cy="256032"/>
          </a:xfrm>
          <a:solidFill>
            <a:schemeClr val="accent3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 defTabSz="914217" rtl="0" eaLnBrk="1" latinLnBrk="0" hangingPunct="1">
              <a:lnSpc>
                <a:spcPct val="100000"/>
              </a:lnSpc>
              <a:buFontTx/>
              <a:buNone/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sz="1800" dirty="0" smtClean="0">
                <a:solidFill>
                  <a:schemeClr val="lt1"/>
                </a:solidFill>
              </a:defRPr>
            </a:lvl4pPr>
            <a:lvl5pPr>
              <a:defRPr lang="en-US" sz="1800" dirty="0">
                <a:solidFill>
                  <a:schemeClr val="lt1"/>
                </a:solidFill>
              </a:defRPr>
            </a:lvl5pPr>
          </a:lstStyle>
          <a:p>
            <a:pPr marL="0" lvl="0" algn="ctr" defTabSz="914217"/>
            <a:r>
              <a:rPr lang="en-US" dirty="0"/>
              <a:t>Click to add text</a:t>
            </a:r>
          </a:p>
        </p:txBody>
      </p:sp>
      <p:sp>
        <p:nvSpPr>
          <p:cNvPr id="16" name="Picture Placeholder 25">
            <a:extLst>
              <a:ext uri="{FF2B5EF4-FFF2-40B4-BE49-F238E27FC236}">
                <a16:creationId xmlns:a16="http://schemas.microsoft.com/office/drawing/2014/main" id="{1E9AD7D3-C864-6D46-B462-4FBD86470AF6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972218" y="1371135"/>
            <a:ext cx="2560320" cy="1828800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marL="457200" indent="-457200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Drag/Drop to Add Picture</a:t>
            </a:r>
          </a:p>
        </p:txBody>
      </p:sp>
      <p:sp>
        <p:nvSpPr>
          <p:cNvPr id="17" name="Picture Placeholder 25">
            <a:extLst>
              <a:ext uri="{FF2B5EF4-FFF2-40B4-BE49-F238E27FC236}">
                <a16:creationId xmlns:a16="http://schemas.microsoft.com/office/drawing/2014/main" id="{F030C9D9-6D03-AD49-B886-2F616845C419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972218" y="3375992"/>
            <a:ext cx="2560320" cy="1828800"/>
          </a:xfrm>
          <a:noFill/>
        </p:spPr>
        <p:txBody>
          <a:bodyPr vert="horz" lIns="91440" tIns="45720" rIns="91440" bIns="45720" rtlCol="0" anchor="ctr">
            <a:noAutofit/>
          </a:bodyPr>
          <a:lstStyle>
            <a:lvl1pPr marL="457200" indent="-457200">
              <a:buFontTx/>
              <a:buNone/>
              <a:defRPr lang="en-US" sz="2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Drag/Drop to Add Pictu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A9DEFF5-BAD0-DA45-AD58-682BEFADCCB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7200" y="568322"/>
            <a:ext cx="9891712" cy="317500"/>
          </a:xfrm>
        </p:spPr>
        <p:txBody>
          <a:bodyPr anchor="t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Here to Enter subtitle Franklin Gothic Book 16</a:t>
            </a:r>
          </a:p>
        </p:txBody>
      </p:sp>
    </p:spTree>
    <p:extLst>
      <p:ext uri="{BB962C8B-B14F-4D97-AF65-F5344CB8AC3E}">
        <p14:creationId xmlns:p14="http://schemas.microsoft.com/office/powerpoint/2010/main" val="12767059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02B711-C5F3-324F-99CC-E1A18CFC5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/>
              <a:t>Please leave in the following default template slid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52A0E2-8579-CB4D-B819-848963D00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D0A131-49EF-7943-9E10-2CAE6586B3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1 Título">
            <a:extLst>
              <a:ext uri="{FF2B5EF4-FFF2-40B4-BE49-F238E27FC236}">
                <a16:creationId xmlns:a16="http://schemas.microsoft.com/office/drawing/2014/main" id="{F4627DE6-B3E9-644D-A544-58EA912DD2CA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accent4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</p:spTree>
    <p:extLst>
      <p:ext uri="{BB962C8B-B14F-4D97-AF65-F5344CB8AC3E}">
        <p14:creationId xmlns:p14="http://schemas.microsoft.com/office/powerpoint/2010/main" val="22808589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5AE861-3EA4-1F4B-B0A5-8C8AAD394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0357411B-2B6B-BA42-BD9B-B1697A29FB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582360" y="6444114"/>
            <a:ext cx="4114800" cy="365125"/>
          </a:xfrm>
        </p:spPr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9131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 - DK EGGPLA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AB5F8B1-5B94-654B-824F-F969DB983C14}"/>
              </a:ext>
            </a:extLst>
          </p:cNvPr>
          <p:cNvSpPr/>
          <p:nvPr/>
        </p:nvSpPr>
        <p:spPr>
          <a:xfrm>
            <a:off x="5733288" y="0"/>
            <a:ext cx="6458712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3636EA39-3990-3240-938D-452D946347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733288" cy="6858000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Icon to Add Picture/Video</a:t>
            </a:r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C05AF69C-7237-7242-875B-272CCF1718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276844" y="5969502"/>
            <a:ext cx="1371596" cy="29477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A11109E-F247-294C-A751-1D2C437C7654}"/>
              </a:ext>
            </a:extLst>
          </p:cNvPr>
          <p:cNvSpPr/>
          <p:nvPr userDrawn="1"/>
        </p:nvSpPr>
        <p:spPr>
          <a:xfrm>
            <a:off x="5733288" y="0"/>
            <a:ext cx="6458712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B654B56-BB4C-2743-BAEE-8D5248AE29A0}"/>
              </a:ext>
            </a:extLst>
          </p:cNvPr>
          <p:cNvSpPr txBox="1"/>
          <p:nvPr userDrawn="1"/>
        </p:nvSpPr>
        <p:spPr>
          <a:xfrm>
            <a:off x="7770028" y="132798"/>
            <a:ext cx="238523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0" dirty="0">
                <a:solidFill>
                  <a:schemeClr val="bg1"/>
                </a:solidFill>
                <a:latin typeface="+mj-lt"/>
              </a:rPr>
              <a:t>WWW.FOLDAX.COM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2D09EB51-7B09-CB41-8F81-5C2D5067360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03720" y="6419088"/>
            <a:ext cx="4114800" cy="365125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2020 Foldax, Inc. All rights reserved. Confidential information.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72DEC0D-87FE-FB48-B0AB-08468BB2D9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98575" y="3729804"/>
            <a:ext cx="5029200" cy="914400"/>
          </a:xfrm>
        </p:spPr>
        <p:txBody>
          <a:bodyPr anchor="ctr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en-US" sz="2000" b="0" i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3362" indent="0">
              <a:buNone/>
              <a:defRPr/>
            </a:lvl2pPr>
          </a:lstStyle>
          <a:p>
            <a:r>
              <a:rPr lang="en-US" dirty="0"/>
              <a:t>Subtitle Here Franklin Gothic Book 20 on 2-3 Lines Up to 20-25 Words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DD673294-9229-B54F-A260-B0AA9E2E9F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8575" y="1938198"/>
            <a:ext cx="5029200" cy="1618488"/>
          </a:xfrm>
        </p:spPr>
        <p:txBody>
          <a:bodyPr anchor="b">
            <a:noAutofit/>
          </a:bodyPr>
          <a:lstStyle>
            <a:lvl1pPr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0" i="0" kern="1200" spc="1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itle Goes Here Franklin Gothic Medium 28 on 1-4 Lines Up to 12-15 Word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BB2FCAE-92D6-244F-A1CE-5EBC72FF3649}"/>
              </a:ext>
            </a:extLst>
          </p:cNvPr>
          <p:cNvSpPr/>
          <p:nvPr userDrawn="1"/>
        </p:nvSpPr>
        <p:spPr>
          <a:xfrm>
            <a:off x="0" y="0"/>
            <a:ext cx="5733798" cy="6858000"/>
          </a:xfrm>
          <a:prstGeom prst="rect">
            <a:avLst/>
          </a:prstGeom>
          <a:gradFill flip="none" rotWithShape="1">
            <a:gsLst>
              <a:gs pos="50000">
                <a:schemeClr val="tx1">
                  <a:alpha val="0"/>
                </a:schemeClr>
              </a:gs>
              <a:gs pos="19000">
                <a:schemeClr val="tx1"/>
              </a:gs>
              <a:gs pos="89000">
                <a:schemeClr val="tx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A0E88E6-FCFA-E440-AB99-8872D8FD089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8276844" y="5976034"/>
            <a:ext cx="1371596" cy="281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083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B567DF-DD14-0144-8E97-AA855A635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A296EA3-3EB9-D043-9F69-26BDEED6D4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A2E2942-044A-4F40-BC1C-D1AA9575C7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F9626DB-9550-6548-BFE1-1B0731CB9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68322"/>
            <a:ext cx="9891712" cy="317500"/>
          </a:xfrm>
        </p:spPr>
        <p:txBody>
          <a:bodyPr anchor="t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Here to Enter subtitle</a:t>
            </a:r>
          </a:p>
        </p:txBody>
      </p:sp>
    </p:spTree>
    <p:extLst>
      <p:ext uri="{BB962C8B-B14F-4D97-AF65-F5344CB8AC3E}">
        <p14:creationId xmlns:p14="http://schemas.microsoft.com/office/powerpoint/2010/main" val="276067792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6" indent="0">
              <a:buNone/>
              <a:defRPr sz="2000" b="1"/>
            </a:lvl2pPr>
            <a:lvl3pPr marL="914172" indent="0">
              <a:buNone/>
              <a:defRPr sz="1800" b="1"/>
            </a:lvl3pPr>
            <a:lvl4pPr marL="1371257" indent="0">
              <a:buNone/>
              <a:defRPr sz="1600" b="1"/>
            </a:lvl4pPr>
            <a:lvl5pPr marL="1828343" indent="0">
              <a:buNone/>
              <a:defRPr sz="1600" b="1"/>
            </a:lvl5pPr>
            <a:lvl6pPr marL="2285429" indent="0">
              <a:buNone/>
              <a:defRPr sz="1600" b="1"/>
            </a:lvl6pPr>
            <a:lvl7pPr marL="2742514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6" indent="0">
              <a:buNone/>
              <a:defRPr sz="2000" b="1"/>
            </a:lvl2pPr>
            <a:lvl3pPr marL="914172" indent="0">
              <a:buNone/>
              <a:defRPr sz="1800" b="1"/>
            </a:lvl3pPr>
            <a:lvl4pPr marL="1371257" indent="0">
              <a:buNone/>
              <a:defRPr sz="1600" b="1"/>
            </a:lvl4pPr>
            <a:lvl5pPr marL="1828343" indent="0">
              <a:buNone/>
              <a:defRPr sz="1600" b="1"/>
            </a:lvl5pPr>
            <a:lvl6pPr marL="2285429" indent="0">
              <a:buNone/>
              <a:defRPr sz="1600" b="1"/>
            </a:lvl6pPr>
            <a:lvl7pPr marL="2742514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E365BE-181D-1445-A1E3-4DF41E7DF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391DE3C-3999-F24F-BFA6-9084548BE08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91295731-3BB7-C24B-9E32-5806CCC24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7578680-6ACA-0345-A881-F416915B3E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68322"/>
            <a:ext cx="9891712" cy="317500"/>
          </a:xfrm>
        </p:spPr>
        <p:txBody>
          <a:bodyPr anchor="t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Here to Enter subtitle</a:t>
            </a:r>
          </a:p>
        </p:txBody>
      </p:sp>
    </p:spTree>
    <p:extLst>
      <p:ext uri="{BB962C8B-B14F-4D97-AF65-F5344CB8AC3E}">
        <p14:creationId xmlns:p14="http://schemas.microsoft.com/office/powerpoint/2010/main" val="263363188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9" y="987426"/>
            <a:ext cx="3932237" cy="1069974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199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86" indent="0">
              <a:buNone/>
              <a:defRPr sz="1400"/>
            </a:lvl2pPr>
            <a:lvl3pPr marL="914172" indent="0">
              <a:buNone/>
              <a:defRPr sz="1200"/>
            </a:lvl3pPr>
            <a:lvl4pPr marL="1371257" indent="0">
              <a:buNone/>
              <a:defRPr sz="1000"/>
            </a:lvl4pPr>
            <a:lvl5pPr marL="1828343" indent="0">
              <a:buNone/>
              <a:defRPr sz="1000"/>
            </a:lvl5pPr>
            <a:lvl6pPr marL="2285429" indent="0">
              <a:buNone/>
              <a:defRPr sz="1000"/>
            </a:lvl6pPr>
            <a:lvl7pPr marL="2742514" indent="0">
              <a:buNone/>
              <a:defRPr sz="1000"/>
            </a:lvl7pPr>
            <a:lvl8pPr marL="3199600" indent="0">
              <a:buNone/>
              <a:defRPr sz="1000"/>
            </a:lvl8pPr>
            <a:lvl9pPr marL="365668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4F7749-9A9D-A749-B126-62315E59C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199D850-5B81-3546-8321-B5F405F660B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9353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9" y="987426"/>
            <a:ext cx="3932237" cy="1069974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199"/>
            </a:lvl1pPr>
            <a:lvl2pPr marL="457086" indent="0">
              <a:buNone/>
              <a:defRPr sz="2800"/>
            </a:lvl2pPr>
            <a:lvl3pPr marL="914172" indent="0">
              <a:buNone/>
              <a:defRPr sz="2400"/>
            </a:lvl3pPr>
            <a:lvl4pPr marL="1371257" indent="0">
              <a:buNone/>
              <a:defRPr sz="2000"/>
            </a:lvl4pPr>
            <a:lvl5pPr marL="1828343" indent="0">
              <a:buNone/>
              <a:defRPr sz="2000"/>
            </a:lvl5pPr>
            <a:lvl6pPr marL="2285429" indent="0">
              <a:buNone/>
              <a:defRPr sz="2000"/>
            </a:lvl6pPr>
            <a:lvl7pPr marL="2742514" indent="0">
              <a:buNone/>
              <a:defRPr sz="2000"/>
            </a:lvl7pPr>
            <a:lvl8pPr marL="3199600" indent="0">
              <a:buNone/>
              <a:defRPr sz="2000"/>
            </a:lvl8pPr>
            <a:lvl9pPr marL="3656686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86" indent="0">
              <a:buNone/>
              <a:defRPr sz="1400"/>
            </a:lvl2pPr>
            <a:lvl3pPr marL="914172" indent="0">
              <a:buNone/>
              <a:defRPr sz="1200"/>
            </a:lvl3pPr>
            <a:lvl4pPr marL="1371257" indent="0">
              <a:buNone/>
              <a:defRPr sz="1000"/>
            </a:lvl4pPr>
            <a:lvl5pPr marL="1828343" indent="0">
              <a:buNone/>
              <a:defRPr sz="1000"/>
            </a:lvl5pPr>
            <a:lvl6pPr marL="2285429" indent="0">
              <a:buNone/>
              <a:defRPr sz="1000"/>
            </a:lvl6pPr>
            <a:lvl7pPr marL="2742514" indent="0">
              <a:buNone/>
              <a:defRPr sz="1000"/>
            </a:lvl7pPr>
            <a:lvl8pPr marL="3199600" indent="0">
              <a:buNone/>
              <a:defRPr sz="1000"/>
            </a:lvl8pPr>
            <a:lvl9pPr marL="365668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46B469-B97E-A342-8E22-F47CB71316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C840F4B-440E-9148-B170-D99C5BDFEEF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99388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E800C4-B218-4C43-8699-B7B327E0F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78DE825-2851-B74A-B79D-C757E822546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88EC7DB-41C0-BA4D-8D02-2A59BE3FAD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Here to Enter 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D98CDEE-723B-9E48-915D-CEC3E0E061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68322"/>
            <a:ext cx="9891712" cy="317500"/>
          </a:xfrm>
        </p:spPr>
        <p:txBody>
          <a:bodyPr anchor="t">
            <a:noAutofit/>
          </a:bodyPr>
          <a:lstStyle>
            <a:lvl1pPr marL="0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Here to Enter subtitle</a:t>
            </a:r>
          </a:p>
        </p:txBody>
      </p:sp>
    </p:spTree>
    <p:extLst>
      <p:ext uri="{BB962C8B-B14F-4D97-AF65-F5344CB8AC3E}">
        <p14:creationId xmlns:p14="http://schemas.microsoft.com/office/powerpoint/2010/main" val="103699016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8724900" y="796065"/>
            <a:ext cx="2628900" cy="5380897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796065"/>
            <a:ext cx="7734300" cy="538089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C8EBBD-F1DF-7B48-AB77-E99AF88B4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654A1A-506B-BC41-BEED-2DDE2E6FFCA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6825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C5F626-AD6F-486E-BB9B-B46915DAB37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7021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83601E-988A-3C4C-B19E-4F622F3145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DFF4F9-3259-424F-A79D-4BA6CC1701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52DCA2F-D02D-9840-B5E4-10464B0ACA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63936" y="235323"/>
            <a:ext cx="8899464" cy="317500"/>
          </a:xfrm>
        </p:spPr>
        <p:txBody>
          <a:bodyPr anchor="ctr"/>
          <a:lstStyle>
            <a:lvl1pPr>
              <a:lnSpc>
                <a:spcPct val="100000"/>
              </a:lnSpc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Here to Enter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45FAD4-62F9-9540-A00A-6BC71371AD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8776" y="568322"/>
            <a:ext cx="10120312" cy="317500"/>
          </a:xfrm>
        </p:spPr>
        <p:txBody>
          <a:bodyPr anchor="ctr">
            <a:noAutofit/>
          </a:bodyPr>
          <a:lstStyle>
            <a:lvl1pPr marL="0" indent="0" algn="r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dirty="0">
                <a:solidFill>
                  <a:schemeClr val="tx2">
                    <a:lumMod val="50000"/>
                  </a:schemeClr>
                </a:solidFill>
              </a:defRPr>
            </a:lvl1pPr>
            <a:lvl2pPr marL="233362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2pPr>
            <a:lvl3pPr marL="468313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3pPr>
            <a:lvl4pPr marL="68897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 smtClean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4pPr>
            <a:lvl5pPr marL="860425" indent="0" algn="l" defTabSz="91417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spc="100" baseline="0" dirty="0">
                <a:solidFill>
                  <a:schemeClr val="accent5"/>
                </a:solidFill>
                <a:latin typeface="Termina" pitchFamily="2" charset="77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Here to Enter subtitle</a:t>
            </a:r>
          </a:p>
        </p:txBody>
      </p:sp>
    </p:spTree>
    <p:extLst>
      <p:ext uri="{BB962C8B-B14F-4D97-AF65-F5344CB8AC3E}">
        <p14:creationId xmlns:p14="http://schemas.microsoft.com/office/powerpoint/2010/main" val="4913891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ldax White Section Brea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5C8D05FF-F14D-5A4B-B4E2-B066EF8E57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66448" y="404931"/>
            <a:ext cx="1265742" cy="290277"/>
          </a:xfrm>
          <a:prstGeom prst="rect">
            <a:avLst/>
          </a:prstGeom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B697515A-7FC6-D547-984A-B8365E87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808" y="3009013"/>
            <a:ext cx="10134599" cy="1828800"/>
          </a:xfrm>
        </p:spPr>
        <p:txBody>
          <a:bodyPr lIns="0" anchor="b">
            <a:noAutofit/>
          </a:bodyPr>
          <a:lstStyle>
            <a:lvl1pPr marL="0" algn="l" defTabSz="914217" rtl="0" eaLnBrk="1" latinLnBrk="0" hangingPunct="1">
              <a:lnSpc>
                <a:spcPct val="80000"/>
              </a:lnSpc>
              <a:spcAft>
                <a:spcPts val="1200"/>
              </a:spcAft>
              <a:defRPr lang="en-US" sz="4800" b="1" kern="1200" spc="140" dirty="0">
                <a:solidFill>
                  <a:schemeClr val="accent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Title Here Franklin Gothic Medium 48 1-2 Lines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13913F6-714E-9B45-AD7F-E94CA1A190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9300" y="4986263"/>
            <a:ext cx="10134600" cy="936072"/>
          </a:xfrm>
        </p:spPr>
        <p:txBody>
          <a:bodyPr lIns="0" anchor="t">
            <a:noAutofit/>
          </a:bodyPr>
          <a:lstStyle>
            <a:lvl1pPr marL="0" indent="0" algn="l" defTabSz="9142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2000" kern="1200" spc="15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 HERE FRANKLIN GOTHIC BOOK 20 ON 2-3 LINES UP TO 20-25 WORDS LOREM IPSUM DOLOR SIT AMET, CONSECTETU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4711C26-D4AE-1A43-BAF7-72CA8F57D03B}"/>
              </a:ext>
            </a:extLst>
          </p:cNvPr>
          <p:cNvSpPr/>
          <p:nvPr userDrawn="1"/>
        </p:nvSpPr>
        <p:spPr>
          <a:xfrm>
            <a:off x="749300" y="4852130"/>
            <a:ext cx="11214100" cy="134133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E5E7835-A9DE-224A-9A20-4CAE2BE7DD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©2020 Foldax, Inc. All rights reserved. Confidential information.</a:t>
            </a:r>
          </a:p>
        </p:txBody>
      </p:sp>
      <p:sp>
        <p:nvSpPr>
          <p:cNvPr id="18" name="1 Título">
            <a:extLst>
              <a:ext uri="{FF2B5EF4-FFF2-40B4-BE49-F238E27FC236}">
                <a16:creationId xmlns:a16="http://schemas.microsoft.com/office/drawing/2014/main" id="{B481B8F4-C4E7-BA4C-9389-8BEFA55B0182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tx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</p:spTree>
    <p:extLst>
      <p:ext uri="{BB962C8B-B14F-4D97-AF65-F5344CB8AC3E}">
        <p14:creationId xmlns:p14="http://schemas.microsoft.com/office/powerpoint/2010/main" val="31914846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ldax Red Section Brea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2D9271-FC21-3641-8DD1-407D199AE5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B02DB-86CB-9849-9FD3-89FA7BAD52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28601" y="412313"/>
            <a:ext cx="1341436" cy="275513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56E553D-5D9C-1F41-BF65-BDAB67880E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b="0" i="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©2020 Foldax, Inc. All rights reserved. Confidential information.</a:t>
            </a:r>
          </a:p>
        </p:txBody>
      </p:sp>
      <p:sp>
        <p:nvSpPr>
          <p:cNvPr id="13" name="1 Título">
            <a:extLst>
              <a:ext uri="{FF2B5EF4-FFF2-40B4-BE49-F238E27FC236}">
                <a16:creationId xmlns:a16="http://schemas.microsoft.com/office/drawing/2014/main" id="{263DC89F-EAF0-3540-AE4E-DEEA4B3AD509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7" name="Title 2">
            <a:extLst>
              <a:ext uri="{FF2B5EF4-FFF2-40B4-BE49-F238E27FC236}">
                <a16:creationId xmlns:a16="http://schemas.microsoft.com/office/drawing/2014/main" id="{462434EA-98B5-0842-942B-CEC33DE6F2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808" y="3008376"/>
            <a:ext cx="10134599" cy="1828800"/>
          </a:xfrm>
        </p:spPr>
        <p:txBody>
          <a:bodyPr lIns="0" anchor="b">
            <a:noAutofit/>
          </a:bodyPr>
          <a:lstStyle>
            <a:lvl1pPr marL="0" algn="l" defTabSz="914217" rtl="0" eaLnBrk="1" latinLnBrk="0" hangingPunct="1">
              <a:lnSpc>
                <a:spcPct val="80000"/>
              </a:lnSpc>
              <a:spcAft>
                <a:spcPts val="1200"/>
              </a:spcAft>
              <a:defRPr lang="en-US" sz="4800" b="1" kern="1200" spc="14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Title Here Franklin Gothic Medium 48 1-2 Lines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5F369B28-36DF-EC46-89B0-B679890663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9300" y="4986263"/>
            <a:ext cx="10134600" cy="936072"/>
          </a:xfrm>
        </p:spPr>
        <p:txBody>
          <a:bodyPr lIns="0" anchor="t">
            <a:noAutofit/>
          </a:bodyPr>
          <a:lstStyle>
            <a:lvl1pPr marL="0" indent="0" algn="l" defTabSz="9142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2000" kern="1200" spc="15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 HERE FRANKLIN GOTHIC BOOK 20 ON 2-3 LINES UP TO 20-25 WORDS LOREM IPSUM DOLOR SIT AMET, CONSECTETUER</a:t>
            </a:r>
          </a:p>
        </p:txBody>
      </p:sp>
    </p:spTree>
    <p:extLst>
      <p:ext uri="{BB962C8B-B14F-4D97-AF65-F5344CB8AC3E}">
        <p14:creationId xmlns:p14="http://schemas.microsoft.com/office/powerpoint/2010/main" val="9134815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ldax Blue Section Brea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2D9271-FC21-3641-8DD1-407D199AE5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339061D5-5627-DF4C-855C-9D17316D6D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40322" y="457201"/>
            <a:ext cx="1715541" cy="36869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0577FB4-5B59-5F4B-8D4F-7F3917BCB2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3C584CB-4220-F849-B70F-3BD9E50525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14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b="0" i="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©2020 Foldax, Inc. All rights reserved. Confidential information.</a:t>
            </a:r>
          </a:p>
        </p:txBody>
      </p:sp>
      <p:sp>
        <p:nvSpPr>
          <p:cNvPr id="13" name="1 Título">
            <a:extLst>
              <a:ext uri="{FF2B5EF4-FFF2-40B4-BE49-F238E27FC236}">
                <a16:creationId xmlns:a16="http://schemas.microsoft.com/office/drawing/2014/main" id="{4EB54401-EF44-2A40-BCD5-4A100033FBD3}"/>
              </a:ext>
            </a:extLst>
          </p:cNvPr>
          <p:cNvSpPr txBox="1">
            <a:spLocks/>
          </p:cNvSpPr>
          <p:nvPr userDrawn="1"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7" name="Title 2">
            <a:extLst>
              <a:ext uri="{FF2B5EF4-FFF2-40B4-BE49-F238E27FC236}">
                <a16:creationId xmlns:a16="http://schemas.microsoft.com/office/drawing/2014/main" id="{5DA255EE-6638-3F43-99A4-EBCDF01C7B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808" y="3008376"/>
            <a:ext cx="10134599" cy="1828800"/>
          </a:xfrm>
        </p:spPr>
        <p:txBody>
          <a:bodyPr lIns="0" anchor="b">
            <a:noAutofit/>
          </a:bodyPr>
          <a:lstStyle>
            <a:lvl1pPr marL="0" algn="l" defTabSz="914217" rtl="0" eaLnBrk="1" latinLnBrk="0" hangingPunct="1">
              <a:lnSpc>
                <a:spcPct val="80000"/>
              </a:lnSpc>
              <a:spcAft>
                <a:spcPts val="1200"/>
              </a:spcAft>
              <a:defRPr lang="en-US" sz="4800" b="1" kern="1200" spc="14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Title Here Franklin Gothic Medium 48 1-2 Lin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FEA72AF-53C8-F747-8FCA-2D6B2149C11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228601" y="412313"/>
            <a:ext cx="1341436" cy="275513"/>
          </a:xfrm>
          <a:prstGeom prst="rect">
            <a:avLst/>
          </a:prstGeom>
        </p:spPr>
      </p:pic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CB6B591-FE7D-6745-9F24-96C3F5C426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9300" y="4986263"/>
            <a:ext cx="10134600" cy="936072"/>
          </a:xfrm>
        </p:spPr>
        <p:txBody>
          <a:bodyPr lIns="0" anchor="t">
            <a:noAutofit/>
          </a:bodyPr>
          <a:lstStyle>
            <a:lvl1pPr marL="0" indent="0" algn="l" defTabSz="9142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2000" kern="1200" spc="15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 HERE FRANKLIN GOTHIC BOOK 20 ON 2-3 LINES UP TO 20-25 WORDS LOREM IPSUM DOLOR SIT AMET, CONSECTETUER</a:t>
            </a:r>
          </a:p>
        </p:txBody>
      </p:sp>
    </p:spTree>
    <p:extLst>
      <p:ext uri="{BB962C8B-B14F-4D97-AF65-F5344CB8AC3E}">
        <p14:creationId xmlns:p14="http://schemas.microsoft.com/office/powerpoint/2010/main" val="1558582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14718"/>
            <a:ext cx="10134599" cy="32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371600"/>
            <a:ext cx="1137045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4" name="1 Título">
            <a:extLst>
              <a:ext uri="{FF2B5EF4-FFF2-40B4-BE49-F238E27FC236}">
                <a16:creationId xmlns:a16="http://schemas.microsoft.com/office/drawing/2014/main" id="{B0C23608-4B1A-984A-88EA-44FD1165CCFE}"/>
              </a:ext>
            </a:extLst>
          </p:cNvPr>
          <p:cNvSpPr txBox="1">
            <a:spLocks/>
          </p:cNvSpPr>
          <p:nvPr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accent4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8295E6E-F067-EC4B-968D-A258DAC318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82046" y="6495543"/>
            <a:ext cx="293076" cy="282959"/>
          </a:xfrm>
          <a:prstGeom prst="rect">
            <a:avLst/>
          </a:prstGeom>
          <a:solidFill>
            <a:schemeClr val="accent1"/>
          </a:solidFill>
        </p:spPr>
        <p:txBody>
          <a:bodyPr vert="horz" lIns="18288" tIns="18288" rIns="18288" bIns="18288" rtlCol="0" anchor="ctr">
            <a:noAutofit/>
          </a:bodyPr>
          <a:lstStyle>
            <a:lvl1pPr algn="ctr">
              <a:lnSpc>
                <a:spcPct val="100000"/>
              </a:lnSpc>
              <a:defRPr sz="105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E00F1B42-FF04-B449-9DD1-36B182F1915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A8D4D1-D9CE-434B-BD97-B6F6AFF2D539}"/>
              </a:ext>
            </a:extLst>
          </p:cNvPr>
          <p:cNvPicPr>
            <a:picLocks noChangeAspect="1"/>
          </p:cNvPicPr>
          <p:nvPr/>
        </p:nvPicPr>
        <p:blipFill>
          <a:blip r:embed="rId69"/>
          <a:srcRect/>
          <a:stretch/>
        </p:blipFill>
        <p:spPr>
          <a:xfrm>
            <a:off x="10714230" y="414723"/>
            <a:ext cx="1180347" cy="27069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7042F43-F272-5340-BD54-E20F6BE96F9C}"/>
              </a:ext>
            </a:extLst>
          </p:cNvPr>
          <p:cNvSpPr/>
          <p:nvPr userDrawn="1"/>
        </p:nvSpPr>
        <p:spPr>
          <a:xfrm>
            <a:off x="228600" y="550422"/>
            <a:ext cx="10332720" cy="36576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613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4054" r:id="rId7"/>
    <p:sldLayoutId id="2147484040" r:id="rId8"/>
    <p:sldLayoutId id="2147484041" r:id="rId9"/>
    <p:sldLayoutId id="2147484042" r:id="rId10"/>
    <p:sldLayoutId id="2147484043" r:id="rId11"/>
    <p:sldLayoutId id="2147484044" r:id="rId12"/>
    <p:sldLayoutId id="2147484045" r:id="rId13"/>
    <p:sldLayoutId id="2147484072" r:id="rId14"/>
    <p:sldLayoutId id="2147484014" r:id="rId15"/>
    <p:sldLayoutId id="2147484055" r:id="rId16"/>
    <p:sldLayoutId id="2147483998" r:id="rId17"/>
    <p:sldLayoutId id="2147484057" r:id="rId18"/>
    <p:sldLayoutId id="2147484056" r:id="rId19"/>
    <p:sldLayoutId id="2147483999" r:id="rId20"/>
    <p:sldLayoutId id="2147484061" r:id="rId21"/>
    <p:sldLayoutId id="2147484062" r:id="rId22"/>
    <p:sldLayoutId id="2147484063" r:id="rId23"/>
    <p:sldLayoutId id="2147484064" r:id="rId24"/>
    <p:sldLayoutId id="2147484000" r:id="rId25"/>
    <p:sldLayoutId id="2147484002" r:id="rId26"/>
    <p:sldLayoutId id="2147484001" r:id="rId27"/>
    <p:sldLayoutId id="2147484036" r:id="rId28"/>
    <p:sldLayoutId id="2147484003" r:id="rId29"/>
    <p:sldLayoutId id="2147484037" r:id="rId30"/>
    <p:sldLayoutId id="2147484038" r:id="rId31"/>
    <p:sldLayoutId id="2147484005" r:id="rId32"/>
    <p:sldLayoutId id="2147484039" r:id="rId33"/>
    <p:sldLayoutId id="2147484006" r:id="rId34"/>
    <p:sldLayoutId id="2147484073" r:id="rId35"/>
    <p:sldLayoutId id="2147484007" r:id="rId36"/>
    <p:sldLayoutId id="2147484074" r:id="rId37"/>
    <p:sldLayoutId id="2147484019" r:id="rId38"/>
    <p:sldLayoutId id="2147484048" r:id="rId39"/>
    <p:sldLayoutId id="2147484066" r:id="rId40"/>
    <p:sldLayoutId id="2147484065" r:id="rId41"/>
    <p:sldLayoutId id="2147484077" r:id="rId42"/>
    <p:sldLayoutId id="2147484070" r:id="rId43"/>
    <p:sldLayoutId id="2147484071" r:id="rId44"/>
    <p:sldLayoutId id="2147484059" r:id="rId45"/>
    <p:sldLayoutId id="2147484060" r:id="rId46"/>
    <p:sldLayoutId id="2147484053" r:id="rId47"/>
    <p:sldLayoutId id="2147484075" r:id="rId48"/>
    <p:sldLayoutId id="2147484076" r:id="rId49"/>
    <p:sldLayoutId id="2147484067" r:id="rId50"/>
    <p:sldLayoutId id="2147484069" r:id="rId51"/>
    <p:sldLayoutId id="2147484010" r:id="rId52"/>
    <p:sldLayoutId id="2147484011" r:id="rId53"/>
    <p:sldLayoutId id="2147484058" r:id="rId54"/>
    <p:sldLayoutId id="2147484012" r:id="rId55"/>
    <p:sldLayoutId id="2147484015" r:id="rId56"/>
    <p:sldLayoutId id="2147484051" r:id="rId57"/>
    <p:sldLayoutId id="2147484052" r:id="rId58"/>
    <p:sldLayoutId id="2147484021" r:id="rId59"/>
    <p:sldLayoutId id="2147484022" r:id="rId60"/>
    <p:sldLayoutId id="2147484023" r:id="rId61"/>
    <p:sldLayoutId id="2147484024" r:id="rId62"/>
    <p:sldLayoutId id="2147484025" r:id="rId63"/>
    <p:sldLayoutId id="2147484026" r:id="rId64"/>
    <p:sldLayoutId id="2147484027" r:id="rId65"/>
    <p:sldLayoutId id="2147484049" r:id="rId66"/>
    <p:sldLayoutId id="2147484050" r:id="rId67"/>
  </p:sldLayoutIdLst>
  <p:hf hdr="0" dt="0"/>
  <p:txStyles>
    <p:titleStyle>
      <a:lvl1pPr algn="l" defTabSz="914172" rtl="0" eaLnBrk="1" latinLnBrk="0" hangingPunct="1">
        <a:lnSpc>
          <a:spcPct val="100000"/>
        </a:lnSpc>
        <a:spcBef>
          <a:spcPct val="0"/>
        </a:spcBef>
        <a:buNone/>
        <a:defRPr lang="en-US" sz="2400" b="0" i="0" kern="1200" spc="0" baseline="0" dirty="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914172" rtl="0" eaLnBrk="1" latinLnBrk="0" hangingPunct="1">
        <a:lnSpc>
          <a:spcPct val="100000"/>
        </a:lnSpc>
        <a:spcBef>
          <a:spcPts val="1000"/>
        </a:spcBef>
        <a:spcAft>
          <a:spcPts val="600"/>
        </a:spcAft>
        <a:buClr>
          <a:schemeClr val="accent1"/>
        </a:buClr>
        <a:buSzPct val="80000"/>
        <a:buFontTx/>
        <a:buBlip>
          <a:blip r:embed="rId70"/>
        </a:buBlip>
        <a:tabLst/>
        <a:defRPr lang="en-US" sz="2000" b="0" i="0" kern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33363" algn="l" defTabSz="914172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1"/>
        </a:buClr>
        <a:buSzPct val="80000"/>
        <a:buFontTx/>
        <a:buBlip>
          <a:blip r:embed="rId70"/>
        </a:buBlip>
        <a:tabLst/>
        <a:defRPr lang="en-US" sz="1800" b="0" i="0" kern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87388" indent="-219075" algn="l" defTabSz="914172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1"/>
        </a:buClr>
        <a:buSzPct val="80000"/>
        <a:buFontTx/>
        <a:buBlip>
          <a:blip r:embed="rId70"/>
        </a:buBlip>
        <a:tabLst/>
        <a:defRPr lang="en-US" sz="1600" b="0" i="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60425" indent="-171450" algn="l" defTabSz="914172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1"/>
        </a:buClr>
        <a:buSzPct val="80000"/>
        <a:buFontTx/>
        <a:buBlip>
          <a:blip r:embed="rId70"/>
        </a:buBlip>
        <a:tabLst/>
        <a:defRPr lang="en-US" sz="1400" b="0" i="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1035050" indent="-174625" algn="l" defTabSz="914172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1"/>
        </a:buClr>
        <a:buSzPct val="80000"/>
        <a:buFontTx/>
        <a:buBlip>
          <a:blip r:embed="rId70"/>
        </a:buBlip>
        <a:tabLst/>
        <a:defRPr lang="en-US" sz="1400" b="0" i="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379193" indent="-234892" algn="l" defTabSz="914172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tabLst/>
        <a:defRPr sz="1050" kern="1200">
          <a:solidFill>
            <a:schemeClr val="tx2"/>
          </a:solidFill>
          <a:latin typeface="+mn-lt"/>
          <a:ea typeface="+mn-ea"/>
          <a:cs typeface="+mn-cs"/>
        </a:defRPr>
      </a:lvl6pPr>
      <a:lvl7pPr marL="1599800" indent="-220608" algn="l" defTabSz="914172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tabLst/>
        <a:defRPr sz="1000" kern="1200">
          <a:solidFill>
            <a:schemeClr val="tx2"/>
          </a:solidFill>
          <a:latin typeface="+mn-lt"/>
          <a:ea typeface="+mn-ea"/>
          <a:cs typeface="+mn-cs"/>
        </a:defRPr>
      </a:lvl7pPr>
      <a:lvl8pPr marL="1834691" indent="-234892" algn="l" defTabSz="914172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tabLst/>
        <a:defRPr sz="900" kern="1200">
          <a:solidFill>
            <a:schemeClr val="tx2"/>
          </a:solidFill>
          <a:latin typeface="+mn-lt"/>
          <a:ea typeface="+mn-ea"/>
          <a:cs typeface="+mn-cs"/>
        </a:defRPr>
      </a:lvl8pPr>
      <a:lvl9pPr marL="2069583" indent="-234892" algn="l" defTabSz="914172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orient="horz" pos="2184">
          <p15:clr>
            <a:srgbClr val="F26B43"/>
          </p15:clr>
        </p15:guide>
        <p15:guide id="10" pos="144">
          <p15:clr>
            <a:srgbClr val="F26B43"/>
          </p15:clr>
        </p15:guide>
        <p15:guide id="11" pos="7536">
          <p15:clr>
            <a:srgbClr val="F26B43"/>
          </p15:clr>
        </p15:guide>
        <p15:guide id="12" orient="horz" pos="144">
          <p15:clr>
            <a:srgbClr val="F26B43"/>
          </p15:clr>
        </p15:guide>
        <p15:guide id="13" orient="horz" pos="4176">
          <p15:clr>
            <a:srgbClr val="F26B43"/>
          </p15:clr>
        </p15:guide>
        <p15:guide id="14" orient="horz" pos="648">
          <p15:clr>
            <a:srgbClr val="F26B43"/>
          </p15:clr>
        </p15:guide>
        <p15:guide id="15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2.xml"/><Relationship Id="rId1" Type="http://schemas.openxmlformats.org/officeDocument/2006/relationships/slideLayout" Target="../slideLayouts/slideLayout4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6ABFCC4A-08C7-A641-A432-9D1FA259A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21284E99-082A-FD44-90F5-09AE0D356C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FB96C85-B5F5-5846-8CF6-4DD02980BF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CONFIDENTIAL</a:t>
            </a:r>
          </a:p>
        </p:txBody>
      </p:sp>
      <p:sp>
        <p:nvSpPr>
          <p:cNvPr id="11" name="Pentagon 10">
            <a:extLst>
              <a:ext uri="{FF2B5EF4-FFF2-40B4-BE49-F238E27FC236}">
                <a16:creationId xmlns:a16="http://schemas.microsoft.com/office/drawing/2014/main" id="{EDAE7BA0-6B96-994B-A70D-7A2C755D4F74}"/>
              </a:ext>
            </a:extLst>
          </p:cNvPr>
          <p:cNvSpPr/>
          <p:nvPr/>
        </p:nvSpPr>
        <p:spPr>
          <a:xfrm>
            <a:off x="-2343597" y="4716685"/>
            <a:ext cx="2286722" cy="736600"/>
          </a:xfrm>
          <a:prstGeom prst="homePlate">
            <a:avLst>
              <a:gd name="adj" fmla="val 2761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b="1" dirty="0">
                <a:solidFill>
                  <a:schemeClr val="bg1"/>
                </a:solidFill>
              </a:rPr>
              <a:t>PLEASE DON’T PUT TEXT HERE. </a:t>
            </a:r>
          </a:p>
        </p:txBody>
      </p:sp>
    </p:spTree>
    <p:extLst>
      <p:ext uri="{BB962C8B-B14F-4D97-AF65-F5344CB8AC3E}">
        <p14:creationId xmlns:p14="http://schemas.microsoft.com/office/powerpoint/2010/main" val="11345833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A0EC3C6-7286-B64B-88BF-E1657EFAF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losures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57474BC2-2461-2340-86B3-A4C8A0839C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Required statements and disclosures go here.</a:t>
            </a:r>
          </a:p>
          <a:p>
            <a:pPr lvl="1"/>
            <a:r>
              <a:rPr lang="en-US" dirty="0"/>
              <a:t>Use the “Increase Indent” button to access other levels such as numbered paragraphs and bullets.</a:t>
            </a:r>
          </a:p>
          <a:p>
            <a:pPr lvl="1"/>
            <a:r>
              <a:rPr lang="en-US" dirty="0"/>
              <a:t>Update as appropriate.</a:t>
            </a:r>
          </a:p>
          <a:p>
            <a:pPr lvl="1"/>
            <a:r>
              <a:rPr lang="en-US" dirty="0"/>
              <a:t>The address text (below, right) is on the master slide.</a:t>
            </a:r>
          </a:p>
          <a:p>
            <a:pPr lvl="0"/>
            <a:r>
              <a:rPr lang="en-US" dirty="0"/>
              <a:t>©2020 Foldax, Inc. All rights reserved. Confidential information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A3B32E-7167-C244-9347-0C775B54A64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077200" y="6443663"/>
            <a:ext cx="4114800" cy="365125"/>
          </a:xfrm>
        </p:spPr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627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1 Título">
            <a:extLst>
              <a:ext uri="{FF2B5EF4-FFF2-40B4-BE49-F238E27FC236}">
                <a16:creationId xmlns:a16="http://schemas.microsoft.com/office/drawing/2014/main" id="{0FE826F8-AAF3-F14A-B0A5-F488F48D66EE}"/>
              </a:ext>
            </a:extLst>
          </p:cNvPr>
          <p:cNvSpPr txBox="1">
            <a:spLocks/>
          </p:cNvSpPr>
          <p:nvPr/>
        </p:nvSpPr>
        <p:spPr bwMode="auto">
          <a:xfrm flipH="1">
            <a:off x="4503445" y="4905693"/>
            <a:ext cx="318511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2400" dirty="0">
                <a:solidFill>
                  <a:schemeClr val="accent1"/>
                </a:solidFill>
                <a:latin typeface="+mj-lt"/>
                <a:ea typeface="Avenir Book" charset="0"/>
                <a:cs typeface="Avenir Book" charset="0"/>
              </a:rPr>
              <a:t>WWW.</a:t>
            </a:r>
            <a:r>
              <a:rPr lang="es-HN" sz="240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FOLDAX</a:t>
            </a:r>
            <a:r>
              <a:rPr lang="es-HN" sz="2400" dirty="0">
                <a:solidFill>
                  <a:schemeClr val="accent1"/>
                </a:solidFill>
                <a:latin typeface="+mj-lt"/>
                <a:ea typeface="Avenir Book" charset="0"/>
                <a:cs typeface="Avenir Book" charset="0"/>
              </a:rPr>
              <a:t>.COM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E1A74A80-4CAB-D649-BCAA-D41B018A946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131442" y="2666235"/>
            <a:ext cx="5929117" cy="1217764"/>
          </a:xfrm>
          <a:prstGeom prst="rect">
            <a:avLst/>
          </a:prstGeom>
        </p:spPr>
      </p:pic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11C1B1F0-9A94-A840-A313-6275602A14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©2020 Foldax, Inc. All rights reserved. Confidential information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DC8693-0FFB-5347-9406-48F141539B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solidFill>
            <a:schemeClr val="accent1"/>
          </a:solidFill>
        </p:spPr>
        <p:txBody>
          <a:bodyPr/>
          <a:lstStyle/>
          <a:p>
            <a:fld id="{E00F1B42-FF04-B449-9DD1-36B182F19152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774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ABE8647-9B9B-B341-9723-0F3AE887F2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0D036AF3-3A7F-764B-93F9-D6E23DBC0A1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l="3222" r="3222"/>
          <a:stretch/>
        </p:blipFill>
        <p:spPr/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4A9127D6-FC0D-254A-ADE3-35F545AE66A8}"/>
              </a:ext>
            </a:extLst>
          </p:cNvPr>
          <p:cNvSpPr txBox="1">
            <a:spLocks/>
          </p:cNvSpPr>
          <p:nvPr/>
        </p:nvSpPr>
        <p:spPr>
          <a:xfrm>
            <a:off x="7582360" y="64441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7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6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34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43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52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0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6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©2020 Foldax, Inc. All rights reserved. Confidential information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1 Título">
            <a:extLst>
              <a:ext uri="{FF2B5EF4-FFF2-40B4-BE49-F238E27FC236}">
                <a16:creationId xmlns:a16="http://schemas.microsoft.com/office/drawing/2014/main" id="{B0320A2A-2AC6-C644-B5F6-553CAE68061F}"/>
              </a:ext>
            </a:extLst>
          </p:cNvPr>
          <p:cNvSpPr txBox="1">
            <a:spLocks/>
          </p:cNvSpPr>
          <p:nvPr/>
        </p:nvSpPr>
        <p:spPr bwMode="auto">
          <a:xfrm flipH="1">
            <a:off x="9557309" y="6433288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baseline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17" name="Slide Number Placeholder 12">
            <a:extLst>
              <a:ext uri="{FF2B5EF4-FFF2-40B4-BE49-F238E27FC236}">
                <a16:creationId xmlns:a16="http://schemas.microsoft.com/office/drawing/2014/main" id="{FB4D759E-012A-9E4B-A2F7-27D1F51CD92D}"/>
              </a:ext>
            </a:extLst>
          </p:cNvPr>
          <p:cNvSpPr txBox="1">
            <a:spLocks/>
          </p:cNvSpPr>
          <p:nvPr/>
        </p:nvSpPr>
        <p:spPr>
          <a:xfrm>
            <a:off x="11682046" y="6495543"/>
            <a:ext cx="293076" cy="282959"/>
          </a:xfrm>
          <a:prstGeom prst="rect">
            <a:avLst/>
          </a:prstGeom>
          <a:solidFill>
            <a:schemeClr val="accent1"/>
          </a:solidFill>
        </p:spPr>
        <p:txBody>
          <a:bodyPr vert="horz" lIns="18288" tIns="18288" rIns="18288" bIns="18288" rtlCol="0" anchor="ctr"/>
          <a:lstStyle>
            <a:defPPr>
              <a:defRPr lang="en-US"/>
            </a:defPPr>
            <a:lvl1pPr marL="0" algn="ctr" defTabSz="914217" rtl="0" eaLnBrk="1" latinLnBrk="0" hangingPunct="1">
              <a:lnSpc>
                <a:spcPct val="100000"/>
              </a:lnSpc>
              <a:defRPr sz="1050" b="0" i="0" kern="12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10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7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6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34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43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52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0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6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0F1B42-FF04-B449-9DD1-36B182F19152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583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3376DD-BAAC-B747-BD55-BBCD2361C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3454B3-3629-B048-A878-D487E1FC233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46738D1-F317-D34C-B321-301724BE07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2756650-6BCA-E747-8EB1-6152ED96F567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5DDFF96-6A61-B346-A51A-C8C299A865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1676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BC1309-2130-AF49-9EA8-51DB03743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7944E0-7B6B-514B-9CE7-504B692484F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44448F-E94B-3D49-BB61-9CD57B8A3972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F6E4C7A-8DFD-8446-8142-6F0CD97AB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0876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66B2C1F-848F-524B-A67D-3843CD567C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A06589-4474-C14A-AFF6-ACFF494475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B9263604-C1A8-3042-BD7A-56F297964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FD97EB5-E916-DC45-9C83-D258BF9AD7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0101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44FBE23-9E93-0E42-8865-BD5FD003FB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FBE58B-D7AC-464A-8E40-55087D7350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834CC7C-7C73-7F4B-A10B-A6C1C3FE92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4410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9B628DF-4A06-D242-BC54-3AB3E8024F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C7C3AA-7928-EE41-B29B-16D93F38D5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B7FAED2-50F6-884F-A79C-514B2CCD5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64FB868-34AB-6144-8D6A-03A3702000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529B931-C64D-FC4D-B817-4985A3F82F92}"/>
              </a:ext>
            </a:extLst>
          </p:cNvPr>
          <p:cNvSpPr/>
          <p:nvPr/>
        </p:nvSpPr>
        <p:spPr>
          <a:xfrm>
            <a:off x="496089" y="3448812"/>
            <a:ext cx="4059936" cy="36576"/>
          </a:xfrm>
          <a:prstGeom prst="rect">
            <a:avLst/>
          </a:prstGeom>
          <a:gradFill>
            <a:gsLst>
              <a:gs pos="50000">
                <a:schemeClr val="accent2"/>
              </a:gs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CBA4E60-E958-A549-86FC-792A6A202B40}"/>
              </a:ext>
            </a:extLst>
          </p:cNvPr>
          <p:cNvSpPr/>
          <p:nvPr/>
        </p:nvSpPr>
        <p:spPr>
          <a:xfrm>
            <a:off x="4786312" y="0"/>
            <a:ext cx="7405687" cy="642888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3603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4613FB2-5FE0-374D-9B82-C2416C61778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EFC72F-A452-5B42-8331-B8A34E95C2F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232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43CE0D2-48C6-3A49-A8F0-5194643AB0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48F6BF-4254-B849-9B15-A75139D6912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solidFill>
            <a:schemeClr val="bg1">
              <a:lumMod val="95000"/>
            </a:schemeClr>
          </a:solidFill>
        </p:spPr>
      </p:sp>
      <p:pic>
        <p:nvPicPr>
          <p:cNvPr id="4" name="Picture 11">
            <a:extLst>
              <a:ext uri="{FF2B5EF4-FFF2-40B4-BE49-F238E27FC236}">
                <a16:creationId xmlns:a16="http://schemas.microsoft.com/office/drawing/2014/main" id="{22E9A862-7BDC-C348-8E4A-FB68A50665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40322" y="457201"/>
            <a:ext cx="1715541" cy="368690"/>
          </a:xfrm>
          <a:prstGeom prst="rect">
            <a:avLst/>
          </a:prstGeom>
        </p:spPr>
      </p:pic>
      <p:sp>
        <p:nvSpPr>
          <p:cNvPr id="5" name="1 Título">
            <a:extLst>
              <a:ext uri="{FF2B5EF4-FFF2-40B4-BE49-F238E27FC236}">
                <a16:creationId xmlns:a16="http://schemas.microsoft.com/office/drawing/2014/main" id="{CBAC7FE7-7B64-824C-B8F0-32452DE0A973}"/>
              </a:ext>
            </a:extLst>
          </p:cNvPr>
          <p:cNvSpPr txBox="1">
            <a:spLocks/>
          </p:cNvSpPr>
          <p:nvPr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7D22CABD-8A7B-2E4C-AC21-D69D6B19B1BD}"/>
              </a:ext>
            </a:extLst>
          </p:cNvPr>
          <p:cNvSpPr/>
          <p:nvPr/>
        </p:nvSpPr>
        <p:spPr>
          <a:xfrm>
            <a:off x="-2343597" y="4716684"/>
            <a:ext cx="2286722" cy="1015375"/>
          </a:xfrm>
          <a:prstGeom prst="homePlate">
            <a:avLst>
              <a:gd name="adj" fmla="val 2761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SEND OVERLAY SHAPE TO BACK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INSERT IMAGE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SEND IMAGE TO BACK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ADD A TEXT BLURB OVER IT IN WHITE FOR A POWERFUL IMAGE</a:t>
            </a:r>
          </a:p>
        </p:txBody>
      </p:sp>
    </p:spTree>
    <p:extLst>
      <p:ext uri="{BB962C8B-B14F-4D97-AF65-F5344CB8AC3E}">
        <p14:creationId xmlns:p14="http://schemas.microsoft.com/office/powerpoint/2010/main" val="27591395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95A97F1-4B45-A544-BC0D-61E9F2FF1AD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64CC55-4988-1D4D-85D2-A252EC32A699}"/>
              </a:ext>
            </a:extLst>
          </p:cNvPr>
          <p:cNvSpPr/>
          <p:nvPr/>
        </p:nvSpPr>
        <p:spPr>
          <a:xfrm>
            <a:off x="3178826" y="506413"/>
            <a:ext cx="9013174" cy="5307760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0"/>
                </a:schemeClr>
              </a:gs>
              <a:gs pos="54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75EB717F-955F-634B-A624-1F56392336ED}"/>
              </a:ext>
            </a:extLst>
          </p:cNvPr>
          <p:cNvSpPr/>
          <p:nvPr/>
        </p:nvSpPr>
        <p:spPr>
          <a:xfrm>
            <a:off x="-2343597" y="4716685"/>
            <a:ext cx="2286722" cy="736600"/>
          </a:xfrm>
          <a:prstGeom prst="homePlate">
            <a:avLst>
              <a:gd name="adj" fmla="val 2761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SEND OVERLAY SHAPE TO BACK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INSERT IMAGE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SEND IMAGE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AAAE33-1252-394D-9DBA-863B56F4C3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871724-B14D-F043-9FB0-4E410E38017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3962397-6A05-9B49-BBBB-CB41844151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2555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7F484C3-1565-5349-B2FD-B08DD8823591}"/>
              </a:ext>
            </a:extLst>
          </p:cNvPr>
          <p:cNvSpPr/>
          <p:nvPr/>
        </p:nvSpPr>
        <p:spPr>
          <a:xfrm>
            <a:off x="0" y="1028700"/>
            <a:ext cx="12192000" cy="53239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621202-50B5-9848-AF34-4E75BA9858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F59A3D-D18B-F042-9365-58237C4F2B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8A6F2-90E8-F64A-A348-4CAEA48504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964CF3-9143-7F40-9F1A-35566E1DB9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EA59C8-72FC-BF46-B587-9602B5A8B499}"/>
              </a:ext>
            </a:extLst>
          </p:cNvPr>
          <p:cNvSpPr txBox="1"/>
          <p:nvPr/>
        </p:nvSpPr>
        <p:spPr>
          <a:xfrm>
            <a:off x="222739" y="1311544"/>
            <a:ext cx="11746522" cy="466717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sz="1400" b="1" dirty="0">
                <a:ea typeface="+mn-lt"/>
                <a:cs typeface="+mn-lt"/>
              </a:rPr>
              <a:t>Franklin Gothic Book 14 Bold Header or Main Idea. </a:t>
            </a:r>
            <a:r>
              <a:rPr lang="en-US" sz="1400" dirty="0">
                <a:ea typeface="+mn-lt"/>
                <a:cs typeface="+mn-lt"/>
              </a:rPr>
              <a:t>Duis </a:t>
            </a:r>
            <a:r>
              <a:rPr lang="en-US" sz="1400" dirty="0" err="1">
                <a:ea typeface="+mn-lt"/>
                <a:cs typeface="+mn-lt"/>
              </a:rPr>
              <a:t>facilisis</a:t>
            </a:r>
            <a:r>
              <a:rPr lang="en-US" sz="1400" dirty="0">
                <a:ea typeface="+mn-lt"/>
                <a:cs typeface="+mn-lt"/>
              </a:rPr>
              <a:t>, </a:t>
            </a:r>
            <a:r>
              <a:rPr lang="en-US" sz="1400" dirty="0" err="1">
                <a:ea typeface="+mn-lt"/>
                <a:cs typeface="+mn-lt"/>
              </a:rPr>
              <a:t>sapien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nec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gesta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interdum</a:t>
            </a:r>
            <a:r>
              <a:rPr lang="en-US" sz="1400" dirty="0">
                <a:ea typeface="+mn-lt"/>
                <a:cs typeface="+mn-lt"/>
              </a:rPr>
              <a:t>, </a:t>
            </a:r>
            <a:r>
              <a:rPr lang="en-US" sz="1400" dirty="0" err="1">
                <a:ea typeface="+mn-lt"/>
                <a:cs typeface="+mn-lt"/>
              </a:rPr>
              <a:t>lect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justo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rutru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purus</a:t>
            </a:r>
            <a:r>
              <a:rPr lang="en-US" sz="1400" dirty="0">
                <a:ea typeface="+mn-lt"/>
                <a:cs typeface="+mn-lt"/>
              </a:rPr>
              <a:t>, ac </a:t>
            </a:r>
            <a:r>
              <a:rPr lang="en-US" sz="1400" dirty="0" err="1">
                <a:ea typeface="+mn-lt"/>
                <a:cs typeface="+mn-lt"/>
              </a:rPr>
              <a:t>ultricie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ro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quam</a:t>
            </a:r>
            <a:r>
              <a:rPr lang="en-US" sz="1400" dirty="0">
                <a:ea typeface="+mn-lt"/>
                <a:cs typeface="+mn-lt"/>
              </a:rPr>
              <a:t> sed </a:t>
            </a:r>
            <a:r>
              <a:rPr lang="en-US" sz="1400" dirty="0" err="1">
                <a:ea typeface="+mn-lt"/>
                <a:cs typeface="+mn-lt"/>
              </a:rPr>
              <a:t>lectus</a:t>
            </a:r>
            <a:r>
              <a:rPr lang="en-US" sz="1400" dirty="0">
                <a:ea typeface="+mn-lt"/>
                <a:cs typeface="+mn-lt"/>
              </a:rPr>
              <a:t>. Vestibulum </a:t>
            </a:r>
            <a:r>
              <a:rPr lang="en-US" sz="1400" dirty="0" err="1">
                <a:ea typeface="+mn-lt"/>
                <a:cs typeface="+mn-lt"/>
              </a:rPr>
              <a:t>finib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ra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u</a:t>
            </a:r>
            <a:r>
              <a:rPr lang="en-US" sz="1400" dirty="0">
                <a:ea typeface="+mn-lt"/>
                <a:cs typeface="+mn-lt"/>
              </a:rPr>
              <a:t> diam </a:t>
            </a:r>
            <a:r>
              <a:rPr lang="en-US" sz="1400" dirty="0" err="1">
                <a:ea typeface="+mn-lt"/>
                <a:cs typeface="+mn-lt"/>
              </a:rPr>
              <a:t>molestie</a:t>
            </a:r>
            <a:r>
              <a:rPr lang="en-US" sz="1400" dirty="0">
                <a:ea typeface="+mn-lt"/>
                <a:cs typeface="+mn-lt"/>
              </a:rPr>
              <a:t>, et </a:t>
            </a:r>
            <a:r>
              <a:rPr lang="en-US" sz="1400" dirty="0" err="1">
                <a:ea typeface="+mn-lt"/>
                <a:cs typeface="+mn-lt"/>
              </a:rPr>
              <a:t>finib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purus</a:t>
            </a:r>
            <a:r>
              <a:rPr lang="en-US" sz="1400" dirty="0">
                <a:ea typeface="+mn-lt"/>
                <a:cs typeface="+mn-lt"/>
              </a:rPr>
              <a:t> semper. </a:t>
            </a:r>
            <a:r>
              <a:rPr lang="en-US" sz="1400" dirty="0" err="1">
                <a:ea typeface="+mn-lt"/>
                <a:cs typeface="+mn-lt"/>
              </a:rPr>
              <a:t>Pellentesque</a:t>
            </a:r>
            <a:r>
              <a:rPr lang="en-US" sz="1400" dirty="0">
                <a:ea typeface="+mn-lt"/>
                <a:cs typeface="+mn-lt"/>
              </a:rPr>
              <a:t> id </a:t>
            </a:r>
            <a:r>
              <a:rPr lang="en-US" sz="1400" dirty="0" err="1">
                <a:ea typeface="+mn-lt"/>
                <a:cs typeface="+mn-lt"/>
              </a:rPr>
              <a:t>venenatis</a:t>
            </a:r>
            <a:r>
              <a:rPr lang="en-US" sz="1400" dirty="0">
                <a:ea typeface="+mn-lt"/>
                <a:cs typeface="+mn-lt"/>
              </a:rPr>
              <a:t> ante, </a:t>
            </a:r>
            <a:r>
              <a:rPr lang="en-US" sz="1400" dirty="0" err="1">
                <a:ea typeface="+mn-lt"/>
                <a:cs typeface="+mn-lt"/>
              </a:rPr>
              <a:t>eu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blandit</a:t>
            </a:r>
            <a:r>
              <a:rPr lang="en-US" sz="1400" dirty="0">
                <a:ea typeface="+mn-lt"/>
                <a:cs typeface="+mn-lt"/>
              </a:rPr>
              <a:t> libero. </a:t>
            </a:r>
            <a:r>
              <a:rPr lang="en-US" sz="1400" dirty="0" err="1">
                <a:ea typeface="+mn-lt"/>
                <a:cs typeface="+mn-lt"/>
              </a:rPr>
              <a:t>Pellentesque</a:t>
            </a:r>
            <a:r>
              <a:rPr lang="en-US" sz="1400" dirty="0">
                <a:ea typeface="+mn-lt"/>
                <a:cs typeface="+mn-lt"/>
              </a:rPr>
              <a:t> pulvinar </a:t>
            </a:r>
            <a:r>
              <a:rPr lang="en-US" sz="1400" dirty="0" err="1">
                <a:ea typeface="+mn-lt"/>
                <a:cs typeface="+mn-lt"/>
              </a:rPr>
              <a:t>venenat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mauris</a:t>
            </a:r>
            <a:r>
              <a:rPr lang="en-US" sz="1400" dirty="0">
                <a:ea typeface="+mn-lt"/>
                <a:cs typeface="+mn-lt"/>
              </a:rPr>
              <a:t>, ac </a:t>
            </a:r>
            <a:r>
              <a:rPr lang="en-US" sz="1400" dirty="0" err="1">
                <a:ea typeface="+mn-lt"/>
                <a:cs typeface="+mn-lt"/>
              </a:rPr>
              <a:t>posuer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justo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Donec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interdu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suscipi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pretium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Phasell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quis</a:t>
            </a:r>
            <a:r>
              <a:rPr lang="en-US" sz="1400" dirty="0">
                <a:ea typeface="+mn-lt"/>
                <a:cs typeface="+mn-lt"/>
              </a:rPr>
              <a:t> nisi </a:t>
            </a:r>
            <a:r>
              <a:rPr lang="en-US" sz="1400" dirty="0" err="1">
                <a:ea typeface="+mn-lt"/>
                <a:cs typeface="+mn-lt"/>
              </a:rPr>
              <a:t>u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sapien</a:t>
            </a:r>
            <a:r>
              <a:rPr lang="en-US" sz="1400" dirty="0">
                <a:ea typeface="+mn-lt"/>
                <a:cs typeface="+mn-lt"/>
              </a:rPr>
              <a:t> fermentum </a:t>
            </a:r>
            <a:r>
              <a:rPr lang="en-US" sz="1400" dirty="0" err="1">
                <a:ea typeface="+mn-lt"/>
                <a:cs typeface="+mn-lt"/>
              </a:rPr>
              <a:t>ullamcorpe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u</a:t>
            </a:r>
            <a:r>
              <a:rPr lang="en-US" sz="1400" dirty="0">
                <a:ea typeface="+mn-lt"/>
                <a:cs typeface="+mn-lt"/>
              </a:rPr>
              <a:t> ac </a:t>
            </a:r>
            <a:r>
              <a:rPr lang="en-US" sz="1400" dirty="0" err="1">
                <a:ea typeface="+mn-lt"/>
                <a:cs typeface="+mn-lt"/>
              </a:rPr>
              <a:t>neque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Phasellus</a:t>
            </a:r>
            <a:r>
              <a:rPr lang="en-US" sz="1400" dirty="0">
                <a:ea typeface="+mn-lt"/>
                <a:cs typeface="+mn-lt"/>
              </a:rPr>
              <a:t> a </a:t>
            </a:r>
            <a:r>
              <a:rPr lang="en-US" sz="1400" dirty="0" err="1">
                <a:ea typeface="+mn-lt"/>
                <a:cs typeface="+mn-lt"/>
              </a:rPr>
              <a:t>placera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justo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Suspendisse</a:t>
            </a:r>
            <a:r>
              <a:rPr lang="en-US" sz="1400" dirty="0">
                <a:ea typeface="+mn-lt"/>
                <a:cs typeface="+mn-lt"/>
              </a:rPr>
              <a:t> vel </a:t>
            </a:r>
            <a:r>
              <a:rPr lang="en-US" sz="1400" dirty="0" err="1">
                <a:ea typeface="+mn-lt"/>
                <a:cs typeface="+mn-lt"/>
              </a:rPr>
              <a:t>enim</a:t>
            </a:r>
            <a:r>
              <a:rPr lang="en-US" sz="1400" dirty="0">
                <a:ea typeface="+mn-lt"/>
                <a:cs typeface="+mn-lt"/>
              </a:rPr>
              <a:t> fermentum, </a:t>
            </a:r>
            <a:r>
              <a:rPr lang="en-US" sz="1400" dirty="0" err="1">
                <a:ea typeface="+mn-lt"/>
                <a:cs typeface="+mn-lt"/>
              </a:rPr>
              <a:t>bibendu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urna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u</a:t>
            </a:r>
            <a:r>
              <a:rPr lang="en-US" sz="1400" dirty="0">
                <a:ea typeface="+mn-lt"/>
                <a:cs typeface="+mn-lt"/>
              </a:rPr>
              <a:t>, </a:t>
            </a:r>
            <a:r>
              <a:rPr lang="en-US" sz="1400" dirty="0" err="1">
                <a:ea typeface="+mn-lt"/>
                <a:cs typeface="+mn-lt"/>
              </a:rPr>
              <a:t>lobortis</a:t>
            </a:r>
            <a:r>
              <a:rPr lang="en-US" sz="1400" dirty="0">
                <a:ea typeface="+mn-lt"/>
                <a:cs typeface="+mn-lt"/>
              </a:rPr>
              <a:t> libero. </a:t>
            </a:r>
            <a:r>
              <a:rPr lang="en-US" sz="1400" dirty="0" err="1">
                <a:ea typeface="+mn-lt"/>
                <a:cs typeface="+mn-lt"/>
              </a:rPr>
              <a:t>Maur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u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li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risus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Nulla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tempo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dignissim</a:t>
            </a:r>
            <a:r>
              <a:rPr lang="en-US" sz="1400" dirty="0">
                <a:ea typeface="+mn-lt"/>
                <a:cs typeface="+mn-lt"/>
              </a:rPr>
              <a:t> lorem, id </a:t>
            </a:r>
            <a:r>
              <a:rPr lang="en-US" sz="1400" dirty="0" err="1">
                <a:ea typeface="+mn-lt"/>
                <a:cs typeface="+mn-lt"/>
              </a:rPr>
              <a:t>volutpa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veli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lobortis</a:t>
            </a:r>
            <a:r>
              <a:rPr lang="en-US" sz="1400" dirty="0">
                <a:ea typeface="+mn-lt"/>
                <a:cs typeface="+mn-lt"/>
              </a:rPr>
              <a:t> et.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sz="1400" dirty="0" err="1">
                <a:ea typeface="+mn-lt"/>
                <a:cs typeface="+mn-lt"/>
              </a:rPr>
              <a:t>Fusce</a:t>
            </a:r>
            <a:r>
              <a:rPr lang="en-US" sz="1400" dirty="0">
                <a:ea typeface="+mn-lt"/>
                <a:cs typeface="+mn-lt"/>
              </a:rPr>
              <a:t> sed semper mi. </a:t>
            </a:r>
            <a:r>
              <a:rPr lang="en-US" sz="1400" dirty="0" err="1">
                <a:ea typeface="+mn-lt"/>
                <a:cs typeface="+mn-lt"/>
              </a:rPr>
              <a:t>Etiam</a:t>
            </a:r>
            <a:r>
              <a:rPr lang="en-US" sz="1400" dirty="0">
                <a:ea typeface="+mn-lt"/>
                <a:cs typeface="+mn-lt"/>
              </a:rPr>
              <a:t> at dui ac </a:t>
            </a:r>
            <a:r>
              <a:rPr lang="en-US" sz="1400" dirty="0" err="1">
                <a:ea typeface="+mn-lt"/>
                <a:cs typeface="+mn-lt"/>
              </a:rPr>
              <a:t>lectus</a:t>
            </a:r>
            <a:r>
              <a:rPr lang="en-US" sz="1400" dirty="0">
                <a:ea typeface="+mn-lt"/>
                <a:cs typeface="+mn-lt"/>
              </a:rPr>
              <a:t> porta </a:t>
            </a:r>
            <a:r>
              <a:rPr lang="en-US" sz="1400" dirty="0" err="1">
                <a:ea typeface="+mn-lt"/>
                <a:cs typeface="+mn-lt"/>
              </a:rPr>
              <a:t>luctus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Curabitu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tincidunt</a:t>
            </a:r>
            <a:r>
              <a:rPr lang="en-US" sz="1400" dirty="0">
                <a:ea typeface="+mn-lt"/>
                <a:cs typeface="+mn-lt"/>
              </a:rPr>
              <a:t> dolor non </a:t>
            </a:r>
            <a:r>
              <a:rPr lang="en-US" sz="1400" dirty="0" err="1">
                <a:ea typeface="+mn-lt"/>
                <a:cs typeface="+mn-lt"/>
              </a:rPr>
              <a:t>fel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lementu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rutrum</a:t>
            </a:r>
            <a:r>
              <a:rPr lang="en-US" sz="1400" dirty="0">
                <a:ea typeface="+mn-lt"/>
                <a:cs typeface="+mn-lt"/>
              </a:rPr>
              <a:t>. Morbi </a:t>
            </a:r>
            <a:r>
              <a:rPr lang="en-US" sz="1400" dirty="0" err="1">
                <a:ea typeface="+mn-lt"/>
                <a:cs typeface="+mn-lt"/>
              </a:rPr>
              <a:t>pellentesqu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porttito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orci</a:t>
            </a:r>
            <a:r>
              <a:rPr lang="en-US" sz="1400" dirty="0">
                <a:ea typeface="+mn-lt"/>
                <a:cs typeface="+mn-lt"/>
              </a:rPr>
              <a:t>, id </a:t>
            </a:r>
            <a:r>
              <a:rPr lang="en-US" sz="1400" dirty="0" err="1">
                <a:ea typeface="+mn-lt"/>
                <a:cs typeface="+mn-lt"/>
              </a:rPr>
              <a:t>pellentesque</a:t>
            </a:r>
            <a:r>
              <a:rPr lang="en-US" sz="1400" dirty="0">
                <a:ea typeface="+mn-lt"/>
                <a:cs typeface="+mn-lt"/>
              </a:rPr>
              <a:t> libero </a:t>
            </a:r>
            <a:r>
              <a:rPr lang="en-US" sz="1400" dirty="0" err="1">
                <a:ea typeface="+mn-lt"/>
                <a:cs typeface="+mn-lt"/>
              </a:rPr>
              <a:t>pellentesqu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quis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Nulla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malesuada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mauris</a:t>
            </a:r>
            <a:r>
              <a:rPr lang="en-US" sz="1400" dirty="0">
                <a:ea typeface="+mn-lt"/>
                <a:cs typeface="+mn-lt"/>
              </a:rPr>
              <a:t> vel </a:t>
            </a:r>
            <a:r>
              <a:rPr lang="en-US" sz="1400" dirty="0" err="1">
                <a:ea typeface="+mn-lt"/>
                <a:cs typeface="+mn-lt"/>
              </a:rPr>
              <a:t>nisl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hendreri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dapibus</a:t>
            </a:r>
            <a:r>
              <a:rPr lang="en-US" sz="1400" dirty="0">
                <a:ea typeface="+mn-lt"/>
                <a:cs typeface="+mn-lt"/>
              </a:rPr>
              <a:t>. Vestibulum ante ipsum </a:t>
            </a:r>
            <a:r>
              <a:rPr lang="en-US" sz="1400" dirty="0" err="1">
                <a:ea typeface="+mn-lt"/>
                <a:cs typeface="+mn-lt"/>
              </a:rPr>
              <a:t>primis</a:t>
            </a:r>
            <a:r>
              <a:rPr lang="en-US" sz="1400" dirty="0">
                <a:ea typeface="+mn-lt"/>
                <a:cs typeface="+mn-lt"/>
              </a:rPr>
              <a:t> in </a:t>
            </a:r>
            <a:r>
              <a:rPr lang="en-US" sz="1400" dirty="0" err="1">
                <a:ea typeface="+mn-lt"/>
                <a:cs typeface="+mn-lt"/>
              </a:rPr>
              <a:t>faucib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orci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luctus</a:t>
            </a:r>
            <a:r>
              <a:rPr lang="en-US" sz="1400" dirty="0">
                <a:ea typeface="+mn-lt"/>
                <a:cs typeface="+mn-lt"/>
              </a:rPr>
              <a:t> et </a:t>
            </a:r>
            <a:r>
              <a:rPr lang="en-US" sz="1400" dirty="0" err="1">
                <a:ea typeface="+mn-lt"/>
                <a:cs typeface="+mn-lt"/>
              </a:rPr>
              <a:t>ultrice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posuer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cubilia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Curae</a:t>
            </a:r>
            <a:r>
              <a:rPr lang="en-US" sz="1400" dirty="0">
                <a:ea typeface="+mn-lt"/>
                <a:cs typeface="+mn-lt"/>
              </a:rPr>
              <a:t>; Integer vitae libero </a:t>
            </a:r>
            <a:r>
              <a:rPr lang="en-US" sz="1400" dirty="0" err="1">
                <a:ea typeface="+mn-lt"/>
                <a:cs typeface="+mn-lt"/>
              </a:rPr>
              <a:t>mollis</a:t>
            </a:r>
            <a:r>
              <a:rPr lang="en-US" sz="1400" dirty="0">
                <a:ea typeface="+mn-lt"/>
                <a:cs typeface="+mn-lt"/>
              </a:rPr>
              <a:t>, </a:t>
            </a:r>
            <a:r>
              <a:rPr lang="en-US" sz="1400" dirty="0" err="1">
                <a:ea typeface="+mn-lt"/>
                <a:cs typeface="+mn-lt"/>
              </a:rPr>
              <a:t>malesuada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massa</a:t>
            </a:r>
            <a:r>
              <a:rPr lang="en-US" sz="1400" dirty="0">
                <a:ea typeface="+mn-lt"/>
                <a:cs typeface="+mn-lt"/>
              </a:rPr>
              <a:t> in, </a:t>
            </a:r>
            <a:r>
              <a:rPr lang="en-US" sz="1400" dirty="0" err="1">
                <a:ea typeface="+mn-lt"/>
                <a:cs typeface="+mn-lt"/>
              </a:rPr>
              <a:t>sagitt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quam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Nulla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facilisi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Pellentesque</a:t>
            </a:r>
            <a:r>
              <a:rPr lang="en-US" sz="1400" dirty="0">
                <a:ea typeface="+mn-lt"/>
                <a:cs typeface="+mn-lt"/>
              </a:rPr>
              <a:t> at </a:t>
            </a:r>
            <a:r>
              <a:rPr lang="en-US" sz="1400" dirty="0" err="1">
                <a:ea typeface="+mn-lt"/>
                <a:cs typeface="+mn-lt"/>
              </a:rPr>
              <a:t>nulla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accumsan</a:t>
            </a:r>
            <a:r>
              <a:rPr lang="en-US" sz="1400" dirty="0">
                <a:ea typeface="+mn-lt"/>
                <a:cs typeface="+mn-lt"/>
              </a:rPr>
              <a:t>, </a:t>
            </a:r>
            <a:r>
              <a:rPr lang="en-US" sz="1400" dirty="0" err="1">
                <a:ea typeface="+mn-lt"/>
                <a:cs typeface="+mn-lt"/>
              </a:rPr>
              <a:t>egesta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sapien</a:t>
            </a:r>
            <a:r>
              <a:rPr lang="en-US" sz="1400" dirty="0">
                <a:ea typeface="+mn-lt"/>
                <a:cs typeface="+mn-lt"/>
              </a:rPr>
              <a:t> ac, </a:t>
            </a:r>
            <a:r>
              <a:rPr lang="en-US" sz="1400" dirty="0" err="1">
                <a:ea typeface="+mn-lt"/>
                <a:cs typeface="+mn-lt"/>
              </a:rPr>
              <a:t>eleifend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velit</a:t>
            </a:r>
            <a:r>
              <a:rPr lang="en-US" sz="1400" dirty="0">
                <a:ea typeface="+mn-lt"/>
                <a:cs typeface="+mn-lt"/>
              </a:rPr>
              <a:t>. Vestibulum ante ipsum </a:t>
            </a:r>
            <a:r>
              <a:rPr lang="en-US" sz="1400" dirty="0" err="1">
                <a:ea typeface="+mn-lt"/>
                <a:cs typeface="+mn-lt"/>
              </a:rPr>
              <a:t>primis</a:t>
            </a:r>
            <a:r>
              <a:rPr lang="en-US" sz="1400" dirty="0">
                <a:ea typeface="+mn-lt"/>
                <a:cs typeface="+mn-lt"/>
              </a:rPr>
              <a:t> in </a:t>
            </a:r>
            <a:r>
              <a:rPr lang="en-US" sz="1400" dirty="0" err="1">
                <a:ea typeface="+mn-lt"/>
                <a:cs typeface="+mn-lt"/>
              </a:rPr>
              <a:t>faucib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orci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luctus</a:t>
            </a:r>
            <a:r>
              <a:rPr lang="en-US" sz="1400" dirty="0">
                <a:ea typeface="+mn-lt"/>
                <a:cs typeface="+mn-lt"/>
              </a:rPr>
              <a:t> et </a:t>
            </a:r>
            <a:r>
              <a:rPr lang="en-US" sz="1400" dirty="0" err="1">
                <a:ea typeface="+mn-lt"/>
                <a:cs typeface="+mn-lt"/>
              </a:rPr>
              <a:t>ultrice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posuer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cubilia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Curae</a:t>
            </a:r>
            <a:r>
              <a:rPr lang="en-US" sz="1400" dirty="0">
                <a:ea typeface="+mn-lt"/>
                <a:cs typeface="+mn-lt"/>
              </a:rPr>
              <a:t>; Sed </a:t>
            </a:r>
            <a:r>
              <a:rPr lang="en-US" sz="1400" dirty="0" err="1">
                <a:ea typeface="+mn-lt"/>
                <a:cs typeface="+mn-lt"/>
              </a:rPr>
              <a:t>u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porttito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nibh</a:t>
            </a:r>
            <a:r>
              <a:rPr lang="en-US" sz="1400" dirty="0">
                <a:ea typeface="+mn-lt"/>
                <a:cs typeface="+mn-lt"/>
              </a:rPr>
              <a:t>.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sz="1400" dirty="0" err="1">
                <a:ea typeface="+mn-lt"/>
                <a:cs typeface="+mn-lt"/>
              </a:rPr>
              <a:t>Nullam</a:t>
            </a:r>
            <a:r>
              <a:rPr lang="en-US" sz="1400" dirty="0">
                <a:ea typeface="+mn-lt"/>
                <a:cs typeface="+mn-lt"/>
              </a:rPr>
              <a:t> at </a:t>
            </a:r>
            <a:r>
              <a:rPr lang="en-US" sz="1400" dirty="0" err="1">
                <a:ea typeface="+mn-lt"/>
                <a:cs typeface="+mn-lt"/>
              </a:rPr>
              <a:t>ultricie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nisl</a:t>
            </a:r>
            <a:r>
              <a:rPr lang="en-US" sz="1400" dirty="0">
                <a:ea typeface="+mn-lt"/>
                <a:cs typeface="+mn-lt"/>
              </a:rPr>
              <a:t>, </a:t>
            </a:r>
            <a:r>
              <a:rPr lang="en-US" sz="1400" dirty="0" err="1">
                <a:ea typeface="+mn-lt"/>
                <a:cs typeface="+mn-lt"/>
              </a:rPr>
              <a:t>nec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tempo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augue</a:t>
            </a:r>
            <a:r>
              <a:rPr lang="en-US" sz="1400" dirty="0">
                <a:ea typeface="+mn-lt"/>
                <a:cs typeface="+mn-lt"/>
              </a:rPr>
              <a:t>. Ut </a:t>
            </a:r>
            <a:r>
              <a:rPr lang="en-US" sz="1400" dirty="0" err="1">
                <a:ea typeface="+mn-lt"/>
                <a:cs typeface="+mn-lt"/>
              </a:rPr>
              <a:t>pellentesqu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bibendum</a:t>
            </a:r>
            <a:r>
              <a:rPr lang="en-US" sz="1400" dirty="0">
                <a:ea typeface="+mn-lt"/>
                <a:cs typeface="+mn-lt"/>
              </a:rPr>
              <a:t> gravida. </a:t>
            </a:r>
            <a:r>
              <a:rPr lang="en-US" sz="1400" dirty="0" err="1">
                <a:ea typeface="+mn-lt"/>
                <a:cs typeface="+mn-lt"/>
              </a:rPr>
              <a:t>Curabitu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sollicitudin</a:t>
            </a:r>
            <a:r>
              <a:rPr lang="en-US" sz="1400" dirty="0">
                <a:ea typeface="+mn-lt"/>
                <a:cs typeface="+mn-lt"/>
              </a:rPr>
              <a:t> vitae </a:t>
            </a:r>
            <a:r>
              <a:rPr lang="en-US" sz="1400" dirty="0" err="1">
                <a:ea typeface="+mn-lt"/>
                <a:cs typeface="+mn-lt"/>
              </a:rPr>
              <a:t>sem</a:t>
            </a:r>
            <a:r>
              <a:rPr lang="en-US" sz="1400" dirty="0">
                <a:ea typeface="+mn-lt"/>
                <a:cs typeface="+mn-lt"/>
              </a:rPr>
              <a:t> non </a:t>
            </a:r>
            <a:r>
              <a:rPr lang="en-US" sz="1400" dirty="0" err="1">
                <a:ea typeface="+mn-lt"/>
                <a:cs typeface="+mn-lt"/>
              </a:rPr>
              <a:t>blandit</a:t>
            </a:r>
            <a:r>
              <a:rPr lang="en-US" sz="1400" dirty="0">
                <a:ea typeface="+mn-lt"/>
                <a:cs typeface="+mn-lt"/>
              </a:rPr>
              <a:t>. Integer </a:t>
            </a:r>
            <a:r>
              <a:rPr lang="en-US" sz="1400" dirty="0" err="1">
                <a:ea typeface="+mn-lt"/>
                <a:cs typeface="+mn-lt"/>
              </a:rPr>
              <a:t>eu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nunc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justo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Aenean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qu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velit</a:t>
            </a:r>
            <a:r>
              <a:rPr lang="en-US" sz="1400" dirty="0">
                <a:ea typeface="+mn-lt"/>
                <a:cs typeface="+mn-lt"/>
              </a:rPr>
              <a:t> sit </a:t>
            </a:r>
            <a:r>
              <a:rPr lang="en-US" sz="1400" dirty="0" err="1">
                <a:ea typeface="+mn-lt"/>
                <a:cs typeface="+mn-lt"/>
              </a:rPr>
              <a:t>ame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ni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lobort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condimentu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u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quis</a:t>
            </a:r>
            <a:r>
              <a:rPr lang="en-US" sz="1400" dirty="0">
                <a:ea typeface="+mn-lt"/>
                <a:cs typeface="+mn-lt"/>
              </a:rPr>
              <a:t> ligula. </a:t>
            </a:r>
            <a:r>
              <a:rPr lang="en-US" sz="1400" dirty="0" err="1">
                <a:ea typeface="+mn-lt"/>
                <a:cs typeface="+mn-lt"/>
              </a:rPr>
              <a:t>Nulla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vulputate</a:t>
            </a:r>
            <a:r>
              <a:rPr lang="en-US" sz="1400" dirty="0">
                <a:ea typeface="+mn-lt"/>
                <a:cs typeface="+mn-lt"/>
              </a:rPr>
              <a:t> pharetra diam </a:t>
            </a:r>
            <a:r>
              <a:rPr lang="en-US" sz="1400" dirty="0" err="1">
                <a:ea typeface="+mn-lt"/>
                <a:cs typeface="+mn-lt"/>
              </a:rPr>
              <a:t>interdum</a:t>
            </a:r>
            <a:r>
              <a:rPr lang="en-US" sz="1400" dirty="0">
                <a:ea typeface="+mn-lt"/>
                <a:cs typeface="+mn-lt"/>
              </a:rPr>
              <a:t> cursus. </a:t>
            </a:r>
            <a:r>
              <a:rPr lang="en-US" sz="1400" dirty="0" err="1">
                <a:ea typeface="+mn-lt"/>
                <a:cs typeface="+mn-lt"/>
              </a:rPr>
              <a:t>Proin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vehicula</a:t>
            </a:r>
            <a:r>
              <a:rPr lang="en-US" sz="1400" dirty="0">
                <a:ea typeface="+mn-lt"/>
                <a:cs typeface="+mn-lt"/>
              </a:rPr>
              <a:t> vitae </a:t>
            </a:r>
            <a:r>
              <a:rPr lang="en-US" sz="1400" dirty="0" err="1">
                <a:ea typeface="+mn-lt"/>
                <a:cs typeface="+mn-lt"/>
              </a:rPr>
              <a:t>sapien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ge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imperdiet</a:t>
            </a:r>
            <a:r>
              <a:rPr lang="en-US" sz="1400" dirty="0">
                <a:ea typeface="+mn-lt"/>
                <a:cs typeface="+mn-lt"/>
              </a:rPr>
              <a:t>.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sz="1400" dirty="0">
                <a:ea typeface="+mn-lt"/>
                <a:cs typeface="+mn-lt"/>
              </a:rPr>
              <a:t>Vestibulum ac </a:t>
            </a:r>
            <a:r>
              <a:rPr lang="en-US" sz="1400" dirty="0" err="1">
                <a:ea typeface="+mn-lt"/>
                <a:cs typeface="+mn-lt"/>
              </a:rPr>
              <a:t>commodo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odio</a:t>
            </a:r>
            <a:r>
              <a:rPr lang="en-US" sz="1400" dirty="0">
                <a:ea typeface="+mn-lt"/>
                <a:cs typeface="+mn-lt"/>
              </a:rPr>
              <a:t>. Integer </a:t>
            </a:r>
            <a:r>
              <a:rPr lang="en-US" sz="1400" dirty="0" err="1">
                <a:ea typeface="+mn-lt"/>
                <a:cs typeface="+mn-lt"/>
              </a:rPr>
              <a:t>aliqua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sapien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mattis</a:t>
            </a:r>
            <a:r>
              <a:rPr lang="en-US" sz="1400" dirty="0">
                <a:ea typeface="+mn-lt"/>
                <a:cs typeface="+mn-lt"/>
              </a:rPr>
              <a:t>, maximus </a:t>
            </a:r>
            <a:r>
              <a:rPr lang="en-US" sz="1400" dirty="0" err="1">
                <a:ea typeface="+mn-lt"/>
                <a:cs typeface="+mn-lt"/>
              </a:rPr>
              <a:t>nibh</a:t>
            </a:r>
            <a:r>
              <a:rPr lang="en-US" sz="1400" dirty="0">
                <a:ea typeface="+mn-lt"/>
                <a:cs typeface="+mn-lt"/>
              </a:rPr>
              <a:t> vel, </a:t>
            </a:r>
            <a:r>
              <a:rPr lang="en-US" sz="1400" dirty="0" err="1">
                <a:ea typeface="+mn-lt"/>
                <a:cs typeface="+mn-lt"/>
              </a:rPr>
              <a:t>efficitu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nim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Aliquam</a:t>
            </a:r>
            <a:r>
              <a:rPr lang="en-US" sz="1400" dirty="0">
                <a:ea typeface="+mn-lt"/>
                <a:cs typeface="+mn-lt"/>
              </a:rPr>
              <a:t> vel </a:t>
            </a:r>
            <a:r>
              <a:rPr lang="en-US" sz="1400" dirty="0" err="1">
                <a:ea typeface="+mn-lt"/>
                <a:cs typeface="+mn-lt"/>
              </a:rPr>
              <a:t>tristiqu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tellus</a:t>
            </a:r>
            <a:r>
              <a:rPr lang="en-US" sz="1400" dirty="0">
                <a:ea typeface="+mn-lt"/>
                <a:cs typeface="+mn-lt"/>
              </a:rPr>
              <a:t>. Ut </a:t>
            </a:r>
            <a:r>
              <a:rPr lang="en-US" sz="1400" dirty="0" err="1">
                <a:ea typeface="+mn-lt"/>
                <a:cs typeface="+mn-lt"/>
              </a:rPr>
              <a:t>ero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neque</a:t>
            </a:r>
            <a:r>
              <a:rPr lang="en-US" sz="1400" dirty="0">
                <a:ea typeface="+mn-lt"/>
                <a:cs typeface="+mn-lt"/>
              </a:rPr>
              <a:t>, </a:t>
            </a:r>
            <a:r>
              <a:rPr lang="en-US" sz="1400" dirty="0" err="1">
                <a:ea typeface="+mn-lt"/>
                <a:cs typeface="+mn-lt"/>
              </a:rPr>
              <a:t>bibendum</a:t>
            </a:r>
            <a:r>
              <a:rPr lang="en-US" sz="1400" dirty="0">
                <a:ea typeface="+mn-lt"/>
                <a:cs typeface="+mn-lt"/>
              </a:rPr>
              <a:t> vel </a:t>
            </a:r>
            <a:r>
              <a:rPr lang="en-US" sz="1400" dirty="0" err="1">
                <a:ea typeface="+mn-lt"/>
                <a:cs typeface="+mn-lt"/>
              </a:rPr>
              <a:t>finibus</a:t>
            </a:r>
            <a:r>
              <a:rPr lang="en-US" sz="1400" dirty="0">
                <a:ea typeface="+mn-lt"/>
                <a:cs typeface="+mn-lt"/>
              </a:rPr>
              <a:t> at, </a:t>
            </a:r>
            <a:r>
              <a:rPr lang="en-US" sz="1400" dirty="0" err="1">
                <a:ea typeface="+mn-lt"/>
                <a:cs typeface="+mn-lt"/>
              </a:rPr>
              <a:t>hendreri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nec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sapien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Proin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ullamcorpe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ultricie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velit</a:t>
            </a:r>
            <a:r>
              <a:rPr lang="en-US" sz="1400" dirty="0">
                <a:ea typeface="+mn-lt"/>
                <a:cs typeface="+mn-lt"/>
              </a:rPr>
              <a:t>. In et </a:t>
            </a:r>
            <a:r>
              <a:rPr lang="en-US" sz="1400" dirty="0" err="1">
                <a:ea typeface="+mn-lt"/>
                <a:cs typeface="+mn-lt"/>
              </a:rPr>
              <a:t>augue</a:t>
            </a:r>
            <a:r>
              <a:rPr lang="en-US" sz="1400" dirty="0">
                <a:ea typeface="+mn-lt"/>
                <a:cs typeface="+mn-lt"/>
              </a:rPr>
              <a:t> a lorem </a:t>
            </a:r>
            <a:r>
              <a:rPr lang="en-US" sz="1400" dirty="0" err="1">
                <a:ea typeface="+mn-lt"/>
                <a:cs typeface="+mn-lt"/>
              </a:rPr>
              <a:t>sagitt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accumsan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Pellentesque</a:t>
            </a:r>
            <a:r>
              <a:rPr lang="en-US" sz="1400" dirty="0">
                <a:ea typeface="+mn-lt"/>
                <a:cs typeface="+mn-lt"/>
              </a:rPr>
              <a:t> habitant </a:t>
            </a:r>
            <a:r>
              <a:rPr lang="en-US" sz="1400" dirty="0" err="1">
                <a:ea typeface="+mn-lt"/>
                <a:cs typeface="+mn-lt"/>
              </a:rPr>
              <a:t>morbi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tristiqu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senectus</a:t>
            </a:r>
            <a:r>
              <a:rPr lang="en-US" sz="1400" dirty="0">
                <a:ea typeface="+mn-lt"/>
                <a:cs typeface="+mn-lt"/>
              </a:rPr>
              <a:t> et </a:t>
            </a:r>
            <a:r>
              <a:rPr lang="en-US" sz="1400" dirty="0" err="1">
                <a:ea typeface="+mn-lt"/>
                <a:cs typeface="+mn-lt"/>
              </a:rPr>
              <a:t>netus</a:t>
            </a:r>
            <a:r>
              <a:rPr lang="en-US" sz="1400" dirty="0">
                <a:ea typeface="+mn-lt"/>
                <a:cs typeface="+mn-lt"/>
              </a:rPr>
              <a:t> et </a:t>
            </a:r>
            <a:r>
              <a:rPr lang="en-US" sz="1400" dirty="0" err="1">
                <a:ea typeface="+mn-lt"/>
                <a:cs typeface="+mn-lt"/>
              </a:rPr>
              <a:t>malesuada</a:t>
            </a:r>
            <a:r>
              <a:rPr lang="en-US" sz="1400" dirty="0">
                <a:ea typeface="+mn-lt"/>
                <a:cs typeface="+mn-lt"/>
              </a:rPr>
              <a:t> fames ac </a:t>
            </a:r>
            <a:r>
              <a:rPr lang="en-US" sz="1400" dirty="0" err="1">
                <a:ea typeface="+mn-lt"/>
                <a:cs typeface="+mn-lt"/>
              </a:rPr>
              <a:t>turp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gestas</a:t>
            </a:r>
            <a:r>
              <a:rPr lang="en-US" sz="1400" dirty="0">
                <a:ea typeface="+mn-lt"/>
                <a:cs typeface="+mn-lt"/>
              </a:rPr>
              <a:t>. Integer id </a:t>
            </a:r>
            <a:r>
              <a:rPr lang="en-US" sz="1400" dirty="0" err="1">
                <a:ea typeface="+mn-lt"/>
                <a:cs typeface="+mn-lt"/>
              </a:rPr>
              <a:t>efficitu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massa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Orci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vari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natoqu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penatibus</a:t>
            </a:r>
            <a:r>
              <a:rPr lang="en-US" sz="1400" dirty="0">
                <a:ea typeface="+mn-lt"/>
                <a:cs typeface="+mn-lt"/>
              </a:rPr>
              <a:t> et </a:t>
            </a:r>
            <a:r>
              <a:rPr lang="en-US" sz="1400" dirty="0" err="1">
                <a:ea typeface="+mn-lt"/>
                <a:cs typeface="+mn-lt"/>
              </a:rPr>
              <a:t>magnis</a:t>
            </a:r>
            <a:r>
              <a:rPr lang="en-US" sz="1400" dirty="0">
                <a:ea typeface="+mn-lt"/>
                <a:cs typeface="+mn-lt"/>
              </a:rPr>
              <a:t> dis parturient </a:t>
            </a:r>
            <a:r>
              <a:rPr lang="en-US" sz="1400" dirty="0" err="1">
                <a:ea typeface="+mn-lt"/>
                <a:cs typeface="+mn-lt"/>
              </a:rPr>
              <a:t>montes</a:t>
            </a:r>
            <a:r>
              <a:rPr lang="en-US" sz="1400" dirty="0">
                <a:ea typeface="+mn-lt"/>
                <a:cs typeface="+mn-lt"/>
              </a:rPr>
              <a:t>, </a:t>
            </a:r>
            <a:r>
              <a:rPr lang="en-US" sz="1400" dirty="0" err="1">
                <a:ea typeface="+mn-lt"/>
                <a:cs typeface="+mn-lt"/>
              </a:rPr>
              <a:t>nascetu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ridiculus</a:t>
            </a:r>
            <a:r>
              <a:rPr lang="en-US" sz="1400" dirty="0">
                <a:ea typeface="+mn-lt"/>
                <a:cs typeface="+mn-lt"/>
              </a:rPr>
              <a:t> mus. </a:t>
            </a:r>
            <a:r>
              <a:rPr lang="en-US" sz="1400" dirty="0" err="1">
                <a:ea typeface="+mn-lt"/>
                <a:cs typeface="+mn-lt"/>
              </a:rPr>
              <a:t>Donec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bibendum</a:t>
            </a:r>
            <a:r>
              <a:rPr lang="en-US" sz="1400" dirty="0">
                <a:ea typeface="+mn-lt"/>
                <a:cs typeface="+mn-lt"/>
              </a:rPr>
              <a:t> pharetra </a:t>
            </a:r>
            <a:r>
              <a:rPr lang="en-US" sz="1400" dirty="0" err="1">
                <a:ea typeface="+mn-lt"/>
                <a:cs typeface="+mn-lt"/>
              </a:rPr>
              <a:t>nibh</a:t>
            </a:r>
            <a:r>
              <a:rPr lang="en-US" sz="1400" dirty="0">
                <a:ea typeface="+mn-lt"/>
                <a:cs typeface="+mn-lt"/>
              </a:rPr>
              <a:t>, ac </a:t>
            </a:r>
            <a:r>
              <a:rPr lang="en-US" sz="1400" dirty="0" err="1">
                <a:ea typeface="+mn-lt"/>
                <a:cs typeface="+mn-lt"/>
              </a:rPr>
              <a:t>tristiqu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nunc</a:t>
            </a:r>
            <a:r>
              <a:rPr lang="en-US" sz="1400" dirty="0">
                <a:ea typeface="+mn-lt"/>
                <a:cs typeface="+mn-lt"/>
              </a:rPr>
              <a:t> pharetra sit </a:t>
            </a:r>
            <a:r>
              <a:rPr lang="en-US" sz="1400" dirty="0" err="1">
                <a:ea typeface="+mn-lt"/>
                <a:cs typeface="+mn-lt"/>
              </a:rPr>
              <a:t>amet</a:t>
            </a:r>
            <a:r>
              <a:rPr lang="en-US" sz="1400" dirty="0">
                <a:ea typeface="+mn-lt"/>
                <a:cs typeface="+mn-lt"/>
              </a:rPr>
              <a:t>. In sed </a:t>
            </a:r>
            <a:r>
              <a:rPr lang="en-US" sz="1400" dirty="0" err="1">
                <a:ea typeface="+mn-lt"/>
                <a:cs typeface="+mn-lt"/>
              </a:rPr>
              <a:t>sem</a:t>
            </a:r>
            <a:r>
              <a:rPr lang="en-US" sz="1400" dirty="0">
                <a:ea typeface="+mn-lt"/>
                <a:cs typeface="+mn-lt"/>
              </a:rPr>
              <a:t> non ligula tempus </a:t>
            </a:r>
            <a:r>
              <a:rPr lang="en-US" sz="1400" dirty="0" err="1">
                <a:ea typeface="+mn-lt"/>
                <a:cs typeface="+mn-lt"/>
              </a:rPr>
              <a:t>lobortis</a:t>
            </a:r>
            <a:r>
              <a:rPr lang="en-US" sz="1400" dirty="0">
                <a:ea typeface="+mn-lt"/>
                <a:cs typeface="+mn-lt"/>
              </a:rPr>
              <a:t> vitae </a:t>
            </a:r>
            <a:r>
              <a:rPr lang="en-US" sz="1400" dirty="0" err="1">
                <a:ea typeface="+mn-lt"/>
                <a:cs typeface="+mn-lt"/>
              </a:rPr>
              <a:t>aliqua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lit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Phasell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tincidunt</a:t>
            </a:r>
            <a:r>
              <a:rPr lang="en-US" sz="1400" dirty="0">
                <a:ea typeface="+mn-lt"/>
                <a:cs typeface="+mn-lt"/>
              </a:rPr>
              <a:t> ante a </a:t>
            </a:r>
            <a:r>
              <a:rPr lang="en-US" sz="1400" dirty="0" err="1">
                <a:ea typeface="+mn-lt"/>
                <a:cs typeface="+mn-lt"/>
              </a:rPr>
              <a:t>odio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tristique</a:t>
            </a:r>
            <a:r>
              <a:rPr lang="en-US" sz="1400" dirty="0">
                <a:ea typeface="+mn-lt"/>
                <a:cs typeface="+mn-lt"/>
              </a:rPr>
              <a:t>, in fermentum </a:t>
            </a:r>
            <a:r>
              <a:rPr lang="en-US" sz="1400" dirty="0" err="1">
                <a:ea typeface="+mn-lt"/>
                <a:cs typeface="+mn-lt"/>
              </a:rPr>
              <a:t>maur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ultricies</a:t>
            </a:r>
            <a:r>
              <a:rPr lang="en-US" sz="1400" dirty="0">
                <a:ea typeface="+mn-lt"/>
                <a:cs typeface="+mn-lt"/>
              </a:rPr>
              <a:t>. Duis </a:t>
            </a:r>
            <a:r>
              <a:rPr lang="en-US" sz="1400" dirty="0" err="1">
                <a:ea typeface="+mn-lt"/>
                <a:cs typeface="+mn-lt"/>
              </a:rPr>
              <a:t>eu</a:t>
            </a:r>
            <a:r>
              <a:rPr lang="en-US" sz="1400" dirty="0">
                <a:ea typeface="+mn-lt"/>
                <a:cs typeface="+mn-lt"/>
              </a:rPr>
              <a:t> ante vel </a:t>
            </a:r>
            <a:r>
              <a:rPr lang="en-US" sz="1400" dirty="0" err="1">
                <a:ea typeface="+mn-lt"/>
                <a:cs typeface="+mn-lt"/>
              </a:rPr>
              <a:t>es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finib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sagittis</a:t>
            </a:r>
            <a:r>
              <a:rPr lang="en-US" sz="1400" dirty="0">
                <a:ea typeface="+mn-lt"/>
                <a:cs typeface="+mn-lt"/>
              </a:rPr>
              <a:t>.</a:t>
            </a: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6F52E64F-B914-6A4F-BA2A-9992F1456446}"/>
              </a:ext>
            </a:extLst>
          </p:cNvPr>
          <p:cNvSpPr/>
          <p:nvPr/>
        </p:nvSpPr>
        <p:spPr>
          <a:xfrm>
            <a:off x="-2343597" y="4716684"/>
            <a:ext cx="2286722" cy="1015375"/>
          </a:xfrm>
          <a:prstGeom prst="homePlate">
            <a:avLst>
              <a:gd name="adj" fmla="val 2761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b="1" dirty="0">
                <a:solidFill>
                  <a:schemeClr val="bg1"/>
                </a:solidFill>
              </a:rPr>
              <a:t>HOW TO LAY OUT FULL WIDTH TEXT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USE THESE MARGINS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NOTE 12PT SPACING BETWEEN PARAGRAPHS</a:t>
            </a:r>
          </a:p>
        </p:txBody>
      </p:sp>
    </p:spTree>
    <p:extLst>
      <p:ext uri="{BB962C8B-B14F-4D97-AF65-F5344CB8AC3E}">
        <p14:creationId xmlns:p14="http://schemas.microsoft.com/office/powerpoint/2010/main" val="2382246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7F484C3-1565-5349-B2FD-B08DD8823591}"/>
              </a:ext>
            </a:extLst>
          </p:cNvPr>
          <p:cNvSpPr/>
          <p:nvPr/>
        </p:nvSpPr>
        <p:spPr>
          <a:xfrm>
            <a:off x="0" y="1028700"/>
            <a:ext cx="12192000" cy="53239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621202-50B5-9848-AF34-4E75BA9858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F59A3D-D18B-F042-9365-58237C4F2B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8A6F2-90E8-F64A-A348-4CAEA48504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BC51F74-861A-4C40-95FB-417306EC50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EA59C8-72FC-BF46-B587-9602B5A8B499}"/>
              </a:ext>
            </a:extLst>
          </p:cNvPr>
          <p:cNvSpPr txBox="1"/>
          <p:nvPr/>
        </p:nvSpPr>
        <p:spPr>
          <a:xfrm>
            <a:off x="372088" y="1387928"/>
            <a:ext cx="5572005" cy="412030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sz="1400" b="1" dirty="0">
                <a:ea typeface="+mn-lt"/>
                <a:cs typeface="+mn-lt"/>
              </a:rPr>
              <a:t>Franklin Gothic Book 14 Bold Header or Main Idea. </a:t>
            </a:r>
            <a:r>
              <a:rPr lang="en-US" sz="1400" dirty="0">
                <a:ea typeface="+mn-lt"/>
                <a:cs typeface="+mn-lt"/>
              </a:rPr>
              <a:t>Duis </a:t>
            </a:r>
            <a:r>
              <a:rPr lang="en-US" sz="1400" dirty="0" err="1">
                <a:ea typeface="+mn-lt"/>
                <a:cs typeface="+mn-lt"/>
              </a:rPr>
              <a:t>facilisis</a:t>
            </a:r>
            <a:r>
              <a:rPr lang="en-US" sz="1400" dirty="0">
                <a:ea typeface="+mn-lt"/>
                <a:cs typeface="+mn-lt"/>
              </a:rPr>
              <a:t>, </a:t>
            </a:r>
            <a:r>
              <a:rPr lang="en-US" sz="1400" dirty="0" err="1">
                <a:ea typeface="+mn-lt"/>
                <a:cs typeface="+mn-lt"/>
              </a:rPr>
              <a:t>sapien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nec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gesta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interdum</a:t>
            </a:r>
            <a:r>
              <a:rPr lang="en-US" sz="1400" dirty="0">
                <a:ea typeface="+mn-lt"/>
                <a:cs typeface="+mn-lt"/>
              </a:rPr>
              <a:t>, </a:t>
            </a:r>
            <a:r>
              <a:rPr lang="en-US" sz="1400" dirty="0" err="1">
                <a:ea typeface="+mn-lt"/>
                <a:cs typeface="+mn-lt"/>
              </a:rPr>
              <a:t>lect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justo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rutru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purus</a:t>
            </a:r>
            <a:r>
              <a:rPr lang="en-US" sz="1400" dirty="0">
                <a:ea typeface="+mn-lt"/>
                <a:cs typeface="+mn-lt"/>
              </a:rPr>
              <a:t>, ac </a:t>
            </a:r>
            <a:r>
              <a:rPr lang="en-US" sz="1400" dirty="0" err="1">
                <a:ea typeface="+mn-lt"/>
                <a:cs typeface="+mn-lt"/>
              </a:rPr>
              <a:t>ultricie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ro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quam</a:t>
            </a:r>
            <a:r>
              <a:rPr lang="en-US" sz="1400" dirty="0">
                <a:ea typeface="+mn-lt"/>
                <a:cs typeface="+mn-lt"/>
              </a:rPr>
              <a:t> sed </a:t>
            </a:r>
            <a:r>
              <a:rPr lang="en-US" sz="1400" dirty="0" err="1">
                <a:ea typeface="+mn-lt"/>
                <a:cs typeface="+mn-lt"/>
              </a:rPr>
              <a:t>lectus</a:t>
            </a:r>
            <a:r>
              <a:rPr lang="en-US" sz="1400" dirty="0">
                <a:ea typeface="+mn-lt"/>
                <a:cs typeface="+mn-lt"/>
              </a:rPr>
              <a:t>. Vestibulum </a:t>
            </a:r>
            <a:r>
              <a:rPr lang="en-US" sz="1400" dirty="0" err="1">
                <a:ea typeface="+mn-lt"/>
                <a:cs typeface="+mn-lt"/>
              </a:rPr>
              <a:t>finib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ra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u</a:t>
            </a:r>
            <a:r>
              <a:rPr lang="en-US" sz="1400" dirty="0">
                <a:ea typeface="+mn-lt"/>
                <a:cs typeface="+mn-lt"/>
              </a:rPr>
              <a:t> diam </a:t>
            </a:r>
            <a:r>
              <a:rPr lang="en-US" sz="1400" dirty="0" err="1">
                <a:ea typeface="+mn-lt"/>
                <a:cs typeface="+mn-lt"/>
              </a:rPr>
              <a:t>molestie</a:t>
            </a:r>
            <a:r>
              <a:rPr lang="en-US" sz="1400" dirty="0">
                <a:ea typeface="+mn-lt"/>
                <a:cs typeface="+mn-lt"/>
              </a:rPr>
              <a:t>, et </a:t>
            </a:r>
            <a:r>
              <a:rPr lang="en-US" sz="1400" dirty="0" err="1">
                <a:ea typeface="+mn-lt"/>
                <a:cs typeface="+mn-lt"/>
              </a:rPr>
              <a:t>finib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purus</a:t>
            </a:r>
            <a:r>
              <a:rPr lang="en-US" sz="1400" dirty="0">
                <a:ea typeface="+mn-lt"/>
                <a:cs typeface="+mn-lt"/>
              </a:rPr>
              <a:t> semper. </a:t>
            </a:r>
            <a:r>
              <a:rPr lang="en-US" sz="1400" dirty="0" err="1">
                <a:ea typeface="+mn-lt"/>
                <a:cs typeface="+mn-lt"/>
              </a:rPr>
              <a:t>Pellentesque</a:t>
            </a:r>
            <a:r>
              <a:rPr lang="en-US" sz="1400" dirty="0">
                <a:ea typeface="+mn-lt"/>
                <a:cs typeface="+mn-lt"/>
              </a:rPr>
              <a:t> id </a:t>
            </a:r>
            <a:r>
              <a:rPr lang="en-US" sz="1400" dirty="0" err="1">
                <a:ea typeface="+mn-lt"/>
                <a:cs typeface="+mn-lt"/>
              </a:rPr>
              <a:t>venenatis</a:t>
            </a:r>
            <a:r>
              <a:rPr lang="en-US" sz="1400" dirty="0">
                <a:ea typeface="+mn-lt"/>
                <a:cs typeface="+mn-lt"/>
              </a:rPr>
              <a:t> ante, </a:t>
            </a:r>
            <a:r>
              <a:rPr lang="en-US" sz="1400" dirty="0" err="1">
                <a:ea typeface="+mn-lt"/>
                <a:cs typeface="+mn-lt"/>
              </a:rPr>
              <a:t>eu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blandit</a:t>
            </a:r>
            <a:r>
              <a:rPr lang="en-US" sz="1400" dirty="0">
                <a:ea typeface="+mn-lt"/>
                <a:cs typeface="+mn-lt"/>
              </a:rPr>
              <a:t> libero. </a:t>
            </a:r>
            <a:r>
              <a:rPr lang="en-US" sz="1400" dirty="0" err="1">
                <a:ea typeface="+mn-lt"/>
                <a:cs typeface="+mn-lt"/>
              </a:rPr>
              <a:t>Pellentesque</a:t>
            </a:r>
            <a:r>
              <a:rPr lang="en-US" sz="1400" dirty="0">
                <a:ea typeface="+mn-lt"/>
                <a:cs typeface="+mn-lt"/>
              </a:rPr>
              <a:t> pulvinar </a:t>
            </a:r>
            <a:r>
              <a:rPr lang="en-US" sz="1400" dirty="0" err="1">
                <a:ea typeface="+mn-lt"/>
                <a:cs typeface="+mn-lt"/>
              </a:rPr>
              <a:t>venenat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mauris</a:t>
            </a:r>
            <a:r>
              <a:rPr lang="en-US" sz="1400" dirty="0">
                <a:ea typeface="+mn-lt"/>
                <a:cs typeface="+mn-lt"/>
              </a:rPr>
              <a:t>, ac </a:t>
            </a:r>
            <a:r>
              <a:rPr lang="en-US" sz="1400" dirty="0" err="1">
                <a:ea typeface="+mn-lt"/>
                <a:cs typeface="+mn-lt"/>
              </a:rPr>
              <a:t>posuer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justo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Donec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interdu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suscipi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pretium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Phasell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quis</a:t>
            </a:r>
            <a:r>
              <a:rPr lang="en-US" sz="1400" dirty="0">
                <a:ea typeface="+mn-lt"/>
                <a:cs typeface="+mn-lt"/>
              </a:rPr>
              <a:t> nisi </a:t>
            </a:r>
            <a:r>
              <a:rPr lang="en-US" sz="1400" dirty="0" err="1">
                <a:ea typeface="+mn-lt"/>
                <a:cs typeface="+mn-lt"/>
              </a:rPr>
              <a:t>u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sapien</a:t>
            </a:r>
            <a:r>
              <a:rPr lang="en-US" sz="1400" dirty="0">
                <a:ea typeface="+mn-lt"/>
                <a:cs typeface="+mn-lt"/>
              </a:rPr>
              <a:t> fermentum </a:t>
            </a:r>
            <a:r>
              <a:rPr lang="en-US" sz="1400" dirty="0" err="1">
                <a:ea typeface="+mn-lt"/>
                <a:cs typeface="+mn-lt"/>
              </a:rPr>
              <a:t>ullamcorpe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u</a:t>
            </a:r>
            <a:r>
              <a:rPr lang="en-US" sz="1400" dirty="0">
                <a:ea typeface="+mn-lt"/>
                <a:cs typeface="+mn-lt"/>
              </a:rPr>
              <a:t> ac </a:t>
            </a:r>
            <a:r>
              <a:rPr lang="en-US" sz="1400" dirty="0" err="1">
                <a:ea typeface="+mn-lt"/>
                <a:cs typeface="+mn-lt"/>
              </a:rPr>
              <a:t>neque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Phasellus</a:t>
            </a:r>
            <a:r>
              <a:rPr lang="en-US" sz="1400" dirty="0">
                <a:ea typeface="+mn-lt"/>
                <a:cs typeface="+mn-lt"/>
              </a:rPr>
              <a:t> a </a:t>
            </a:r>
            <a:r>
              <a:rPr lang="en-US" sz="1400" dirty="0" err="1">
                <a:ea typeface="+mn-lt"/>
                <a:cs typeface="+mn-lt"/>
              </a:rPr>
              <a:t>placera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justo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Suspendisse</a:t>
            </a:r>
            <a:r>
              <a:rPr lang="en-US" sz="1400" dirty="0">
                <a:ea typeface="+mn-lt"/>
                <a:cs typeface="+mn-lt"/>
              </a:rPr>
              <a:t> vel </a:t>
            </a:r>
            <a:r>
              <a:rPr lang="en-US" sz="1400" dirty="0" err="1">
                <a:ea typeface="+mn-lt"/>
                <a:cs typeface="+mn-lt"/>
              </a:rPr>
              <a:t>enim</a:t>
            </a:r>
            <a:r>
              <a:rPr lang="en-US" sz="1400" dirty="0">
                <a:ea typeface="+mn-lt"/>
                <a:cs typeface="+mn-lt"/>
              </a:rPr>
              <a:t> fermentum, </a:t>
            </a:r>
            <a:r>
              <a:rPr lang="en-US" sz="1400" dirty="0" err="1">
                <a:ea typeface="+mn-lt"/>
                <a:cs typeface="+mn-lt"/>
              </a:rPr>
              <a:t>bibendu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urna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u</a:t>
            </a:r>
            <a:r>
              <a:rPr lang="en-US" sz="1400" dirty="0">
                <a:ea typeface="+mn-lt"/>
                <a:cs typeface="+mn-lt"/>
              </a:rPr>
              <a:t>, </a:t>
            </a:r>
            <a:r>
              <a:rPr lang="en-US" sz="1400" dirty="0" err="1">
                <a:ea typeface="+mn-lt"/>
                <a:cs typeface="+mn-lt"/>
              </a:rPr>
              <a:t>lobortis</a:t>
            </a:r>
            <a:r>
              <a:rPr lang="en-US" sz="1400" dirty="0">
                <a:ea typeface="+mn-lt"/>
                <a:cs typeface="+mn-lt"/>
              </a:rPr>
              <a:t> libero. </a:t>
            </a:r>
            <a:r>
              <a:rPr lang="en-US" sz="1400" dirty="0" err="1">
                <a:ea typeface="+mn-lt"/>
                <a:cs typeface="+mn-lt"/>
              </a:rPr>
              <a:t>Maur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u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li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risus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Nulla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tempo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dignissim</a:t>
            </a:r>
            <a:r>
              <a:rPr lang="en-US" sz="1400" dirty="0">
                <a:ea typeface="+mn-lt"/>
                <a:cs typeface="+mn-lt"/>
              </a:rPr>
              <a:t> lorem, id </a:t>
            </a:r>
            <a:r>
              <a:rPr lang="en-US" sz="1400" dirty="0" err="1">
                <a:ea typeface="+mn-lt"/>
                <a:cs typeface="+mn-lt"/>
              </a:rPr>
              <a:t>volutpa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veli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lobortis</a:t>
            </a:r>
            <a:r>
              <a:rPr lang="en-US" sz="1400" dirty="0">
                <a:ea typeface="+mn-lt"/>
                <a:cs typeface="+mn-lt"/>
              </a:rPr>
              <a:t> et.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sz="1400" dirty="0" err="1">
                <a:ea typeface="+mn-lt"/>
                <a:cs typeface="+mn-lt"/>
              </a:rPr>
              <a:t>Fusce</a:t>
            </a:r>
            <a:r>
              <a:rPr lang="en-US" sz="1400" dirty="0">
                <a:ea typeface="+mn-lt"/>
                <a:cs typeface="+mn-lt"/>
              </a:rPr>
              <a:t> sed semper mi. </a:t>
            </a:r>
            <a:r>
              <a:rPr lang="en-US" sz="1400" dirty="0" err="1">
                <a:ea typeface="+mn-lt"/>
                <a:cs typeface="+mn-lt"/>
              </a:rPr>
              <a:t>Etiam</a:t>
            </a:r>
            <a:r>
              <a:rPr lang="en-US" sz="1400" dirty="0">
                <a:ea typeface="+mn-lt"/>
                <a:cs typeface="+mn-lt"/>
              </a:rPr>
              <a:t> at dui ac </a:t>
            </a:r>
            <a:r>
              <a:rPr lang="en-US" sz="1400" dirty="0" err="1">
                <a:ea typeface="+mn-lt"/>
                <a:cs typeface="+mn-lt"/>
              </a:rPr>
              <a:t>lectus</a:t>
            </a:r>
            <a:r>
              <a:rPr lang="en-US" sz="1400" dirty="0">
                <a:ea typeface="+mn-lt"/>
                <a:cs typeface="+mn-lt"/>
              </a:rPr>
              <a:t> porta </a:t>
            </a:r>
            <a:r>
              <a:rPr lang="en-US" sz="1400" dirty="0" err="1">
                <a:ea typeface="+mn-lt"/>
                <a:cs typeface="+mn-lt"/>
              </a:rPr>
              <a:t>luctus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Curabitu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tincidunt</a:t>
            </a:r>
            <a:r>
              <a:rPr lang="en-US" sz="1400" dirty="0">
                <a:ea typeface="+mn-lt"/>
                <a:cs typeface="+mn-lt"/>
              </a:rPr>
              <a:t> dolor non </a:t>
            </a:r>
            <a:r>
              <a:rPr lang="en-US" sz="1400" dirty="0" err="1">
                <a:ea typeface="+mn-lt"/>
                <a:cs typeface="+mn-lt"/>
              </a:rPr>
              <a:t>fel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lementu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rutrum</a:t>
            </a:r>
            <a:r>
              <a:rPr lang="en-US" sz="1400" dirty="0">
                <a:ea typeface="+mn-lt"/>
                <a:cs typeface="+mn-lt"/>
              </a:rPr>
              <a:t>. Morbi </a:t>
            </a:r>
            <a:r>
              <a:rPr lang="en-US" sz="1400" dirty="0" err="1">
                <a:ea typeface="+mn-lt"/>
                <a:cs typeface="+mn-lt"/>
              </a:rPr>
              <a:t>pellentesqu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porttito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orci</a:t>
            </a:r>
            <a:r>
              <a:rPr lang="en-US" sz="1400" dirty="0">
                <a:ea typeface="+mn-lt"/>
                <a:cs typeface="+mn-lt"/>
              </a:rPr>
              <a:t>, id </a:t>
            </a:r>
            <a:r>
              <a:rPr lang="en-US" sz="1400" dirty="0" err="1">
                <a:ea typeface="+mn-lt"/>
                <a:cs typeface="+mn-lt"/>
              </a:rPr>
              <a:t>pellentesque</a:t>
            </a:r>
            <a:r>
              <a:rPr lang="en-US" sz="1400" dirty="0">
                <a:ea typeface="+mn-lt"/>
                <a:cs typeface="+mn-lt"/>
              </a:rPr>
              <a:t> libero </a:t>
            </a:r>
            <a:r>
              <a:rPr lang="en-US" sz="1400" dirty="0" err="1">
                <a:ea typeface="+mn-lt"/>
                <a:cs typeface="+mn-lt"/>
              </a:rPr>
              <a:t>pellentesqu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quis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Nulla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malesuada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mauris</a:t>
            </a:r>
            <a:r>
              <a:rPr lang="en-US" sz="1400" dirty="0">
                <a:ea typeface="+mn-lt"/>
                <a:cs typeface="+mn-lt"/>
              </a:rPr>
              <a:t> vel </a:t>
            </a:r>
            <a:r>
              <a:rPr lang="en-US" sz="1400" dirty="0" err="1">
                <a:ea typeface="+mn-lt"/>
                <a:cs typeface="+mn-lt"/>
              </a:rPr>
              <a:t>nisl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hendreri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dapibus</a:t>
            </a:r>
            <a:r>
              <a:rPr lang="en-US" sz="1400" dirty="0">
                <a:ea typeface="+mn-lt"/>
                <a:cs typeface="+mn-lt"/>
              </a:rPr>
              <a:t>. Vestibulum ante ipsum </a:t>
            </a:r>
            <a:r>
              <a:rPr lang="en-US" sz="1400" dirty="0" err="1">
                <a:ea typeface="+mn-lt"/>
                <a:cs typeface="+mn-lt"/>
              </a:rPr>
              <a:t>primis</a:t>
            </a:r>
            <a:r>
              <a:rPr lang="en-US" sz="1400" dirty="0">
                <a:ea typeface="+mn-lt"/>
                <a:cs typeface="+mn-lt"/>
              </a:rPr>
              <a:t> in </a:t>
            </a:r>
            <a:r>
              <a:rPr lang="en-US" sz="1400" dirty="0" err="1">
                <a:ea typeface="+mn-lt"/>
                <a:cs typeface="+mn-lt"/>
              </a:rPr>
              <a:t>faucib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orci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luctus</a:t>
            </a:r>
            <a:r>
              <a:rPr lang="en-US" sz="1400" dirty="0">
                <a:ea typeface="+mn-lt"/>
                <a:cs typeface="+mn-lt"/>
              </a:rPr>
              <a:t> et </a:t>
            </a:r>
            <a:r>
              <a:rPr lang="en-US" sz="1400" dirty="0" err="1">
                <a:ea typeface="+mn-lt"/>
                <a:cs typeface="+mn-lt"/>
              </a:rPr>
              <a:t>ultrice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posuer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cubilia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Curae</a:t>
            </a:r>
            <a:r>
              <a:rPr lang="en-US" sz="1400" dirty="0">
                <a:ea typeface="+mn-lt"/>
                <a:cs typeface="+mn-lt"/>
              </a:rPr>
              <a:t>; Integer vitae libero </a:t>
            </a:r>
            <a:r>
              <a:rPr lang="en-US" sz="1400" dirty="0" err="1">
                <a:ea typeface="+mn-lt"/>
                <a:cs typeface="+mn-lt"/>
              </a:rPr>
              <a:t>mollis</a:t>
            </a:r>
            <a:r>
              <a:rPr lang="en-US" sz="1400" dirty="0">
                <a:ea typeface="+mn-lt"/>
                <a:cs typeface="+mn-lt"/>
              </a:rPr>
              <a:t>, </a:t>
            </a:r>
            <a:r>
              <a:rPr lang="en-US" sz="1400" dirty="0" err="1">
                <a:ea typeface="+mn-lt"/>
                <a:cs typeface="+mn-lt"/>
              </a:rPr>
              <a:t>malesuada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massa</a:t>
            </a:r>
            <a:r>
              <a:rPr lang="en-US" sz="1400" dirty="0">
                <a:ea typeface="+mn-lt"/>
                <a:cs typeface="+mn-lt"/>
              </a:rPr>
              <a:t> in, </a:t>
            </a:r>
            <a:r>
              <a:rPr lang="en-US" sz="1400" dirty="0" err="1">
                <a:ea typeface="+mn-lt"/>
                <a:cs typeface="+mn-lt"/>
              </a:rPr>
              <a:t>sagitt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quam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Nulla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facilisi</a:t>
            </a:r>
            <a:r>
              <a:rPr lang="en-US" sz="1400" dirty="0">
                <a:ea typeface="+mn-lt"/>
                <a:cs typeface="+mn-lt"/>
              </a:rPr>
              <a:t>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3EC656-FA4F-4845-BBDC-21FB70EF3CFF}"/>
              </a:ext>
            </a:extLst>
          </p:cNvPr>
          <p:cNvSpPr txBox="1"/>
          <p:nvPr/>
        </p:nvSpPr>
        <p:spPr>
          <a:xfrm>
            <a:off x="6251217" y="1387928"/>
            <a:ext cx="5568696" cy="435939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sz="1400" dirty="0" err="1">
                <a:ea typeface="+mn-lt"/>
                <a:cs typeface="+mn-lt"/>
              </a:rPr>
              <a:t>Nullam</a:t>
            </a:r>
            <a:r>
              <a:rPr lang="en-US" sz="1400" dirty="0">
                <a:ea typeface="+mn-lt"/>
                <a:cs typeface="+mn-lt"/>
              </a:rPr>
              <a:t> at </a:t>
            </a:r>
            <a:r>
              <a:rPr lang="en-US" sz="1400" dirty="0" err="1">
                <a:ea typeface="+mn-lt"/>
                <a:cs typeface="+mn-lt"/>
              </a:rPr>
              <a:t>ultricie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nisl</a:t>
            </a:r>
            <a:r>
              <a:rPr lang="en-US" sz="1400" dirty="0">
                <a:ea typeface="+mn-lt"/>
                <a:cs typeface="+mn-lt"/>
              </a:rPr>
              <a:t>, </a:t>
            </a:r>
            <a:r>
              <a:rPr lang="en-US" sz="1400" dirty="0" err="1">
                <a:ea typeface="+mn-lt"/>
                <a:cs typeface="+mn-lt"/>
              </a:rPr>
              <a:t>nec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tempo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augue</a:t>
            </a:r>
            <a:r>
              <a:rPr lang="en-US" sz="1400" dirty="0">
                <a:ea typeface="+mn-lt"/>
                <a:cs typeface="+mn-lt"/>
              </a:rPr>
              <a:t>. Ut </a:t>
            </a:r>
            <a:r>
              <a:rPr lang="en-US" sz="1400" dirty="0" err="1">
                <a:ea typeface="+mn-lt"/>
                <a:cs typeface="+mn-lt"/>
              </a:rPr>
              <a:t>pellentesqu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bibendum</a:t>
            </a:r>
            <a:r>
              <a:rPr lang="en-US" sz="1400" dirty="0">
                <a:ea typeface="+mn-lt"/>
                <a:cs typeface="+mn-lt"/>
              </a:rPr>
              <a:t> gravida. </a:t>
            </a:r>
            <a:r>
              <a:rPr lang="en-US" sz="1400" dirty="0" err="1">
                <a:ea typeface="+mn-lt"/>
                <a:cs typeface="+mn-lt"/>
              </a:rPr>
              <a:t>Curabitu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sollicitudin</a:t>
            </a:r>
            <a:r>
              <a:rPr lang="en-US" sz="1400" dirty="0">
                <a:ea typeface="+mn-lt"/>
                <a:cs typeface="+mn-lt"/>
              </a:rPr>
              <a:t> vitae </a:t>
            </a:r>
            <a:r>
              <a:rPr lang="en-US" sz="1400" dirty="0" err="1">
                <a:ea typeface="+mn-lt"/>
                <a:cs typeface="+mn-lt"/>
              </a:rPr>
              <a:t>sem</a:t>
            </a:r>
            <a:r>
              <a:rPr lang="en-US" sz="1400" dirty="0">
                <a:ea typeface="+mn-lt"/>
                <a:cs typeface="+mn-lt"/>
              </a:rPr>
              <a:t> non </a:t>
            </a:r>
            <a:r>
              <a:rPr lang="en-US" sz="1400" dirty="0" err="1">
                <a:ea typeface="+mn-lt"/>
                <a:cs typeface="+mn-lt"/>
              </a:rPr>
              <a:t>blandit</a:t>
            </a:r>
            <a:r>
              <a:rPr lang="en-US" sz="1400" dirty="0">
                <a:ea typeface="+mn-lt"/>
                <a:cs typeface="+mn-lt"/>
              </a:rPr>
              <a:t>. Integer </a:t>
            </a:r>
            <a:r>
              <a:rPr lang="en-US" sz="1400" dirty="0" err="1">
                <a:ea typeface="+mn-lt"/>
                <a:cs typeface="+mn-lt"/>
              </a:rPr>
              <a:t>eu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nunc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justo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Aenean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qu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velit</a:t>
            </a:r>
            <a:r>
              <a:rPr lang="en-US" sz="1400" dirty="0">
                <a:ea typeface="+mn-lt"/>
                <a:cs typeface="+mn-lt"/>
              </a:rPr>
              <a:t> sit </a:t>
            </a:r>
            <a:r>
              <a:rPr lang="en-US" sz="1400" dirty="0" err="1">
                <a:ea typeface="+mn-lt"/>
                <a:cs typeface="+mn-lt"/>
              </a:rPr>
              <a:t>ame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ni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lobort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condimentu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u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quis</a:t>
            </a:r>
            <a:r>
              <a:rPr lang="en-US" sz="1400" dirty="0">
                <a:ea typeface="+mn-lt"/>
                <a:cs typeface="+mn-lt"/>
              </a:rPr>
              <a:t> ligula. </a:t>
            </a:r>
            <a:r>
              <a:rPr lang="en-US" sz="1400" dirty="0" err="1">
                <a:ea typeface="+mn-lt"/>
                <a:cs typeface="+mn-lt"/>
              </a:rPr>
              <a:t>Nulla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vulputate</a:t>
            </a:r>
            <a:r>
              <a:rPr lang="en-US" sz="1400" dirty="0">
                <a:ea typeface="+mn-lt"/>
                <a:cs typeface="+mn-lt"/>
              </a:rPr>
              <a:t> pharetra diam </a:t>
            </a:r>
            <a:r>
              <a:rPr lang="en-US" sz="1400" dirty="0" err="1">
                <a:ea typeface="+mn-lt"/>
                <a:cs typeface="+mn-lt"/>
              </a:rPr>
              <a:t>interdum</a:t>
            </a:r>
            <a:r>
              <a:rPr lang="en-US" sz="1400" dirty="0">
                <a:ea typeface="+mn-lt"/>
                <a:cs typeface="+mn-lt"/>
              </a:rPr>
              <a:t> cursus. </a:t>
            </a:r>
            <a:r>
              <a:rPr lang="en-US" sz="1400" dirty="0" err="1">
                <a:ea typeface="+mn-lt"/>
                <a:cs typeface="+mn-lt"/>
              </a:rPr>
              <a:t>Proin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vehicula</a:t>
            </a:r>
            <a:r>
              <a:rPr lang="en-US" sz="1400" dirty="0">
                <a:ea typeface="+mn-lt"/>
                <a:cs typeface="+mn-lt"/>
              </a:rPr>
              <a:t> vitae </a:t>
            </a:r>
            <a:r>
              <a:rPr lang="en-US" sz="1400" dirty="0" err="1">
                <a:ea typeface="+mn-lt"/>
                <a:cs typeface="+mn-lt"/>
              </a:rPr>
              <a:t>sapien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ge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imperdiet</a:t>
            </a:r>
            <a:r>
              <a:rPr lang="en-US" sz="1400" dirty="0">
                <a:ea typeface="+mn-lt"/>
                <a:cs typeface="+mn-lt"/>
              </a:rPr>
              <a:t>.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sz="1400" dirty="0">
                <a:ea typeface="+mn-lt"/>
                <a:cs typeface="+mn-lt"/>
              </a:rPr>
              <a:t>Vestibulum ac </a:t>
            </a:r>
            <a:r>
              <a:rPr lang="en-US" sz="1400" dirty="0" err="1">
                <a:ea typeface="+mn-lt"/>
                <a:cs typeface="+mn-lt"/>
              </a:rPr>
              <a:t>commodo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odio</a:t>
            </a:r>
            <a:r>
              <a:rPr lang="en-US" sz="1400" dirty="0">
                <a:ea typeface="+mn-lt"/>
                <a:cs typeface="+mn-lt"/>
              </a:rPr>
              <a:t>. Integer </a:t>
            </a:r>
            <a:r>
              <a:rPr lang="en-US" sz="1400" dirty="0" err="1">
                <a:ea typeface="+mn-lt"/>
                <a:cs typeface="+mn-lt"/>
              </a:rPr>
              <a:t>aliqua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sapien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mattis</a:t>
            </a:r>
            <a:r>
              <a:rPr lang="en-US" sz="1400" dirty="0">
                <a:ea typeface="+mn-lt"/>
                <a:cs typeface="+mn-lt"/>
              </a:rPr>
              <a:t>, maximus </a:t>
            </a:r>
            <a:r>
              <a:rPr lang="en-US" sz="1400" dirty="0" err="1">
                <a:ea typeface="+mn-lt"/>
                <a:cs typeface="+mn-lt"/>
              </a:rPr>
              <a:t>nibh</a:t>
            </a:r>
            <a:r>
              <a:rPr lang="en-US" sz="1400" dirty="0">
                <a:ea typeface="+mn-lt"/>
                <a:cs typeface="+mn-lt"/>
              </a:rPr>
              <a:t> vel, </a:t>
            </a:r>
            <a:r>
              <a:rPr lang="en-US" sz="1400" dirty="0" err="1">
                <a:ea typeface="+mn-lt"/>
                <a:cs typeface="+mn-lt"/>
              </a:rPr>
              <a:t>efficitu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nim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Aliquam</a:t>
            </a:r>
            <a:r>
              <a:rPr lang="en-US" sz="1400" dirty="0">
                <a:ea typeface="+mn-lt"/>
                <a:cs typeface="+mn-lt"/>
              </a:rPr>
              <a:t> vel </a:t>
            </a:r>
            <a:r>
              <a:rPr lang="en-US" sz="1400" dirty="0" err="1">
                <a:ea typeface="+mn-lt"/>
                <a:cs typeface="+mn-lt"/>
              </a:rPr>
              <a:t>tristiqu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tellus</a:t>
            </a:r>
            <a:r>
              <a:rPr lang="en-US" sz="1400" dirty="0">
                <a:ea typeface="+mn-lt"/>
                <a:cs typeface="+mn-lt"/>
              </a:rPr>
              <a:t>. Ut </a:t>
            </a:r>
            <a:r>
              <a:rPr lang="en-US" sz="1400" dirty="0" err="1">
                <a:ea typeface="+mn-lt"/>
                <a:cs typeface="+mn-lt"/>
              </a:rPr>
              <a:t>ero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neque</a:t>
            </a:r>
            <a:r>
              <a:rPr lang="en-US" sz="1400" dirty="0">
                <a:ea typeface="+mn-lt"/>
                <a:cs typeface="+mn-lt"/>
              </a:rPr>
              <a:t>, </a:t>
            </a:r>
            <a:r>
              <a:rPr lang="en-US" sz="1400" dirty="0" err="1">
                <a:ea typeface="+mn-lt"/>
                <a:cs typeface="+mn-lt"/>
              </a:rPr>
              <a:t>bibendum</a:t>
            </a:r>
            <a:r>
              <a:rPr lang="en-US" sz="1400" dirty="0">
                <a:ea typeface="+mn-lt"/>
                <a:cs typeface="+mn-lt"/>
              </a:rPr>
              <a:t> vel </a:t>
            </a:r>
            <a:r>
              <a:rPr lang="en-US" sz="1400" dirty="0" err="1">
                <a:ea typeface="+mn-lt"/>
                <a:cs typeface="+mn-lt"/>
              </a:rPr>
              <a:t>finibus</a:t>
            </a:r>
            <a:r>
              <a:rPr lang="en-US" sz="1400" dirty="0">
                <a:ea typeface="+mn-lt"/>
                <a:cs typeface="+mn-lt"/>
              </a:rPr>
              <a:t> at, </a:t>
            </a:r>
            <a:r>
              <a:rPr lang="en-US" sz="1400" dirty="0" err="1">
                <a:ea typeface="+mn-lt"/>
                <a:cs typeface="+mn-lt"/>
              </a:rPr>
              <a:t>hendreri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nec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sapien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Proin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ullamcorpe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ultricie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velit</a:t>
            </a:r>
            <a:r>
              <a:rPr lang="en-US" sz="1400" dirty="0">
                <a:ea typeface="+mn-lt"/>
                <a:cs typeface="+mn-lt"/>
              </a:rPr>
              <a:t>. In et </a:t>
            </a:r>
            <a:r>
              <a:rPr lang="en-US" sz="1400" dirty="0" err="1">
                <a:ea typeface="+mn-lt"/>
                <a:cs typeface="+mn-lt"/>
              </a:rPr>
              <a:t>augue</a:t>
            </a:r>
            <a:r>
              <a:rPr lang="en-US" sz="1400" dirty="0">
                <a:ea typeface="+mn-lt"/>
                <a:cs typeface="+mn-lt"/>
              </a:rPr>
              <a:t> a lorem </a:t>
            </a:r>
            <a:r>
              <a:rPr lang="en-US" sz="1400" dirty="0" err="1">
                <a:ea typeface="+mn-lt"/>
                <a:cs typeface="+mn-lt"/>
              </a:rPr>
              <a:t>sagitt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accumsan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Pellentesque</a:t>
            </a:r>
            <a:r>
              <a:rPr lang="en-US" sz="1400" dirty="0">
                <a:ea typeface="+mn-lt"/>
                <a:cs typeface="+mn-lt"/>
              </a:rPr>
              <a:t> habitant </a:t>
            </a:r>
            <a:r>
              <a:rPr lang="en-US" sz="1400" dirty="0" err="1">
                <a:ea typeface="+mn-lt"/>
                <a:cs typeface="+mn-lt"/>
              </a:rPr>
              <a:t>morbi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tristiqu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senectus</a:t>
            </a:r>
            <a:r>
              <a:rPr lang="en-US" sz="1400" dirty="0">
                <a:ea typeface="+mn-lt"/>
                <a:cs typeface="+mn-lt"/>
              </a:rPr>
              <a:t> et </a:t>
            </a:r>
            <a:r>
              <a:rPr lang="en-US" sz="1400" dirty="0" err="1">
                <a:ea typeface="+mn-lt"/>
                <a:cs typeface="+mn-lt"/>
              </a:rPr>
              <a:t>netus</a:t>
            </a:r>
            <a:r>
              <a:rPr lang="en-US" sz="1400" dirty="0">
                <a:ea typeface="+mn-lt"/>
                <a:cs typeface="+mn-lt"/>
              </a:rPr>
              <a:t> et </a:t>
            </a:r>
            <a:r>
              <a:rPr lang="en-US" sz="1400" dirty="0" err="1">
                <a:ea typeface="+mn-lt"/>
                <a:cs typeface="+mn-lt"/>
              </a:rPr>
              <a:t>malesuada</a:t>
            </a:r>
            <a:r>
              <a:rPr lang="en-US" sz="1400" dirty="0">
                <a:ea typeface="+mn-lt"/>
                <a:cs typeface="+mn-lt"/>
              </a:rPr>
              <a:t> fames ac </a:t>
            </a:r>
            <a:r>
              <a:rPr lang="en-US" sz="1400" dirty="0" err="1">
                <a:ea typeface="+mn-lt"/>
                <a:cs typeface="+mn-lt"/>
              </a:rPr>
              <a:t>turp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gestas</a:t>
            </a:r>
            <a:r>
              <a:rPr lang="en-US" sz="1400" dirty="0">
                <a:ea typeface="+mn-lt"/>
                <a:cs typeface="+mn-lt"/>
              </a:rPr>
              <a:t>. Integer id </a:t>
            </a:r>
            <a:r>
              <a:rPr lang="en-US" sz="1400" dirty="0" err="1">
                <a:ea typeface="+mn-lt"/>
                <a:cs typeface="+mn-lt"/>
              </a:rPr>
              <a:t>efficitu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massa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Orci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vari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natoqu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penatibus</a:t>
            </a:r>
            <a:r>
              <a:rPr lang="en-US" sz="1400" dirty="0">
                <a:ea typeface="+mn-lt"/>
                <a:cs typeface="+mn-lt"/>
              </a:rPr>
              <a:t> et </a:t>
            </a:r>
            <a:r>
              <a:rPr lang="en-US" sz="1400" dirty="0" err="1">
                <a:ea typeface="+mn-lt"/>
                <a:cs typeface="+mn-lt"/>
              </a:rPr>
              <a:t>magnis</a:t>
            </a:r>
            <a:r>
              <a:rPr lang="en-US" sz="1400" dirty="0">
                <a:ea typeface="+mn-lt"/>
                <a:cs typeface="+mn-lt"/>
              </a:rPr>
              <a:t> dis parturient </a:t>
            </a:r>
            <a:r>
              <a:rPr lang="en-US" sz="1400" dirty="0" err="1">
                <a:ea typeface="+mn-lt"/>
                <a:cs typeface="+mn-lt"/>
              </a:rPr>
              <a:t>montes</a:t>
            </a:r>
            <a:r>
              <a:rPr lang="en-US" sz="1400" dirty="0">
                <a:ea typeface="+mn-lt"/>
                <a:cs typeface="+mn-lt"/>
              </a:rPr>
              <a:t>, </a:t>
            </a:r>
            <a:r>
              <a:rPr lang="en-US" sz="1400" dirty="0" err="1">
                <a:ea typeface="+mn-lt"/>
                <a:cs typeface="+mn-lt"/>
              </a:rPr>
              <a:t>nascetu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ridiculus</a:t>
            </a:r>
            <a:r>
              <a:rPr lang="en-US" sz="1400" dirty="0">
                <a:ea typeface="+mn-lt"/>
                <a:cs typeface="+mn-lt"/>
              </a:rPr>
              <a:t> mus. </a:t>
            </a:r>
            <a:r>
              <a:rPr lang="en-US" sz="1400" dirty="0" err="1">
                <a:ea typeface="+mn-lt"/>
                <a:cs typeface="+mn-lt"/>
              </a:rPr>
              <a:t>Donec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bibendum</a:t>
            </a:r>
            <a:r>
              <a:rPr lang="en-US" sz="1400" dirty="0">
                <a:ea typeface="+mn-lt"/>
                <a:cs typeface="+mn-lt"/>
              </a:rPr>
              <a:t> pharetra </a:t>
            </a:r>
            <a:r>
              <a:rPr lang="en-US" sz="1400" dirty="0" err="1">
                <a:ea typeface="+mn-lt"/>
                <a:cs typeface="+mn-lt"/>
              </a:rPr>
              <a:t>nibh</a:t>
            </a:r>
            <a:r>
              <a:rPr lang="en-US" sz="1400" dirty="0">
                <a:ea typeface="+mn-lt"/>
                <a:cs typeface="+mn-lt"/>
              </a:rPr>
              <a:t>, ac </a:t>
            </a:r>
            <a:r>
              <a:rPr lang="en-US" sz="1400" dirty="0" err="1">
                <a:ea typeface="+mn-lt"/>
                <a:cs typeface="+mn-lt"/>
              </a:rPr>
              <a:t>tristique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nunc</a:t>
            </a:r>
            <a:r>
              <a:rPr lang="en-US" sz="1400" dirty="0">
                <a:ea typeface="+mn-lt"/>
                <a:cs typeface="+mn-lt"/>
              </a:rPr>
              <a:t> pharetra sit </a:t>
            </a:r>
            <a:r>
              <a:rPr lang="en-US" sz="1400" dirty="0" err="1">
                <a:ea typeface="+mn-lt"/>
                <a:cs typeface="+mn-lt"/>
              </a:rPr>
              <a:t>amet</a:t>
            </a:r>
            <a:r>
              <a:rPr lang="en-US" sz="1400" dirty="0">
                <a:ea typeface="+mn-lt"/>
                <a:cs typeface="+mn-lt"/>
              </a:rPr>
              <a:t>. In sed </a:t>
            </a:r>
            <a:r>
              <a:rPr lang="en-US" sz="1400" dirty="0" err="1">
                <a:ea typeface="+mn-lt"/>
                <a:cs typeface="+mn-lt"/>
              </a:rPr>
              <a:t>sem</a:t>
            </a:r>
            <a:r>
              <a:rPr lang="en-US" sz="1400" dirty="0">
                <a:ea typeface="+mn-lt"/>
                <a:cs typeface="+mn-lt"/>
              </a:rPr>
              <a:t> non ligula tempus </a:t>
            </a:r>
            <a:r>
              <a:rPr lang="en-US" sz="1400" dirty="0" err="1">
                <a:ea typeface="+mn-lt"/>
                <a:cs typeface="+mn-lt"/>
              </a:rPr>
              <a:t>lobortis</a:t>
            </a:r>
            <a:r>
              <a:rPr lang="en-US" sz="1400" dirty="0">
                <a:ea typeface="+mn-lt"/>
                <a:cs typeface="+mn-lt"/>
              </a:rPr>
              <a:t> vitae </a:t>
            </a:r>
            <a:r>
              <a:rPr lang="en-US" sz="1400" dirty="0" err="1">
                <a:ea typeface="+mn-lt"/>
                <a:cs typeface="+mn-lt"/>
              </a:rPr>
              <a:t>aliquam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elit</a:t>
            </a:r>
            <a:r>
              <a:rPr lang="en-US" sz="1400" dirty="0">
                <a:ea typeface="+mn-lt"/>
                <a:cs typeface="+mn-lt"/>
              </a:rPr>
              <a:t>. </a:t>
            </a:r>
            <a:r>
              <a:rPr lang="en-US" sz="1400" dirty="0" err="1">
                <a:ea typeface="+mn-lt"/>
                <a:cs typeface="+mn-lt"/>
              </a:rPr>
              <a:t>Phasell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tincidunt</a:t>
            </a:r>
            <a:r>
              <a:rPr lang="en-US" sz="1400" dirty="0">
                <a:ea typeface="+mn-lt"/>
                <a:cs typeface="+mn-lt"/>
              </a:rPr>
              <a:t> ante a </a:t>
            </a:r>
            <a:r>
              <a:rPr lang="en-US" sz="1400" dirty="0" err="1">
                <a:ea typeface="+mn-lt"/>
                <a:cs typeface="+mn-lt"/>
              </a:rPr>
              <a:t>odio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tristique</a:t>
            </a:r>
            <a:r>
              <a:rPr lang="en-US" sz="1400" dirty="0">
                <a:ea typeface="+mn-lt"/>
                <a:cs typeface="+mn-lt"/>
              </a:rPr>
              <a:t>, in fermentum </a:t>
            </a:r>
            <a:r>
              <a:rPr lang="en-US" sz="1400" dirty="0" err="1">
                <a:ea typeface="+mn-lt"/>
                <a:cs typeface="+mn-lt"/>
              </a:rPr>
              <a:t>mauri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ultricies</a:t>
            </a:r>
            <a:r>
              <a:rPr lang="en-US" sz="1400" dirty="0">
                <a:ea typeface="+mn-lt"/>
                <a:cs typeface="+mn-lt"/>
              </a:rPr>
              <a:t>. Duis </a:t>
            </a:r>
            <a:r>
              <a:rPr lang="en-US" sz="1400" dirty="0" err="1">
                <a:ea typeface="+mn-lt"/>
                <a:cs typeface="+mn-lt"/>
              </a:rPr>
              <a:t>eu</a:t>
            </a:r>
            <a:r>
              <a:rPr lang="en-US" sz="1400" dirty="0">
                <a:ea typeface="+mn-lt"/>
                <a:cs typeface="+mn-lt"/>
              </a:rPr>
              <a:t> ante vel </a:t>
            </a:r>
            <a:r>
              <a:rPr lang="en-US" sz="1400" dirty="0" err="1">
                <a:ea typeface="+mn-lt"/>
                <a:cs typeface="+mn-lt"/>
              </a:rPr>
              <a:t>est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finibus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sagittis</a:t>
            </a:r>
            <a:r>
              <a:rPr lang="en-US" sz="1400" dirty="0">
                <a:ea typeface="+mn-lt"/>
                <a:cs typeface="+mn-lt"/>
              </a:rPr>
              <a:t>.</a:t>
            </a:r>
          </a:p>
        </p:txBody>
      </p:sp>
      <p:sp>
        <p:nvSpPr>
          <p:cNvPr id="14" name="Pentagon 13">
            <a:extLst>
              <a:ext uri="{FF2B5EF4-FFF2-40B4-BE49-F238E27FC236}">
                <a16:creationId xmlns:a16="http://schemas.microsoft.com/office/drawing/2014/main" id="{08F1B3F9-DEA9-7E4F-812D-B10C99F47D01}"/>
              </a:ext>
            </a:extLst>
          </p:cNvPr>
          <p:cNvSpPr/>
          <p:nvPr/>
        </p:nvSpPr>
        <p:spPr>
          <a:xfrm>
            <a:off x="-2343597" y="4716684"/>
            <a:ext cx="2286722" cy="1015375"/>
          </a:xfrm>
          <a:prstGeom prst="homePlate">
            <a:avLst>
              <a:gd name="adj" fmla="val 2761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b="1" dirty="0">
                <a:solidFill>
                  <a:schemeClr val="bg1"/>
                </a:solidFill>
              </a:rPr>
              <a:t>HOW TO LAY OUT 2 COLUMN TEXT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USE THESE MARGINS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NOTE 12PT SPACING BETWEEN PARAGRAPHS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NOTE SPACING BETWEEN COLUMNS – VERTICAL LINE NOT NEEDED!</a:t>
            </a:r>
          </a:p>
        </p:txBody>
      </p:sp>
    </p:spTree>
    <p:extLst>
      <p:ext uri="{BB962C8B-B14F-4D97-AF65-F5344CB8AC3E}">
        <p14:creationId xmlns:p14="http://schemas.microsoft.com/office/powerpoint/2010/main" val="34479272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27A8EA-9868-A041-9D8E-E128933B6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E7BEF2-CD88-C042-829D-4C4EDFCB50B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2C260543-DE41-2E49-B8CE-B4748165F1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Bullet also comes in blue and white; use this block of placeholder text with Format Painter to reformat any bullets that have lost their correct formatting. </a:t>
            </a:r>
          </a:p>
        </p:txBody>
      </p:sp>
      <p:sp>
        <p:nvSpPr>
          <p:cNvPr id="44" name="Content Placeholder 43">
            <a:extLst>
              <a:ext uri="{FF2B5EF4-FFF2-40B4-BE49-F238E27FC236}">
                <a16:creationId xmlns:a16="http://schemas.microsoft.com/office/drawing/2014/main" id="{15FC82AA-A968-BC49-8E07-A957603EB058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</a:t>
            </a:r>
            <a:r>
              <a:rPr lang="en-US" dirty="0" err="1"/>
              <a:t>eros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est. </a:t>
            </a:r>
            <a:r>
              <a:rPr lang="en-US" dirty="0" err="1"/>
              <a:t>Vivamus</a:t>
            </a:r>
            <a:r>
              <a:rPr lang="en-US" dirty="0"/>
              <a:t>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2"/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r>
              <a:rPr lang="en-US" dirty="0"/>
              <a:t> fames ac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. </a:t>
            </a:r>
            <a:r>
              <a:rPr lang="en-US" dirty="0" err="1"/>
              <a:t>Proin</a:t>
            </a:r>
            <a:r>
              <a:rPr lang="en-US" dirty="0"/>
              <a:t> pharetra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pede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orci</a:t>
            </a:r>
            <a:r>
              <a:rPr lang="en-US" dirty="0"/>
              <a:t>.</a:t>
            </a:r>
          </a:p>
          <a:p>
            <a:pPr lvl="3"/>
            <a:r>
              <a:rPr lang="en-US" dirty="0"/>
              <a:t>Lorem ipsum</a:t>
            </a:r>
          </a:p>
          <a:p>
            <a:pPr lvl="4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</a:t>
            </a:r>
            <a:r>
              <a:rPr lang="en-US" dirty="0" err="1"/>
              <a:t>eros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sp>
        <p:nvSpPr>
          <p:cNvPr id="42" name="Title 41">
            <a:extLst>
              <a:ext uri="{FF2B5EF4-FFF2-40B4-BE49-F238E27FC236}">
                <a16:creationId xmlns:a16="http://schemas.microsoft.com/office/drawing/2014/main" id="{E37048DA-B7E4-C04D-AEE3-7791356AB6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entagon 6">
            <a:extLst>
              <a:ext uri="{FF2B5EF4-FFF2-40B4-BE49-F238E27FC236}">
                <a16:creationId xmlns:a16="http://schemas.microsoft.com/office/drawing/2014/main" id="{F3DDCF57-AB04-0F48-B44D-B88AD5361CE2}"/>
              </a:ext>
            </a:extLst>
          </p:cNvPr>
          <p:cNvSpPr/>
          <p:nvPr/>
        </p:nvSpPr>
        <p:spPr>
          <a:xfrm>
            <a:off x="-2343597" y="4716685"/>
            <a:ext cx="2286722" cy="736600"/>
          </a:xfrm>
          <a:prstGeom prst="homePlate">
            <a:avLst>
              <a:gd name="adj" fmla="val 2761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b="1" dirty="0">
                <a:solidFill>
                  <a:schemeClr val="bg1"/>
                </a:solidFill>
              </a:rPr>
              <a:t>Need this bulleted text elsewhere?</a:t>
            </a:r>
          </a:p>
          <a:p>
            <a:pPr marL="120650" indent="-120650">
              <a:lnSpc>
                <a:spcPct val="90000"/>
              </a:lnSpc>
              <a:spcAft>
                <a:spcPts val="100"/>
              </a:spcAft>
              <a:buFont typeface="+mj-lt"/>
              <a:buAutoNum type="arabicPeriod"/>
            </a:pPr>
            <a:r>
              <a:rPr lang="en-US" sz="900" dirty="0">
                <a:solidFill>
                  <a:schemeClr val="bg1"/>
                </a:solidFill>
              </a:rPr>
              <a:t>Select this entire block of text</a:t>
            </a:r>
          </a:p>
          <a:p>
            <a:pPr marL="233363" lvl="1" indent="-112713">
              <a:lnSpc>
                <a:spcPct val="90000"/>
              </a:lnSpc>
              <a:spcAft>
                <a:spcPts val="100"/>
              </a:spcAft>
              <a:buFont typeface="+mj-lt"/>
              <a:buAutoNum type="alphaLcParenR"/>
            </a:pPr>
            <a:r>
              <a:rPr lang="en-US" sz="900" b="1" dirty="0">
                <a:solidFill>
                  <a:schemeClr val="bg1"/>
                </a:solidFill>
              </a:rPr>
              <a:t>Home--</a:t>
            </a:r>
            <a:r>
              <a:rPr lang="en-US" sz="900" dirty="0">
                <a:solidFill>
                  <a:schemeClr val="bg1"/>
                </a:solidFill>
              </a:rPr>
              <a:t>&gt; </a:t>
            </a:r>
            <a:r>
              <a:rPr lang="en-US" sz="900" b="1" dirty="0">
                <a:solidFill>
                  <a:schemeClr val="bg1"/>
                </a:solidFill>
              </a:rPr>
              <a:t>Format</a:t>
            </a:r>
            <a:r>
              <a:rPr lang="en-US" sz="900" dirty="0">
                <a:solidFill>
                  <a:schemeClr val="bg1"/>
                </a:solidFill>
              </a:rPr>
              <a:t> Paintbrush</a:t>
            </a:r>
          </a:p>
          <a:p>
            <a:pPr marL="233363" lvl="1" indent="-112713">
              <a:lnSpc>
                <a:spcPct val="90000"/>
              </a:lnSpc>
              <a:spcAft>
                <a:spcPts val="100"/>
              </a:spcAft>
              <a:buFont typeface="+mj-lt"/>
              <a:buAutoNum type="alphaLcParenR"/>
            </a:pPr>
            <a:r>
              <a:rPr lang="en-US" sz="900" dirty="0">
                <a:solidFill>
                  <a:schemeClr val="bg1"/>
                </a:solidFill>
              </a:rPr>
              <a:t>Select the text you’d like to apply these bullets to</a:t>
            </a:r>
          </a:p>
        </p:txBody>
      </p:sp>
    </p:spTree>
    <p:extLst>
      <p:ext uri="{BB962C8B-B14F-4D97-AF65-F5344CB8AC3E}">
        <p14:creationId xmlns:p14="http://schemas.microsoft.com/office/powerpoint/2010/main" val="23406310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FF46E6-6F4A-5F43-A0F9-11E2F3B85E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1C6CFE-7592-7543-AB31-424CBCCE20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65C9FAD-F710-4643-B75D-99889A52FD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F43C1B8-0CBC-7047-9C08-C0DD51017D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82252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7762B106-948F-2B42-B42D-621777A7DCC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78" r="74291"/>
          <a:stretch/>
        </p:blipFill>
        <p:spPr>
          <a:xfrm>
            <a:off x="5416245" y="623480"/>
            <a:ext cx="1359511" cy="1135603"/>
          </a:xfrm>
          <a:prstGeom prst="rect">
            <a:avLst/>
          </a:prstGeom>
        </p:spPr>
      </p:pic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90512CA4-B330-2F40-8478-1D08DAF73EB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B1585CE-70EA-A84C-B17C-8F2540C4A2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559DA6D-BCB4-C64F-AE6D-B55BB97D06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DC37AE70-BC2C-9947-BE8A-A14648EE66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C6C2618-BC5C-4F47-984B-E9D8C8818D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3417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0E49B75-CA72-CA45-A424-133BB63CAB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74B7CF9-027F-1F4E-A581-E9EC42B27ED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BF99C8E-73FE-7342-9349-DF2F9AD6FD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3554334-3FC6-FE44-8554-25BB508F0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170D75B-CB76-D046-A6A6-81C42E871E5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B1BE79D-0598-AA46-8FBE-9F2D393CF55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41576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F0D7FB8-9A1E-584B-9EF9-20BD83FC7C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74B7CF9-027F-1F4E-A581-E9EC42B27ED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BF99C8E-73FE-7342-9349-DF2F9AD6FD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314F17-2617-9F46-9BAE-7CCA2EC3FF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FC518444-89BB-144F-BB80-E50C9F20110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32F85A1-F014-2643-91E8-F1A2FBE446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12094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38FE9F-9266-4279-852F-67DB28EC28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327332-1CA3-4E3A-A07E-24748D6A04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D50D6B70-817B-5645-B370-10A60CE13CB7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506597F-61D5-E047-96A0-F40156993C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5DD17BE-7184-B849-8B57-260F7BDBF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2DC17E8-55FC-774A-AC6C-101B67955A7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86AEF2F2-8292-9F49-BE1F-A3D5A097C98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24126292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ED34F9A-244C-1749-B32C-F91169A1A3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A6764C-C54B-A24E-971D-2669D251C1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2DAEA8F7-C0FB-B347-AC07-73055A2847B6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BF9367F0-CE12-3D40-9065-E8A2D3D9AF8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8" name="Title 27">
            <a:extLst>
              <a:ext uri="{FF2B5EF4-FFF2-40B4-BE49-F238E27FC236}">
                <a16:creationId xmlns:a16="http://schemas.microsoft.com/office/drawing/2014/main" id="{DFBDAEF2-42AC-0C41-97F0-AF1F4673CA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29A6BF52-4133-FE41-BE4B-05A1544AA8C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8B99C58B-1F4A-A741-9129-4DDE128597C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DEFD1501-FE4E-6D4F-A0F1-BEF961A6B3D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22813025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644B2DD-525C-6446-94B6-FC04C4A70A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56832A-B454-8944-AC67-DBC928717C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B67AB86-DD92-A34E-B8A1-2211CF74A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9A56D0-938C-1243-91B1-4697E927EB28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3FF66C1-1914-C14B-8F83-C2F32798FF2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</p:spTree>
    <p:extLst>
      <p:ext uri="{BB962C8B-B14F-4D97-AF65-F5344CB8AC3E}">
        <p14:creationId xmlns:p14="http://schemas.microsoft.com/office/powerpoint/2010/main" val="6354294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6F5F6A-4B77-B244-9A22-7E8EFE4EDE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ADDEF59-D432-6040-B4F8-D9C28B840A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BBFF60F-EDF8-154C-AB26-99A5418E7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79F21C-DE14-C442-9B1B-736A65CD3E4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098BB72-ADCD-7C4A-846F-4DEE81FA192F}"/>
              </a:ext>
            </a:extLst>
          </p:cNvPr>
          <p:cNvSpPr/>
          <p:nvPr/>
        </p:nvSpPr>
        <p:spPr>
          <a:xfrm>
            <a:off x="0" y="0"/>
            <a:ext cx="5733798" cy="6858000"/>
          </a:xfrm>
          <a:prstGeom prst="rect">
            <a:avLst/>
          </a:prstGeom>
          <a:gradFill flip="none" rotWithShape="1">
            <a:gsLst>
              <a:gs pos="50000">
                <a:schemeClr val="tx1">
                  <a:alpha val="0"/>
                </a:schemeClr>
              </a:gs>
              <a:gs pos="0">
                <a:schemeClr val="tx1"/>
              </a:gs>
              <a:gs pos="100000">
                <a:schemeClr val="tx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A2F151B5-F01B-2447-A668-C0E2CA97C8A3}"/>
              </a:ext>
            </a:extLst>
          </p:cNvPr>
          <p:cNvSpPr/>
          <p:nvPr/>
        </p:nvSpPr>
        <p:spPr>
          <a:xfrm>
            <a:off x="-2343597" y="4716685"/>
            <a:ext cx="2286722" cy="736600"/>
          </a:xfrm>
          <a:prstGeom prst="homePlate">
            <a:avLst>
              <a:gd name="adj" fmla="val 2761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SEND OVERLAY SHAPE TO BACK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INSERT IMAGE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SEND IMAGE TO BACK</a:t>
            </a:r>
          </a:p>
        </p:txBody>
      </p:sp>
    </p:spTree>
    <p:extLst>
      <p:ext uri="{BB962C8B-B14F-4D97-AF65-F5344CB8AC3E}">
        <p14:creationId xmlns:p14="http://schemas.microsoft.com/office/powerpoint/2010/main" val="5540882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FAF7EC-0F89-0948-9066-A5373D4DD0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1C67EE-7E9C-A941-B4E9-DEAB2A6FA1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E48A306-71A4-A94E-966F-EAECEECAE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BB359FD-C6AE-FA46-BCC6-513C83DBD72C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6479579-4A75-9645-B721-1D988226E99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</p:spTree>
    <p:extLst>
      <p:ext uri="{BB962C8B-B14F-4D97-AF65-F5344CB8AC3E}">
        <p14:creationId xmlns:p14="http://schemas.microsoft.com/office/powerpoint/2010/main" val="56163930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8CA374-64B0-A744-BFED-A51DB10BFA9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830E7E5-38CF-B945-97E0-653434A990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93C67A-391D-5048-A820-BBAD8B12398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D5333CB-D975-C24C-A8FF-6A58DD0639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2037E86-888E-6748-A2F8-41912EA313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CCA9B7C-4CC2-1541-BE72-1247718B05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BC098C-7B02-4746-8A43-DD9D22930920}"/>
              </a:ext>
            </a:extLst>
          </p:cNvPr>
          <p:cNvSpPr/>
          <p:nvPr/>
        </p:nvSpPr>
        <p:spPr>
          <a:xfrm>
            <a:off x="5928983" y="5262395"/>
            <a:ext cx="3025409" cy="9665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Callout or Takeawa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539EE-F526-6B47-AE24-34A02698DC11}"/>
              </a:ext>
            </a:extLst>
          </p:cNvPr>
          <p:cNvSpPr/>
          <p:nvPr/>
        </p:nvSpPr>
        <p:spPr>
          <a:xfrm>
            <a:off x="228600" y="5262395"/>
            <a:ext cx="3025409" cy="9665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Callout or Takeaway</a:t>
            </a:r>
          </a:p>
        </p:txBody>
      </p:sp>
    </p:spTree>
    <p:extLst>
      <p:ext uri="{BB962C8B-B14F-4D97-AF65-F5344CB8AC3E}">
        <p14:creationId xmlns:p14="http://schemas.microsoft.com/office/powerpoint/2010/main" val="880993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C1C5B0F-DDA7-7747-BD62-4EFA8CBBD301}"/>
              </a:ext>
            </a:extLst>
          </p:cNvPr>
          <p:cNvSpPr/>
          <p:nvPr/>
        </p:nvSpPr>
        <p:spPr>
          <a:xfrm>
            <a:off x="0" y="1028700"/>
            <a:ext cx="12192000" cy="5323965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accent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EA1B131-E811-5542-99E0-0A58F139BAC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7F0512C5-269B-A44E-89BC-36D5DABA69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91D80A-DE15-E740-B11B-0E79FF2695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A11FF3-9328-7E4A-93D2-52C89D6D68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8E8342F-E698-9C4C-891B-A49E573020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10308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28ED52C-0A6E-D747-8184-C18499963BD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8E5447-DC7E-9343-96A5-4F56E11EE5D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084F4C-D1B1-0948-A9C9-D804AD590DE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9A3E7193-0492-6346-9BEC-A40F44D7A1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5822AA2-18F3-F440-89F0-1537DB3DBE1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FB72ABCC-C628-F547-B37F-76E74C65ACE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81DEEC7-05EB-894F-8D09-D8DABF2FF40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B200A99-E6CB-434A-9F2A-35AF5B42C1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7599D02-8FFE-AC49-AAD9-F1B4A679DE9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AB6F6EC-DDC7-F247-AB64-7B33A7E180A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EC5986E7-2BD0-FF46-B197-CA92032176B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DA3899A-14AD-164F-8D8C-9573F682033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05798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60114E56-9E1E-C74C-8F60-307381857E52}"/>
              </a:ext>
            </a:extLst>
          </p:cNvPr>
          <p:cNvSpPr/>
          <p:nvPr/>
        </p:nvSpPr>
        <p:spPr>
          <a:xfrm>
            <a:off x="659462" y="885823"/>
            <a:ext cx="11079809" cy="44599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A3700AF-581B-3D48-BBAB-8A707BAE9B1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89F8B2-7BD1-9C4E-81D5-B00B19ECB5C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F0A27F-E351-9642-956D-D912F99219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747CDF2-60CB-3442-982A-E5CD3F2D5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3AF19E3-C03F-834D-8E59-F86E881D0C6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C4D321E-1DAA-A14E-A2EE-84304C4BA33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48DBB69-1DBF-4E4F-A918-FD54B666706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A928563-9F01-EB46-87BB-E53D938735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D475659-E657-414C-BF52-E11869FE7A9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4BEA9DD-77AD-284C-9BF7-DFF7AF40084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ED8B96FD-E841-5941-A8F0-F144C7115D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/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0F7654D-1B91-D84F-B650-804C919EF34C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/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83F7379-D60B-1342-B14A-5CA198AC005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33505E0F-F6C2-004D-B696-6B944DF5EAC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77E08CB2-64EC-C447-8920-57CC7E3FC7E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/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1C50046-78D4-9946-A275-17662791BDA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US" dirty="0"/>
              <a:t>You can delete columns or rows of images you don’t need.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C1D1C79-B234-5A4C-9F67-410096BF232F}"/>
              </a:ext>
            </a:extLst>
          </p:cNvPr>
          <p:cNvSpPr/>
          <p:nvPr/>
        </p:nvSpPr>
        <p:spPr>
          <a:xfrm>
            <a:off x="1524" y="5455402"/>
            <a:ext cx="12188952" cy="8342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  <a:latin typeface="+mj-lt"/>
              </a:rPr>
              <a:t>Key Summary Point</a:t>
            </a:r>
          </a:p>
        </p:txBody>
      </p:sp>
      <p:sp>
        <p:nvSpPr>
          <p:cNvPr id="65" name="Pentagon 64">
            <a:extLst>
              <a:ext uri="{FF2B5EF4-FFF2-40B4-BE49-F238E27FC236}">
                <a16:creationId xmlns:a16="http://schemas.microsoft.com/office/drawing/2014/main" id="{A35AB3D9-4D36-1144-A1DF-13D1DD12B276}"/>
              </a:ext>
            </a:extLst>
          </p:cNvPr>
          <p:cNvSpPr/>
          <p:nvPr/>
        </p:nvSpPr>
        <p:spPr>
          <a:xfrm>
            <a:off x="-2343597" y="4627418"/>
            <a:ext cx="2286722" cy="1260763"/>
          </a:xfrm>
          <a:prstGeom prst="homePlate">
            <a:avLst>
              <a:gd name="adj" fmla="val 111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900" b="1" dirty="0">
                <a:solidFill>
                  <a:schemeClr val="bg1"/>
                </a:solidFill>
              </a:rPr>
              <a:t>Adapt This Slide to 2x1, 2x2, 2x3 Layouts</a:t>
            </a:r>
          </a:p>
          <a:p>
            <a:pPr marL="120650" indent="-120650">
              <a:lnSpc>
                <a:spcPct val="90000"/>
              </a:lnSpc>
              <a:spcAft>
                <a:spcPts val="100"/>
              </a:spcAft>
              <a:buFont typeface="+mj-lt"/>
              <a:buAutoNum type="arabicPeriod"/>
            </a:pPr>
            <a:r>
              <a:rPr lang="en-US" sz="900" dirty="0">
                <a:solidFill>
                  <a:schemeClr val="bg1"/>
                </a:solidFill>
              </a:rPr>
              <a:t>Delete the unneeded columns of image placeholders </a:t>
            </a:r>
          </a:p>
          <a:p>
            <a:pPr marL="233363" lvl="1" indent="-112713">
              <a:lnSpc>
                <a:spcPct val="90000"/>
              </a:lnSpc>
              <a:spcAft>
                <a:spcPts val="100"/>
              </a:spcAft>
              <a:buFont typeface="+mj-lt"/>
              <a:buAutoNum type="alphaLcParenR"/>
            </a:pPr>
            <a:r>
              <a:rPr lang="en-US" sz="900" dirty="0">
                <a:solidFill>
                  <a:schemeClr val="bg1"/>
                </a:solidFill>
              </a:rPr>
              <a:t>Insert valve images into the remaining columns and write to the  header.</a:t>
            </a:r>
          </a:p>
          <a:p>
            <a:pPr marL="233363" lvl="1" indent="-112713">
              <a:lnSpc>
                <a:spcPct val="90000"/>
              </a:lnSpc>
              <a:spcAft>
                <a:spcPts val="100"/>
              </a:spcAft>
              <a:buFont typeface="+mj-lt"/>
              <a:buAutoNum type="alphaLcParenR"/>
            </a:pPr>
            <a:r>
              <a:rPr lang="en-US" sz="900" dirty="0">
                <a:solidFill>
                  <a:schemeClr val="bg1"/>
                </a:solidFill>
              </a:rPr>
              <a:t>If you hit “Reset”, the other image placeholders will return. </a:t>
            </a:r>
          </a:p>
        </p:txBody>
      </p:sp>
    </p:spTree>
    <p:extLst>
      <p:ext uri="{BB962C8B-B14F-4D97-AF65-F5344CB8AC3E}">
        <p14:creationId xmlns:p14="http://schemas.microsoft.com/office/powerpoint/2010/main" val="25504098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827D00-9297-704D-8756-1AA403A439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333CA449-733B-7241-8108-7EE6CC69F0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249CC1D8-0020-1F44-B789-17DC08BE8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777A87C-11C0-8E4E-A2E2-A67C4EB308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2D26144-092F-514A-BA3B-83DDA7DB81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9780A2C-476D-4546-B2E4-AA59FF213F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2A050E14-C3F8-1744-8EC8-DE03630634B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902EA890-A003-4540-B4B3-5F477017798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8E1B5FF-68DB-FB40-9D9E-3E23FEA9AC3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94EEC7D3-349E-BB40-831E-E4A3603B5C1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4326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4447513-3E21-9543-AAF0-B630C1820668}"/>
              </a:ext>
            </a:extLst>
          </p:cNvPr>
          <p:cNvCxnSpPr/>
          <p:nvPr/>
        </p:nvCxnSpPr>
        <p:spPr>
          <a:xfrm>
            <a:off x="2123268" y="4377749"/>
            <a:ext cx="7764651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239CF37-82CA-A64B-A5F4-2280ED6721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226F74-E0E2-394B-9CBA-F261DCCA1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CD72776-93AD-3040-A7CE-131143060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8954498-D10D-4143-BD49-FBDC2F3875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C3F88D3-B50E-1B46-ACAB-7E681172EA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1559EB1-4197-1242-904F-733F787007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9409C0E-428D-2840-A79B-9540856F30B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194B62B-CEE3-3E4A-94B7-C0FCEF09B00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9BD4A17-DFB4-7449-B7BA-52826676EC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EE77035-9648-8144-B4A9-D61D3A91FBC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A26140C-0940-1744-BB71-AF6625D8EA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4CF330F-1407-7440-8B49-EAE10E6FC9D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53A73F1-E5C8-2E45-B287-E314C71E3EC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39C453E-833A-654F-AA65-2F1163BFDA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485FBB4-0700-7946-8FDF-F13BA77161A5}"/>
              </a:ext>
            </a:extLst>
          </p:cNvPr>
          <p:cNvSpPr/>
          <p:nvPr/>
        </p:nvSpPr>
        <p:spPr>
          <a:xfrm>
            <a:off x="1291621" y="3507311"/>
            <a:ext cx="1740877" cy="1740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 </a:t>
            </a:r>
            <a:r>
              <a:rPr lang="en-US" sz="2000" b="1" dirty="0">
                <a:solidFill>
                  <a:schemeClr val="bg1"/>
                </a:solidFill>
              </a:rPr>
              <a:t>LOREM</a:t>
            </a:r>
          </a:p>
          <a:p>
            <a:pPr algn="ctr"/>
            <a:r>
              <a:rPr lang="en-US" sz="2000" dirty="0">
                <a:solidFill>
                  <a:schemeClr val="bg1"/>
                </a:solidFill>
              </a:rPr>
              <a:t>IPSU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F79101-14E3-3544-BD34-DC93B1EFFDDD}"/>
              </a:ext>
            </a:extLst>
          </p:cNvPr>
          <p:cNvSpPr/>
          <p:nvPr/>
        </p:nvSpPr>
        <p:spPr>
          <a:xfrm>
            <a:off x="5225562" y="3507311"/>
            <a:ext cx="1740877" cy="1740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 </a:t>
            </a:r>
            <a:r>
              <a:rPr lang="en-US" sz="2000" b="1" dirty="0"/>
              <a:t>LOREM</a:t>
            </a:r>
          </a:p>
          <a:p>
            <a:pPr algn="ctr"/>
            <a:r>
              <a:rPr lang="en-US" sz="2000" dirty="0"/>
              <a:t>IPSUM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119EC1D-BC53-E043-A4DB-7AA4B8BECFDD}"/>
              </a:ext>
            </a:extLst>
          </p:cNvPr>
          <p:cNvSpPr/>
          <p:nvPr/>
        </p:nvSpPr>
        <p:spPr>
          <a:xfrm>
            <a:off x="9190499" y="3507311"/>
            <a:ext cx="1740877" cy="17408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 </a:t>
            </a:r>
            <a:r>
              <a:rPr lang="en-US" sz="2000" b="1" dirty="0"/>
              <a:t>LOREM</a:t>
            </a:r>
          </a:p>
          <a:p>
            <a:pPr algn="ctr"/>
            <a:r>
              <a:rPr lang="en-US" sz="2000" dirty="0"/>
              <a:t>IPSU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1FE41C3-73B9-9E49-A3B0-41C778130F9F}"/>
              </a:ext>
            </a:extLst>
          </p:cNvPr>
          <p:cNvSpPr txBox="1"/>
          <p:nvPr/>
        </p:nvSpPr>
        <p:spPr>
          <a:xfrm>
            <a:off x="1524000" y="1212506"/>
            <a:ext cx="914400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4579425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472BECA-B0A0-C146-AFB1-92AAA7E8E7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E0199E-342E-224E-9D85-2C7447CC32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30" name="Title 29">
            <a:extLst>
              <a:ext uri="{FF2B5EF4-FFF2-40B4-BE49-F238E27FC236}">
                <a16:creationId xmlns:a16="http://schemas.microsoft.com/office/drawing/2014/main" id="{AC6815DC-51DF-5F4F-B691-AA266A74DA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FC3BAC46-C7C8-9E43-A2A5-E1E4424C363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DC0AD93D-25D6-C843-8CBB-BA32A874F24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33848348-D967-394D-9FEA-ED638916A1A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1993C0D-777B-DC4D-8A57-5C21CF7C85E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AD1794B-B311-2647-B31A-6BD7C85F9E1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4CA3BC64-660F-D246-AC2B-CC46FC38304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403A5EB-6BFC-EE46-A9F2-FB37140473C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43828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DE4F304-F764-9147-8F01-23F191114D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922B77-C239-4E4C-8133-C17819FE7C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1FCAD1-7C3F-3B43-BD23-3D15B75BF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22DCA3-5A77-D945-AD89-FC56FC2E69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Use shapes below as needed. Copy and paste to duplicate. Delete unneeded shapes.</a:t>
            </a:r>
          </a:p>
        </p:txBody>
      </p:sp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B6780250-E9A9-7746-82D8-36067CFE93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5757923"/>
              </p:ext>
            </p:extLst>
          </p:nvPr>
        </p:nvGraphicFramePr>
        <p:xfrm>
          <a:off x="228600" y="1000126"/>
          <a:ext cx="11817021" cy="5208503"/>
        </p:xfrm>
        <a:graphic>
          <a:graphicData uri="http://schemas.openxmlformats.org/drawingml/2006/table">
            <a:tbl>
              <a:tblPr/>
              <a:tblGrid>
                <a:gridCol w="246188">
                  <a:extLst>
                    <a:ext uri="{9D8B030D-6E8A-4147-A177-3AD203B41FA5}">
                      <a16:colId xmlns:a16="http://schemas.microsoft.com/office/drawing/2014/main" val="367784969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1647497069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2424458549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3313044383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2374805983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2677726730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3693371263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2151587542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4250264740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1674584906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2568751929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4184998475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1652112590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3501043229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3558301716"/>
                    </a:ext>
                  </a:extLst>
                </a:gridCol>
                <a:gridCol w="245533">
                  <a:extLst>
                    <a:ext uri="{9D8B030D-6E8A-4147-A177-3AD203B41FA5}">
                      <a16:colId xmlns:a16="http://schemas.microsoft.com/office/drawing/2014/main" val="82767552"/>
                    </a:ext>
                  </a:extLst>
                </a:gridCol>
                <a:gridCol w="246840">
                  <a:extLst>
                    <a:ext uri="{9D8B030D-6E8A-4147-A177-3AD203B41FA5}">
                      <a16:colId xmlns:a16="http://schemas.microsoft.com/office/drawing/2014/main" val="422259464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1632104221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2232657697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1338633254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78029636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2242850400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2689487183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3589325491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1885865822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2939629687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2509156854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3633794141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3365746900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3598480700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344903519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3436090227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2726548880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2186112154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1161311122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4182602531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3836252781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4198605647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91657050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171004109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1655282943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4282076484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640441815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2817739539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3030957463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4032283096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3428161946"/>
                    </a:ext>
                  </a:extLst>
                </a:gridCol>
                <a:gridCol w="246188">
                  <a:extLst>
                    <a:ext uri="{9D8B030D-6E8A-4147-A177-3AD203B41FA5}">
                      <a16:colId xmlns:a16="http://schemas.microsoft.com/office/drawing/2014/main" val="3536239696"/>
                    </a:ext>
                  </a:extLst>
                </a:gridCol>
              </a:tblGrid>
              <a:tr h="167281">
                <a:tc gridSpan="48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20</a:t>
                      </a:r>
                    </a:p>
                  </a:txBody>
                  <a:tcPr marL="6352" marR="6352" marT="63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8054665"/>
                  </a:ext>
                </a:extLst>
              </a:tr>
              <a:tr h="167281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8373375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3936378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8372083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906383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6671878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5171784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0852069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919393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7900032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284816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851047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72157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829001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2474397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83956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426105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1571575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5718907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634822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5356085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101024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812005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2711923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4359754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2549436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2415613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337078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4201048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554076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694634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6405764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6293190"/>
                  </a:ext>
                </a:extLst>
              </a:tr>
              <a:tr h="159678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113808"/>
                  </a:ext>
                </a:extLst>
              </a:tr>
            </a:tbl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2E32C499-840F-9D46-8B94-14084E883E67}"/>
              </a:ext>
            </a:extLst>
          </p:cNvPr>
          <p:cNvSpPr/>
          <p:nvPr/>
        </p:nvSpPr>
        <p:spPr>
          <a:xfrm>
            <a:off x="1211282" y="1473714"/>
            <a:ext cx="2600697" cy="36576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45720" rIns="45720" bIns="18288" anchor="ctr"/>
          <a:lstStyle/>
          <a:p>
            <a:pPr marL="0" marR="0" lvl="0" indent="0" algn="ctr" defTabSz="3429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ngoing Thing</a:t>
            </a:r>
          </a:p>
          <a:p>
            <a:pPr marL="0" marR="0" lvl="0" indent="0" algn="ctr" defTabSz="3429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Details Her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157C12A-044A-4D43-8664-68EC8B2079A0}"/>
              </a:ext>
            </a:extLst>
          </p:cNvPr>
          <p:cNvSpPr/>
          <p:nvPr/>
        </p:nvSpPr>
        <p:spPr>
          <a:xfrm>
            <a:off x="228611" y="1473714"/>
            <a:ext cx="982671" cy="36576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lIns="45720" rIns="45720" bIns="18288" anchor="ctr"/>
          <a:lstStyle/>
          <a:p>
            <a:pPr marL="0" marR="0" lvl="0" indent="0" algn="ctr" defTabSz="3429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kern="0" dirty="0">
                <a:solidFill>
                  <a:schemeClr val="bg1"/>
                </a:solidFill>
                <a:latin typeface="+mj-lt"/>
              </a:rPr>
              <a:t>Ongoing Thing</a:t>
            </a:r>
            <a:endParaRPr lang="en-US" sz="900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76D0C00-35E4-8640-9997-5AE21D8D5E0B}"/>
              </a:ext>
            </a:extLst>
          </p:cNvPr>
          <p:cNvSpPr/>
          <p:nvPr/>
        </p:nvSpPr>
        <p:spPr>
          <a:xfrm>
            <a:off x="3811979" y="1846568"/>
            <a:ext cx="1966833" cy="3651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 Th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 Her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CC187B5-6996-6D42-AC01-29F9D49A551A}"/>
              </a:ext>
            </a:extLst>
          </p:cNvPr>
          <p:cNvSpPr/>
          <p:nvPr/>
        </p:nvSpPr>
        <p:spPr>
          <a:xfrm>
            <a:off x="5778812" y="2216131"/>
            <a:ext cx="804868" cy="36512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B8AB234-3EC1-3846-ABBE-22BC164738D0}"/>
              </a:ext>
            </a:extLst>
          </p:cNvPr>
          <p:cNvSpPr/>
          <p:nvPr/>
        </p:nvSpPr>
        <p:spPr>
          <a:xfrm>
            <a:off x="1211282" y="2194356"/>
            <a:ext cx="982671" cy="36576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rIns="45720" bIns="18288" anchor="ctr"/>
          <a:lstStyle/>
          <a:p>
            <a:pPr marL="0" marR="0" lvl="0" indent="0" algn="ctr" defTabSz="3429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kern="0" dirty="0">
                <a:solidFill>
                  <a:schemeClr val="bg1"/>
                </a:solidFill>
                <a:latin typeface="+mj-lt"/>
              </a:rPr>
              <a:t>Ongoing Thing</a:t>
            </a:r>
          </a:p>
          <a:p>
            <a:pPr marL="0" marR="0" lvl="0" indent="0" algn="ctr" defTabSz="3429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 Here</a:t>
            </a:r>
            <a:endParaRPr kumimoji="0" lang="en-US" sz="9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421DF-59D3-504A-9732-41E50D8FE079}"/>
              </a:ext>
            </a:extLst>
          </p:cNvPr>
          <p:cNvSpPr/>
          <p:nvPr/>
        </p:nvSpPr>
        <p:spPr>
          <a:xfrm>
            <a:off x="2193952" y="2194356"/>
            <a:ext cx="318171" cy="36576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lIns="45720" rIns="45720" bIns="18288" anchor="ctr"/>
          <a:lstStyle/>
          <a:p>
            <a:pPr marL="0" marR="0" lvl="0" indent="0" algn="ctr" defTabSz="3429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1" kern="0" dirty="0">
                <a:solidFill>
                  <a:schemeClr val="bg1"/>
                </a:solidFill>
              </a:rPr>
              <a:t>Event</a:t>
            </a:r>
            <a:endParaRPr kumimoji="0" lang="en-US" sz="6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998A0B8-586A-2448-97D8-F8259D6D24D9}"/>
              </a:ext>
            </a:extLst>
          </p:cNvPr>
          <p:cNvSpPr/>
          <p:nvPr/>
        </p:nvSpPr>
        <p:spPr>
          <a:xfrm>
            <a:off x="6583680" y="2569951"/>
            <a:ext cx="5074950" cy="31384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Marketing or Something Else Happening Related to This Launch Over Time</a:t>
            </a:r>
            <a:endParaRPr kumimoji="0" lang="en-US" sz="9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61">
            <a:extLst>
              <a:ext uri="{FF2B5EF4-FFF2-40B4-BE49-F238E27FC236}">
                <a16:creationId xmlns:a16="http://schemas.microsoft.com/office/drawing/2014/main" id="{98FF0C57-E99A-B64F-A81E-3416CF9531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4875" y="3018000"/>
            <a:ext cx="980125" cy="175433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bIns="18288">
            <a:spAutoFit/>
          </a:bodyPr>
          <a:lstStyle>
            <a:lvl1pPr defTabSz="45720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rgbClr val="5E5E5E"/>
              </a:buClr>
              <a:buSzPct val="100000"/>
              <a:buFont typeface="Arial" panose="020B0604020202020204" pitchFamily="34" charset="0"/>
              <a:buChar char="•"/>
              <a:tabLst>
                <a:tab pos="742950" algn="l"/>
              </a:tabLst>
              <a:defRPr sz="2000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342900" eaLnBrk="0" hangingPunct="0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altLang="en-US" sz="800" b="1" kern="0" dirty="0">
                <a:latin typeface="+mn-lt"/>
                <a:ea typeface="+mn-ea"/>
                <a:cs typeface="+mn-cs"/>
              </a:rPr>
              <a:t>Product Launch</a:t>
            </a:r>
          </a:p>
        </p:txBody>
      </p:sp>
      <p:sp>
        <p:nvSpPr>
          <p:cNvPr id="38" name="5-Point Star 71">
            <a:extLst>
              <a:ext uri="{FF2B5EF4-FFF2-40B4-BE49-F238E27FC236}">
                <a16:creationId xmlns:a16="http://schemas.microsoft.com/office/drawing/2014/main" id="{399B7B9E-5728-DF4F-B560-60B38FC8922D}"/>
              </a:ext>
            </a:extLst>
          </p:cNvPr>
          <p:cNvSpPr/>
          <p:nvPr/>
        </p:nvSpPr>
        <p:spPr bwMode="auto">
          <a:xfrm>
            <a:off x="6329791" y="2569951"/>
            <a:ext cx="507777" cy="448049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bIns="18288" anchor="ctr"/>
          <a:lstStyle/>
          <a:p>
            <a:pPr marL="0" marR="0" lvl="0" indent="0" algn="ctr" defTabSz="3429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107E488-90D7-214F-BE00-0B3185BEEE4E}"/>
              </a:ext>
            </a:extLst>
          </p:cNvPr>
          <p:cNvSpPr/>
          <p:nvPr/>
        </p:nvSpPr>
        <p:spPr>
          <a:xfrm>
            <a:off x="271696" y="2971335"/>
            <a:ext cx="2816061" cy="36576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lIns="45720" rIns="45720"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 Th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 Her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3A51E17-89F7-7A4F-9112-4756F11F1E9A}"/>
              </a:ext>
            </a:extLst>
          </p:cNvPr>
          <p:cNvSpPr/>
          <p:nvPr/>
        </p:nvSpPr>
        <p:spPr>
          <a:xfrm>
            <a:off x="3087756" y="3346220"/>
            <a:ext cx="1616765" cy="36576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rIns="45720"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 Th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 Her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3016042-FB19-B145-BBAC-94BD45BF8A26}"/>
              </a:ext>
            </a:extLst>
          </p:cNvPr>
          <p:cNvSpPr/>
          <p:nvPr/>
        </p:nvSpPr>
        <p:spPr>
          <a:xfrm>
            <a:off x="4704521" y="3721105"/>
            <a:ext cx="675862" cy="36576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lIns="45720" rIns="45720"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7C90A9A-BF79-1349-B73C-99ACA92D7614}"/>
              </a:ext>
            </a:extLst>
          </p:cNvPr>
          <p:cNvSpPr/>
          <p:nvPr/>
        </p:nvSpPr>
        <p:spPr>
          <a:xfrm>
            <a:off x="5380383" y="4086865"/>
            <a:ext cx="3564834" cy="36576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lIns="45720" rIns="45720"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 Th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 Her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477093A-48BA-E14A-AF75-110D6D06C577}"/>
              </a:ext>
            </a:extLst>
          </p:cNvPr>
          <p:cNvSpPr/>
          <p:nvPr/>
        </p:nvSpPr>
        <p:spPr>
          <a:xfrm>
            <a:off x="8945217" y="4453260"/>
            <a:ext cx="1961799" cy="3651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 Th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 Her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690AF59-F5E6-F544-A180-89A60A532EE1}"/>
              </a:ext>
            </a:extLst>
          </p:cNvPr>
          <p:cNvSpPr/>
          <p:nvPr/>
        </p:nvSpPr>
        <p:spPr>
          <a:xfrm>
            <a:off x="10903867" y="4821343"/>
            <a:ext cx="1144767" cy="36512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</a:t>
            </a:r>
            <a:endParaRPr lang="en-US" sz="900" b="1" kern="0" dirty="0">
              <a:solidFill>
                <a:schemeClr val="bg1"/>
              </a:solidFill>
            </a:endParaRPr>
          </a:p>
        </p:txBody>
      </p:sp>
      <p:sp>
        <p:nvSpPr>
          <p:cNvPr id="45" name="TextBox 61">
            <a:extLst>
              <a:ext uri="{FF2B5EF4-FFF2-40B4-BE49-F238E27FC236}">
                <a16:creationId xmlns:a16="http://schemas.microsoft.com/office/drawing/2014/main" id="{18B93C04-8104-7B47-B0BF-CF7F18E5F5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58002" y="6002836"/>
            <a:ext cx="908719" cy="433965"/>
          </a:xfrm>
          <a:prstGeom prst="rect">
            <a:avLst/>
          </a:prstGeom>
          <a:noFill/>
          <a:ln>
            <a:noFill/>
          </a:ln>
        </p:spPr>
        <p:txBody>
          <a:bodyPr wrap="square" bIns="18288">
            <a:spAutoFit/>
          </a:bodyPr>
          <a:lstStyle>
            <a:lvl1pPr defTabSz="45720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rgbClr val="5E5E5E"/>
              </a:buClr>
              <a:buSzPct val="100000"/>
              <a:buFont typeface="Arial" panose="020B0604020202020204" pitchFamily="34" charset="0"/>
              <a:buChar char="•"/>
              <a:tabLst>
                <a:tab pos="742950" algn="l"/>
              </a:tabLst>
              <a:defRPr sz="2000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3429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57213" algn="l"/>
              </a:tabLst>
              <a:defRPr/>
            </a:pPr>
            <a:r>
              <a:rPr lang="en-US" altLang="en-US" sz="800" b="1" kern="0" dirty="0">
                <a:latin typeface="+mn-lt"/>
                <a:ea typeface="+mn-ea"/>
                <a:cs typeface="+mn-cs"/>
              </a:rPr>
              <a:t>Projected Launch</a:t>
            </a:r>
          </a:p>
          <a:p>
            <a:pPr algn="ctr" defTabSz="3429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57213" algn="l"/>
              </a:tabLst>
              <a:defRPr/>
            </a:pPr>
            <a:r>
              <a:rPr lang="en-US" altLang="en-US" sz="800" b="1" kern="0" dirty="0">
                <a:latin typeface="+mn-lt"/>
                <a:ea typeface="+mn-ea"/>
                <a:cs typeface="+mn-cs"/>
              </a:rPr>
              <a:t>(Oct 2025)</a:t>
            </a:r>
          </a:p>
        </p:txBody>
      </p:sp>
      <p:sp>
        <p:nvSpPr>
          <p:cNvPr id="46" name="5-Point Star 71">
            <a:extLst>
              <a:ext uri="{FF2B5EF4-FFF2-40B4-BE49-F238E27FC236}">
                <a16:creationId xmlns:a16="http://schemas.microsoft.com/office/drawing/2014/main" id="{DE780BBB-DB95-C44B-9742-CD4CBB85E369}"/>
              </a:ext>
            </a:extLst>
          </p:cNvPr>
          <p:cNvSpPr/>
          <p:nvPr/>
        </p:nvSpPr>
        <p:spPr bwMode="auto">
          <a:xfrm>
            <a:off x="11458473" y="5566280"/>
            <a:ext cx="507777" cy="448049"/>
          </a:xfrm>
          <a:prstGeom prst="star5">
            <a:avLst/>
          </a:prstGeom>
          <a:noFill/>
          <a:ln w="9525" cap="flat" cmpd="sng" algn="ctr">
            <a:solidFill>
              <a:schemeClr val="accent1"/>
            </a:solidFill>
            <a:prstDash val="sysDash"/>
          </a:ln>
          <a:effectLst/>
        </p:spPr>
        <p:txBody>
          <a:bodyPr bIns="18288" anchor="ctr"/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081FBED-6FBE-D540-9440-8BDC90B05049}"/>
              </a:ext>
            </a:extLst>
          </p:cNvPr>
          <p:cNvSpPr/>
          <p:nvPr/>
        </p:nvSpPr>
        <p:spPr>
          <a:xfrm>
            <a:off x="10410091" y="5188687"/>
            <a:ext cx="493776" cy="36512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18288" tIns="18288" rIns="18288"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</a:t>
            </a:r>
            <a:endParaRPr lang="en-US" sz="900" b="1" kern="0" dirty="0">
              <a:solidFill>
                <a:schemeClr val="bg1"/>
              </a:solidFill>
            </a:endParaRPr>
          </a:p>
        </p:txBody>
      </p:sp>
      <p:sp>
        <p:nvSpPr>
          <p:cNvPr id="48" name="TextBox 61">
            <a:extLst>
              <a:ext uri="{FF2B5EF4-FFF2-40B4-BE49-F238E27FC236}">
                <a16:creationId xmlns:a16="http://schemas.microsoft.com/office/drawing/2014/main" id="{931B0F48-404B-DA4C-9CA9-824E262F05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05011" y="6002836"/>
            <a:ext cx="980125" cy="18774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bIns="18288">
            <a:spAutoFit/>
          </a:bodyPr>
          <a:lstStyle>
            <a:lvl1pPr defTabSz="45720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rgbClr val="5E5E5E"/>
              </a:buClr>
              <a:buSzPct val="100000"/>
              <a:buFont typeface="Arial" panose="020B0604020202020204" pitchFamily="34" charset="0"/>
              <a:buChar char="•"/>
              <a:tabLst>
                <a:tab pos="742950" algn="l"/>
              </a:tabLst>
              <a:defRPr sz="2000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3429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>
                <a:tab pos="557213" algn="l"/>
              </a:tabLst>
              <a:defRPr/>
            </a:pPr>
            <a:r>
              <a:rPr lang="en-US" altLang="en-US" sz="800" b="1" kern="0" dirty="0">
                <a:latin typeface="+mn-lt"/>
                <a:ea typeface="+mn-ea"/>
                <a:cs typeface="+mn-cs"/>
              </a:rPr>
              <a:t>Product Launch</a:t>
            </a:r>
          </a:p>
        </p:txBody>
      </p:sp>
      <p:sp>
        <p:nvSpPr>
          <p:cNvPr id="49" name="5-Point Star 71">
            <a:extLst>
              <a:ext uri="{FF2B5EF4-FFF2-40B4-BE49-F238E27FC236}">
                <a16:creationId xmlns:a16="http://schemas.microsoft.com/office/drawing/2014/main" id="{4F65C5FE-17FB-FF42-AB9A-F51E20727D0F}"/>
              </a:ext>
            </a:extLst>
          </p:cNvPr>
          <p:cNvSpPr/>
          <p:nvPr/>
        </p:nvSpPr>
        <p:spPr bwMode="auto">
          <a:xfrm>
            <a:off x="10641185" y="5566280"/>
            <a:ext cx="507777" cy="448049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bIns="18288" anchor="ctr"/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51" name="Elbow Connector 50">
            <a:extLst>
              <a:ext uri="{FF2B5EF4-FFF2-40B4-BE49-F238E27FC236}">
                <a16:creationId xmlns:a16="http://schemas.microsoft.com/office/drawing/2014/main" id="{24BB0B1B-DFB5-C841-98E0-D636B410DCE1}"/>
              </a:ext>
            </a:extLst>
          </p:cNvPr>
          <p:cNvCxnSpPr>
            <a:cxnSpLocks/>
            <a:stCxn id="35" idx="3"/>
            <a:endCxn id="30" idx="2"/>
          </p:cNvCxnSpPr>
          <p:nvPr/>
        </p:nvCxnSpPr>
        <p:spPr>
          <a:xfrm flipH="1" flipV="1">
            <a:off x="2511631" y="1839474"/>
            <a:ext cx="492" cy="537762"/>
          </a:xfrm>
          <a:prstGeom prst="bentConnector4">
            <a:avLst>
              <a:gd name="adj1" fmla="val -46463415"/>
              <a:gd name="adj2" fmla="val 67004"/>
            </a:avLst>
          </a:prstGeom>
          <a:ln w="254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Up Arrow 52">
            <a:extLst>
              <a:ext uri="{FF2B5EF4-FFF2-40B4-BE49-F238E27FC236}">
                <a16:creationId xmlns:a16="http://schemas.microsoft.com/office/drawing/2014/main" id="{28CB6CBE-2333-6849-833C-BF963332F2B0}"/>
              </a:ext>
            </a:extLst>
          </p:cNvPr>
          <p:cNvSpPr/>
          <p:nvPr/>
        </p:nvSpPr>
        <p:spPr>
          <a:xfrm>
            <a:off x="3167350" y="3767633"/>
            <a:ext cx="502467" cy="502112"/>
          </a:xfrm>
          <a:prstGeom prst="upArrow">
            <a:avLst>
              <a:gd name="adj1" fmla="val 76818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700" dirty="0">
                <a:solidFill>
                  <a:schemeClr val="bg1"/>
                </a:solidFill>
              </a:rPr>
              <a:t>callout</a:t>
            </a:r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C45E5864-BF5F-E741-ADB3-FCBB895C1CF1}"/>
              </a:ext>
            </a:extLst>
          </p:cNvPr>
          <p:cNvCxnSpPr/>
          <p:nvPr/>
        </p:nvCxnSpPr>
        <p:spPr>
          <a:xfrm>
            <a:off x="7818783" y="2883796"/>
            <a:ext cx="0" cy="1203069"/>
          </a:xfrm>
          <a:prstGeom prst="straightConnector1">
            <a:avLst/>
          </a:prstGeom>
          <a:ln w="254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entagon 56">
            <a:extLst>
              <a:ext uri="{FF2B5EF4-FFF2-40B4-BE49-F238E27FC236}">
                <a16:creationId xmlns:a16="http://schemas.microsoft.com/office/drawing/2014/main" id="{59682966-F843-D644-B05C-ABEA6C4A53A6}"/>
              </a:ext>
            </a:extLst>
          </p:cNvPr>
          <p:cNvSpPr/>
          <p:nvPr/>
        </p:nvSpPr>
        <p:spPr>
          <a:xfrm>
            <a:off x="1351147" y="4704522"/>
            <a:ext cx="842805" cy="481946"/>
          </a:xfrm>
          <a:prstGeom prst="homePlate">
            <a:avLst>
              <a:gd name="adj" fmla="val 3556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schemeClr val="bg1"/>
                </a:solidFill>
                <a:latin typeface="+mj-lt"/>
              </a:rPr>
              <a:t>Callout</a:t>
            </a:r>
          </a:p>
        </p:txBody>
      </p:sp>
    </p:spTree>
    <p:extLst>
      <p:ext uri="{BB962C8B-B14F-4D97-AF65-F5344CB8AC3E}">
        <p14:creationId xmlns:p14="http://schemas.microsoft.com/office/powerpoint/2010/main" val="423205094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DE4F304-F764-9147-8F01-23F191114D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922B77-C239-4E4C-8133-C17819FE7C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1FCAD1-7C3F-3B43-BD23-3D15B75BF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22DCA3-5A77-D945-AD89-FC56FC2E69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Use shapes below as needed. Copy and paste to duplicate. Delete unneeded shapes.</a:t>
            </a:r>
          </a:p>
        </p:txBody>
      </p:sp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B6780250-E9A9-7746-82D8-36067CFE93A9}"/>
              </a:ext>
            </a:extLst>
          </p:cNvPr>
          <p:cNvGraphicFramePr>
            <a:graphicFrameLocks noGrp="1"/>
          </p:cNvGraphicFramePr>
          <p:nvPr/>
        </p:nvGraphicFramePr>
        <p:xfrm>
          <a:off x="313858" y="1000126"/>
          <a:ext cx="11734776" cy="5208503"/>
        </p:xfrm>
        <a:graphic>
          <a:graphicData uri="http://schemas.openxmlformats.org/drawingml/2006/table">
            <a:tbl>
              <a:tblPr/>
              <a:tblGrid>
                <a:gridCol w="162983">
                  <a:extLst>
                    <a:ext uri="{9D8B030D-6E8A-4147-A177-3AD203B41FA5}">
                      <a16:colId xmlns:a16="http://schemas.microsoft.com/office/drawing/2014/main" val="367784969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2374805983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4250264740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1652112590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422259464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78029636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1885865822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365746900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2726548880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836252781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1655282943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030957463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910313670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133072798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693641874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471415865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2528528509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4076923817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2349236213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1125077695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1573471387"/>
                    </a:ext>
                  </a:extLst>
                </a:gridCol>
                <a:gridCol w="38104">
                  <a:extLst>
                    <a:ext uri="{9D8B030D-6E8A-4147-A177-3AD203B41FA5}">
                      <a16:colId xmlns:a16="http://schemas.microsoft.com/office/drawing/2014/main" val="530283563"/>
                    </a:ext>
                  </a:extLst>
                </a:gridCol>
                <a:gridCol w="287862">
                  <a:extLst>
                    <a:ext uri="{9D8B030D-6E8A-4147-A177-3AD203B41FA5}">
                      <a16:colId xmlns:a16="http://schemas.microsoft.com/office/drawing/2014/main" val="3327200548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959319460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4287545512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851336770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700542785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2009706832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988617796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796499918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2009787698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4056808022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1315044972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813188203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871214108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792592088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805523585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153088608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7450234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145124967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1396818263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566942966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1617228587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824258823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774592544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1792448925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1346279228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2433722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267902058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412512920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832050326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1300483697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2609914078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1595405043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1887250196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47606838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763088045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2734551128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448512284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481706273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033257240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4227282664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71753861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801594194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2562881009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1090022329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639986541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3835127469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2485253961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2875064744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4122841474"/>
                    </a:ext>
                  </a:extLst>
                </a:gridCol>
                <a:gridCol w="162983">
                  <a:extLst>
                    <a:ext uri="{9D8B030D-6E8A-4147-A177-3AD203B41FA5}">
                      <a16:colId xmlns:a16="http://schemas.microsoft.com/office/drawing/2014/main" val="232966021"/>
                    </a:ext>
                  </a:extLst>
                </a:gridCol>
              </a:tblGrid>
              <a:tr h="167281"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20</a:t>
                      </a:r>
                    </a:p>
                  </a:txBody>
                  <a:tcPr marL="6352" marR="6352" marT="63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2021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2022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2023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2024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2025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8054665"/>
                  </a:ext>
                </a:extLst>
              </a:tr>
              <a:tr h="16728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</a:t>
                      </a:r>
                    </a:p>
                  </a:txBody>
                  <a:tcPr marL="6352" marR="6352" marT="635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373375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3936378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8372083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906383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6671878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5171784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0852069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919393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7900032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284816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851047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72157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829001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2474397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83956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426105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1571575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5718907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634822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5356085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101024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812005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2711923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4359754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2549436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2415613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337078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4201048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554076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694634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6405764"/>
                  </a:ext>
                </a:extLst>
              </a:tr>
              <a:tr h="152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6293190"/>
                  </a:ext>
                </a:extLst>
              </a:tr>
              <a:tr h="159678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2" marR="6352" marT="6352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113808"/>
                  </a:ext>
                </a:extLst>
              </a:tr>
            </a:tbl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2E32C499-840F-9D46-8B94-14084E883E67}"/>
              </a:ext>
            </a:extLst>
          </p:cNvPr>
          <p:cNvSpPr/>
          <p:nvPr/>
        </p:nvSpPr>
        <p:spPr>
          <a:xfrm>
            <a:off x="1211282" y="1473714"/>
            <a:ext cx="2600697" cy="36576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45720" rIns="45720" bIns="18288" anchor="ctr"/>
          <a:lstStyle/>
          <a:p>
            <a:pPr marL="0" marR="0" lvl="0" indent="0" algn="ctr" defTabSz="3429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ngoing Thing</a:t>
            </a:r>
          </a:p>
          <a:p>
            <a:pPr marL="0" marR="0" lvl="0" indent="0" algn="ctr" defTabSz="3429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Details Her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157C12A-044A-4D43-8664-68EC8B2079A0}"/>
              </a:ext>
            </a:extLst>
          </p:cNvPr>
          <p:cNvSpPr/>
          <p:nvPr/>
        </p:nvSpPr>
        <p:spPr>
          <a:xfrm>
            <a:off x="228611" y="1473714"/>
            <a:ext cx="982671" cy="36576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lIns="45720" rIns="45720" bIns="18288" anchor="ctr"/>
          <a:lstStyle/>
          <a:p>
            <a:pPr marL="0" marR="0" lvl="0" indent="0" algn="ctr" defTabSz="3429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kern="0" dirty="0">
                <a:solidFill>
                  <a:schemeClr val="bg1"/>
                </a:solidFill>
                <a:latin typeface="+mj-lt"/>
              </a:rPr>
              <a:t>Ongoing Thing</a:t>
            </a:r>
            <a:endParaRPr lang="en-US" sz="900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76D0C00-35E4-8640-9997-5AE21D8D5E0B}"/>
              </a:ext>
            </a:extLst>
          </p:cNvPr>
          <p:cNvSpPr/>
          <p:nvPr/>
        </p:nvSpPr>
        <p:spPr>
          <a:xfrm>
            <a:off x="3811979" y="1846568"/>
            <a:ext cx="1966833" cy="3651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 Th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 Her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CC187B5-6996-6D42-AC01-29F9D49A551A}"/>
              </a:ext>
            </a:extLst>
          </p:cNvPr>
          <p:cNvSpPr/>
          <p:nvPr/>
        </p:nvSpPr>
        <p:spPr>
          <a:xfrm>
            <a:off x="5778812" y="2216131"/>
            <a:ext cx="804868" cy="36512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B8AB234-3EC1-3846-ABBE-22BC164738D0}"/>
              </a:ext>
            </a:extLst>
          </p:cNvPr>
          <p:cNvSpPr/>
          <p:nvPr/>
        </p:nvSpPr>
        <p:spPr>
          <a:xfrm>
            <a:off x="1211282" y="2194356"/>
            <a:ext cx="982671" cy="36576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rIns="45720" bIns="18288" anchor="ctr"/>
          <a:lstStyle/>
          <a:p>
            <a:pPr marL="0" marR="0" lvl="0" indent="0" algn="ctr" defTabSz="3429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kern="0" dirty="0">
                <a:solidFill>
                  <a:schemeClr val="bg1"/>
                </a:solidFill>
                <a:latin typeface="+mj-lt"/>
              </a:rPr>
              <a:t>Ongoing Thing</a:t>
            </a:r>
          </a:p>
          <a:p>
            <a:pPr marL="0" marR="0" lvl="0" indent="0" algn="ctr" defTabSz="3429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 Here</a:t>
            </a:r>
            <a:endParaRPr kumimoji="0" lang="en-US" sz="9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421DF-59D3-504A-9732-41E50D8FE079}"/>
              </a:ext>
            </a:extLst>
          </p:cNvPr>
          <p:cNvSpPr/>
          <p:nvPr/>
        </p:nvSpPr>
        <p:spPr>
          <a:xfrm>
            <a:off x="2193952" y="2194356"/>
            <a:ext cx="318171" cy="36576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lIns="45720" rIns="45720" bIns="18288" anchor="ctr"/>
          <a:lstStyle/>
          <a:p>
            <a:pPr marL="0" marR="0" lvl="0" indent="0" algn="ctr" defTabSz="3429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1" kern="0" dirty="0">
                <a:solidFill>
                  <a:schemeClr val="bg1"/>
                </a:solidFill>
              </a:rPr>
              <a:t>Event</a:t>
            </a:r>
            <a:endParaRPr kumimoji="0" lang="en-US" sz="6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998A0B8-586A-2448-97D8-F8259D6D24D9}"/>
              </a:ext>
            </a:extLst>
          </p:cNvPr>
          <p:cNvSpPr/>
          <p:nvPr/>
        </p:nvSpPr>
        <p:spPr>
          <a:xfrm>
            <a:off x="6583680" y="2569951"/>
            <a:ext cx="5074950" cy="31384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Marketing or Something Else Happening Related to This Launch Over Time</a:t>
            </a:r>
            <a:endParaRPr kumimoji="0" lang="en-US" sz="9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TextBox 61">
            <a:extLst>
              <a:ext uri="{FF2B5EF4-FFF2-40B4-BE49-F238E27FC236}">
                <a16:creationId xmlns:a16="http://schemas.microsoft.com/office/drawing/2014/main" id="{98FF0C57-E99A-B64F-A81E-3416CF9531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4875" y="3018000"/>
            <a:ext cx="980125" cy="175433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bIns="18288">
            <a:spAutoFit/>
          </a:bodyPr>
          <a:lstStyle>
            <a:lvl1pPr defTabSz="45720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rgbClr val="5E5E5E"/>
              </a:buClr>
              <a:buSzPct val="100000"/>
              <a:buFont typeface="Arial" panose="020B0604020202020204" pitchFamily="34" charset="0"/>
              <a:buChar char="•"/>
              <a:tabLst>
                <a:tab pos="742950" algn="l"/>
              </a:tabLst>
              <a:defRPr sz="2000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342900" eaLnBrk="0" hangingPunct="0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altLang="en-US" sz="800" b="1" kern="0" dirty="0">
                <a:latin typeface="+mn-lt"/>
                <a:ea typeface="+mn-ea"/>
                <a:cs typeface="+mn-cs"/>
              </a:rPr>
              <a:t>Product Launch</a:t>
            </a:r>
          </a:p>
        </p:txBody>
      </p:sp>
      <p:sp>
        <p:nvSpPr>
          <p:cNvPr id="38" name="5-Point Star 71">
            <a:extLst>
              <a:ext uri="{FF2B5EF4-FFF2-40B4-BE49-F238E27FC236}">
                <a16:creationId xmlns:a16="http://schemas.microsoft.com/office/drawing/2014/main" id="{399B7B9E-5728-DF4F-B560-60B38FC8922D}"/>
              </a:ext>
            </a:extLst>
          </p:cNvPr>
          <p:cNvSpPr/>
          <p:nvPr/>
        </p:nvSpPr>
        <p:spPr bwMode="auto">
          <a:xfrm>
            <a:off x="6329791" y="2569951"/>
            <a:ext cx="507777" cy="448049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bIns="18288" anchor="ctr"/>
          <a:lstStyle/>
          <a:p>
            <a:pPr marL="0" marR="0" lvl="0" indent="0" algn="ctr" defTabSz="3429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107E488-90D7-214F-BE00-0B3185BEEE4E}"/>
              </a:ext>
            </a:extLst>
          </p:cNvPr>
          <p:cNvSpPr/>
          <p:nvPr/>
        </p:nvSpPr>
        <p:spPr>
          <a:xfrm>
            <a:off x="271696" y="2971335"/>
            <a:ext cx="2816061" cy="36576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lIns="45720" rIns="45720"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 Th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 Her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3A51E17-89F7-7A4F-9112-4756F11F1E9A}"/>
              </a:ext>
            </a:extLst>
          </p:cNvPr>
          <p:cNvSpPr/>
          <p:nvPr/>
        </p:nvSpPr>
        <p:spPr>
          <a:xfrm>
            <a:off x="3087756" y="3346220"/>
            <a:ext cx="1616765" cy="36576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rIns="45720"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 Th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 Her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3016042-FB19-B145-BBAC-94BD45BF8A26}"/>
              </a:ext>
            </a:extLst>
          </p:cNvPr>
          <p:cNvSpPr/>
          <p:nvPr/>
        </p:nvSpPr>
        <p:spPr>
          <a:xfrm>
            <a:off x="4704521" y="3721105"/>
            <a:ext cx="675862" cy="36576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lIns="45720" rIns="45720"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7C90A9A-BF79-1349-B73C-99ACA92D7614}"/>
              </a:ext>
            </a:extLst>
          </p:cNvPr>
          <p:cNvSpPr/>
          <p:nvPr/>
        </p:nvSpPr>
        <p:spPr>
          <a:xfrm>
            <a:off x="5380383" y="4086865"/>
            <a:ext cx="3564834" cy="36576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lIns="45720" rIns="45720"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 Th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 Her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477093A-48BA-E14A-AF75-110D6D06C577}"/>
              </a:ext>
            </a:extLst>
          </p:cNvPr>
          <p:cNvSpPr/>
          <p:nvPr/>
        </p:nvSpPr>
        <p:spPr>
          <a:xfrm>
            <a:off x="8945217" y="4453260"/>
            <a:ext cx="1961799" cy="3651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 Th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 Her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690AF59-F5E6-F544-A180-89A60A532EE1}"/>
              </a:ext>
            </a:extLst>
          </p:cNvPr>
          <p:cNvSpPr/>
          <p:nvPr/>
        </p:nvSpPr>
        <p:spPr>
          <a:xfrm>
            <a:off x="10903867" y="4821343"/>
            <a:ext cx="1144767" cy="36512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</a:t>
            </a:r>
            <a:endParaRPr lang="en-US" sz="900" b="1" kern="0" dirty="0">
              <a:solidFill>
                <a:schemeClr val="bg1"/>
              </a:solidFill>
            </a:endParaRPr>
          </a:p>
        </p:txBody>
      </p:sp>
      <p:sp>
        <p:nvSpPr>
          <p:cNvPr id="45" name="TextBox 61">
            <a:extLst>
              <a:ext uri="{FF2B5EF4-FFF2-40B4-BE49-F238E27FC236}">
                <a16:creationId xmlns:a16="http://schemas.microsoft.com/office/drawing/2014/main" id="{18B93C04-8104-7B47-B0BF-CF7F18E5F5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58002" y="6002836"/>
            <a:ext cx="908719" cy="433965"/>
          </a:xfrm>
          <a:prstGeom prst="rect">
            <a:avLst/>
          </a:prstGeom>
          <a:noFill/>
          <a:ln>
            <a:noFill/>
          </a:ln>
        </p:spPr>
        <p:txBody>
          <a:bodyPr wrap="square" bIns="18288">
            <a:spAutoFit/>
          </a:bodyPr>
          <a:lstStyle>
            <a:lvl1pPr defTabSz="45720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rgbClr val="5E5E5E"/>
              </a:buClr>
              <a:buSzPct val="100000"/>
              <a:buFont typeface="Arial" panose="020B0604020202020204" pitchFamily="34" charset="0"/>
              <a:buChar char="•"/>
              <a:tabLst>
                <a:tab pos="742950" algn="l"/>
              </a:tabLst>
              <a:defRPr sz="2000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3429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57213" algn="l"/>
              </a:tabLst>
              <a:defRPr/>
            </a:pPr>
            <a:r>
              <a:rPr lang="en-US" altLang="en-US" sz="800" b="1" kern="0" dirty="0">
                <a:latin typeface="+mn-lt"/>
                <a:ea typeface="+mn-ea"/>
                <a:cs typeface="+mn-cs"/>
              </a:rPr>
              <a:t>Projected Launch</a:t>
            </a:r>
          </a:p>
          <a:p>
            <a:pPr algn="ctr" defTabSz="3429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57213" algn="l"/>
              </a:tabLst>
              <a:defRPr/>
            </a:pPr>
            <a:r>
              <a:rPr lang="en-US" altLang="en-US" sz="800" b="1" kern="0" dirty="0">
                <a:latin typeface="+mn-lt"/>
                <a:ea typeface="+mn-ea"/>
                <a:cs typeface="+mn-cs"/>
              </a:rPr>
              <a:t>(Oct 2025)</a:t>
            </a:r>
          </a:p>
        </p:txBody>
      </p:sp>
      <p:sp>
        <p:nvSpPr>
          <p:cNvPr id="46" name="5-Point Star 71">
            <a:extLst>
              <a:ext uri="{FF2B5EF4-FFF2-40B4-BE49-F238E27FC236}">
                <a16:creationId xmlns:a16="http://schemas.microsoft.com/office/drawing/2014/main" id="{DE780BBB-DB95-C44B-9742-CD4CBB85E369}"/>
              </a:ext>
            </a:extLst>
          </p:cNvPr>
          <p:cNvSpPr/>
          <p:nvPr/>
        </p:nvSpPr>
        <p:spPr bwMode="auto">
          <a:xfrm>
            <a:off x="11458473" y="5566280"/>
            <a:ext cx="507777" cy="448049"/>
          </a:xfrm>
          <a:prstGeom prst="star5">
            <a:avLst/>
          </a:prstGeom>
          <a:noFill/>
          <a:ln w="9525" cap="flat" cmpd="sng" algn="ctr">
            <a:solidFill>
              <a:schemeClr val="accent1"/>
            </a:solidFill>
            <a:prstDash val="sysDash"/>
          </a:ln>
          <a:effectLst/>
        </p:spPr>
        <p:txBody>
          <a:bodyPr bIns="18288" anchor="ctr"/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081FBED-6FBE-D540-9440-8BDC90B05049}"/>
              </a:ext>
            </a:extLst>
          </p:cNvPr>
          <p:cNvSpPr/>
          <p:nvPr/>
        </p:nvSpPr>
        <p:spPr>
          <a:xfrm>
            <a:off x="10410091" y="5188687"/>
            <a:ext cx="493776" cy="36512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18288" tIns="18288" rIns="18288" bIns="18288" anchor="ctr"/>
          <a:lstStyle/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b="1" kern="0" dirty="0">
                <a:solidFill>
                  <a:schemeClr val="bg1"/>
                </a:solidFill>
              </a:rPr>
              <a:t>Ongoing</a:t>
            </a:r>
          </a:p>
          <a:p>
            <a:pPr lvl="0" algn="ctr" defTabSz="342900" eaLnBrk="0" hangingPunct="0">
              <a:lnSpc>
                <a:spcPct val="90000"/>
              </a:lnSpc>
              <a:defRPr/>
            </a:pPr>
            <a:r>
              <a:rPr lang="en-US" sz="900" kern="0" dirty="0">
                <a:solidFill>
                  <a:schemeClr val="bg1"/>
                </a:solidFill>
              </a:rPr>
              <a:t>Details</a:t>
            </a:r>
            <a:endParaRPr lang="en-US" sz="900" b="1" kern="0" dirty="0">
              <a:solidFill>
                <a:schemeClr val="bg1"/>
              </a:solidFill>
            </a:endParaRPr>
          </a:p>
        </p:txBody>
      </p:sp>
      <p:sp>
        <p:nvSpPr>
          <p:cNvPr id="48" name="TextBox 61">
            <a:extLst>
              <a:ext uri="{FF2B5EF4-FFF2-40B4-BE49-F238E27FC236}">
                <a16:creationId xmlns:a16="http://schemas.microsoft.com/office/drawing/2014/main" id="{931B0F48-404B-DA4C-9CA9-824E262F05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05011" y="6002836"/>
            <a:ext cx="980125" cy="18774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bIns="18288">
            <a:spAutoFit/>
          </a:bodyPr>
          <a:lstStyle>
            <a:lvl1pPr defTabSz="45720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rgbClr val="5E5E5E"/>
              </a:buClr>
              <a:buSzPct val="100000"/>
              <a:buFont typeface="Arial" panose="020B0604020202020204" pitchFamily="34" charset="0"/>
              <a:buChar char="•"/>
              <a:tabLst>
                <a:tab pos="742950" algn="l"/>
              </a:tabLst>
              <a:defRPr sz="2000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lnSpc>
                <a:spcPct val="90000"/>
              </a:lnSpc>
              <a:spcBef>
                <a:spcPct val="20000"/>
              </a:spcBef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5E5E5E"/>
              </a:buClr>
              <a:buFont typeface="Arial" panose="020B0604020202020204" pitchFamily="34" charset="0"/>
              <a:buChar char="»"/>
              <a:defRPr sz="14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3429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>
                <a:tab pos="557213" algn="l"/>
              </a:tabLst>
              <a:defRPr/>
            </a:pPr>
            <a:r>
              <a:rPr lang="en-US" altLang="en-US" sz="800" b="1" kern="0" dirty="0">
                <a:latin typeface="+mn-lt"/>
                <a:ea typeface="+mn-ea"/>
                <a:cs typeface="+mn-cs"/>
              </a:rPr>
              <a:t>Product Launch</a:t>
            </a:r>
          </a:p>
        </p:txBody>
      </p:sp>
      <p:sp>
        <p:nvSpPr>
          <p:cNvPr id="49" name="5-Point Star 71">
            <a:extLst>
              <a:ext uri="{FF2B5EF4-FFF2-40B4-BE49-F238E27FC236}">
                <a16:creationId xmlns:a16="http://schemas.microsoft.com/office/drawing/2014/main" id="{4F65C5FE-17FB-FF42-AB9A-F51E20727D0F}"/>
              </a:ext>
            </a:extLst>
          </p:cNvPr>
          <p:cNvSpPr/>
          <p:nvPr/>
        </p:nvSpPr>
        <p:spPr bwMode="auto">
          <a:xfrm>
            <a:off x="10641185" y="5566280"/>
            <a:ext cx="507777" cy="448049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bIns="18288" anchor="ctr"/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51" name="Elbow Connector 50">
            <a:extLst>
              <a:ext uri="{FF2B5EF4-FFF2-40B4-BE49-F238E27FC236}">
                <a16:creationId xmlns:a16="http://schemas.microsoft.com/office/drawing/2014/main" id="{24BB0B1B-DFB5-C841-98E0-D636B410DCE1}"/>
              </a:ext>
            </a:extLst>
          </p:cNvPr>
          <p:cNvCxnSpPr>
            <a:cxnSpLocks/>
            <a:stCxn id="35" idx="3"/>
            <a:endCxn id="30" idx="2"/>
          </p:cNvCxnSpPr>
          <p:nvPr/>
        </p:nvCxnSpPr>
        <p:spPr>
          <a:xfrm flipH="1" flipV="1">
            <a:off x="2511631" y="1839474"/>
            <a:ext cx="492" cy="537762"/>
          </a:xfrm>
          <a:prstGeom prst="bentConnector4">
            <a:avLst>
              <a:gd name="adj1" fmla="val -46463415"/>
              <a:gd name="adj2" fmla="val 67004"/>
            </a:avLst>
          </a:prstGeom>
          <a:ln w="254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Up Arrow 52">
            <a:extLst>
              <a:ext uri="{FF2B5EF4-FFF2-40B4-BE49-F238E27FC236}">
                <a16:creationId xmlns:a16="http://schemas.microsoft.com/office/drawing/2014/main" id="{28CB6CBE-2333-6849-833C-BF963332F2B0}"/>
              </a:ext>
            </a:extLst>
          </p:cNvPr>
          <p:cNvSpPr/>
          <p:nvPr/>
        </p:nvSpPr>
        <p:spPr>
          <a:xfrm>
            <a:off x="3167350" y="3767633"/>
            <a:ext cx="502467" cy="502112"/>
          </a:xfrm>
          <a:prstGeom prst="upArrow">
            <a:avLst>
              <a:gd name="adj1" fmla="val 76818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700" dirty="0">
                <a:solidFill>
                  <a:schemeClr val="bg1"/>
                </a:solidFill>
              </a:rPr>
              <a:t>callout</a:t>
            </a:r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C45E5864-BF5F-E741-ADB3-FCBB895C1CF1}"/>
              </a:ext>
            </a:extLst>
          </p:cNvPr>
          <p:cNvCxnSpPr/>
          <p:nvPr/>
        </p:nvCxnSpPr>
        <p:spPr>
          <a:xfrm>
            <a:off x="7818783" y="2883796"/>
            <a:ext cx="0" cy="1203069"/>
          </a:xfrm>
          <a:prstGeom prst="straightConnector1">
            <a:avLst/>
          </a:prstGeom>
          <a:ln w="254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entagon 56">
            <a:extLst>
              <a:ext uri="{FF2B5EF4-FFF2-40B4-BE49-F238E27FC236}">
                <a16:creationId xmlns:a16="http://schemas.microsoft.com/office/drawing/2014/main" id="{59682966-F843-D644-B05C-ABEA6C4A53A6}"/>
              </a:ext>
            </a:extLst>
          </p:cNvPr>
          <p:cNvSpPr/>
          <p:nvPr/>
        </p:nvSpPr>
        <p:spPr>
          <a:xfrm>
            <a:off x="1351147" y="4704522"/>
            <a:ext cx="842805" cy="481946"/>
          </a:xfrm>
          <a:prstGeom prst="homePlate">
            <a:avLst>
              <a:gd name="adj" fmla="val 3556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schemeClr val="bg1"/>
                </a:solidFill>
                <a:latin typeface="+mj-lt"/>
              </a:rPr>
              <a:t>Callout</a:t>
            </a:r>
          </a:p>
        </p:txBody>
      </p:sp>
      <p:sp>
        <p:nvSpPr>
          <p:cNvPr id="50" name="Pentagon 49">
            <a:extLst>
              <a:ext uri="{FF2B5EF4-FFF2-40B4-BE49-F238E27FC236}">
                <a16:creationId xmlns:a16="http://schemas.microsoft.com/office/drawing/2014/main" id="{64E5AA3F-88F3-1F4B-8615-DB4C250DB3CA}"/>
              </a:ext>
            </a:extLst>
          </p:cNvPr>
          <p:cNvSpPr/>
          <p:nvPr/>
        </p:nvSpPr>
        <p:spPr>
          <a:xfrm>
            <a:off x="-2343597" y="4452625"/>
            <a:ext cx="2286722" cy="1000660"/>
          </a:xfrm>
          <a:prstGeom prst="homePlate">
            <a:avLst>
              <a:gd name="adj" fmla="val 2761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b="1" dirty="0">
                <a:solidFill>
                  <a:schemeClr val="bg1"/>
                </a:solidFill>
              </a:rPr>
              <a:t>TO CHANGE TO 1, 2, 3, OR 4 YEAR TIMELINE: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DELETE UNNEEDED COLUMNS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SELECT TABLE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LAYOUT</a:t>
            </a:r>
            <a:r>
              <a:rPr lang="en-US" sz="1000" b="1" dirty="0">
                <a:solidFill>
                  <a:schemeClr val="bg1"/>
                </a:solidFill>
                <a:sym typeface="Wingdings" pitchFamily="2" charset="2"/>
              </a:rPr>
              <a:t> WIDTH = 12.83”</a:t>
            </a:r>
            <a:endParaRPr lang="en-US" sz="1000" b="1" dirty="0">
              <a:solidFill>
                <a:schemeClr val="bg1"/>
              </a:solidFill>
            </a:endParaRPr>
          </a:p>
          <a:p>
            <a:pPr marL="228600" indent="-228600" algn="ctr">
              <a:lnSpc>
                <a:spcPct val="90000"/>
              </a:lnSpc>
              <a:buAutoNum type="arabicPeriod"/>
            </a:pPr>
            <a:endParaRPr lang="en-US" sz="1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5509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DCFE2A2-FE13-8D45-B14D-485EAF5F0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94C3B95-1E10-304D-92F3-FD13261F3E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15D1D96-58CB-4349-95BF-E14A18014C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6013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D931AD5-C259-BB47-988A-12B24CAB4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2D07EA5E-3F1F-AB47-87D3-CBCFF9F3A24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46" name="Slide Number Placeholder 45">
            <a:extLst>
              <a:ext uri="{FF2B5EF4-FFF2-40B4-BE49-F238E27FC236}">
                <a16:creationId xmlns:a16="http://schemas.microsoft.com/office/drawing/2014/main" id="{564D3A6A-DFFF-1F46-B569-BEE462F4F3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9C1771-C658-644C-8112-2103178B1C9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B157509-7044-F047-BCD5-B41387832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EA0C47C-855F-5F46-969C-ECED7821D3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6124552-C05E-2548-8D05-921F8EE7CB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D7FF7021-60E0-3C46-8648-5ABD1AE6C11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11C0531-F15D-7344-9287-53EE5BE10481}"/>
              </a:ext>
            </a:extLst>
          </p:cNvPr>
          <p:cNvSpPr>
            <a:spLocks noChangeAspect="1"/>
          </p:cNvSpPr>
          <p:nvPr/>
        </p:nvSpPr>
        <p:spPr>
          <a:xfrm>
            <a:off x="2341367" y="1215910"/>
            <a:ext cx="4753642" cy="4753642"/>
          </a:xfrm>
          <a:prstGeom prst="ellipse">
            <a:avLst/>
          </a:prstGeom>
          <a:solidFill>
            <a:schemeClr val="accent1">
              <a:alpha val="55000"/>
            </a:schemeClr>
          </a:solidFill>
          <a:ln w="762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3598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CD911F4-75BB-C24C-BFCD-A2B9261EB1A5}"/>
              </a:ext>
            </a:extLst>
          </p:cNvPr>
          <p:cNvSpPr>
            <a:spLocks noChangeAspect="1"/>
          </p:cNvSpPr>
          <p:nvPr/>
        </p:nvSpPr>
        <p:spPr>
          <a:xfrm>
            <a:off x="5205681" y="1215910"/>
            <a:ext cx="4753642" cy="4753642"/>
          </a:xfrm>
          <a:prstGeom prst="ellipse">
            <a:avLst/>
          </a:prstGeom>
          <a:solidFill>
            <a:schemeClr val="accent2">
              <a:alpha val="69000"/>
            </a:schemeClr>
          </a:solidFill>
          <a:ln w="762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3598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5EE5DEC-A9BD-854C-8192-3AD2C8E8FBC0}"/>
              </a:ext>
            </a:extLst>
          </p:cNvPr>
          <p:cNvSpPr>
            <a:spLocks noChangeAspect="1"/>
          </p:cNvSpPr>
          <p:nvPr/>
        </p:nvSpPr>
        <p:spPr>
          <a:xfrm>
            <a:off x="5205681" y="1215910"/>
            <a:ext cx="4753642" cy="4753642"/>
          </a:xfrm>
          <a:prstGeom prst="ellipse">
            <a:avLst/>
          </a:prstGeom>
          <a:noFill/>
          <a:ln w="762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3598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589FC98-46D7-D046-BC2F-309735422926}"/>
              </a:ext>
            </a:extLst>
          </p:cNvPr>
          <p:cNvSpPr>
            <a:spLocks noChangeAspect="1"/>
          </p:cNvSpPr>
          <p:nvPr/>
        </p:nvSpPr>
        <p:spPr>
          <a:xfrm>
            <a:off x="2341367" y="1215910"/>
            <a:ext cx="4753642" cy="4753642"/>
          </a:xfrm>
          <a:prstGeom prst="ellipse">
            <a:avLst/>
          </a:prstGeom>
          <a:noFill/>
          <a:ln w="762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3598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ZoneTexte 7">
            <a:extLst>
              <a:ext uri="{FF2B5EF4-FFF2-40B4-BE49-F238E27FC236}">
                <a16:creationId xmlns:a16="http://schemas.microsoft.com/office/drawing/2014/main" id="{12720867-D775-5E46-9B13-4E79527BF04D}"/>
              </a:ext>
            </a:extLst>
          </p:cNvPr>
          <p:cNvSpPr txBox="1"/>
          <p:nvPr/>
        </p:nvSpPr>
        <p:spPr>
          <a:xfrm>
            <a:off x="2499292" y="3331121"/>
            <a:ext cx="2742486" cy="307777"/>
          </a:xfrm>
          <a:prstGeom prst="rect">
            <a:avLst/>
          </a:prstGeom>
          <a:noFill/>
        </p:spPr>
        <p:txBody>
          <a:bodyPr wrap="square" lIns="91416" rIns="91416" rtlCol="0">
            <a:spAutoFit/>
          </a:bodyPr>
          <a:lstStyle/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Description</a:t>
            </a:r>
          </a:p>
        </p:txBody>
      </p:sp>
      <p:sp>
        <p:nvSpPr>
          <p:cNvPr id="17" name="ZoneTexte 7">
            <a:extLst>
              <a:ext uri="{FF2B5EF4-FFF2-40B4-BE49-F238E27FC236}">
                <a16:creationId xmlns:a16="http://schemas.microsoft.com/office/drawing/2014/main" id="{4606D628-8334-5546-8243-AED61F342932}"/>
              </a:ext>
            </a:extLst>
          </p:cNvPr>
          <p:cNvSpPr txBox="1"/>
          <p:nvPr/>
        </p:nvSpPr>
        <p:spPr>
          <a:xfrm>
            <a:off x="7294265" y="3331121"/>
            <a:ext cx="2283009" cy="307777"/>
          </a:xfrm>
          <a:prstGeom prst="rect">
            <a:avLst/>
          </a:prstGeom>
          <a:noFill/>
        </p:spPr>
        <p:txBody>
          <a:bodyPr wrap="square" lIns="91416" rIns="91416" rtlCol="0">
            <a:spAutoFit/>
          </a:bodyPr>
          <a:lstStyle/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Description</a:t>
            </a:r>
          </a:p>
        </p:txBody>
      </p:sp>
      <p:sp>
        <p:nvSpPr>
          <p:cNvPr id="19" name="ZoneTexte 7">
            <a:extLst>
              <a:ext uri="{FF2B5EF4-FFF2-40B4-BE49-F238E27FC236}">
                <a16:creationId xmlns:a16="http://schemas.microsoft.com/office/drawing/2014/main" id="{239BAEE2-3648-B842-AD1A-4DD091B006CF}"/>
              </a:ext>
            </a:extLst>
          </p:cNvPr>
          <p:cNvSpPr txBox="1"/>
          <p:nvPr/>
        </p:nvSpPr>
        <p:spPr>
          <a:xfrm>
            <a:off x="5345634" y="3377288"/>
            <a:ext cx="1607063" cy="261610"/>
          </a:xfrm>
          <a:prstGeom prst="rect">
            <a:avLst/>
          </a:prstGeom>
          <a:noFill/>
        </p:spPr>
        <p:txBody>
          <a:bodyPr wrap="square" lIns="18283" rIns="18283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1100" dirty="0">
                <a:solidFill>
                  <a:schemeClr val="bg1"/>
                </a:solidFill>
                <a:cs typeface="Arial" panose="020B0604020202020204" pitchFamily="34" charset="0"/>
              </a:rPr>
              <a:t>Description</a:t>
            </a:r>
          </a:p>
        </p:txBody>
      </p:sp>
      <p:sp>
        <p:nvSpPr>
          <p:cNvPr id="29" name="Pentagon 28">
            <a:extLst>
              <a:ext uri="{FF2B5EF4-FFF2-40B4-BE49-F238E27FC236}">
                <a16:creationId xmlns:a16="http://schemas.microsoft.com/office/drawing/2014/main" id="{A5F75D5F-13D8-B049-A217-CBE08934633E}"/>
              </a:ext>
            </a:extLst>
          </p:cNvPr>
          <p:cNvSpPr/>
          <p:nvPr/>
        </p:nvSpPr>
        <p:spPr>
          <a:xfrm>
            <a:off x="-2343597" y="4716685"/>
            <a:ext cx="2286722" cy="736600"/>
          </a:xfrm>
          <a:prstGeom prst="homePlate">
            <a:avLst>
              <a:gd name="adj" fmla="val 2761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SEND OVERLAY SHAPE TO BACK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INSERT IMAGE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SEND IMAGE TO BACK</a:t>
            </a:r>
          </a:p>
        </p:txBody>
      </p:sp>
    </p:spTree>
    <p:extLst>
      <p:ext uri="{BB962C8B-B14F-4D97-AF65-F5344CB8AC3E}">
        <p14:creationId xmlns:p14="http://schemas.microsoft.com/office/powerpoint/2010/main" val="174029845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9FF31D5-1BEB-BF4C-8FB4-FBBBF7A3AB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1" name="Slide Number Placeholder 60">
            <a:extLst>
              <a:ext uri="{FF2B5EF4-FFF2-40B4-BE49-F238E27FC236}">
                <a16:creationId xmlns:a16="http://schemas.microsoft.com/office/drawing/2014/main" id="{CBC0A0BB-1469-2A43-8108-F35500DBF1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69480D1-4174-5C4C-A2FE-F9CF44DA25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ADCDBE78-258A-3645-A8D2-FE0DB50480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7E04F9D-35E3-6F4C-BDDD-4ADEE7A3C625}"/>
              </a:ext>
            </a:extLst>
          </p:cNvPr>
          <p:cNvGrpSpPr>
            <a:grpSpLocks noChangeAspect="1"/>
          </p:cNvGrpSpPr>
          <p:nvPr/>
        </p:nvGrpSpPr>
        <p:grpSpPr>
          <a:xfrm>
            <a:off x="2933243" y="1967445"/>
            <a:ext cx="6400800" cy="4184559"/>
            <a:chOff x="5157993" y="1665630"/>
            <a:chExt cx="2936367" cy="1919171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D7792DC-5CB5-474D-B1FA-420E8E38CF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189" y="1665630"/>
              <a:ext cx="365958" cy="271518"/>
            </a:xfrm>
            <a:custGeom>
              <a:avLst/>
              <a:gdLst>
                <a:gd name="T0" fmla="*/ 228 w 257"/>
                <a:gd name="T1" fmla="*/ 167 h 190"/>
                <a:gd name="T2" fmla="*/ 227 w 257"/>
                <a:gd name="T3" fmla="*/ 190 h 190"/>
                <a:gd name="T4" fmla="*/ 150 w 257"/>
                <a:gd name="T5" fmla="*/ 172 h 190"/>
                <a:gd name="T6" fmla="*/ 141 w 257"/>
                <a:gd name="T7" fmla="*/ 172 h 190"/>
                <a:gd name="T8" fmla="*/ 108 w 257"/>
                <a:gd name="T9" fmla="*/ 174 h 190"/>
                <a:gd name="T10" fmla="*/ 102 w 257"/>
                <a:gd name="T11" fmla="*/ 173 h 190"/>
                <a:gd name="T12" fmla="*/ 97 w 257"/>
                <a:gd name="T13" fmla="*/ 174 h 190"/>
                <a:gd name="T14" fmla="*/ 94 w 257"/>
                <a:gd name="T15" fmla="*/ 172 h 190"/>
                <a:gd name="T16" fmla="*/ 86 w 257"/>
                <a:gd name="T17" fmla="*/ 171 h 190"/>
                <a:gd name="T18" fmla="*/ 85 w 257"/>
                <a:gd name="T19" fmla="*/ 168 h 190"/>
                <a:gd name="T20" fmla="*/ 73 w 257"/>
                <a:gd name="T21" fmla="*/ 165 h 190"/>
                <a:gd name="T22" fmla="*/ 66 w 257"/>
                <a:gd name="T23" fmla="*/ 162 h 190"/>
                <a:gd name="T24" fmla="*/ 51 w 257"/>
                <a:gd name="T25" fmla="*/ 165 h 190"/>
                <a:gd name="T26" fmla="*/ 33 w 257"/>
                <a:gd name="T27" fmla="*/ 156 h 190"/>
                <a:gd name="T28" fmla="*/ 29 w 257"/>
                <a:gd name="T29" fmla="*/ 128 h 190"/>
                <a:gd name="T30" fmla="*/ 20 w 257"/>
                <a:gd name="T31" fmla="*/ 126 h 190"/>
                <a:gd name="T32" fmla="*/ 10 w 257"/>
                <a:gd name="T33" fmla="*/ 120 h 190"/>
                <a:gd name="T34" fmla="*/ 0 w 257"/>
                <a:gd name="T35" fmla="*/ 116 h 190"/>
                <a:gd name="T36" fmla="*/ 3 w 257"/>
                <a:gd name="T37" fmla="*/ 103 h 190"/>
                <a:gd name="T38" fmla="*/ 5 w 257"/>
                <a:gd name="T39" fmla="*/ 105 h 190"/>
                <a:gd name="T40" fmla="*/ 7 w 257"/>
                <a:gd name="T41" fmla="*/ 105 h 190"/>
                <a:gd name="T42" fmla="*/ 11 w 257"/>
                <a:gd name="T43" fmla="*/ 99 h 190"/>
                <a:gd name="T44" fmla="*/ 9 w 257"/>
                <a:gd name="T45" fmla="*/ 96 h 190"/>
                <a:gd name="T46" fmla="*/ 7 w 257"/>
                <a:gd name="T47" fmla="*/ 88 h 190"/>
                <a:gd name="T48" fmla="*/ 16 w 257"/>
                <a:gd name="T49" fmla="*/ 85 h 190"/>
                <a:gd name="T50" fmla="*/ 8 w 257"/>
                <a:gd name="T51" fmla="*/ 78 h 190"/>
                <a:gd name="T52" fmla="*/ 6 w 257"/>
                <a:gd name="T53" fmla="*/ 60 h 190"/>
                <a:gd name="T54" fmla="*/ 8 w 257"/>
                <a:gd name="T55" fmla="*/ 41 h 190"/>
                <a:gd name="T56" fmla="*/ 3 w 257"/>
                <a:gd name="T57" fmla="*/ 23 h 190"/>
                <a:gd name="T58" fmla="*/ 10 w 257"/>
                <a:gd name="T59" fmla="*/ 10 h 190"/>
                <a:gd name="T60" fmla="*/ 33 w 257"/>
                <a:gd name="T61" fmla="*/ 30 h 190"/>
                <a:gd name="T62" fmla="*/ 49 w 257"/>
                <a:gd name="T63" fmla="*/ 36 h 190"/>
                <a:gd name="T64" fmla="*/ 55 w 257"/>
                <a:gd name="T65" fmla="*/ 36 h 190"/>
                <a:gd name="T66" fmla="*/ 65 w 257"/>
                <a:gd name="T67" fmla="*/ 42 h 190"/>
                <a:gd name="T68" fmla="*/ 63 w 257"/>
                <a:gd name="T69" fmla="*/ 56 h 190"/>
                <a:gd name="T70" fmla="*/ 48 w 257"/>
                <a:gd name="T71" fmla="*/ 69 h 190"/>
                <a:gd name="T72" fmla="*/ 48 w 257"/>
                <a:gd name="T73" fmla="*/ 74 h 190"/>
                <a:gd name="T74" fmla="*/ 55 w 257"/>
                <a:gd name="T75" fmla="*/ 66 h 190"/>
                <a:gd name="T76" fmla="*/ 70 w 257"/>
                <a:gd name="T77" fmla="*/ 57 h 190"/>
                <a:gd name="T78" fmla="*/ 66 w 257"/>
                <a:gd name="T79" fmla="*/ 64 h 190"/>
                <a:gd name="T80" fmla="*/ 52 w 257"/>
                <a:gd name="T81" fmla="*/ 80 h 190"/>
                <a:gd name="T82" fmla="*/ 46 w 257"/>
                <a:gd name="T83" fmla="*/ 91 h 190"/>
                <a:gd name="T84" fmla="*/ 55 w 257"/>
                <a:gd name="T85" fmla="*/ 87 h 190"/>
                <a:gd name="T86" fmla="*/ 65 w 257"/>
                <a:gd name="T87" fmla="*/ 82 h 190"/>
                <a:gd name="T88" fmla="*/ 71 w 257"/>
                <a:gd name="T89" fmla="*/ 68 h 190"/>
                <a:gd name="T90" fmla="*/ 80 w 257"/>
                <a:gd name="T91" fmla="*/ 54 h 190"/>
                <a:gd name="T92" fmla="*/ 78 w 257"/>
                <a:gd name="T93" fmla="*/ 42 h 190"/>
                <a:gd name="T94" fmla="*/ 75 w 257"/>
                <a:gd name="T95" fmla="*/ 35 h 190"/>
                <a:gd name="T96" fmla="*/ 74 w 257"/>
                <a:gd name="T97" fmla="*/ 46 h 190"/>
                <a:gd name="T98" fmla="*/ 76 w 257"/>
                <a:gd name="T99" fmla="*/ 54 h 190"/>
                <a:gd name="T100" fmla="*/ 72 w 257"/>
                <a:gd name="T101" fmla="*/ 51 h 190"/>
                <a:gd name="T102" fmla="*/ 68 w 257"/>
                <a:gd name="T103" fmla="*/ 41 h 190"/>
                <a:gd name="T104" fmla="*/ 73 w 257"/>
                <a:gd name="T105" fmla="*/ 32 h 190"/>
                <a:gd name="T106" fmla="*/ 74 w 257"/>
                <a:gd name="T107" fmla="*/ 24 h 190"/>
                <a:gd name="T108" fmla="*/ 80 w 257"/>
                <a:gd name="T109" fmla="*/ 30 h 190"/>
                <a:gd name="T110" fmla="*/ 79 w 257"/>
                <a:gd name="T111" fmla="*/ 15 h 190"/>
                <a:gd name="T112" fmla="*/ 77 w 257"/>
                <a:gd name="T113" fmla="*/ 11 h 190"/>
                <a:gd name="T114" fmla="*/ 145 w 257"/>
                <a:gd name="T115" fmla="*/ 19 h 190"/>
                <a:gd name="T116" fmla="*/ 246 w 257"/>
                <a:gd name="T117" fmla="*/ 4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7" h="190">
                  <a:moveTo>
                    <a:pt x="257" y="47"/>
                  </a:moveTo>
                  <a:cubicBezTo>
                    <a:pt x="257" y="47"/>
                    <a:pt x="233" y="161"/>
                    <a:pt x="228" y="167"/>
                  </a:cubicBezTo>
                  <a:cubicBezTo>
                    <a:pt x="224" y="174"/>
                    <a:pt x="229" y="172"/>
                    <a:pt x="229" y="179"/>
                  </a:cubicBezTo>
                  <a:cubicBezTo>
                    <a:pt x="229" y="185"/>
                    <a:pt x="227" y="190"/>
                    <a:pt x="227" y="190"/>
                  </a:cubicBezTo>
                  <a:cubicBezTo>
                    <a:pt x="161" y="173"/>
                    <a:pt x="161" y="173"/>
                    <a:pt x="161" y="173"/>
                  </a:cubicBezTo>
                  <a:cubicBezTo>
                    <a:pt x="150" y="172"/>
                    <a:pt x="150" y="172"/>
                    <a:pt x="150" y="172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1" y="172"/>
                    <a:pt x="141" y="172"/>
                    <a:pt x="141" y="17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08" y="174"/>
                    <a:pt x="108" y="174"/>
                    <a:pt x="108" y="174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2" y="173"/>
                    <a:pt x="102" y="173"/>
                    <a:pt x="102" y="173"/>
                  </a:cubicBezTo>
                  <a:cubicBezTo>
                    <a:pt x="99" y="174"/>
                    <a:pt x="99" y="174"/>
                    <a:pt x="99" y="174"/>
                  </a:cubicBezTo>
                  <a:cubicBezTo>
                    <a:pt x="97" y="174"/>
                    <a:pt x="97" y="174"/>
                    <a:pt x="97" y="174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4" y="172"/>
                    <a:pt x="94" y="172"/>
                    <a:pt x="94" y="172"/>
                  </a:cubicBezTo>
                  <a:cubicBezTo>
                    <a:pt x="89" y="172"/>
                    <a:pt x="89" y="172"/>
                    <a:pt x="89" y="172"/>
                  </a:cubicBezTo>
                  <a:cubicBezTo>
                    <a:pt x="86" y="171"/>
                    <a:pt x="86" y="171"/>
                    <a:pt x="86" y="171"/>
                  </a:cubicBezTo>
                  <a:cubicBezTo>
                    <a:pt x="85" y="169"/>
                    <a:pt x="85" y="169"/>
                    <a:pt x="85" y="169"/>
                  </a:cubicBezTo>
                  <a:cubicBezTo>
                    <a:pt x="85" y="168"/>
                    <a:pt x="85" y="168"/>
                    <a:pt x="85" y="168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73" y="165"/>
                    <a:pt x="73" y="165"/>
                    <a:pt x="73" y="165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6" y="162"/>
                    <a:pt x="66" y="162"/>
                    <a:pt x="66" y="162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51" y="165"/>
                    <a:pt x="51" y="165"/>
                    <a:pt x="51" y="165"/>
                  </a:cubicBezTo>
                  <a:cubicBezTo>
                    <a:pt x="40" y="162"/>
                    <a:pt x="40" y="162"/>
                    <a:pt x="40" y="162"/>
                  </a:cubicBezTo>
                  <a:cubicBezTo>
                    <a:pt x="33" y="156"/>
                    <a:pt x="33" y="156"/>
                    <a:pt x="33" y="156"/>
                  </a:cubicBezTo>
                  <a:cubicBezTo>
                    <a:pt x="33" y="156"/>
                    <a:pt x="36" y="149"/>
                    <a:pt x="35" y="140"/>
                  </a:cubicBezTo>
                  <a:cubicBezTo>
                    <a:pt x="34" y="130"/>
                    <a:pt x="29" y="128"/>
                    <a:pt x="29" y="128"/>
                  </a:cubicBezTo>
                  <a:cubicBezTo>
                    <a:pt x="24" y="128"/>
                    <a:pt x="24" y="128"/>
                    <a:pt x="24" y="128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20" y="126"/>
                    <a:pt x="20" y="120"/>
                    <a:pt x="15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6" y="106"/>
                    <a:pt x="6" y="106"/>
                    <a:pt x="6" y="106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9" y="96"/>
                    <a:pt x="9" y="96"/>
                    <a:pt x="9" y="96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77" y="11"/>
                    <a:pt x="77" y="11"/>
                    <a:pt x="77" y="1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133" y="16"/>
                    <a:pt x="145" y="19"/>
                  </a:cubicBezTo>
                  <a:cubicBezTo>
                    <a:pt x="156" y="22"/>
                    <a:pt x="230" y="42"/>
                    <a:pt x="235" y="43"/>
                  </a:cubicBezTo>
                  <a:cubicBezTo>
                    <a:pt x="240" y="45"/>
                    <a:pt x="246" y="45"/>
                    <a:pt x="246" y="45"/>
                  </a:cubicBezTo>
                  <a:lnTo>
                    <a:pt x="257" y="4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3B1111DE-E193-B943-B55E-4A2F6B2A3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596" y="2621843"/>
              <a:ext cx="384509" cy="394627"/>
            </a:xfrm>
            <a:custGeom>
              <a:avLst/>
              <a:gdLst>
                <a:gd name="T0" fmla="*/ 34 w 228"/>
                <a:gd name="T1" fmla="*/ 0 h 234"/>
                <a:gd name="T2" fmla="*/ 228 w 228"/>
                <a:gd name="T3" fmla="*/ 23 h 234"/>
                <a:gd name="T4" fmla="*/ 227 w 228"/>
                <a:gd name="T5" fmla="*/ 44 h 234"/>
                <a:gd name="T6" fmla="*/ 224 w 228"/>
                <a:gd name="T7" fmla="*/ 44 h 234"/>
                <a:gd name="T8" fmla="*/ 210 w 228"/>
                <a:gd name="T9" fmla="*/ 226 h 234"/>
                <a:gd name="T10" fmla="*/ 91 w 228"/>
                <a:gd name="T11" fmla="*/ 215 h 234"/>
                <a:gd name="T12" fmla="*/ 90 w 228"/>
                <a:gd name="T13" fmla="*/ 224 h 234"/>
                <a:gd name="T14" fmla="*/ 32 w 228"/>
                <a:gd name="T15" fmla="*/ 218 h 234"/>
                <a:gd name="T16" fmla="*/ 29 w 228"/>
                <a:gd name="T17" fmla="*/ 234 h 234"/>
                <a:gd name="T18" fmla="*/ 0 w 228"/>
                <a:gd name="T19" fmla="*/ 230 h 234"/>
                <a:gd name="T20" fmla="*/ 34 w 228"/>
                <a:gd name="T21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8" h="234">
                  <a:moveTo>
                    <a:pt x="34" y="0"/>
                  </a:moveTo>
                  <a:lnTo>
                    <a:pt x="228" y="23"/>
                  </a:lnTo>
                  <a:lnTo>
                    <a:pt x="227" y="44"/>
                  </a:lnTo>
                  <a:lnTo>
                    <a:pt x="224" y="44"/>
                  </a:lnTo>
                  <a:lnTo>
                    <a:pt x="210" y="226"/>
                  </a:lnTo>
                  <a:lnTo>
                    <a:pt x="91" y="215"/>
                  </a:lnTo>
                  <a:lnTo>
                    <a:pt x="90" y="224"/>
                  </a:lnTo>
                  <a:lnTo>
                    <a:pt x="32" y="218"/>
                  </a:lnTo>
                  <a:lnTo>
                    <a:pt x="29" y="234"/>
                  </a:lnTo>
                  <a:lnTo>
                    <a:pt x="0" y="23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85A4A49-AB4B-9F48-A31A-27EEF1472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8942" y="2696047"/>
              <a:ext cx="762272" cy="752154"/>
            </a:xfrm>
            <a:custGeom>
              <a:avLst/>
              <a:gdLst>
                <a:gd name="T0" fmla="*/ 450 w 452"/>
                <a:gd name="T1" fmla="*/ 234 h 446"/>
                <a:gd name="T2" fmla="*/ 446 w 452"/>
                <a:gd name="T3" fmla="*/ 215 h 446"/>
                <a:gd name="T4" fmla="*/ 435 w 452"/>
                <a:gd name="T5" fmla="*/ 131 h 446"/>
                <a:gd name="T6" fmla="*/ 417 w 452"/>
                <a:gd name="T7" fmla="*/ 128 h 446"/>
                <a:gd name="T8" fmla="*/ 398 w 452"/>
                <a:gd name="T9" fmla="*/ 117 h 446"/>
                <a:gd name="T10" fmla="*/ 378 w 452"/>
                <a:gd name="T11" fmla="*/ 116 h 446"/>
                <a:gd name="T12" fmla="*/ 365 w 452"/>
                <a:gd name="T13" fmla="*/ 118 h 446"/>
                <a:gd name="T14" fmla="*/ 352 w 452"/>
                <a:gd name="T15" fmla="*/ 122 h 446"/>
                <a:gd name="T16" fmla="*/ 332 w 452"/>
                <a:gd name="T17" fmla="*/ 118 h 446"/>
                <a:gd name="T18" fmla="*/ 325 w 452"/>
                <a:gd name="T19" fmla="*/ 116 h 446"/>
                <a:gd name="T20" fmla="*/ 310 w 452"/>
                <a:gd name="T21" fmla="*/ 112 h 446"/>
                <a:gd name="T22" fmla="*/ 301 w 452"/>
                <a:gd name="T23" fmla="*/ 111 h 446"/>
                <a:gd name="T24" fmla="*/ 284 w 452"/>
                <a:gd name="T25" fmla="*/ 107 h 446"/>
                <a:gd name="T26" fmla="*/ 269 w 452"/>
                <a:gd name="T27" fmla="*/ 101 h 446"/>
                <a:gd name="T28" fmla="*/ 253 w 452"/>
                <a:gd name="T29" fmla="*/ 93 h 446"/>
                <a:gd name="T30" fmla="*/ 242 w 452"/>
                <a:gd name="T31" fmla="*/ 90 h 446"/>
                <a:gd name="T32" fmla="*/ 125 w 452"/>
                <a:gd name="T33" fmla="*/ 182 h 446"/>
                <a:gd name="T34" fmla="*/ 2 w 452"/>
                <a:gd name="T35" fmla="*/ 183 h 446"/>
                <a:gd name="T36" fmla="*/ 13 w 452"/>
                <a:gd name="T37" fmla="*/ 197 h 446"/>
                <a:gd name="T38" fmla="*/ 22 w 452"/>
                <a:gd name="T39" fmla="*/ 205 h 446"/>
                <a:gd name="T40" fmla="*/ 41 w 452"/>
                <a:gd name="T41" fmla="*/ 224 h 446"/>
                <a:gd name="T42" fmla="*/ 55 w 452"/>
                <a:gd name="T43" fmla="*/ 238 h 446"/>
                <a:gd name="T44" fmla="*/ 59 w 452"/>
                <a:gd name="T45" fmla="*/ 259 h 446"/>
                <a:gd name="T46" fmla="*/ 66 w 452"/>
                <a:gd name="T47" fmla="*/ 278 h 446"/>
                <a:gd name="T48" fmla="*/ 74 w 452"/>
                <a:gd name="T49" fmla="*/ 286 h 446"/>
                <a:gd name="T50" fmla="*/ 88 w 452"/>
                <a:gd name="T51" fmla="*/ 296 h 446"/>
                <a:gd name="T52" fmla="*/ 109 w 452"/>
                <a:gd name="T53" fmla="*/ 307 h 446"/>
                <a:gd name="T54" fmla="*/ 120 w 452"/>
                <a:gd name="T55" fmla="*/ 298 h 446"/>
                <a:gd name="T56" fmla="*/ 127 w 452"/>
                <a:gd name="T57" fmla="*/ 283 h 446"/>
                <a:gd name="T58" fmla="*/ 148 w 452"/>
                <a:gd name="T59" fmla="*/ 275 h 446"/>
                <a:gd name="T60" fmla="*/ 170 w 452"/>
                <a:gd name="T61" fmla="*/ 279 h 446"/>
                <a:gd name="T62" fmla="*/ 183 w 452"/>
                <a:gd name="T63" fmla="*/ 292 h 446"/>
                <a:gd name="T64" fmla="*/ 200 w 452"/>
                <a:gd name="T65" fmla="*/ 320 h 446"/>
                <a:gd name="T66" fmla="*/ 210 w 452"/>
                <a:gd name="T67" fmla="*/ 343 h 446"/>
                <a:gd name="T68" fmla="*/ 235 w 452"/>
                <a:gd name="T69" fmla="*/ 372 h 446"/>
                <a:gd name="T70" fmla="*/ 237 w 452"/>
                <a:gd name="T71" fmla="*/ 388 h 446"/>
                <a:gd name="T72" fmla="*/ 249 w 452"/>
                <a:gd name="T73" fmla="*/ 416 h 446"/>
                <a:gd name="T74" fmla="*/ 273 w 452"/>
                <a:gd name="T75" fmla="*/ 427 h 446"/>
                <a:gd name="T76" fmla="*/ 291 w 452"/>
                <a:gd name="T77" fmla="*/ 438 h 446"/>
                <a:gd name="T78" fmla="*/ 305 w 452"/>
                <a:gd name="T79" fmla="*/ 442 h 446"/>
                <a:gd name="T80" fmla="*/ 321 w 452"/>
                <a:gd name="T81" fmla="*/ 441 h 446"/>
                <a:gd name="T82" fmla="*/ 317 w 452"/>
                <a:gd name="T83" fmla="*/ 425 h 446"/>
                <a:gd name="T84" fmla="*/ 308 w 452"/>
                <a:gd name="T85" fmla="*/ 404 h 446"/>
                <a:gd name="T86" fmla="*/ 318 w 452"/>
                <a:gd name="T87" fmla="*/ 370 h 446"/>
                <a:gd name="T88" fmla="*/ 311 w 452"/>
                <a:gd name="T89" fmla="*/ 361 h 446"/>
                <a:gd name="T90" fmla="*/ 326 w 452"/>
                <a:gd name="T91" fmla="*/ 355 h 446"/>
                <a:gd name="T92" fmla="*/ 324 w 452"/>
                <a:gd name="T93" fmla="*/ 350 h 446"/>
                <a:gd name="T94" fmla="*/ 338 w 452"/>
                <a:gd name="T95" fmla="*/ 350 h 446"/>
                <a:gd name="T96" fmla="*/ 336 w 452"/>
                <a:gd name="T97" fmla="*/ 345 h 446"/>
                <a:gd name="T98" fmla="*/ 347 w 452"/>
                <a:gd name="T99" fmla="*/ 342 h 446"/>
                <a:gd name="T100" fmla="*/ 346 w 452"/>
                <a:gd name="T101" fmla="*/ 331 h 446"/>
                <a:gd name="T102" fmla="*/ 357 w 452"/>
                <a:gd name="T103" fmla="*/ 329 h 446"/>
                <a:gd name="T104" fmla="*/ 367 w 452"/>
                <a:gd name="T105" fmla="*/ 329 h 446"/>
                <a:gd name="T106" fmla="*/ 395 w 452"/>
                <a:gd name="T107" fmla="*/ 314 h 446"/>
                <a:gd name="T108" fmla="*/ 403 w 452"/>
                <a:gd name="T109" fmla="*/ 305 h 446"/>
                <a:gd name="T110" fmla="*/ 403 w 452"/>
                <a:gd name="T111" fmla="*/ 296 h 446"/>
                <a:gd name="T112" fmla="*/ 410 w 452"/>
                <a:gd name="T113" fmla="*/ 286 h 446"/>
                <a:gd name="T114" fmla="*/ 412 w 452"/>
                <a:gd name="T115" fmla="*/ 299 h 446"/>
                <a:gd name="T116" fmla="*/ 439 w 452"/>
                <a:gd name="T117" fmla="*/ 288 h 446"/>
                <a:gd name="T118" fmla="*/ 447 w 452"/>
                <a:gd name="T119" fmla="*/ 268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2" h="446">
                  <a:moveTo>
                    <a:pt x="446" y="253"/>
                  </a:moveTo>
                  <a:lnTo>
                    <a:pt x="448" y="245"/>
                  </a:lnTo>
                  <a:lnTo>
                    <a:pt x="452" y="240"/>
                  </a:lnTo>
                  <a:lnTo>
                    <a:pt x="450" y="234"/>
                  </a:lnTo>
                  <a:lnTo>
                    <a:pt x="448" y="226"/>
                  </a:lnTo>
                  <a:lnTo>
                    <a:pt x="447" y="223"/>
                  </a:lnTo>
                  <a:lnTo>
                    <a:pt x="447" y="217"/>
                  </a:lnTo>
                  <a:lnTo>
                    <a:pt x="446" y="215"/>
                  </a:lnTo>
                  <a:lnTo>
                    <a:pt x="442" y="206"/>
                  </a:lnTo>
                  <a:lnTo>
                    <a:pt x="442" y="204"/>
                  </a:lnTo>
                  <a:lnTo>
                    <a:pt x="435" y="198"/>
                  </a:lnTo>
                  <a:lnTo>
                    <a:pt x="435" y="131"/>
                  </a:lnTo>
                  <a:lnTo>
                    <a:pt x="425" y="130"/>
                  </a:lnTo>
                  <a:lnTo>
                    <a:pt x="423" y="132"/>
                  </a:lnTo>
                  <a:lnTo>
                    <a:pt x="420" y="131"/>
                  </a:lnTo>
                  <a:lnTo>
                    <a:pt x="417" y="128"/>
                  </a:lnTo>
                  <a:lnTo>
                    <a:pt x="413" y="126"/>
                  </a:lnTo>
                  <a:lnTo>
                    <a:pt x="408" y="126"/>
                  </a:lnTo>
                  <a:lnTo>
                    <a:pt x="402" y="122"/>
                  </a:lnTo>
                  <a:lnTo>
                    <a:pt x="398" y="117"/>
                  </a:lnTo>
                  <a:lnTo>
                    <a:pt x="393" y="116"/>
                  </a:lnTo>
                  <a:lnTo>
                    <a:pt x="385" y="118"/>
                  </a:lnTo>
                  <a:lnTo>
                    <a:pt x="383" y="117"/>
                  </a:lnTo>
                  <a:lnTo>
                    <a:pt x="378" y="116"/>
                  </a:lnTo>
                  <a:lnTo>
                    <a:pt x="374" y="119"/>
                  </a:lnTo>
                  <a:lnTo>
                    <a:pt x="372" y="120"/>
                  </a:lnTo>
                  <a:lnTo>
                    <a:pt x="369" y="118"/>
                  </a:lnTo>
                  <a:lnTo>
                    <a:pt x="365" y="118"/>
                  </a:lnTo>
                  <a:lnTo>
                    <a:pt x="363" y="121"/>
                  </a:lnTo>
                  <a:lnTo>
                    <a:pt x="358" y="124"/>
                  </a:lnTo>
                  <a:lnTo>
                    <a:pt x="354" y="125"/>
                  </a:lnTo>
                  <a:lnTo>
                    <a:pt x="352" y="122"/>
                  </a:lnTo>
                  <a:lnTo>
                    <a:pt x="349" y="119"/>
                  </a:lnTo>
                  <a:lnTo>
                    <a:pt x="341" y="120"/>
                  </a:lnTo>
                  <a:lnTo>
                    <a:pt x="336" y="117"/>
                  </a:lnTo>
                  <a:lnTo>
                    <a:pt x="332" y="118"/>
                  </a:lnTo>
                  <a:lnTo>
                    <a:pt x="330" y="122"/>
                  </a:lnTo>
                  <a:lnTo>
                    <a:pt x="328" y="123"/>
                  </a:lnTo>
                  <a:lnTo>
                    <a:pt x="327" y="118"/>
                  </a:lnTo>
                  <a:lnTo>
                    <a:pt x="325" y="116"/>
                  </a:lnTo>
                  <a:lnTo>
                    <a:pt x="319" y="120"/>
                  </a:lnTo>
                  <a:lnTo>
                    <a:pt x="318" y="116"/>
                  </a:lnTo>
                  <a:lnTo>
                    <a:pt x="312" y="112"/>
                  </a:lnTo>
                  <a:lnTo>
                    <a:pt x="310" y="112"/>
                  </a:lnTo>
                  <a:lnTo>
                    <a:pt x="308" y="115"/>
                  </a:lnTo>
                  <a:lnTo>
                    <a:pt x="305" y="117"/>
                  </a:lnTo>
                  <a:lnTo>
                    <a:pt x="302" y="116"/>
                  </a:lnTo>
                  <a:lnTo>
                    <a:pt x="301" y="111"/>
                  </a:lnTo>
                  <a:lnTo>
                    <a:pt x="298" y="111"/>
                  </a:lnTo>
                  <a:lnTo>
                    <a:pt x="295" y="105"/>
                  </a:lnTo>
                  <a:lnTo>
                    <a:pt x="287" y="105"/>
                  </a:lnTo>
                  <a:lnTo>
                    <a:pt x="284" y="107"/>
                  </a:lnTo>
                  <a:lnTo>
                    <a:pt x="281" y="104"/>
                  </a:lnTo>
                  <a:lnTo>
                    <a:pt x="280" y="104"/>
                  </a:lnTo>
                  <a:lnTo>
                    <a:pt x="275" y="105"/>
                  </a:lnTo>
                  <a:lnTo>
                    <a:pt x="269" y="101"/>
                  </a:lnTo>
                  <a:lnTo>
                    <a:pt x="261" y="101"/>
                  </a:lnTo>
                  <a:lnTo>
                    <a:pt x="259" y="94"/>
                  </a:lnTo>
                  <a:lnTo>
                    <a:pt x="255" y="92"/>
                  </a:lnTo>
                  <a:lnTo>
                    <a:pt x="253" y="93"/>
                  </a:lnTo>
                  <a:lnTo>
                    <a:pt x="250" y="92"/>
                  </a:lnTo>
                  <a:lnTo>
                    <a:pt x="247" y="93"/>
                  </a:lnTo>
                  <a:lnTo>
                    <a:pt x="244" y="93"/>
                  </a:lnTo>
                  <a:lnTo>
                    <a:pt x="242" y="90"/>
                  </a:lnTo>
                  <a:lnTo>
                    <a:pt x="235" y="83"/>
                  </a:lnTo>
                  <a:lnTo>
                    <a:pt x="239" y="6"/>
                  </a:lnTo>
                  <a:lnTo>
                    <a:pt x="139" y="0"/>
                  </a:lnTo>
                  <a:lnTo>
                    <a:pt x="125" y="182"/>
                  </a:lnTo>
                  <a:lnTo>
                    <a:pt x="6" y="171"/>
                  </a:lnTo>
                  <a:lnTo>
                    <a:pt x="5" y="180"/>
                  </a:lnTo>
                  <a:lnTo>
                    <a:pt x="0" y="180"/>
                  </a:lnTo>
                  <a:lnTo>
                    <a:pt x="2" y="183"/>
                  </a:lnTo>
                  <a:lnTo>
                    <a:pt x="7" y="186"/>
                  </a:lnTo>
                  <a:lnTo>
                    <a:pt x="10" y="190"/>
                  </a:lnTo>
                  <a:lnTo>
                    <a:pt x="11" y="193"/>
                  </a:lnTo>
                  <a:lnTo>
                    <a:pt x="13" y="197"/>
                  </a:lnTo>
                  <a:lnTo>
                    <a:pt x="15" y="198"/>
                  </a:lnTo>
                  <a:lnTo>
                    <a:pt x="18" y="200"/>
                  </a:lnTo>
                  <a:lnTo>
                    <a:pt x="21" y="202"/>
                  </a:lnTo>
                  <a:lnTo>
                    <a:pt x="22" y="205"/>
                  </a:lnTo>
                  <a:lnTo>
                    <a:pt x="26" y="210"/>
                  </a:lnTo>
                  <a:lnTo>
                    <a:pt x="30" y="213"/>
                  </a:lnTo>
                  <a:lnTo>
                    <a:pt x="38" y="224"/>
                  </a:lnTo>
                  <a:lnTo>
                    <a:pt x="41" y="224"/>
                  </a:lnTo>
                  <a:lnTo>
                    <a:pt x="44" y="227"/>
                  </a:lnTo>
                  <a:lnTo>
                    <a:pt x="48" y="230"/>
                  </a:lnTo>
                  <a:lnTo>
                    <a:pt x="53" y="234"/>
                  </a:lnTo>
                  <a:lnTo>
                    <a:pt x="55" y="238"/>
                  </a:lnTo>
                  <a:lnTo>
                    <a:pt x="55" y="245"/>
                  </a:lnTo>
                  <a:lnTo>
                    <a:pt x="59" y="251"/>
                  </a:lnTo>
                  <a:lnTo>
                    <a:pt x="60" y="255"/>
                  </a:lnTo>
                  <a:lnTo>
                    <a:pt x="59" y="259"/>
                  </a:lnTo>
                  <a:lnTo>
                    <a:pt x="59" y="264"/>
                  </a:lnTo>
                  <a:lnTo>
                    <a:pt x="60" y="270"/>
                  </a:lnTo>
                  <a:lnTo>
                    <a:pt x="65" y="275"/>
                  </a:lnTo>
                  <a:lnTo>
                    <a:pt x="66" y="278"/>
                  </a:lnTo>
                  <a:lnTo>
                    <a:pt x="67" y="279"/>
                  </a:lnTo>
                  <a:lnTo>
                    <a:pt x="69" y="281"/>
                  </a:lnTo>
                  <a:lnTo>
                    <a:pt x="71" y="283"/>
                  </a:lnTo>
                  <a:lnTo>
                    <a:pt x="74" y="286"/>
                  </a:lnTo>
                  <a:lnTo>
                    <a:pt x="78" y="289"/>
                  </a:lnTo>
                  <a:lnTo>
                    <a:pt x="81" y="292"/>
                  </a:lnTo>
                  <a:lnTo>
                    <a:pt x="84" y="293"/>
                  </a:lnTo>
                  <a:lnTo>
                    <a:pt x="88" y="296"/>
                  </a:lnTo>
                  <a:lnTo>
                    <a:pt x="94" y="299"/>
                  </a:lnTo>
                  <a:lnTo>
                    <a:pt x="101" y="304"/>
                  </a:lnTo>
                  <a:lnTo>
                    <a:pt x="104" y="305"/>
                  </a:lnTo>
                  <a:lnTo>
                    <a:pt x="109" y="307"/>
                  </a:lnTo>
                  <a:lnTo>
                    <a:pt x="113" y="307"/>
                  </a:lnTo>
                  <a:lnTo>
                    <a:pt x="115" y="303"/>
                  </a:lnTo>
                  <a:lnTo>
                    <a:pt x="118" y="300"/>
                  </a:lnTo>
                  <a:lnTo>
                    <a:pt x="120" y="298"/>
                  </a:lnTo>
                  <a:lnTo>
                    <a:pt x="123" y="297"/>
                  </a:lnTo>
                  <a:lnTo>
                    <a:pt x="123" y="292"/>
                  </a:lnTo>
                  <a:lnTo>
                    <a:pt x="125" y="288"/>
                  </a:lnTo>
                  <a:lnTo>
                    <a:pt x="127" y="283"/>
                  </a:lnTo>
                  <a:lnTo>
                    <a:pt x="132" y="277"/>
                  </a:lnTo>
                  <a:lnTo>
                    <a:pt x="139" y="276"/>
                  </a:lnTo>
                  <a:lnTo>
                    <a:pt x="143" y="275"/>
                  </a:lnTo>
                  <a:lnTo>
                    <a:pt x="148" y="275"/>
                  </a:lnTo>
                  <a:lnTo>
                    <a:pt x="153" y="277"/>
                  </a:lnTo>
                  <a:lnTo>
                    <a:pt x="159" y="278"/>
                  </a:lnTo>
                  <a:lnTo>
                    <a:pt x="162" y="278"/>
                  </a:lnTo>
                  <a:lnTo>
                    <a:pt x="170" y="279"/>
                  </a:lnTo>
                  <a:lnTo>
                    <a:pt x="173" y="281"/>
                  </a:lnTo>
                  <a:lnTo>
                    <a:pt x="176" y="287"/>
                  </a:lnTo>
                  <a:lnTo>
                    <a:pt x="178" y="287"/>
                  </a:lnTo>
                  <a:lnTo>
                    <a:pt x="183" y="292"/>
                  </a:lnTo>
                  <a:lnTo>
                    <a:pt x="187" y="294"/>
                  </a:lnTo>
                  <a:lnTo>
                    <a:pt x="190" y="300"/>
                  </a:lnTo>
                  <a:lnTo>
                    <a:pt x="196" y="308"/>
                  </a:lnTo>
                  <a:lnTo>
                    <a:pt x="200" y="320"/>
                  </a:lnTo>
                  <a:lnTo>
                    <a:pt x="203" y="324"/>
                  </a:lnTo>
                  <a:lnTo>
                    <a:pt x="207" y="332"/>
                  </a:lnTo>
                  <a:lnTo>
                    <a:pt x="207" y="335"/>
                  </a:lnTo>
                  <a:lnTo>
                    <a:pt x="210" y="343"/>
                  </a:lnTo>
                  <a:lnTo>
                    <a:pt x="218" y="350"/>
                  </a:lnTo>
                  <a:lnTo>
                    <a:pt x="220" y="358"/>
                  </a:lnTo>
                  <a:lnTo>
                    <a:pt x="230" y="370"/>
                  </a:lnTo>
                  <a:lnTo>
                    <a:pt x="235" y="372"/>
                  </a:lnTo>
                  <a:lnTo>
                    <a:pt x="234" y="381"/>
                  </a:lnTo>
                  <a:lnTo>
                    <a:pt x="232" y="383"/>
                  </a:lnTo>
                  <a:lnTo>
                    <a:pt x="234" y="385"/>
                  </a:lnTo>
                  <a:lnTo>
                    <a:pt x="237" y="388"/>
                  </a:lnTo>
                  <a:lnTo>
                    <a:pt x="237" y="394"/>
                  </a:lnTo>
                  <a:lnTo>
                    <a:pt x="243" y="405"/>
                  </a:lnTo>
                  <a:lnTo>
                    <a:pt x="246" y="411"/>
                  </a:lnTo>
                  <a:lnTo>
                    <a:pt x="249" y="416"/>
                  </a:lnTo>
                  <a:lnTo>
                    <a:pt x="251" y="421"/>
                  </a:lnTo>
                  <a:lnTo>
                    <a:pt x="259" y="422"/>
                  </a:lnTo>
                  <a:lnTo>
                    <a:pt x="264" y="427"/>
                  </a:lnTo>
                  <a:lnTo>
                    <a:pt x="273" y="427"/>
                  </a:lnTo>
                  <a:lnTo>
                    <a:pt x="280" y="434"/>
                  </a:lnTo>
                  <a:lnTo>
                    <a:pt x="284" y="434"/>
                  </a:lnTo>
                  <a:lnTo>
                    <a:pt x="286" y="437"/>
                  </a:lnTo>
                  <a:lnTo>
                    <a:pt x="291" y="438"/>
                  </a:lnTo>
                  <a:lnTo>
                    <a:pt x="292" y="436"/>
                  </a:lnTo>
                  <a:lnTo>
                    <a:pt x="302" y="438"/>
                  </a:lnTo>
                  <a:lnTo>
                    <a:pt x="302" y="439"/>
                  </a:lnTo>
                  <a:lnTo>
                    <a:pt x="305" y="442"/>
                  </a:lnTo>
                  <a:lnTo>
                    <a:pt x="310" y="446"/>
                  </a:lnTo>
                  <a:lnTo>
                    <a:pt x="313" y="444"/>
                  </a:lnTo>
                  <a:lnTo>
                    <a:pt x="314" y="442"/>
                  </a:lnTo>
                  <a:lnTo>
                    <a:pt x="321" y="441"/>
                  </a:lnTo>
                  <a:lnTo>
                    <a:pt x="319" y="436"/>
                  </a:lnTo>
                  <a:lnTo>
                    <a:pt x="319" y="433"/>
                  </a:lnTo>
                  <a:lnTo>
                    <a:pt x="318" y="429"/>
                  </a:lnTo>
                  <a:lnTo>
                    <a:pt x="317" y="425"/>
                  </a:lnTo>
                  <a:lnTo>
                    <a:pt x="314" y="423"/>
                  </a:lnTo>
                  <a:lnTo>
                    <a:pt x="312" y="417"/>
                  </a:lnTo>
                  <a:lnTo>
                    <a:pt x="311" y="411"/>
                  </a:lnTo>
                  <a:lnTo>
                    <a:pt x="308" y="404"/>
                  </a:lnTo>
                  <a:lnTo>
                    <a:pt x="308" y="398"/>
                  </a:lnTo>
                  <a:lnTo>
                    <a:pt x="311" y="389"/>
                  </a:lnTo>
                  <a:lnTo>
                    <a:pt x="314" y="380"/>
                  </a:lnTo>
                  <a:lnTo>
                    <a:pt x="318" y="370"/>
                  </a:lnTo>
                  <a:lnTo>
                    <a:pt x="317" y="368"/>
                  </a:lnTo>
                  <a:lnTo>
                    <a:pt x="314" y="366"/>
                  </a:lnTo>
                  <a:lnTo>
                    <a:pt x="311" y="363"/>
                  </a:lnTo>
                  <a:lnTo>
                    <a:pt x="311" y="361"/>
                  </a:lnTo>
                  <a:lnTo>
                    <a:pt x="313" y="362"/>
                  </a:lnTo>
                  <a:lnTo>
                    <a:pt x="322" y="361"/>
                  </a:lnTo>
                  <a:lnTo>
                    <a:pt x="323" y="361"/>
                  </a:lnTo>
                  <a:lnTo>
                    <a:pt x="326" y="355"/>
                  </a:lnTo>
                  <a:lnTo>
                    <a:pt x="323" y="355"/>
                  </a:lnTo>
                  <a:lnTo>
                    <a:pt x="322" y="353"/>
                  </a:lnTo>
                  <a:lnTo>
                    <a:pt x="322" y="351"/>
                  </a:lnTo>
                  <a:lnTo>
                    <a:pt x="324" y="350"/>
                  </a:lnTo>
                  <a:lnTo>
                    <a:pt x="328" y="350"/>
                  </a:lnTo>
                  <a:lnTo>
                    <a:pt x="333" y="350"/>
                  </a:lnTo>
                  <a:lnTo>
                    <a:pt x="335" y="351"/>
                  </a:lnTo>
                  <a:lnTo>
                    <a:pt x="338" y="350"/>
                  </a:lnTo>
                  <a:lnTo>
                    <a:pt x="343" y="346"/>
                  </a:lnTo>
                  <a:lnTo>
                    <a:pt x="341" y="346"/>
                  </a:lnTo>
                  <a:lnTo>
                    <a:pt x="337" y="349"/>
                  </a:lnTo>
                  <a:lnTo>
                    <a:pt x="336" y="345"/>
                  </a:lnTo>
                  <a:lnTo>
                    <a:pt x="338" y="339"/>
                  </a:lnTo>
                  <a:lnTo>
                    <a:pt x="340" y="341"/>
                  </a:lnTo>
                  <a:lnTo>
                    <a:pt x="342" y="342"/>
                  </a:lnTo>
                  <a:lnTo>
                    <a:pt x="347" y="342"/>
                  </a:lnTo>
                  <a:lnTo>
                    <a:pt x="349" y="340"/>
                  </a:lnTo>
                  <a:lnTo>
                    <a:pt x="348" y="336"/>
                  </a:lnTo>
                  <a:lnTo>
                    <a:pt x="345" y="332"/>
                  </a:lnTo>
                  <a:lnTo>
                    <a:pt x="346" y="331"/>
                  </a:lnTo>
                  <a:lnTo>
                    <a:pt x="349" y="331"/>
                  </a:lnTo>
                  <a:lnTo>
                    <a:pt x="352" y="329"/>
                  </a:lnTo>
                  <a:lnTo>
                    <a:pt x="354" y="331"/>
                  </a:lnTo>
                  <a:lnTo>
                    <a:pt x="357" y="329"/>
                  </a:lnTo>
                  <a:lnTo>
                    <a:pt x="358" y="331"/>
                  </a:lnTo>
                  <a:lnTo>
                    <a:pt x="361" y="333"/>
                  </a:lnTo>
                  <a:lnTo>
                    <a:pt x="364" y="331"/>
                  </a:lnTo>
                  <a:lnTo>
                    <a:pt x="367" y="329"/>
                  </a:lnTo>
                  <a:lnTo>
                    <a:pt x="374" y="327"/>
                  </a:lnTo>
                  <a:lnTo>
                    <a:pt x="381" y="326"/>
                  </a:lnTo>
                  <a:lnTo>
                    <a:pt x="392" y="320"/>
                  </a:lnTo>
                  <a:lnTo>
                    <a:pt x="395" y="314"/>
                  </a:lnTo>
                  <a:lnTo>
                    <a:pt x="396" y="309"/>
                  </a:lnTo>
                  <a:lnTo>
                    <a:pt x="399" y="307"/>
                  </a:lnTo>
                  <a:lnTo>
                    <a:pt x="402" y="306"/>
                  </a:lnTo>
                  <a:lnTo>
                    <a:pt x="403" y="305"/>
                  </a:lnTo>
                  <a:lnTo>
                    <a:pt x="406" y="303"/>
                  </a:lnTo>
                  <a:lnTo>
                    <a:pt x="405" y="300"/>
                  </a:lnTo>
                  <a:lnTo>
                    <a:pt x="404" y="297"/>
                  </a:lnTo>
                  <a:lnTo>
                    <a:pt x="403" y="296"/>
                  </a:lnTo>
                  <a:lnTo>
                    <a:pt x="402" y="294"/>
                  </a:lnTo>
                  <a:lnTo>
                    <a:pt x="403" y="291"/>
                  </a:lnTo>
                  <a:lnTo>
                    <a:pt x="407" y="288"/>
                  </a:lnTo>
                  <a:lnTo>
                    <a:pt x="410" y="286"/>
                  </a:lnTo>
                  <a:lnTo>
                    <a:pt x="412" y="286"/>
                  </a:lnTo>
                  <a:lnTo>
                    <a:pt x="412" y="289"/>
                  </a:lnTo>
                  <a:lnTo>
                    <a:pt x="412" y="293"/>
                  </a:lnTo>
                  <a:lnTo>
                    <a:pt x="412" y="299"/>
                  </a:lnTo>
                  <a:lnTo>
                    <a:pt x="413" y="300"/>
                  </a:lnTo>
                  <a:lnTo>
                    <a:pt x="419" y="295"/>
                  </a:lnTo>
                  <a:lnTo>
                    <a:pt x="424" y="294"/>
                  </a:lnTo>
                  <a:lnTo>
                    <a:pt x="439" y="288"/>
                  </a:lnTo>
                  <a:lnTo>
                    <a:pt x="441" y="287"/>
                  </a:lnTo>
                  <a:lnTo>
                    <a:pt x="444" y="282"/>
                  </a:lnTo>
                  <a:lnTo>
                    <a:pt x="447" y="272"/>
                  </a:lnTo>
                  <a:lnTo>
                    <a:pt x="447" y="268"/>
                  </a:lnTo>
                  <a:lnTo>
                    <a:pt x="444" y="261"/>
                  </a:lnTo>
                  <a:lnTo>
                    <a:pt x="446" y="256"/>
                  </a:lnTo>
                  <a:lnTo>
                    <a:pt x="446" y="253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91FD07F8-7D29-5648-AA53-C709E1653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3603" y="2574622"/>
              <a:ext cx="369330" cy="435102"/>
            </a:xfrm>
            <a:custGeom>
              <a:avLst/>
              <a:gdLst>
                <a:gd name="T0" fmla="*/ 73 w 259"/>
                <a:gd name="T1" fmla="*/ 0 h 304"/>
                <a:gd name="T2" fmla="*/ 68 w 259"/>
                <a:gd name="T3" fmla="*/ 25 h 304"/>
                <a:gd name="T4" fmla="*/ 62 w 259"/>
                <a:gd name="T5" fmla="*/ 43 h 304"/>
                <a:gd name="T6" fmla="*/ 59 w 259"/>
                <a:gd name="T7" fmla="*/ 45 h 304"/>
                <a:gd name="T8" fmla="*/ 56 w 259"/>
                <a:gd name="T9" fmla="*/ 43 h 304"/>
                <a:gd name="T10" fmla="*/ 51 w 259"/>
                <a:gd name="T11" fmla="*/ 39 h 304"/>
                <a:gd name="T12" fmla="*/ 47 w 259"/>
                <a:gd name="T13" fmla="*/ 41 h 304"/>
                <a:gd name="T14" fmla="*/ 45 w 259"/>
                <a:gd name="T15" fmla="*/ 37 h 304"/>
                <a:gd name="T16" fmla="*/ 38 w 259"/>
                <a:gd name="T17" fmla="*/ 39 h 304"/>
                <a:gd name="T18" fmla="*/ 35 w 259"/>
                <a:gd name="T19" fmla="*/ 42 h 304"/>
                <a:gd name="T20" fmla="*/ 35 w 259"/>
                <a:gd name="T21" fmla="*/ 53 h 304"/>
                <a:gd name="T22" fmla="*/ 35 w 259"/>
                <a:gd name="T23" fmla="*/ 67 h 304"/>
                <a:gd name="T24" fmla="*/ 35 w 259"/>
                <a:gd name="T25" fmla="*/ 80 h 304"/>
                <a:gd name="T26" fmla="*/ 34 w 259"/>
                <a:gd name="T27" fmla="*/ 84 h 304"/>
                <a:gd name="T28" fmla="*/ 31 w 259"/>
                <a:gd name="T29" fmla="*/ 89 h 304"/>
                <a:gd name="T30" fmla="*/ 30 w 259"/>
                <a:gd name="T31" fmla="*/ 94 h 304"/>
                <a:gd name="T32" fmla="*/ 30 w 259"/>
                <a:gd name="T33" fmla="*/ 101 h 304"/>
                <a:gd name="T34" fmla="*/ 34 w 259"/>
                <a:gd name="T35" fmla="*/ 110 h 304"/>
                <a:gd name="T36" fmla="*/ 35 w 259"/>
                <a:gd name="T37" fmla="*/ 119 h 304"/>
                <a:gd name="T38" fmla="*/ 37 w 259"/>
                <a:gd name="T39" fmla="*/ 122 h 304"/>
                <a:gd name="T40" fmla="*/ 42 w 259"/>
                <a:gd name="T41" fmla="*/ 128 h 304"/>
                <a:gd name="T42" fmla="*/ 39 w 259"/>
                <a:gd name="T43" fmla="*/ 130 h 304"/>
                <a:gd name="T44" fmla="*/ 34 w 259"/>
                <a:gd name="T45" fmla="*/ 134 h 304"/>
                <a:gd name="T46" fmla="*/ 24 w 259"/>
                <a:gd name="T47" fmla="*/ 141 h 304"/>
                <a:gd name="T48" fmla="*/ 21 w 259"/>
                <a:gd name="T49" fmla="*/ 154 h 304"/>
                <a:gd name="T50" fmla="*/ 17 w 259"/>
                <a:gd name="T51" fmla="*/ 162 h 304"/>
                <a:gd name="T52" fmla="*/ 13 w 259"/>
                <a:gd name="T53" fmla="*/ 166 h 304"/>
                <a:gd name="T54" fmla="*/ 11 w 259"/>
                <a:gd name="T55" fmla="*/ 167 h 304"/>
                <a:gd name="T56" fmla="*/ 9 w 259"/>
                <a:gd name="T57" fmla="*/ 171 h 304"/>
                <a:gd name="T58" fmla="*/ 10 w 259"/>
                <a:gd name="T59" fmla="*/ 178 h 304"/>
                <a:gd name="T60" fmla="*/ 9 w 259"/>
                <a:gd name="T61" fmla="*/ 183 h 304"/>
                <a:gd name="T62" fmla="*/ 15 w 259"/>
                <a:gd name="T63" fmla="*/ 188 h 304"/>
                <a:gd name="T64" fmla="*/ 13 w 259"/>
                <a:gd name="T65" fmla="*/ 192 h 304"/>
                <a:gd name="T66" fmla="*/ 5 w 259"/>
                <a:gd name="T67" fmla="*/ 196 h 304"/>
                <a:gd name="T68" fmla="*/ 3 w 259"/>
                <a:gd name="T69" fmla="*/ 200 h 304"/>
                <a:gd name="T70" fmla="*/ 0 w 259"/>
                <a:gd name="T71" fmla="*/ 206 h 304"/>
                <a:gd name="T72" fmla="*/ 139 w 259"/>
                <a:gd name="T73" fmla="*/ 291 h 304"/>
                <a:gd name="T74" fmla="*/ 182 w 259"/>
                <a:gd name="T75" fmla="*/ 299 h 304"/>
                <a:gd name="T76" fmla="*/ 218 w 259"/>
                <a:gd name="T77" fmla="*/ 304 h 304"/>
                <a:gd name="T78" fmla="*/ 219 w 259"/>
                <a:gd name="T79" fmla="*/ 304 h 304"/>
                <a:gd name="T80" fmla="*/ 259 w 259"/>
                <a:gd name="T81" fmla="*/ 33 h 304"/>
                <a:gd name="T82" fmla="*/ 73 w 259"/>
                <a:gd name="T83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9" h="304">
                  <a:moveTo>
                    <a:pt x="73" y="0"/>
                  </a:moveTo>
                  <a:cubicBezTo>
                    <a:pt x="73" y="0"/>
                    <a:pt x="69" y="19"/>
                    <a:pt x="68" y="25"/>
                  </a:cubicBezTo>
                  <a:cubicBezTo>
                    <a:pt x="66" y="29"/>
                    <a:pt x="62" y="43"/>
                    <a:pt x="62" y="43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39" y="130"/>
                    <a:pt x="39" y="130"/>
                    <a:pt x="39" y="130"/>
                  </a:cubicBezTo>
                  <a:cubicBezTo>
                    <a:pt x="34" y="134"/>
                    <a:pt x="34" y="134"/>
                    <a:pt x="34" y="134"/>
                  </a:cubicBezTo>
                  <a:cubicBezTo>
                    <a:pt x="24" y="141"/>
                    <a:pt x="24" y="141"/>
                    <a:pt x="24" y="141"/>
                  </a:cubicBezTo>
                  <a:cubicBezTo>
                    <a:pt x="21" y="154"/>
                    <a:pt x="21" y="154"/>
                    <a:pt x="21" y="154"/>
                  </a:cubicBezTo>
                  <a:cubicBezTo>
                    <a:pt x="17" y="162"/>
                    <a:pt x="17" y="162"/>
                    <a:pt x="17" y="162"/>
                  </a:cubicBezTo>
                  <a:cubicBezTo>
                    <a:pt x="13" y="166"/>
                    <a:pt x="13" y="166"/>
                    <a:pt x="13" y="166"/>
                  </a:cubicBezTo>
                  <a:cubicBezTo>
                    <a:pt x="11" y="167"/>
                    <a:pt x="11" y="167"/>
                    <a:pt x="11" y="167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8"/>
                    <a:pt x="10" y="178"/>
                    <a:pt x="10" y="178"/>
                  </a:cubicBezTo>
                  <a:cubicBezTo>
                    <a:pt x="9" y="183"/>
                    <a:pt x="9" y="183"/>
                    <a:pt x="9" y="183"/>
                  </a:cubicBezTo>
                  <a:cubicBezTo>
                    <a:pt x="15" y="188"/>
                    <a:pt x="15" y="188"/>
                    <a:pt x="15" y="188"/>
                  </a:cubicBezTo>
                  <a:cubicBezTo>
                    <a:pt x="13" y="192"/>
                    <a:pt x="13" y="192"/>
                    <a:pt x="13" y="192"/>
                  </a:cubicBezTo>
                  <a:cubicBezTo>
                    <a:pt x="5" y="196"/>
                    <a:pt x="5" y="196"/>
                    <a:pt x="5" y="196"/>
                  </a:cubicBezTo>
                  <a:cubicBezTo>
                    <a:pt x="3" y="200"/>
                    <a:pt x="3" y="200"/>
                    <a:pt x="3" y="200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139" y="291"/>
                    <a:pt x="139" y="291"/>
                    <a:pt x="139" y="291"/>
                  </a:cubicBezTo>
                  <a:cubicBezTo>
                    <a:pt x="182" y="299"/>
                    <a:pt x="182" y="299"/>
                    <a:pt x="182" y="299"/>
                  </a:cubicBezTo>
                  <a:cubicBezTo>
                    <a:pt x="218" y="304"/>
                    <a:pt x="218" y="304"/>
                    <a:pt x="218" y="304"/>
                  </a:cubicBezTo>
                  <a:cubicBezTo>
                    <a:pt x="219" y="304"/>
                    <a:pt x="219" y="304"/>
                    <a:pt x="219" y="304"/>
                  </a:cubicBezTo>
                  <a:cubicBezTo>
                    <a:pt x="259" y="33"/>
                    <a:pt x="259" y="33"/>
                    <a:pt x="259" y="33"/>
                  </a:cubicBezTo>
                  <a:lnTo>
                    <a:pt x="73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83860573-7989-AF4B-801F-B29A45653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9213" y="2105792"/>
              <a:ext cx="433415" cy="750468"/>
            </a:xfrm>
            <a:custGeom>
              <a:avLst/>
              <a:gdLst>
                <a:gd name="T0" fmla="*/ 229 w 257"/>
                <a:gd name="T1" fmla="*/ 433 h 445"/>
                <a:gd name="T2" fmla="*/ 231 w 257"/>
                <a:gd name="T3" fmla="*/ 420 h 445"/>
                <a:gd name="T4" fmla="*/ 239 w 257"/>
                <a:gd name="T5" fmla="*/ 409 h 445"/>
                <a:gd name="T6" fmla="*/ 255 w 257"/>
                <a:gd name="T7" fmla="*/ 388 h 445"/>
                <a:gd name="T8" fmla="*/ 251 w 257"/>
                <a:gd name="T9" fmla="*/ 379 h 445"/>
                <a:gd name="T10" fmla="*/ 247 w 257"/>
                <a:gd name="T11" fmla="*/ 358 h 445"/>
                <a:gd name="T12" fmla="*/ 118 w 257"/>
                <a:gd name="T13" fmla="*/ 158 h 445"/>
                <a:gd name="T14" fmla="*/ 113 w 257"/>
                <a:gd name="T15" fmla="*/ 153 h 445"/>
                <a:gd name="T16" fmla="*/ 117 w 257"/>
                <a:gd name="T17" fmla="*/ 146 h 445"/>
                <a:gd name="T18" fmla="*/ 26 w 257"/>
                <a:gd name="T19" fmla="*/ 0 h 445"/>
                <a:gd name="T20" fmla="*/ 23 w 257"/>
                <a:gd name="T21" fmla="*/ 9 h 445"/>
                <a:gd name="T22" fmla="*/ 22 w 257"/>
                <a:gd name="T23" fmla="*/ 25 h 445"/>
                <a:gd name="T24" fmla="*/ 17 w 257"/>
                <a:gd name="T25" fmla="*/ 34 h 445"/>
                <a:gd name="T26" fmla="*/ 7 w 257"/>
                <a:gd name="T27" fmla="*/ 50 h 445"/>
                <a:gd name="T28" fmla="*/ 0 w 257"/>
                <a:gd name="T29" fmla="*/ 62 h 445"/>
                <a:gd name="T30" fmla="*/ 3 w 257"/>
                <a:gd name="T31" fmla="*/ 75 h 445"/>
                <a:gd name="T32" fmla="*/ 9 w 257"/>
                <a:gd name="T33" fmla="*/ 90 h 445"/>
                <a:gd name="T34" fmla="*/ 5 w 257"/>
                <a:gd name="T35" fmla="*/ 110 h 445"/>
                <a:gd name="T36" fmla="*/ 2 w 257"/>
                <a:gd name="T37" fmla="*/ 122 h 445"/>
                <a:gd name="T38" fmla="*/ 11 w 257"/>
                <a:gd name="T39" fmla="*/ 145 h 445"/>
                <a:gd name="T40" fmla="*/ 17 w 257"/>
                <a:gd name="T41" fmla="*/ 161 h 445"/>
                <a:gd name="T42" fmla="*/ 14 w 257"/>
                <a:gd name="T43" fmla="*/ 169 h 445"/>
                <a:gd name="T44" fmla="*/ 23 w 257"/>
                <a:gd name="T45" fmla="*/ 176 h 445"/>
                <a:gd name="T46" fmla="*/ 29 w 257"/>
                <a:gd name="T47" fmla="*/ 175 h 445"/>
                <a:gd name="T48" fmla="*/ 37 w 257"/>
                <a:gd name="T49" fmla="*/ 172 h 445"/>
                <a:gd name="T50" fmla="*/ 51 w 257"/>
                <a:gd name="T51" fmla="*/ 177 h 445"/>
                <a:gd name="T52" fmla="*/ 49 w 257"/>
                <a:gd name="T53" fmla="*/ 179 h 445"/>
                <a:gd name="T54" fmla="*/ 40 w 257"/>
                <a:gd name="T55" fmla="*/ 176 h 445"/>
                <a:gd name="T56" fmla="*/ 33 w 257"/>
                <a:gd name="T57" fmla="*/ 175 h 445"/>
                <a:gd name="T58" fmla="*/ 35 w 257"/>
                <a:gd name="T59" fmla="*/ 187 h 445"/>
                <a:gd name="T60" fmla="*/ 30 w 257"/>
                <a:gd name="T61" fmla="*/ 192 h 445"/>
                <a:gd name="T62" fmla="*/ 29 w 257"/>
                <a:gd name="T63" fmla="*/ 185 h 445"/>
                <a:gd name="T64" fmla="*/ 24 w 257"/>
                <a:gd name="T65" fmla="*/ 187 h 445"/>
                <a:gd name="T66" fmla="*/ 23 w 257"/>
                <a:gd name="T67" fmla="*/ 204 h 445"/>
                <a:gd name="T68" fmla="*/ 30 w 257"/>
                <a:gd name="T69" fmla="*/ 217 h 445"/>
                <a:gd name="T70" fmla="*/ 35 w 257"/>
                <a:gd name="T71" fmla="*/ 229 h 445"/>
                <a:gd name="T72" fmla="*/ 28 w 257"/>
                <a:gd name="T73" fmla="*/ 234 h 445"/>
                <a:gd name="T74" fmla="*/ 34 w 257"/>
                <a:gd name="T75" fmla="*/ 255 h 445"/>
                <a:gd name="T76" fmla="*/ 42 w 257"/>
                <a:gd name="T77" fmla="*/ 275 h 445"/>
                <a:gd name="T78" fmla="*/ 50 w 257"/>
                <a:gd name="T79" fmla="*/ 288 h 445"/>
                <a:gd name="T80" fmla="*/ 50 w 257"/>
                <a:gd name="T81" fmla="*/ 298 h 445"/>
                <a:gd name="T82" fmla="*/ 53 w 257"/>
                <a:gd name="T83" fmla="*/ 307 h 445"/>
                <a:gd name="T84" fmla="*/ 50 w 257"/>
                <a:gd name="T85" fmla="*/ 327 h 445"/>
                <a:gd name="T86" fmla="*/ 73 w 257"/>
                <a:gd name="T87" fmla="*/ 339 h 445"/>
                <a:gd name="T88" fmla="*/ 91 w 257"/>
                <a:gd name="T89" fmla="*/ 355 h 445"/>
                <a:gd name="T90" fmla="*/ 112 w 257"/>
                <a:gd name="T91" fmla="*/ 374 h 445"/>
                <a:gd name="T92" fmla="*/ 128 w 257"/>
                <a:gd name="T93" fmla="*/ 388 h 445"/>
                <a:gd name="T94" fmla="*/ 143 w 257"/>
                <a:gd name="T95" fmla="*/ 414 h 445"/>
                <a:gd name="T96" fmla="*/ 143 w 257"/>
                <a:gd name="T97" fmla="*/ 434 h 445"/>
                <a:gd name="T98" fmla="*/ 226 w 257"/>
                <a:gd name="T99" fmla="*/ 44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7" h="445">
                  <a:moveTo>
                    <a:pt x="233" y="441"/>
                  </a:moveTo>
                  <a:lnTo>
                    <a:pt x="234" y="438"/>
                  </a:lnTo>
                  <a:lnTo>
                    <a:pt x="229" y="433"/>
                  </a:lnTo>
                  <a:lnTo>
                    <a:pt x="230" y="429"/>
                  </a:lnTo>
                  <a:lnTo>
                    <a:pt x="229" y="423"/>
                  </a:lnTo>
                  <a:lnTo>
                    <a:pt x="231" y="420"/>
                  </a:lnTo>
                  <a:lnTo>
                    <a:pt x="233" y="419"/>
                  </a:lnTo>
                  <a:lnTo>
                    <a:pt x="236" y="416"/>
                  </a:lnTo>
                  <a:lnTo>
                    <a:pt x="239" y="409"/>
                  </a:lnTo>
                  <a:lnTo>
                    <a:pt x="242" y="398"/>
                  </a:lnTo>
                  <a:lnTo>
                    <a:pt x="250" y="392"/>
                  </a:lnTo>
                  <a:lnTo>
                    <a:pt x="255" y="388"/>
                  </a:lnTo>
                  <a:lnTo>
                    <a:pt x="257" y="387"/>
                  </a:lnTo>
                  <a:lnTo>
                    <a:pt x="253" y="382"/>
                  </a:lnTo>
                  <a:lnTo>
                    <a:pt x="251" y="379"/>
                  </a:lnTo>
                  <a:lnTo>
                    <a:pt x="250" y="372"/>
                  </a:lnTo>
                  <a:lnTo>
                    <a:pt x="247" y="364"/>
                  </a:lnTo>
                  <a:lnTo>
                    <a:pt x="247" y="358"/>
                  </a:lnTo>
                  <a:lnTo>
                    <a:pt x="248" y="354"/>
                  </a:lnTo>
                  <a:lnTo>
                    <a:pt x="248" y="353"/>
                  </a:lnTo>
                  <a:lnTo>
                    <a:pt x="118" y="158"/>
                  </a:lnTo>
                  <a:lnTo>
                    <a:pt x="115" y="156"/>
                  </a:lnTo>
                  <a:lnTo>
                    <a:pt x="114" y="155"/>
                  </a:lnTo>
                  <a:lnTo>
                    <a:pt x="113" y="153"/>
                  </a:lnTo>
                  <a:lnTo>
                    <a:pt x="112" y="150"/>
                  </a:lnTo>
                  <a:lnTo>
                    <a:pt x="113" y="147"/>
                  </a:lnTo>
                  <a:lnTo>
                    <a:pt x="117" y="146"/>
                  </a:lnTo>
                  <a:lnTo>
                    <a:pt x="119" y="145"/>
                  </a:lnTo>
                  <a:lnTo>
                    <a:pt x="148" y="35"/>
                  </a:lnTo>
                  <a:lnTo>
                    <a:pt x="26" y="0"/>
                  </a:lnTo>
                  <a:lnTo>
                    <a:pt x="25" y="4"/>
                  </a:lnTo>
                  <a:lnTo>
                    <a:pt x="23" y="5"/>
                  </a:lnTo>
                  <a:lnTo>
                    <a:pt x="23" y="9"/>
                  </a:lnTo>
                  <a:lnTo>
                    <a:pt x="23" y="12"/>
                  </a:lnTo>
                  <a:lnTo>
                    <a:pt x="23" y="21"/>
                  </a:lnTo>
                  <a:lnTo>
                    <a:pt x="22" y="25"/>
                  </a:lnTo>
                  <a:lnTo>
                    <a:pt x="19" y="30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40"/>
                  </a:lnTo>
                  <a:lnTo>
                    <a:pt x="13" y="45"/>
                  </a:lnTo>
                  <a:lnTo>
                    <a:pt x="7" y="50"/>
                  </a:lnTo>
                  <a:lnTo>
                    <a:pt x="2" y="55"/>
                  </a:lnTo>
                  <a:lnTo>
                    <a:pt x="1" y="57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1" y="71"/>
                  </a:lnTo>
                  <a:lnTo>
                    <a:pt x="3" y="75"/>
                  </a:lnTo>
                  <a:lnTo>
                    <a:pt x="7" y="81"/>
                  </a:lnTo>
                  <a:lnTo>
                    <a:pt x="8" y="85"/>
                  </a:lnTo>
                  <a:lnTo>
                    <a:pt x="9" y="90"/>
                  </a:lnTo>
                  <a:lnTo>
                    <a:pt x="9" y="98"/>
                  </a:lnTo>
                  <a:lnTo>
                    <a:pt x="6" y="104"/>
                  </a:lnTo>
                  <a:lnTo>
                    <a:pt x="5" y="110"/>
                  </a:lnTo>
                  <a:lnTo>
                    <a:pt x="5" y="117"/>
                  </a:lnTo>
                  <a:lnTo>
                    <a:pt x="4" y="120"/>
                  </a:lnTo>
                  <a:lnTo>
                    <a:pt x="2" y="122"/>
                  </a:lnTo>
                  <a:lnTo>
                    <a:pt x="3" y="126"/>
                  </a:lnTo>
                  <a:lnTo>
                    <a:pt x="7" y="133"/>
                  </a:lnTo>
                  <a:lnTo>
                    <a:pt x="11" y="145"/>
                  </a:lnTo>
                  <a:lnTo>
                    <a:pt x="15" y="153"/>
                  </a:lnTo>
                  <a:lnTo>
                    <a:pt x="17" y="156"/>
                  </a:lnTo>
                  <a:lnTo>
                    <a:pt x="17" y="161"/>
                  </a:lnTo>
                  <a:lnTo>
                    <a:pt x="16" y="164"/>
                  </a:lnTo>
                  <a:lnTo>
                    <a:pt x="14" y="166"/>
                  </a:lnTo>
                  <a:lnTo>
                    <a:pt x="14" y="169"/>
                  </a:lnTo>
                  <a:lnTo>
                    <a:pt x="18" y="169"/>
                  </a:lnTo>
                  <a:lnTo>
                    <a:pt x="20" y="172"/>
                  </a:lnTo>
                  <a:lnTo>
                    <a:pt x="23" y="176"/>
                  </a:lnTo>
                  <a:lnTo>
                    <a:pt x="24" y="178"/>
                  </a:lnTo>
                  <a:lnTo>
                    <a:pt x="27" y="179"/>
                  </a:lnTo>
                  <a:lnTo>
                    <a:pt x="29" y="175"/>
                  </a:lnTo>
                  <a:lnTo>
                    <a:pt x="29" y="170"/>
                  </a:lnTo>
                  <a:lnTo>
                    <a:pt x="34" y="169"/>
                  </a:lnTo>
                  <a:lnTo>
                    <a:pt x="37" y="172"/>
                  </a:lnTo>
                  <a:lnTo>
                    <a:pt x="44" y="172"/>
                  </a:lnTo>
                  <a:lnTo>
                    <a:pt x="48" y="176"/>
                  </a:lnTo>
                  <a:lnTo>
                    <a:pt x="51" y="177"/>
                  </a:lnTo>
                  <a:lnTo>
                    <a:pt x="53" y="178"/>
                  </a:lnTo>
                  <a:lnTo>
                    <a:pt x="51" y="180"/>
                  </a:lnTo>
                  <a:lnTo>
                    <a:pt x="49" y="179"/>
                  </a:lnTo>
                  <a:lnTo>
                    <a:pt x="45" y="177"/>
                  </a:lnTo>
                  <a:lnTo>
                    <a:pt x="44" y="177"/>
                  </a:lnTo>
                  <a:lnTo>
                    <a:pt x="40" y="176"/>
                  </a:lnTo>
                  <a:lnTo>
                    <a:pt x="38" y="175"/>
                  </a:lnTo>
                  <a:lnTo>
                    <a:pt x="35" y="174"/>
                  </a:lnTo>
                  <a:lnTo>
                    <a:pt x="33" y="175"/>
                  </a:lnTo>
                  <a:lnTo>
                    <a:pt x="33" y="177"/>
                  </a:lnTo>
                  <a:lnTo>
                    <a:pt x="33" y="184"/>
                  </a:lnTo>
                  <a:lnTo>
                    <a:pt x="35" y="187"/>
                  </a:lnTo>
                  <a:lnTo>
                    <a:pt x="34" y="194"/>
                  </a:lnTo>
                  <a:lnTo>
                    <a:pt x="33" y="194"/>
                  </a:lnTo>
                  <a:lnTo>
                    <a:pt x="30" y="192"/>
                  </a:lnTo>
                  <a:lnTo>
                    <a:pt x="29" y="190"/>
                  </a:lnTo>
                  <a:lnTo>
                    <a:pt x="29" y="186"/>
                  </a:lnTo>
                  <a:lnTo>
                    <a:pt x="29" y="185"/>
                  </a:lnTo>
                  <a:lnTo>
                    <a:pt x="28" y="184"/>
                  </a:lnTo>
                  <a:lnTo>
                    <a:pt x="25" y="183"/>
                  </a:lnTo>
                  <a:lnTo>
                    <a:pt x="24" y="187"/>
                  </a:lnTo>
                  <a:lnTo>
                    <a:pt x="23" y="189"/>
                  </a:lnTo>
                  <a:lnTo>
                    <a:pt x="23" y="195"/>
                  </a:lnTo>
                  <a:lnTo>
                    <a:pt x="23" y="204"/>
                  </a:lnTo>
                  <a:lnTo>
                    <a:pt x="23" y="209"/>
                  </a:lnTo>
                  <a:lnTo>
                    <a:pt x="26" y="214"/>
                  </a:lnTo>
                  <a:lnTo>
                    <a:pt x="30" y="217"/>
                  </a:lnTo>
                  <a:lnTo>
                    <a:pt x="34" y="220"/>
                  </a:lnTo>
                  <a:lnTo>
                    <a:pt x="35" y="225"/>
                  </a:lnTo>
                  <a:lnTo>
                    <a:pt x="35" y="229"/>
                  </a:lnTo>
                  <a:lnTo>
                    <a:pt x="34" y="233"/>
                  </a:lnTo>
                  <a:lnTo>
                    <a:pt x="31" y="234"/>
                  </a:lnTo>
                  <a:lnTo>
                    <a:pt x="28" y="234"/>
                  </a:lnTo>
                  <a:lnTo>
                    <a:pt x="28" y="244"/>
                  </a:lnTo>
                  <a:lnTo>
                    <a:pt x="29" y="247"/>
                  </a:lnTo>
                  <a:lnTo>
                    <a:pt x="34" y="255"/>
                  </a:lnTo>
                  <a:lnTo>
                    <a:pt x="35" y="261"/>
                  </a:lnTo>
                  <a:lnTo>
                    <a:pt x="40" y="268"/>
                  </a:lnTo>
                  <a:lnTo>
                    <a:pt x="42" y="275"/>
                  </a:lnTo>
                  <a:lnTo>
                    <a:pt x="45" y="280"/>
                  </a:lnTo>
                  <a:lnTo>
                    <a:pt x="48" y="287"/>
                  </a:lnTo>
                  <a:lnTo>
                    <a:pt x="50" y="288"/>
                  </a:lnTo>
                  <a:lnTo>
                    <a:pt x="50" y="293"/>
                  </a:lnTo>
                  <a:lnTo>
                    <a:pt x="50" y="296"/>
                  </a:lnTo>
                  <a:lnTo>
                    <a:pt x="50" y="298"/>
                  </a:lnTo>
                  <a:lnTo>
                    <a:pt x="52" y="300"/>
                  </a:lnTo>
                  <a:lnTo>
                    <a:pt x="53" y="303"/>
                  </a:lnTo>
                  <a:lnTo>
                    <a:pt x="53" y="307"/>
                  </a:lnTo>
                  <a:lnTo>
                    <a:pt x="52" y="316"/>
                  </a:lnTo>
                  <a:lnTo>
                    <a:pt x="51" y="322"/>
                  </a:lnTo>
                  <a:lnTo>
                    <a:pt x="50" y="327"/>
                  </a:lnTo>
                  <a:lnTo>
                    <a:pt x="59" y="332"/>
                  </a:lnTo>
                  <a:lnTo>
                    <a:pt x="67" y="335"/>
                  </a:lnTo>
                  <a:lnTo>
                    <a:pt x="73" y="339"/>
                  </a:lnTo>
                  <a:lnTo>
                    <a:pt x="82" y="342"/>
                  </a:lnTo>
                  <a:lnTo>
                    <a:pt x="85" y="345"/>
                  </a:lnTo>
                  <a:lnTo>
                    <a:pt x="91" y="355"/>
                  </a:lnTo>
                  <a:lnTo>
                    <a:pt x="99" y="362"/>
                  </a:lnTo>
                  <a:lnTo>
                    <a:pt x="111" y="365"/>
                  </a:lnTo>
                  <a:lnTo>
                    <a:pt x="112" y="374"/>
                  </a:lnTo>
                  <a:lnTo>
                    <a:pt x="114" y="378"/>
                  </a:lnTo>
                  <a:lnTo>
                    <a:pt x="121" y="380"/>
                  </a:lnTo>
                  <a:lnTo>
                    <a:pt x="128" y="388"/>
                  </a:lnTo>
                  <a:lnTo>
                    <a:pt x="136" y="400"/>
                  </a:lnTo>
                  <a:lnTo>
                    <a:pt x="140" y="405"/>
                  </a:lnTo>
                  <a:lnTo>
                    <a:pt x="143" y="414"/>
                  </a:lnTo>
                  <a:lnTo>
                    <a:pt x="140" y="422"/>
                  </a:lnTo>
                  <a:lnTo>
                    <a:pt x="140" y="427"/>
                  </a:lnTo>
                  <a:lnTo>
                    <a:pt x="143" y="434"/>
                  </a:lnTo>
                  <a:lnTo>
                    <a:pt x="147" y="435"/>
                  </a:lnTo>
                  <a:lnTo>
                    <a:pt x="225" y="445"/>
                  </a:lnTo>
                  <a:lnTo>
                    <a:pt x="226" y="444"/>
                  </a:lnTo>
                  <a:lnTo>
                    <a:pt x="233" y="441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63FB2657-F0F4-DA45-B2B7-EB214CA70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359" y="2660632"/>
              <a:ext cx="473890" cy="254654"/>
            </a:xfrm>
            <a:custGeom>
              <a:avLst/>
              <a:gdLst>
                <a:gd name="T0" fmla="*/ 0 w 332"/>
                <a:gd name="T1" fmla="*/ 25 h 178"/>
                <a:gd name="T2" fmla="*/ 0 w 332"/>
                <a:gd name="T3" fmla="*/ 28 h 178"/>
                <a:gd name="T4" fmla="*/ 0 w 332"/>
                <a:gd name="T5" fmla="*/ 25 h 178"/>
                <a:gd name="T6" fmla="*/ 118 w 332"/>
                <a:gd name="T7" fmla="*/ 32 h 178"/>
                <a:gd name="T8" fmla="*/ 113 w 332"/>
                <a:gd name="T9" fmla="*/ 123 h 178"/>
                <a:gd name="T10" fmla="*/ 121 w 332"/>
                <a:gd name="T11" fmla="*/ 131 h 178"/>
                <a:gd name="T12" fmla="*/ 124 w 332"/>
                <a:gd name="T13" fmla="*/ 134 h 178"/>
                <a:gd name="T14" fmla="*/ 127 w 332"/>
                <a:gd name="T15" fmla="*/ 134 h 178"/>
                <a:gd name="T16" fmla="*/ 131 w 332"/>
                <a:gd name="T17" fmla="*/ 133 h 178"/>
                <a:gd name="T18" fmla="*/ 134 w 332"/>
                <a:gd name="T19" fmla="*/ 134 h 178"/>
                <a:gd name="T20" fmla="*/ 137 w 332"/>
                <a:gd name="T21" fmla="*/ 133 h 178"/>
                <a:gd name="T22" fmla="*/ 141 w 332"/>
                <a:gd name="T23" fmla="*/ 135 h 178"/>
                <a:gd name="T24" fmla="*/ 144 w 332"/>
                <a:gd name="T25" fmla="*/ 144 h 178"/>
                <a:gd name="T26" fmla="*/ 153 w 332"/>
                <a:gd name="T27" fmla="*/ 144 h 178"/>
                <a:gd name="T28" fmla="*/ 160 w 332"/>
                <a:gd name="T29" fmla="*/ 148 h 178"/>
                <a:gd name="T30" fmla="*/ 166 w 332"/>
                <a:gd name="T31" fmla="*/ 147 h 178"/>
                <a:gd name="T32" fmla="*/ 167 w 332"/>
                <a:gd name="T33" fmla="*/ 147 h 178"/>
                <a:gd name="T34" fmla="*/ 171 w 332"/>
                <a:gd name="T35" fmla="*/ 151 h 178"/>
                <a:gd name="T36" fmla="*/ 175 w 332"/>
                <a:gd name="T37" fmla="*/ 148 h 178"/>
                <a:gd name="T38" fmla="*/ 184 w 332"/>
                <a:gd name="T39" fmla="*/ 149 h 178"/>
                <a:gd name="T40" fmla="*/ 188 w 332"/>
                <a:gd name="T41" fmla="*/ 156 h 178"/>
                <a:gd name="T42" fmla="*/ 191 w 332"/>
                <a:gd name="T43" fmla="*/ 156 h 178"/>
                <a:gd name="T44" fmla="*/ 192 w 332"/>
                <a:gd name="T45" fmla="*/ 162 h 178"/>
                <a:gd name="T46" fmla="*/ 196 w 332"/>
                <a:gd name="T47" fmla="*/ 163 h 178"/>
                <a:gd name="T48" fmla="*/ 200 w 332"/>
                <a:gd name="T49" fmla="*/ 160 h 178"/>
                <a:gd name="T50" fmla="*/ 202 w 332"/>
                <a:gd name="T51" fmla="*/ 157 h 178"/>
                <a:gd name="T52" fmla="*/ 204 w 332"/>
                <a:gd name="T53" fmla="*/ 157 h 178"/>
                <a:gd name="T54" fmla="*/ 211 w 332"/>
                <a:gd name="T55" fmla="*/ 162 h 178"/>
                <a:gd name="T56" fmla="*/ 213 w 332"/>
                <a:gd name="T57" fmla="*/ 166 h 178"/>
                <a:gd name="T58" fmla="*/ 220 w 332"/>
                <a:gd name="T59" fmla="*/ 162 h 178"/>
                <a:gd name="T60" fmla="*/ 222 w 332"/>
                <a:gd name="T61" fmla="*/ 164 h 178"/>
                <a:gd name="T62" fmla="*/ 223 w 332"/>
                <a:gd name="T63" fmla="*/ 170 h 178"/>
                <a:gd name="T64" fmla="*/ 225 w 332"/>
                <a:gd name="T65" fmla="*/ 169 h 178"/>
                <a:gd name="T66" fmla="*/ 228 w 332"/>
                <a:gd name="T67" fmla="*/ 164 h 178"/>
                <a:gd name="T68" fmla="*/ 233 w 332"/>
                <a:gd name="T69" fmla="*/ 163 h 178"/>
                <a:gd name="T70" fmla="*/ 239 w 332"/>
                <a:gd name="T71" fmla="*/ 166 h 178"/>
                <a:gd name="T72" fmla="*/ 248 w 332"/>
                <a:gd name="T73" fmla="*/ 165 h 178"/>
                <a:gd name="T74" fmla="*/ 252 w 332"/>
                <a:gd name="T75" fmla="*/ 169 h 178"/>
                <a:gd name="T76" fmla="*/ 254 w 332"/>
                <a:gd name="T77" fmla="*/ 172 h 178"/>
                <a:gd name="T78" fmla="*/ 259 w 332"/>
                <a:gd name="T79" fmla="*/ 171 h 178"/>
                <a:gd name="T80" fmla="*/ 264 w 332"/>
                <a:gd name="T81" fmla="*/ 167 h 178"/>
                <a:gd name="T82" fmla="*/ 267 w 332"/>
                <a:gd name="T83" fmla="*/ 164 h 178"/>
                <a:gd name="T84" fmla="*/ 271 w 332"/>
                <a:gd name="T85" fmla="*/ 164 h 178"/>
                <a:gd name="T86" fmla="*/ 275 w 332"/>
                <a:gd name="T87" fmla="*/ 166 h 178"/>
                <a:gd name="T88" fmla="*/ 278 w 332"/>
                <a:gd name="T89" fmla="*/ 165 h 178"/>
                <a:gd name="T90" fmla="*/ 282 w 332"/>
                <a:gd name="T91" fmla="*/ 162 h 178"/>
                <a:gd name="T92" fmla="*/ 288 w 332"/>
                <a:gd name="T93" fmla="*/ 163 h 178"/>
                <a:gd name="T94" fmla="*/ 291 w 332"/>
                <a:gd name="T95" fmla="*/ 164 h 178"/>
                <a:gd name="T96" fmla="*/ 300 w 332"/>
                <a:gd name="T97" fmla="*/ 161 h 178"/>
                <a:gd name="T98" fmla="*/ 306 w 332"/>
                <a:gd name="T99" fmla="*/ 163 h 178"/>
                <a:gd name="T100" fmla="*/ 311 w 332"/>
                <a:gd name="T101" fmla="*/ 168 h 178"/>
                <a:gd name="T102" fmla="*/ 318 w 332"/>
                <a:gd name="T103" fmla="*/ 173 h 178"/>
                <a:gd name="T104" fmla="*/ 324 w 332"/>
                <a:gd name="T105" fmla="*/ 173 h 178"/>
                <a:gd name="T106" fmla="*/ 328 w 332"/>
                <a:gd name="T107" fmla="*/ 176 h 178"/>
                <a:gd name="T108" fmla="*/ 331 w 332"/>
                <a:gd name="T109" fmla="*/ 178 h 178"/>
                <a:gd name="T110" fmla="*/ 332 w 332"/>
                <a:gd name="T111" fmla="*/ 88 h 178"/>
                <a:gd name="T112" fmla="*/ 324 w 332"/>
                <a:gd name="T113" fmla="*/ 37 h 178"/>
                <a:gd name="T114" fmla="*/ 324 w 332"/>
                <a:gd name="T115" fmla="*/ 12 h 178"/>
                <a:gd name="T116" fmla="*/ 175 w 332"/>
                <a:gd name="T117" fmla="*/ 9 h 178"/>
                <a:gd name="T118" fmla="*/ 4 w 332"/>
                <a:gd name="T119" fmla="*/ 0 h 178"/>
                <a:gd name="T120" fmla="*/ 3 w 332"/>
                <a:gd name="T121" fmla="*/ 25 h 178"/>
                <a:gd name="T122" fmla="*/ 0 w 332"/>
                <a:gd name="T123" fmla="*/ 2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2" h="178">
                  <a:moveTo>
                    <a:pt x="0" y="25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3" y="123"/>
                    <a:pt x="113" y="123"/>
                    <a:pt x="113" y="123"/>
                  </a:cubicBezTo>
                  <a:cubicBezTo>
                    <a:pt x="121" y="131"/>
                    <a:pt x="121" y="131"/>
                    <a:pt x="121" y="131"/>
                  </a:cubicBezTo>
                  <a:cubicBezTo>
                    <a:pt x="124" y="134"/>
                    <a:pt x="124" y="134"/>
                    <a:pt x="124" y="134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31" y="133"/>
                    <a:pt x="131" y="133"/>
                    <a:pt x="131" y="133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7" y="133"/>
                    <a:pt x="137" y="133"/>
                    <a:pt x="137" y="133"/>
                  </a:cubicBezTo>
                  <a:cubicBezTo>
                    <a:pt x="141" y="135"/>
                    <a:pt x="141" y="135"/>
                    <a:pt x="141" y="135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53" y="144"/>
                    <a:pt x="153" y="144"/>
                    <a:pt x="153" y="144"/>
                  </a:cubicBezTo>
                  <a:cubicBezTo>
                    <a:pt x="160" y="148"/>
                    <a:pt x="160" y="148"/>
                    <a:pt x="160" y="148"/>
                  </a:cubicBezTo>
                  <a:cubicBezTo>
                    <a:pt x="166" y="147"/>
                    <a:pt x="166" y="147"/>
                    <a:pt x="166" y="147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71" y="151"/>
                    <a:pt x="171" y="151"/>
                    <a:pt x="171" y="151"/>
                  </a:cubicBezTo>
                  <a:cubicBezTo>
                    <a:pt x="175" y="148"/>
                    <a:pt x="175" y="148"/>
                    <a:pt x="175" y="148"/>
                  </a:cubicBezTo>
                  <a:cubicBezTo>
                    <a:pt x="184" y="149"/>
                    <a:pt x="184" y="149"/>
                    <a:pt x="184" y="149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91" y="156"/>
                    <a:pt x="191" y="156"/>
                    <a:pt x="191" y="156"/>
                  </a:cubicBezTo>
                  <a:cubicBezTo>
                    <a:pt x="192" y="162"/>
                    <a:pt x="192" y="162"/>
                    <a:pt x="192" y="162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200" y="160"/>
                    <a:pt x="200" y="160"/>
                    <a:pt x="200" y="160"/>
                  </a:cubicBezTo>
                  <a:cubicBezTo>
                    <a:pt x="202" y="157"/>
                    <a:pt x="202" y="157"/>
                    <a:pt x="202" y="157"/>
                  </a:cubicBezTo>
                  <a:cubicBezTo>
                    <a:pt x="204" y="157"/>
                    <a:pt x="204" y="157"/>
                    <a:pt x="204" y="157"/>
                  </a:cubicBezTo>
                  <a:cubicBezTo>
                    <a:pt x="211" y="162"/>
                    <a:pt x="211" y="162"/>
                    <a:pt x="211" y="162"/>
                  </a:cubicBezTo>
                  <a:cubicBezTo>
                    <a:pt x="213" y="166"/>
                    <a:pt x="213" y="166"/>
                    <a:pt x="213" y="166"/>
                  </a:cubicBezTo>
                  <a:cubicBezTo>
                    <a:pt x="220" y="162"/>
                    <a:pt x="220" y="162"/>
                    <a:pt x="220" y="162"/>
                  </a:cubicBezTo>
                  <a:cubicBezTo>
                    <a:pt x="222" y="164"/>
                    <a:pt x="222" y="164"/>
                    <a:pt x="222" y="164"/>
                  </a:cubicBezTo>
                  <a:cubicBezTo>
                    <a:pt x="223" y="170"/>
                    <a:pt x="223" y="170"/>
                    <a:pt x="223" y="170"/>
                  </a:cubicBezTo>
                  <a:cubicBezTo>
                    <a:pt x="225" y="169"/>
                    <a:pt x="225" y="169"/>
                    <a:pt x="225" y="169"/>
                  </a:cubicBezTo>
                  <a:cubicBezTo>
                    <a:pt x="228" y="164"/>
                    <a:pt x="228" y="164"/>
                    <a:pt x="228" y="164"/>
                  </a:cubicBezTo>
                  <a:cubicBezTo>
                    <a:pt x="233" y="163"/>
                    <a:pt x="233" y="163"/>
                    <a:pt x="233" y="163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48" y="165"/>
                    <a:pt x="248" y="165"/>
                    <a:pt x="248" y="165"/>
                  </a:cubicBezTo>
                  <a:cubicBezTo>
                    <a:pt x="252" y="169"/>
                    <a:pt x="252" y="169"/>
                    <a:pt x="252" y="169"/>
                  </a:cubicBezTo>
                  <a:cubicBezTo>
                    <a:pt x="254" y="172"/>
                    <a:pt x="254" y="172"/>
                    <a:pt x="254" y="172"/>
                  </a:cubicBezTo>
                  <a:cubicBezTo>
                    <a:pt x="259" y="171"/>
                    <a:pt x="259" y="171"/>
                    <a:pt x="259" y="171"/>
                  </a:cubicBezTo>
                  <a:cubicBezTo>
                    <a:pt x="264" y="167"/>
                    <a:pt x="264" y="167"/>
                    <a:pt x="264" y="167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75" y="166"/>
                    <a:pt x="275" y="166"/>
                    <a:pt x="275" y="166"/>
                  </a:cubicBezTo>
                  <a:cubicBezTo>
                    <a:pt x="278" y="165"/>
                    <a:pt x="278" y="165"/>
                    <a:pt x="278" y="165"/>
                  </a:cubicBezTo>
                  <a:cubicBezTo>
                    <a:pt x="282" y="162"/>
                    <a:pt x="282" y="162"/>
                    <a:pt x="282" y="162"/>
                  </a:cubicBezTo>
                  <a:cubicBezTo>
                    <a:pt x="288" y="163"/>
                    <a:pt x="288" y="163"/>
                    <a:pt x="288" y="163"/>
                  </a:cubicBezTo>
                  <a:cubicBezTo>
                    <a:pt x="291" y="164"/>
                    <a:pt x="291" y="164"/>
                    <a:pt x="291" y="164"/>
                  </a:cubicBezTo>
                  <a:cubicBezTo>
                    <a:pt x="300" y="161"/>
                    <a:pt x="300" y="161"/>
                    <a:pt x="300" y="161"/>
                  </a:cubicBezTo>
                  <a:cubicBezTo>
                    <a:pt x="306" y="163"/>
                    <a:pt x="306" y="163"/>
                    <a:pt x="306" y="163"/>
                  </a:cubicBezTo>
                  <a:cubicBezTo>
                    <a:pt x="311" y="168"/>
                    <a:pt x="311" y="168"/>
                    <a:pt x="311" y="168"/>
                  </a:cubicBezTo>
                  <a:cubicBezTo>
                    <a:pt x="318" y="173"/>
                    <a:pt x="318" y="173"/>
                    <a:pt x="318" y="173"/>
                  </a:cubicBezTo>
                  <a:cubicBezTo>
                    <a:pt x="324" y="173"/>
                    <a:pt x="324" y="173"/>
                    <a:pt x="324" y="173"/>
                  </a:cubicBezTo>
                  <a:cubicBezTo>
                    <a:pt x="328" y="176"/>
                    <a:pt x="328" y="176"/>
                    <a:pt x="328" y="176"/>
                  </a:cubicBezTo>
                  <a:cubicBezTo>
                    <a:pt x="331" y="178"/>
                    <a:pt x="331" y="178"/>
                    <a:pt x="331" y="178"/>
                  </a:cubicBezTo>
                  <a:cubicBezTo>
                    <a:pt x="332" y="88"/>
                    <a:pt x="332" y="88"/>
                    <a:pt x="332" y="88"/>
                  </a:cubicBezTo>
                  <a:cubicBezTo>
                    <a:pt x="324" y="37"/>
                    <a:pt x="324" y="37"/>
                    <a:pt x="324" y="37"/>
                  </a:cubicBezTo>
                  <a:cubicBezTo>
                    <a:pt x="324" y="12"/>
                    <a:pt x="324" y="12"/>
                    <a:pt x="324" y="12"/>
                  </a:cubicBezTo>
                  <a:cubicBezTo>
                    <a:pt x="324" y="12"/>
                    <a:pt x="211" y="10"/>
                    <a:pt x="175" y="9"/>
                  </a:cubicBezTo>
                  <a:cubicBezTo>
                    <a:pt x="131" y="7"/>
                    <a:pt x="4" y="0"/>
                    <a:pt x="4" y="0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0" y="2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1A3329B8-79F9-A945-AAC1-4C3702A52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4071" y="2454886"/>
              <a:ext cx="401373" cy="222611"/>
            </a:xfrm>
            <a:custGeom>
              <a:avLst/>
              <a:gdLst>
                <a:gd name="T0" fmla="*/ 282 w 282"/>
                <a:gd name="T1" fmla="*/ 156 h 156"/>
                <a:gd name="T2" fmla="*/ 282 w 282"/>
                <a:gd name="T3" fmla="*/ 52 h 156"/>
                <a:gd name="T4" fmla="*/ 276 w 282"/>
                <a:gd name="T5" fmla="*/ 49 h 156"/>
                <a:gd name="T6" fmla="*/ 273 w 282"/>
                <a:gd name="T7" fmla="*/ 47 h 156"/>
                <a:gd name="T8" fmla="*/ 271 w 282"/>
                <a:gd name="T9" fmla="*/ 41 h 156"/>
                <a:gd name="T10" fmla="*/ 265 w 282"/>
                <a:gd name="T11" fmla="*/ 35 h 156"/>
                <a:gd name="T12" fmla="*/ 268 w 282"/>
                <a:gd name="T13" fmla="*/ 30 h 156"/>
                <a:gd name="T14" fmla="*/ 271 w 282"/>
                <a:gd name="T15" fmla="*/ 24 h 156"/>
                <a:gd name="T16" fmla="*/ 271 w 282"/>
                <a:gd name="T17" fmla="*/ 19 h 156"/>
                <a:gd name="T18" fmla="*/ 269 w 282"/>
                <a:gd name="T19" fmla="*/ 19 h 156"/>
                <a:gd name="T20" fmla="*/ 260 w 282"/>
                <a:gd name="T21" fmla="*/ 19 h 156"/>
                <a:gd name="T22" fmla="*/ 258 w 282"/>
                <a:gd name="T23" fmla="*/ 15 h 156"/>
                <a:gd name="T24" fmla="*/ 254 w 282"/>
                <a:gd name="T25" fmla="*/ 9 h 156"/>
                <a:gd name="T26" fmla="*/ 165 w 282"/>
                <a:gd name="T27" fmla="*/ 6 h 156"/>
                <a:gd name="T28" fmla="*/ 10 w 282"/>
                <a:gd name="T29" fmla="*/ 0 h 156"/>
                <a:gd name="T30" fmla="*/ 0 w 282"/>
                <a:gd name="T31" fmla="*/ 146 h 156"/>
                <a:gd name="T32" fmla="*/ 133 w 282"/>
                <a:gd name="T33" fmla="*/ 153 h 156"/>
                <a:gd name="T34" fmla="*/ 282 w 282"/>
                <a:gd name="T3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2" h="156">
                  <a:moveTo>
                    <a:pt x="282" y="156"/>
                  </a:moveTo>
                  <a:cubicBezTo>
                    <a:pt x="282" y="52"/>
                    <a:pt x="282" y="52"/>
                    <a:pt x="282" y="52"/>
                  </a:cubicBezTo>
                  <a:cubicBezTo>
                    <a:pt x="276" y="49"/>
                    <a:pt x="276" y="49"/>
                    <a:pt x="276" y="49"/>
                  </a:cubicBezTo>
                  <a:cubicBezTo>
                    <a:pt x="273" y="47"/>
                    <a:pt x="273" y="47"/>
                    <a:pt x="273" y="47"/>
                  </a:cubicBezTo>
                  <a:cubicBezTo>
                    <a:pt x="271" y="41"/>
                    <a:pt x="271" y="41"/>
                    <a:pt x="271" y="41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8" y="30"/>
                    <a:pt x="268" y="30"/>
                    <a:pt x="268" y="30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71" y="19"/>
                    <a:pt x="271" y="19"/>
                    <a:pt x="271" y="19"/>
                  </a:cubicBezTo>
                  <a:cubicBezTo>
                    <a:pt x="269" y="19"/>
                    <a:pt x="269" y="19"/>
                    <a:pt x="269" y="19"/>
                  </a:cubicBezTo>
                  <a:cubicBezTo>
                    <a:pt x="260" y="19"/>
                    <a:pt x="260" y="19"/>
                    <a:pt x="260" y="19"/>
                  </a:cubicBezTo>
                  <a:cubicBezTo>
                    <a:pt x="258" y="15"/>
                    <a:pt x="258" y="15"/>
                    <a:pt x="258" y="15"/>
                  </a:cubicBezTo>
                  <a:cubicBezTo>
                    <a:pt x="254" y="9"/>
                    <a:pt x="254" y="9"/>
                    <a:pt x="254" y="9"/>
                  </a:cubicBezTo>
                  <a:cubicBezTo>
                    <a:pt x="254" y="9"/>
                    <a:pt x="187" y="7"/>
                    <a:pt x="165" y="6"/>
                  </a:cubicBezTo>
                  <a:cubicBezTo>
                    <a:pt x="126" y="5"/>
                    <a:pt x="10" y="0"/>
                    <a:pt x="10" y="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41" y="148"/>
                    <a:pt x="104" y="151"/>
                    <a:pt x="133" y="153"/>
                  </a:cubicBezTo>
                  <a:cubicBezTo>
                    <a:pt x="169" y="154"/>
                    <a:pt x="282" y="156"/>
                    <a:pt x="282" y="156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B458D29A-01BB-A246-9271-2BB4D5E158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9749" y="2242394"/>
              <a:ext cx="446907" cy="225984"/>
            </a:xfrm>
            <a:custGeom>
              <a:avLst/>
              <a:gdLst>
                <a:gd name="T0" fmla="*/ 313 w 313"/>
                <a:gd name="T1" fmla="*/ 158 h 158"/>
                <a:gd name="T2" fmla="*/ 313 w 313"/>
                <a:gd name="T3" fmla="*/ 158 h 158"/>
                <a:gd name="T4" fmla="*/ 313 w 313"/>
                <a:gd name="T5" fmla="*/ 158 h 158"/>
                <a:gd name="T6" fmla="*/ 311 w 313"/>
                <a:gd name="T7" fmla="*/ 154 h 158"/>
                <a:gd name="T8" fmla="*/ 310 w 313"/>
                <a:gd name="T9" fmla="*/ 148 h 158"/>
                <a:gd name="T10" fmla="*/ 304 w 313"/>
                <a:gd name="T11" fmla="*/ 146 h 158"/>
                <a:gd name="T12" fmla="*/ 304 w 313"/>
                <a:gd name="T13" fmla="*/ 145 h 158"/>
                <a:gd name="T14" fmla="*/ 302 w 313"/>
                <a:gd name="T15" fmla="*/ 142 h 158"/>
                <a:gd name="T16" fmla="*/ 304 w 313"/>
                <a:gd name="T17" fmla="*/ 140 h 158"/>
                <a:gd name="T18" fmla="*/ 303 w 313"/>
                <a:gd name="T19" fmla="*/ 135 h 158"/>
                <a:gd name="T20" fmla="*/ 300 w 313"/>
                <a:gd name="T21" fmla="*/ 133 h 158"/>
                <a:gd name="T22" fmla="*/ 299 w 313"/>
                <a:gd name="T23" fmla="*/ 130 h 158"/>
                <a:gd name="T24" fmla="*/ 297 w 313"/>
                <a:gd name="T25" fmla="*/ 123 h 158"/>
                <a:gd name="T26" fmla="*/ 297 w 313"/>
                <a:gd name="T27" fmla="*/ 113 h 158"/>
                <a:gd name="T28" fmla="*/ 296 w 313"/>
                <a:gd name="T29" fmla="*/ 111 h 158"/>
                <a:gd name="T30" fmla="*/ 294 w 313"/>
                <a:gd name="T31" fmla="*/ 108 h 158"/>
                <a:gd name="T32" fmla="*/ 295 w 313"/>
                <a:gd name="T33" fmla="*/ 104 h 158"/>
                <a:gd name="T34" fmla="*/ 295 w 313"/>
                <a:gd name="T35" fmla="*/ 94 h 158"/>
                <a:gd name="T36" fmla="*/ 293 w 313"/>
                <a:gd name="T37" fmla="*/ 87 h 158"/>
                <a:gd name="T38" fmla="*/ 291 w 313"/>
                <a:gd name="T39" fmla="*/ 85 h 158"/>
                <a:gd name="T40" fmla="*/ 289 w 313"/>
                <a:gd name="T41" fmla="*/ 85 h 158"/>
                <a:gd name="T42" fmla="*/ 288 w 313"/>
                <a:gd name="T43" fmla="*/ 83 h 158"/>
                <a:gd name="T44" fmla="*/ 287 w 313"/>
                <a:gd name="T45" fmla="*/ 78 h 158"/>
                <a:gd name="T46" fmla="*/ 286 w 313"/>
                <a:gd name="T47" fmla="*/ 74 h 158"/>
                <a:gd name="T48" fmla="*/ 289 w 313"/>
                <a:gd name="T49" fmla="*/ 73 h 158"/>
                <a:gd name="T50" fmla="*/ 289 w 313"/>
                <a:gd name="T51" fmla="*/ 72 h 158"/>
                <a:gd name="T52" fmla="*/ 288 w 313"/>
                <a:gd name="T53" fmla="*/ 71 h 158"/>
                <a:gd name="T54" fmla="*/ 287 w 313"/>
                <a:gd name="T55" fmla="*/ 68 h 158"/>
                <a:gd name="T56" fmla="*/ 285 w 313"/>
                <a:gd name="T57" fmla="*/ 65 h 158"/>
                <a:gd name="T58" fmla="*/ 283 w 313"/>
                <a:gd name="T59" fmla="*/ 60 h 158"/>
                <a:gd name="T60" fmla="*/ 281 w 313"/>
                <a:gd name="T61" fmla="*/ 54 h 158"/>
                <a:gd name="T62" fmla="*/ 278 w 313"/>
                <a:gd name="T63" fmla="*/ 49 h 158"/>
                <a:gd name="T64" fmla="*/ 275 w 313"/>
                <a:gd name="T65" fmla="*/ 40 h 158"/>
                <a:gd name="T66" fmla="*/ 272 w 313"/>
                <a:gd name="T67" fmla="*/ 36 h 158"/>
                <a:gd name="T68" fmla="*/ 271 w 313"/>
                <a:gd name="T69" fmla="*/ 35 h 158"/>
                <a:gd name="T70" fmla="*/ 267 w 313"/>
                <a:gd name="T71" fmla="*/ 32 h 158"/>
                <a:gd name="T72" fmla="*/ 260 w 313"/>
                <a:gd name="T73" fmla="*/ 27 h 158"/>
                <a:gd name="T74" fmla="*/ 255 w 313"/>
                <a:gd name="T75" fmla="*/ 25 h 158"/>
                <a:gd name="T76" fmla="*/ 250 w 313"/>
                <a:gd name="T77" fmla="*/ 23 h 158"/>
                <a:gd name="T78" fmla="*/ 246 w 313"/>
                <a:gd name="T79" fmla="*/ 19 h 158"/>
                <a:gd name="T80" fmla="*/ 239 w 313"/>
                <a:gd name="T81" fmla="*/ 18 h 158"/>
                <a:gd name="T82" fmla="*/ 230 w 313"/>
                <a:gd name="T83" fmla="*/ 19 h 158"/>
                <a:gd name="T84" fmla="*/ 227 w 313"/>
                <a:gd name="T85" fmla="*/ 19 h 158"/>
                <a:gd name="T86" fmla="*/ 224 w 313"/>
                <a:gd name="T87" fmla="*/ 20 h 158"/>
                <a:gd name="T88" fmla="*/ 222 w 313"/>
                <a:gd name="T89" fmla="*/ 22 h 158"/>
                <a:gd name="T90" fmla="*/ 219 w 313"/>
                <a:gd name="T91" fmla="*/ 21 h 158"/>
                <a:gd name="T92" fmla="*/ 216 w 313"/>
                <a:gd name="T93" fmla="*/ 19 h 158"/>
                <a:gd name="T94" fmla="*/ 210 w 313"/>
                <a:gd name="T95" fmla="*/ 16 h 158"/>
                <a:gd name="T96" fmla="*/ 202 w 313"/>
                <a:gd name="T97" fmla="*/ 12 h 158"/>
                <a:gd name="T98" fmla="*/ 10 w 313"/>
                <a:gd name="T99" fmla="*/ 0 h 158"/>
                <a:gd name="T100" fmla="*/ 0 w 313"/>
                <a:gd name="T101" fmla="*/ 95 h 158"/>
                <a:gd name="T102" fmla="*/ 73 w 313"/>
                <a:gd name="T103" fmla="*/ 102 h 158"/>
                <a:gd name="T104" fmla="*/ 69 w 313"/>
                <a:gd name="T105" fmla="*/ 149 h 158"/>
                <a:gd name="T106" fmla="*/ 69 w 313"/>
                <a:gd name="T107" fmla="*/ 149 h 158"/>
                <a:gd name="T108" fmla="*/ 224 w 313"/>
                <a:gd name="T109" fmla="*/ 155 h 158"/>
                <a:gd name="T110" fmla="*/ 313 w 313"/>
                <a:gd name="T111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3" h="158">
                  <a:moveTo>
                    <a:pt x="313" y="158"/>
                  </a:moveTo>
                  <a:cubicBezTo>
                    <a:pt x="313" y="158"/>
                    <a:pt x="313" y="158"/>
                    <a:pt x="313" y="158"/>
                  </a:cubicBezTo>
                  <a:cubicBezTo>
                    <a:pt x="313" y="158"/>
                    <a:pt x="313" y="158"/>
                    <a:pt x="313" y="158"/>
                  </a:cubicBezTo>
                  <a:cubicBezTo>
                    <a:pt x="311" y="154"/>
                    <a:pt x="311" y="154"/>
                    <a:pt x="311" y="154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10" y="148"/>
                    <a:pt x="305" y="147"/>
                    <a:pt x="304" y="146"/>
                  </a:cubicBezTo>
                  <a:cubicBezTo>
                    <a:pt x="303" y="145"/>
                    <a:pt x="304" y="145"/>
                    <a:pt x="304" y="145"/>
                  </a:cubicBezTo>
                  <a:cubicBezTo>
                    <a:pt x="302" y="142"/>
                    <a:pt x="302" y="142"/>
                    <a:pt x="302" y="142"/>
                  </a:cubicBezTo>
                  <a:cubicBezTo>
                    <a:pt x="304" y="140"/>
                    <a:pt x="304" y="140"/>
                    <a:pt x="304" y="140"/>
                  </a:cubicBezTo>
                  <a:cubicBezTo>
                    <a:pt x="303" y="135"/>
                    <a:pt x="303" y="135"/>
                    <a:pt x="303" y="135"/>
                  </a:cubicBezTo>
                  <a:cubicBezTo>
                    <a:pt x="300" y="133"/>
                    <a:pt x="300" y="133"/>
                    <a:pt x="300" y="133"/>
                  </a:cubicBezTo>
                  <a:cubicBezTo>
                    <a:pt x="299" y="130"/>
                    <a:pt x="299" y="130"/>
                    <a:pt x="299" y="130"/>
                  </a:cubicBezTo>
                  <a:cubicBezTo>
                    <a:pt x="297" y="123"/>
                    <a:pt x="297" y="123"/>
                    <a:pt x="297" y="123"/>
                  </a:cubicBezTo>
                  <a:cubicBezTo>
                    <a:pt x="297" y="113"/>
                    <a:pt x="297" y="113"/>
                    <a:pt x="297" y="113"/>
                  </a:cubicBezTo>
                  <a:cubicBezTo>
                    <a:pt x="296" y="111"/>
                    <a:pt x="296" y="111"/>
                    <a:pt x="296" y="111"/>
                  </a:cubicBezTo>
                  <a:cubicBezTo>
                    <a:pt x="294" y="108"/>
                    <a:pt x="294" y="108"/>
                    <a:pt x="294" y="108"/>
                  </a:cubicBezTo>
                  <a:cubicBezTo>
                    <a:pt x="295" y="104"/>
                    <a:pt x="295" y="104"/>
                    <a:pt x="295" y="104"/>
                  </a:cubicBezTo>
                  <a:cubicBezTo>
                    <a:pt x="295" y="94"/>
                    <a:pt x="295" y="94"/>
                    <a:pt x="295" y="94"/>
                  </a:cubicBezTo>
                  <a:cubicBezTo>
                    <a:pt x="293" y="87"/>
                    <a:pt x="293" y="87"/>
                    <a:pt x="293" y="87"/>
                  </a:cubicBezTo>
                  <a:cubicBezTo>
                    <a:pt x="291" y="85"/>
                    <a:pt x="291" y="85"/>
                    <a:pt x="291" y="85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8" y="83"/>
                    <a:pt x="288" y="83"/>
                    <a:pt x="288" y="83"/>
                  </a:cubicBezTo>
                  <a:cubicBezTo>
                    <a:pt x="287" y="78"/>
                    <a:pt x="287" y="78"/>
                    <a:pt x="287" y="78"/>
                  </a:cubicBezTo>
                  <a:cubicBezTo>
                    <a:pt x="286" y="74"/>
                    <a:pt x="286" y="74"/>
                    <a:pt x="286" y="74"/>
                  </a:cubicBezTo>
                  <a:cubicBezTo>
                    <a:pt x="289" y="73"/>
                    <a:pt x="289" y="73"/>
                    <a:pt x="289" y="73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88" y="71"/>
                    <a:pt x="288" y="71"/>
                    <a:pt x="288" y="71"/>
                  </a:cubicBezTo>
                  <a:cubicBezTo>
                    <a:pt x="287" y="68"/>
                    <a:pt x="287" y="68"/>
                    <a:pt x="287" y="68"/>
                  </a:cubicBezTo>
                  <a:cubicBezTo>
                    <a:pt x="285" y="65"/>
                    <a:pt x="285" y="65"/>
                    <a:pt x="285" y="65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1" y="54"/>
                    <a:pt x="281" y="54"/>
                    <a:pt x="281" y="54"/>
                  </a:cubicBezTo>
                  <a:cubicBezTo>
                    <a:pt x="278" y="49"/>
                    <a:pt x="278" y="49"/>
                    <a:pt x="278" y="49"/>
                  </a:cubicBezTo>
                  <a:cubicBezTo>
                    <a:pt x="275" y="40"/>
                    <a:pt x="275" y="40"/>
                    <a:pt x="275" y="40"/>
                  </a:cubicBezTo>
                  <a:cubicBezTo>
                    <a:pt x="272" y="36"/>
                    <a:pt x="272" y="36"/>
                    <a:pt x="272" y="36"/>
                  </a:cubicBezTo>
                  <a:cubicBezTo>
                    <a:pt x="271" y="35"/>
                    <a:pt x="271" y="35"/>
                    <a:pt x="271" y="35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60" y="27"/>
                    <a:pt x="260" y="27"/>
                    <a:pt x="260" y="27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46" y="19"/>
                    <a:pt x="246" y="19"/>
                    <a:pt x="246" y="19"/>
                  </a:cubicBezTo>
                  <a:cubicBezTo>
                    <a:pt x="239" y="18"/>
                    <a:pt x="239" y="18"/>
                    <a:pt x="239" y="18"/>
                  </a:cubicBezTo>
                  <a:cubicBezTo>
                    <a:pt x="230" y="19"/>
                    <a:pt x="230" y="19"/>
                    <a:pt x="230" y="19"/>
                  </a:cubicBezTo>
                  <a:cubicBezTo>
                    <a:pt x="227" y="19"/>
                    <a:pt x="227" y="19"/>
                    <a:pt x="227" y="19"/>
                  </a:cubicBezTo>
                  <a:cubicBezTo>
                    <a:pt x="224" y="20"/>
                    <a:pt x="224" y="20"/>
                    <a:pt x="224" y="20"/>
                  </a:cubicBezTo>
                  <a:cubicBezTo>
                    <a:pt x="222" y="22"/>
                    <a:pt x="222" y="22"/>
                    <a:pt x="222" y="22"/>
                  </a:cubicBezTo>
                  <a:cubicBezTo>
                    <a:pt x="219" y="21"/>
                    <a:pt x="219" y="21"/>
                    <a:pt x="219" y="21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10" y="16"/>
                    <a:pt x="210" y="16"/>
                    <a:pt x="210" y="16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75" y="149"/>
                    <a:pt x="186" y="154"/>
                    <a:pt x="224" y="155"/>
                  </a:cubicBezTo>
                  <a:cubicBezTo>
                    <a:pt x="246" y="156"/>
                    <a:pt x="313" y="158"/>
                    <a:pt x="313" y="158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D70AC71B-DAAD-484B-B93B-CB1EE047C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3240" y="2040021"/>
              <a:ext cx="384509" cy="256340"/>
            </a:xfrm>
            <a:custGeom>
              <a:avLst/>
              <a:gdLst>
                <a:gd name="T0" fmla="*/ 200 w 269"/>
                <a:gd name="T1" fmla="*/ 158 h 180"/>
                <a:gd name="T2" fmla="*/ 206 w 269"/>
                <a:gd name="T3" fmla="*/ 161 h 180"/>
                <a:gd name="T4" fmla="*/ 209 w 269"/>
                <a:gd name="T5" fmla="*/ 163 h 180"/>
                <a:gd name="T6" fmla="*/ 212 w 269"/>
                <a:gd name="T7" fmla="*/ 164 h 180"/>
                <a:gd name="T8" fmla="*/ 214 w 269"/>
                <a:gd name="T9" fmla="*/ 162 h 180"/>
                <a:gd name="T10" fmla="*/ 217 w 269"/>
                <a:gd name="T11" fmla="*/ 161 h 180"/>
                <a:gd name="T12" fmla="*/ 220 w 269"/>
                <a:gd name="T13" fmla="*/ 161 h 180"/>
                <a:gd name="T14" fmla="*/ 229 w 269"/>
                <a:gd name="T15" fmla="*/ 160 h 180"/>
                <a:gd name="T16" fmla="*/ 236 w 269"/>
                <a:gd name="T17" fmla="*/ 161 h 180"/>
                <a:gd name="T18" fmla="*/ 240 w 269"/>
                <a:gd name="T19" fmla="*/ 165 h 180"/>
                <a:gd name="T20" fmla="*/ 245 w 269"/>
                <a:gd name="T21" fmla="*/ 167 h 180"/>
                <a:gd name="T22" fmla="*/ 250 w 269"/>
                <a:gd name="T23" fmla="*/ 169 h 180"/>
                <a:gd name="T24" fmla="*/ 257 w 269"/>
                <a:gd name="T25" fmla="*/ 174 h 180"/>
                <a:gd name="T26" fmla="*/ 261 w 269"/>
                <a:gd name="T27" fmla="*/ 177 h 180"/>
                <a:gd name="T28" fmla="*/ 262 w 269"/>
                <a:gd name="T29" fmla="*/ 178 h 180"/>
                <a:gd name="T30" fmla="*/ 263 w 269"/>
                <a:gd name="T31" fmla="*/ 180 h 180"/>
                <a:gd name="T32" fmla="*/ 263 w 269"/>
                <a:gd name="T33" fmla="*/ 180 h 180"/>
                <a:gd name="T34" fmla="*/ 263 w 269"/>
                <a:gd name="T35" fmla="*/ 177 h 180"/>
                <a:gd name="T36" fmla="*/ 263 w 269"/>
                <a:gd name="T37" fmla="*/ 173 h 180"/>
                <a:gd name="T38" fmla="*/ 259 w 269"/>
                <a:gd name="T39" fmla="*/ 170 h 180"/>
                <a:gd name="T40" fmla="*/ 259 w 269"/>
                <a:gd name="T41" fmla="*/ 167 h 180"/>
                <a:gd name="T42" fmla="*/ 260 w 269"/>
                <a:gd name="T43" fmla="*/ 164 h 180"/>
                <a:gd name="T44" fmla="*/ 263 w 269"/>
                <a:gd name="T45" fmla="*/ 163 h 180"/>
                <a:gd name="T46" fmla="*/ 263 w 269"/>
                <a:gd name="T47" fmla="*/ 156 h 180"/>
                <a:gd name="T48" fmla="*/ 264 w 269"/>
                <a:gd name="T49" fmla="*/ 153 h 180"/>
                <a:gd name="T50" fmla="*/ 266 w 269"/>
                <a:gd name="T51" fmla="*/ 152 h 180"/>
                <a:gd name="T52" fmla="*/ 266 w 269"/>
                <a:gd name="T53" fmla="*/ 148 h 180"/>
                <a:gd name="T54" fmla="*/ 264 w 269"/>
                <a:gd name="T55" fmla="*/ 143 h 180"/>
                <a:gd name="T56" fmla="*/ 262 w 269"/>
                <a:gd name="T57" fmla="*/ 142 h 180"/>
                <a:gd name="T58" fmla="*/ 263 w 269"/>
                <a:gd name="T59" fmla="*/ 137 h 180"/>
                <a:gd name="T60" fmla="*/ 263 w 269"/>
                <a:gd name="T61" fmla="*/ 134 h 180"/>
                <a:gd name="T62" fmla="*/ 266 w 269"/>
                <a:gd name="T63" fmla="*/ 134 h 180"/>
                <a:gd name="T64" fmla="*/ 269 w 269"/>
                <a:gd name="T65" fmla="*/ 47 h 180"/>
                <a:gd name="T66" fmla="*/ 266 w 269"/>
                <a:gd name="T67" fmla="*/ 44 h 180"/>
                <a:gd name="T68" fmla="*/ 264 w 269"/>
                <a:gd name="T69" fmla="*/ 41 h 180"/>
                <a:gd name="T70" fmla="*/ 259 w 269"/>
                <a:gd name="T71" fmla="*/ 39 h 180"/>
                <a:gd name="T72" fmla="*/ 258 w 269"/>
                <a:gd name="T73" fmla="*/ 36 h 180"/>
                <a:gd name="T74" fmla="*/ 255 w 269"/>
                <a:gd name="T75" fmla="*/ 33 h 180"/>
                <a:gd name="T76" fmla="*/ 254 w 269"/>
                <a:gd name="T77" fmla="*/ 31 h 180"/>
                <a:gd name="T78" fmla="*/ 254 w 269"/>
                <a:gd name="T79" fmla="*/ 29 h 180"/>
                <a:gd name="T80" fmla="*/ 254 w 269"/>
                <a:gd name="T81" fmla="*/ 27 h 180"/>
                <a:gd name="T82" fmla="*/ 257 w 269"/>
                <a:gd name="T83" fmla="*/ 24 h 180"/>
                <a:gd name="T84" fmla="*/ 260 w 269"/>
                <a:gd name="T85" fmla="*/ 21 h 180"/>
                <a:gd name="T86" fmla="*/ 264 w 269"/>
                <a:gd name="T87" fmla="*/ 17 h 180"/>
                <a:gd name="T88" fmla="*/ 263 w 269"/>
                <a:gd name="T89" fmla="*/ 15 h 180"/>
                <a:gd name="T90" fmla="*/ 263 w 269"/>
                <a:gd name="T91" fmla="*/ 14 h 180"/>
                <a:gd name="T92" fmla="*/ 136 w 269"/>
                <a:gd name="T93" fmla="*/ 8 h 180"/>
                <a:gd name="T94" fmla="*/ 14 w 269"/>
                <a:gd name="T95" fmla="*/ 0 h 180"/>
                <a:gd name="T96" fmla="*/ 0 w 269"/>
                <a:gd name="T97" fmla="*/ 142 h 180"/>
                <a:gd name="T98" fmla="*/ 192 w 269"/>
                <a:gd name="T99" fmla="*/ 154 h 180"/>
                <a:gd name="T100" fmla="*/ 200 w 269"/>
                <a:gd name="T101" fmla="*/ 15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9" h="180">
                  <a:moveTo>
                    <a:pt x="200" y="158"/>
                  </a:moveTo>
                  <a:cubicBezTo>
                    <a:pt x="206" y="161"/>
                    <a:pt x="206" y="161"/>
                    <a:pt x="206" y="161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2" y="164"/>
                    <a:pt x="212" y="164"/>
                    <a:pt x="212" y="164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7" y="161"/>
                    <a:pt x="217" y="161"/>
                    <a:pt x="217" y="161"/>
                  </a:cubicBezTo>
                  <a:cubicBezTo>
                    <a:pt x="220" y="161"/>
                    <a:pt x="220" y="161"/>
                    <a:pt x="220" y="161"/>
                  </a:cubicBezTo>
                  <a:cubicBezTo>
                    <a:pt x="229" y="160"/>
                    <a:pt x="229" y="160"/>
                    <a:pt x="229" y="160"/>
                  </a:cubicBezTo>
                  <a:cubicBezTo>
                    <a:pt x="236" y="161"/>
                    <a:pt x="236" y="161"/>
                    <a:pt x="236" y="161"/>
                  </a:cubicBezTo>
                  <a:cubicBezTo>
                    <a:pt x="240" y="165"/>
                    <a:pt x="240" y="165"/>
                    <a:pt x="240" y="165"/>
                  </a:cubicBezTo>
                  <a:cubicBezTo>
                    <a:pt x="245" y="167"/>
                    <a:pt x="245" y="167"/>
                    <a:pt x="245" y="167"/>
                  </a:cubicBezTo>
                  <a:cubicBezTo>
                    <a:pt x="250" y="169"/>
                    <a:pt x="250" y="169"/>
                    <a:pt x="250" y="169"/>
                  </a:cubicBezTo>
                  <a:cubicBezTo>
                    <a:pt x="257" y="174"/>
                    <a:pt x="257" y="174"/>
                    <a:pt x="257" y="174"/>
                  </a:cubicBezTo>
                  <a:cubicBezTo>
                    <a:pt x="261" y="177"/>
                    <a:pt x="261" y="177"/>
                    <a:pt x="261" y="177"/>
                  </a:cubicBezTo>
                  <a:cubicBezTo>
                    <a:pt x="262" y="178"/>
                    <a:pt x="262" y="178"/>
                    <a:pt x="262" y="178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77"/>
                    <a:pt x="263" y="177"/>
                    <a:pt x="263" y="177"/>
                  </a:cubicBezTo>
                  <a:cubicBezTo>
                    <a:pt x="263" y="173"/>
                    <a:pt x="263" y="173"/>
                    <a:pt x="263" y="173"/>
                  </a:cubicBezTo>
                  <a:cubicBezTo>
                    <a:pt x="259" y="170"/>
                    <a:pt x="259" y="170"/>
                    <a:pt x="259" y="170"/>
                  </a:cubicBezTo>
                  <a:cubicBezTo>
                    <a:pt x="259" y="167"/>
                    <a:pt x="259" y="167"/>
                    <a:pt x="259" y="167"/>
                  </a:cubicBezTo>
                  <a:cubicBezTo>
                    <a:pt x="260" y="164"/>
                    <a:pt x="260" y="164"/>
                    <a:pt x="260" y="164"/>
                  </a:cubicBezTo>
                  <a:cubicBezTo>
                    <a:pt x="263" y="163"/>
                    <a:pt x="263" y="163"/>
                    <a:pt x="263" y="163"/>
                  </a:cubicBezTo>
                  <a:cubicBezTo>
                    <a:pt x="263" y="156"/>
                    <a:pt x="263" y="156"/>
                    <a:pt x="263" y="156"/>
                  </a:cubicBezTo>
                  <a:cubicBezTo>
                    <a:pt x="264" y="153"/>
                    <a:pt x="264" y="153"/>
                    <a:pt x="264" y="153"/>
                  </a:cubicBezTo>
                  <a:cubicBezTo>
                    <a:pt x="266" y="152"/>
                    <a:pt x="266" y="152"/>
                    <a:pt x="266" y="152"/>
                  </a:cubicBezTo>
                  <a:cubicBezTo>
                    <a:pt x="266" y="148"/>
                    <a:pt x="266" y="148"/>
                    <a:pt x="266" y="148"/>
                  </a:cubicBezTo>
                  <a:cubicBezTo>
                    <a:pt x="264" y="143"/>
                    <a:pt x="264" y="143"/>
                    <a:pt x="264" y="143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3" y="137"/>
                    <a:pt x="263" y="137"/>
                    <a:pt x="263" y="137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6" y="134"/>
                    <a:pt x="266" y="134"/>
                    <a:pt x="266" y="134"/>
                  </a:cubicBezTo>
                  <a:cubicBezTo>
                    <a:pt x="269" y="47"/>
                    <a:pt x="269" y="47"/>
                    <a:pt x="269" y="47"/>
                  </a:cubicBezTo>
                  <a:cubicBezTo>
                    <a:pt x="266" y="44"/>
                    <a:pt x="266" y="44"/>
                    <a:pt x="266" y="44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59" y="39"/>
                    <a:pt x="259" y="39"/>
                    <a:pt x="259" y="39"/>
                  </a:cubicBezTo>
                  <a:cubicBezTo>
                    <a:pt x="258" y="36"/>
                    <a:pt x="258" y="36"/>
                    <a:pt x="258" y="36"/>
                  </a:cubicBezTo>
                  <a:cubicBezTo>
                    <a:pt x="255" y="33"/>
                    <a:pt x="255" y="33"/>
                    <a:pt x="255" y="33"/>
                  </a:cubicBezTo>
                  <a:cubicBezTo>
                    <a:pt x="254" y="31"/>
                    <a:pt x="254" y="31"/>
                    <a:pt x="254" y="31"/>
                  </a:cubicBezTo>
                  <a:cubicBezTo>
                    <a:pt x="254" y="29"/>
                    <a:pt x="254" y="29"/>
                    <a:pt x="254" y="29"/>
                  </a:cubicBezTo>
                  <a:cubicBezTo>
                    <a:pt x="254" y="27"/>
                    <a:pt x="254" y="27"/>
                    <a:pt x="254" y="27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4" y="17"/>
                    <a:pt x="264" y="17"/>
                    <a:pt x="264" y="17"/>
                  </a:cubicBezTo>
                  <a:cubicBezTo>
                    <a:pt x="263" y="15"/>
                    <a:pt x="263" y="15"/>
                    <a:pt x="263" y="15"/>
                  </a:cubicBezTo>
                  <a:cubicBezTo>
                    <a:pt x="263" y="14"/>
                    <a:pt x="263" y="14"/>
                    <a:pt x="263" y="14"/>
                  </a:cubicBezTo>
                  <a:cubicBezTo>
                    <a:pt x="263" y="14"/>
                    <a:pt x="167" y="10"/>
                    <a:pt x="136" y="8"/>
                  </a:cubicBezTo>
                  <a:cubicBezTo>
                    <a:pt x="105" y="6"/>
                    <a:pt x="14" y="0"/>
                    <a:pt x="14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192" y="154"/>
                    <a:pt x="192" y="154"/>
                    <a:pt x="192" y="154"/>
                  </a:cubicBezTo>
                  <a:lnTo>
                    <a:pt x="200" y="15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66577900-A80E-3E4E-9389-827DC5640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2223" y="2058571"/>
              <a:ext cx="386195" cy="318738"/>
            </a:xfrm>
            <a:custGeom>
              <a:avLst/>
              <a:gdLst>
                <a:gd name="T0" fmla="*/ 229 w 229"/>
                <a:gd name="T1" fmla="*/ 27 h 189"/>
                <a:gd name="T2" fmla="*/ 228 w 229"/>
                <a:gd name="T3" fmla="*/ 27 h 189"/>
                <a:gd name="T4" fmla="*/ 28 w 229"/>
                <a:gd name="T5" fmla="*/ 0 h 189"/>
                <a:gd name="T6" fmla="*/ 24 w 229"/>
                <a:gd name="T7" fmla="*/ 23 h 189"/>
                <a:gd name="T8" fmla="*/ 7 w 229"/>
                <a:gd name="T9" fmla="*/ 122 h 189"/>
                <a:gd name="T10" fmla="*/ 0 w 229"/>
                <a:gd name="T11" fmla="*/ 162 h 189"/>
                <a:gd name="T12" fmla="*/ 61 w 229"/>
                <a:gd name="T13" fmla="*/ 172 h 189"/>
                <a:gd name="T14" fmla="*/ 212 w 229"/>
                <a:gd name="T15" fmla="*/ 189 h 189"/>
                <a:gd name="T16" fmla="*/ 220 w 229"/>
                <a:gd name="T17" fmla="*/ 109 h 189"/>
                <a:gd name="T18" fmla="*/ 229 w 229"/>
                <a:gd name="T19" fmla="*/ 2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189">
                  <a:moveTo>
                    <a:pt x="229" y="27"/>
                  </a:moveTo>
                  <a:lnTo>
                    <a:pt x="228" y="27"/>
                  </a:lnTo>
                  <a:lnTo>
                    <a:pt x="28" y="0"/>
                  </a:lnTo>
                  <a:lnTo>
                    <a:pt x="24" y="23"/>
                  </a:lnTo>
                  <a:lnTo>
                    <a:pt x="7" y="122"/>
                  </a:lnTo>
                  <a:lnTo>
                    <a:pt x="0" y="162"/>
                  </a:lnTo>
                  <a:lnTo>
                    <a:pt x="61" y="172"/>
                  </a:lnTo>
                  <a:lnTo>
                    <a:pt x="212" y="189"/>
                  </a:lnTo>
                  <a:lnTo>
                    <a:pt x="220" y="109"/>
                  </a:lnTo>
                  <a:lnTo>
                    <a:pt x="229" y="2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663BC2FF-5D73-5F43-B986-BCF1C01F9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478" y="1829214"/>
              <a:ext cx="359212" cy="231044"/>
            </a:xfrm>
            <a:custGeom>
              <a:avLst/>
              <a:gdLst>
                <a:gd name="T0" fmla="*/ 249 w 251"/>
                <a:gd name="T1" fmla="*/ 161 h 162"/>
                <a:gd name="T2" fmla="*/ 249 w 251"/>
                <a:gd name="T3" fmla="*/ 162 h 162"/>
                <a:gd name="T4" fmla="*/ 249 w 251"/>
                <a:gd name="T5" fmla="*/ 162 h 162"/>
                <a:gd name="T6" fmla="*/ 251 w 251"/>
                <a:gd name="T7" fmla="*/ 160 h 162"/>
                <a:gd name="T8" fmla="*/ 251 w 251"/>
                <a:gd name="T9" fmla="*/ 155 h 162"/>
                <a:gd name="T10" fmla="*/ 251 w 251"/>
                <a:gd name="T11" fmla="*/ 150 h 162"/>
                <a:gd name="T12" fmla="*/ 250 w 251"/>
                <a:gd name="T13" fmla="*/ 144 h 162"/>
                <a:gd name="T14" fmla="*/ 248 w 251"/>
                <a:gd name="T15" fmla="*/ 141 h 162"/>
                <a:gd name="T16" fmla="*/ 245 w 251"/>
                <a:gd name="T17" fmla="*/ 138 h 162"/>
                <a:gd name="T18" fmla="*/ 245 w 251"/>
                <a:gd name="T19" fmla="*/ 131 h 162"/>
                <a:gd name="T20" fmla="*/ 244 w 251"/>
                <a:gd name="T21" fmla="*/ 129 h 162"/>
                <a:gd name="T22" fmla="*/ 242 w 251"/>
                <a:gd name="T23" fmla="*/ 126 h 162"/>
                <a:gd name="T24" fmla="*/ 242 w 251"/>
                <a:gd name="T25" fmla="*/ 117 h 162"/>
                <a:gd name="T26" fmla="*/ 242 w 251"/>
                <a:gd name="T27" fmla="*/ 103 h 162"/>
                <a:gd name="T28" fmla="*/ 241 w 251"/>
                <a:gd name="T29" fmla="*/ 86 h 162"/>
                <a:gd name="T30" fmla="*/ 241 w 251"/>
                <a:gd name="T31" fmla="*/ 77 h 162"/>
                <a:gd name="T32" fmla="*/ 237 w 251"/>
                <a:gd name="T33" fmla="*/ 70 h 162"/>
                <a:gd name="T34" fmla="*/ 234 w 251"/>
                <a:gd name="T35" fmla="*/ 60 h 162"/>
                <a:gd name="T36" fmla="*/ 232 w 251"/>
                <a:gd name="T37" fmla="*/ 54 h 162"/>
                <a:gd name="T38" fmla="*/ 234 w 251"/>
                <a:gd name="T39" fmla="*/ 47 h 162"/>
                <a:gd name="T40" fmla="*/ 233 w 251"/>
                <a:gd name="T41" fmla="*/ 41 h 162"/>
                <a:gd name="T42" fmla="*/ 232 w 251"/>
                <a:gd name="T43" fmla="*/ 39 h 162"/>
                <a:gd name="T44" fmla="*/ 232 w 251"/>
                <a:gd name="T45" fmla="*/ 34 h 162"/>
                <a:gd name="T46" fmla="*/ 232 w 251"/>
                <a:gd name="T47" fmla="*/ 33 h 162"/>
                <a:gd name="T48" fmla="*/ 234 w 251"/>
                <a:gd name="T49" fmla="*/ 31 h 162"/>
                <a:gd name="T50" fmla="*/ 235 w 251"/>
                <a:gd name="T51" fmla="*/ 29 h 162"/>
                <a:gd name="T52" fmla="*/ 235 w 251"/>
                <a:gd name="T53" fmla="*/ 25 h 162"/>
                <a:gd name="T54" fmla="*/ 232 w 251"/>
                <a:gd name="T55" fmla="*/ 22 h 162"/>
                <a:gd name="T56" fmla="*/ 232 w 251"/>
                <a:gd name="T57" fmla="*/ 21 h 162"/>
                <a:gd name="T58" fmla="*/ 231 w 251"/>
                <a:gd name="T59" fmla="*/ 18 h 162"/>
                <a:gd name="T60" fmla="*/ 230 w 251"/>
                <a:gd name="T61" fmla="*/ 13 h 162"/>
                <a:gd name="T62" fmla="*/ 97 w 251"/>
                <a:gd name="T63" fmla="*/ 7 h 162"/>
                <a:gd name="T64" fmla="*/ 14 w 251"/>
                <a:gd name="T65" fmla="*/ 0 h 162"/>
                <a:gd name="T66" fmla="*/ 0 w 251"/>
                <a:gd name="T67" fmla="*/ 147 h 162"/>
                <a:gd name="T68" fmla="*/ 122 w 251"/>
                <a:gd name="T69" fmla="*/ 155 h 162"/>
                <a:gd name="T70" fmla="*/ 249 w 251"/>
                <a:gd name="T71" fmla="*/ 16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1" h="162">
                  <a:moveTo>
                    <a:pt x="249" y="161"/>
                  </a:moveTo>
                  <a:cubicBezTo>
                    <a:pt x="249" y="162"/>
                    <a:pt x="249" y="162"/>
                    <a:pt x="249" y="162"/>
                  </a:cubicBezTo>
                  <a:cubicBezTo>
                    <a:pt x="249" y="162"/>
                    <a:pt x="249" y="162"/>
                    <a:pt x="249" y="162"/>
                  </a:cubicBezTo>
                  <a:cubicBezTo>
                    <a:pt x="251" y="160"/>
                    <a:pt x="251" y="160"/>
                    <a:pt x="251" y="160"/>
                  </a:cubicBezTo>
                  <a:cubicBezTo>
                    <a:pt x="251" y="155"/>
                    <a:pt x="251" y="155"/>
                    <a:pt x="251" y="155"/>
                  </a:cubicBezTo>
                  <a:cubicBezTo>
                    <a:pt x="251" y="150"/>
                    <a:pt x="251" y="150"/>
                    <a:pt x="251" y="150"/>
                  </a:cubicBezTo>
                  <a:cubicBezTo>
                    <a:pt x="250" y="144"/>
                    <a:pt x="250" y="144"/>
                    <a:pt x="250" y="144"/>
                  </a:cubicBezTo>
                  <a:cubicBezTo>
                    <a:pt x="248" y="141"/>
                    <a:pt x="248" y="141"/>
                    <a:pt x="248" y="141"/>
                  </a:cubicBezTo>
                  <a:cubicBezTo>
                    <a:pt x="245" y="138"/>
                    <a:pt x="245" y="138"/>
                    <a:pt x="245" y="138"/>
                  </a:cubicBezTo>
                  <a:cubicBezTo>
                    <a:pt x="245" y="131"/>
                    <a:pt x="245" y="131"/>
                    <a:pt x="245" y="131"/>
                  </a:cubicBezTo>
                  <a:cubicBezTo>
                    <a:pt x="244" y="129"/>
                    <a:pt x="244" y="129"/>
                    <a:pt x="244" y="129"/>
                  </a:cubicBezTo>
                  <a:cubicBezTo>
                    <a:pt x="242" y="126"/>
                    <a:pt x="242" y="126"/>
                    <a:pt x="242" y="126"/>
                  </a:cubicBezTo>
                  <a:cubicBezTo>
                    <a:pt x="242" y="117"/>
                    <a:pt x="242" y="117"/>
                    <a:pt x="242" y="117"/>
                  </a:cubicBezTo>
                  <a:cubicBezTo>
                    <a:pt x="242" y="103"/>
                    <a:pt x="242" y="103"/>
                    <a:pt x="242" y="103"/>
                  </a:cubicBezTo>
                  <a:cubicBezTo>
                    <a:pt x="241" y="86"/>
                    <a:pt x="241" y="86"/>
                    <a:pt x="241" y="86"/>
                  </a:cubicBezTo>
                  <a:cubicBezTo>
                    <a:pt x="241" y="77"/>
                    <a:pt x="241" y="77"/>
                    <a:pt x="241" y="77"/>
                  </a:cubicBezTo>
                  <a:cubicBezTo>
                    <a:pt x="237" y="70"/>
                    <a:pt x="237" y="70"/>
                    <a:pt x="237" y="70"/>
                  </a:cubicBezTo>
                  <a:cubicBezTo>
                    <a:pt x="234" y="60"/>
                    <a:pt x="234" y="60"/>
                    <a:pt x="234" y="60"/>
                  </a:cubicBezTo>
                  <a:cubicBezTo>
                    <a:pt x="232" y="54"/>
                    <a:pt x="232" y="54"/>
                    <a:pt x="232" y="54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33" y="41"/>
                    <a:pt x="233" y="41"/>
                    <a:pt x="233" y="41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2" y="34"/>
                    <a:pt x="232" y="34"/>
                    <a:pt x="232" y="34"/>
                  </a:cubicBezTo>
                  <a:cubicBezTo>
                    <a:pt x="232" y="33"/>
                    <a:pt x="232" y="33"/>
                    <a:pt x="232" y="33"/>
                  </a:cubicBezTo>
                  <a:cubicBezTo>
                    <a:pt x="234" y="31"/>
                    <a:pt x="234" y="31"/>
                    <a:pt x="234" y="31"/>
                  </a:cubicBezTo>
                  <a:cubicBezTo>
                    <a:pt x="235" y="29"/>
                    <a:pt x="235" y="29"/>
                    <a:pt x="235" y="29"/>
                  </a:cubicBezTo>
                  <a:cubicBezTo>
                    <a:pt x="235" y="25"/>
                    <a:pt x="235" y="25"/>
                    <a:pt x="235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1" y="18"/>
                    <a:pt x="231" y="18"/>
                    <a:pt x="231" y="18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230" y="13"/>
                    <a:pt x="130" y="9"/>
                    <a:pt x="97" y="7"/>
                  </a:cubicBezTo>
                  <a:cubicBezTo>
                    <a:pt x="76" y="6"/>
                    <a:pt x="14" y="0"/>
                    <a:pt x="14" y="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91" y="153"/>
                    <a:pt x="122" y="155"/>
                  </a:cubicBezTo>
                  <a:cubicBezTo>
                    <a:pt x="153" y="157"/>
                    <a:pt x="249" y="161"/>
                    <a:pt x="249" y="161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92B3A62-855E-4E48-B5FE-F7F1519089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2935" y="2348640"/>
              <a:ext cx="401373" cy="315365"/>
            </a:xfrm>
            <a:custGeom>
              <a:avLst/>
              <a:gdLst>
                <a:gd name="T0" fmla="*/ 267 w 281"/>
                <a:gd name="T1" fmla="*/ 221 h 221"/>
                <a:gd name="T2" fmla="*/ 277 w 281"/>
                <a:gd name="T3" fmla="*/ 75 h 221"/>
                <a:gd name="T4" fmla="*/ 277 w 281"/>
                <a:gd name="T5" fmla="*/ 75 h 221"/>
                <a:gd name="T6" fmla="*/ 277 w 281"/>
                <a:gd name="T7" fmla="*/ 75 h 221"/>
                <a:gd name="T8" fmla="*/ 281 w 281"/>
                <a:gd name="T9" fmla="*/ 28 h 221"/>
                <a:gd name="T10" fmla="*/ 208 w 281"/>
                <a:gd name="T11" fmla="*/ 21 h 221"/>
                <a:gd name="T12" fmla="*/ 30 w 281"/>
                <a:gd name="T13" fmla="*/ 0 h 221"/>
                <a:gd name="T14" fmla="*/ 0 w 281"/>
                <a:gd name="T15" fmla="*/ 192 h 221"/>
                <a:gd name="T16" fmla="*/ 229 w 281"/>
                <a:gd name="T17" fmla="*/ 219 h 221"/>
                <a:gd name="T18" fmla="*/ 267 w 281"/>
                <a:gd name="T1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21">
                  <a:moveTo>
                    <a:pt x="267" y="221"/>
                  </a:move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81" y="28"/>
                    <a:pt x="281" y="28"/>
                    <a:pt x="281" y="28"/>
                  </a:cubicBezTo>
                  <a:cubicBezTo>
                    <a:pt x="208" y="21"/>
                    <a:pt x="208" y="21"/>
                    <a:pt x="208" y="2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229" y="219"/>
                    <a:pt x="229" y="219"/>
                    <a:pt x="229" y="219"/>
                  </a:cubicBezTo>
                  <a:cubicBezTo>
                    <a:pt x="229" y="219"/>
                    <a:pt x="245" y="220"/>
                    <a:pt x="267" y="22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D0A684C-A16E-0640-A7FD-9BDDA73E9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6477" y="2235648"/>
              <a:ext cx="308619" cy="386196"/>
            </a:xfrm>
            <a:custGeom>
              <a:avLst/>
              <a:gdLst>
                <a:gd name="T0" fmla="*/ 183 w 183"/>
                <a:gd name="T1" fmla="*/ 67 h 229"/>
                <a:gd name="T2" fmla="*/ 122 w 183"/>
                <a:gd name="T3" fmla="*/ 57 h 229"/>
                <a:gd name="T4" fmla="*/ 129 w 183"/>
                <a:gd name="T5" fmla="*/ 17 h 229"/>
                <a:gd name="T6" fmla="*/ 39 w 183"/>
                <a:gd name="T7" fmla="*/ 0 h 229"/>
                <a:gd name="T8" fmla="*/ 0 w 183"/>
                <a:gd name="T9" fmla="*/ 201 h 229"/>
                <a:gd name="T10" fmla="*/ 158 w 183"/>
                <a:gd name="T11" fmla="*/ 229 h 229"/>
                <a:gd name="T12" fmla="*/ 183 w 183"/>
                <a:gd name="T13" fmla="*/ 6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229">
                  <a:moveTo>
                    <a:pt x="183" y="67"/>
                  </a:moveTo>
                  <a:lnTo>
                    <a:pt x="122" y="57"/>
                  </a:lnTo>
                  <a:lnTo>
                    <a:pt x="129" y="17"/>
                  </a:lnTo>
                  <a:lnTo>
                    <a:pt x="39" y="0"/>
                  </a:lnTo>
                  <a:lnTo>
                    <a:pt x="0" y="201"/>
                  </a:lnTo>
                  <a:lnTo>
                    <a:pt x="158" y="229"/>
                  </a:lnTo>
                  <a:lnTo>
                    <a:pt x="183" y="6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A714B040-D026-A743-A524-95AC1A058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8095" y="2164818"/>
              <a:ext cx="354153" cy="536288"/>
            </a:xfrm>
            <a:custGeom>
              <a:avLst/>
              <a:gdLst>
                <a:gd name="T0" fmla="*/ 5 w 248"/>
                <a:gd name="T1" fmla="*/ 131 h 375"/>
                <a:gd name="T2" fmla="*/ 1 w 248"/>
                <a:gd name="T3" fmla="*/ 132 h 375"/>
                <a:gd name="T4" fmla="*/ 0 w 248"/>
                <a:gd name="T5" fmla="*/ 135 h 375"/>
                <a:gd name="T6" fmla="*/ 1 w 248"/>
                <a:gd name="T7" fmla="*/ 139 h 375"/>
                <a:gd name="T8" fmla="*/ 2 w 248"/>
                <a:gd name="T9" fmla="*/ 142 h 375"/>
                <a:gd name="T10" fmla="*/ 3 w 248"/>
                <a:gd name="T11" fmla="*/ 143 h 375"/>
                <a:gd name="T12" fmla="*/ 7 w 248"/>
                <a:gd name="T13" fmla="*/ 145 h 375"/>
                <a:gd name="T14" fmla="*/ 160 w 248"/>
                <a:gd name="T15" fmla="*/ 375 h 375"/>
                <a:gd name="T16" fmla="*/ 163 w 248"/>
                <a:gd name="T17" fmla="*/ 371 h 375"/>
                <a:gd name="T18" fmla="*/ 164 w 248"/>
                <a:gd name="T19" fmla="*/ 367 h 375"/>
                <a:gd name="T20" fmla="*/ 164 w 248"/>
                <a:gd name="T21" fmla="*/ 354 h 375"/>
                <a:gd name="T22" fmla="*/ 164 w 248"/>
                <a:gd name="T23" fmla="*/ 340 h 375"/>
                <a:gd name="T24" fmla="*/ 164 w 248"/>
                <a:gd name="T25" fmla="*/ 329 h 375"/>
                <a:gd name="T26" fmla="*/ 167 w 248"/>
                <a:gd name="T27" fmla="*/ 326 h 375"/>
                <a:gd name="T28" fmla="*/ 174 w 248"/>
                <a:gd name="T29" fmla="*/ 324 h 375"/>
                <a:gd name="T30" fmla="*/ 176 w 248"/>
                <a:gd name="T31" fmla="*/ 328 h 375"/>
                <a:gd name="T32" fmla="*/ 180 w 248"/>
                <a:gd name="T33" fmla="*/ 326 h 375"/>
                <a:gd name="T34" fmla="*/ 185 w 248"/>
                <a:gd name="T35" fmla="*/ 330 h 375"/>
                <a:gd name="T36" fmla="*/ 188 w 248"/>
                <a:gd name="T37" fmla="*/ 332 h 375"/>
                <a:gd name="T38" fmla="*/ 191 w 248"/>
                <a:gd name="T39" fmla="*/ 330 h 375"/>
                <a:gd name="T40" fmla="*/ 197 w 248"/>
                <a:gd name="T41" fmla="*/ 312 h 375"/>
                <a:gd name="T42" fmla="*/ 202 w 248"/>
                <a:gd name="T43" fmla="*/ 287 h 375"/>
                <a:gd name="T44" fmla="*/ 248 w 248"/>
                <a:gd name="T45" fmla="*/ 49 h 375"/>
                <a:gd name="T46" fmla="*/ 134 w 248"/>
                <a:gd name="T47" fmla="*/ 24 h 375"/>
                <a:gd name="T48" fmla="*/ 42 w 248"/>
                <a:gd name="T49" fmla="*/ 0 h 375"/>
                <a:gd name="T50" fmla="*/ 8 w 248"/>
                <a:gd name="T51" fmla="*/ 130 h 375"/>
                <a:gd name="T52" fmla="*/ 5 w 248"/>
                <a:gd name="T53" fmla="*/ 1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8" h="375">
                  <a:moveTo>
                    <a:pt x="5" y="131"/>
                  </a:moveTo>
                  <a:cubicBezTo>
                    <a:pt x="1" y="132"/>
                    <a:pt x="1" y="132"/>
                    <a:pt x="1" y="132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2" y="142"/>
                    <a:pt x="2" y="142"/>
                    <a:pt x="2" y="142"/>
                  </a:cubicBezTo>
                  <a:cubicBezTo>
                    <a:pt x="3" y="143"/>
                    <a:pt x="3" y="143"/>
                    <a:pt x="3" y="143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160" y="375"/>
                    <a:pt x="160" y="375"/>
                    <a:pt x="160" y="375"/>
                  </a:cubicBezTo>
                  <a:cubicBezTo>
                    <a:pt x="163" y="371"/>
                    <a:pt x="163" y="371"/>
                    <a:pt x="163" y="371"/>
                  </a:cubicBezTo>
                  <a:cubicBezTo>
                    <a:pt x="164" y="367"/>
                    <a:pt x="164" y="367"/>
                    <a:pt x="164" y="367"/>
                  </a:cubicBezTo>
                  <a:cubicBezTo>
                    <a:pt x="164" y="354"/>
                    <a:pt x="164" y="354"/>
                    <a:pt x="164" y="354"/>
                  </a:cubicBezTo>
                  <a:cubicBezTo>
                    <a:pt x="164" y="340"/>
                    <a:pt x="164" y="340"/>
                    <a:pt x="164" y="340"/>
                  </a:cubicBezTo>
                  <a:cubicBezTo>
                    <a:pt x="164" y="329"/>
                    <a:pt x="164" y="329"/>
                    <a:pt x="164" y="329"/>
                  </a:cubicBezTo>
                  <a:cubicBezTo>
                    <a:pt x="167" y="326"/>
                    <a:pt x="167" y="326"/>
                    <a:pt x="167" y="326"/>
                  </a:cubicBezTo>
                  <a:cubicBezTo>
                    <a:pt x="174" y="324"/>
                    <a:pt x="174" y="324"/>
                    <a:pt x="174" y="324"/>
                  </a:cubicBezTo>
                  <a:cubicBezTo>
                    <a:pt x="176" y="328"/>
                    <a:pt x="176" y="328"/>
                    <a:pt x="176" y="328"/>
                  </a:cubicBezTo>
                  <a:cubicBezTo>
                    <a:pt x="180" y="326"/>
                    <a:pt x="180" y="326"/>
                    <a:pt x="180" y="326"/>
                  </a:cubicBezTo>
                  <a:cubicBezTo>
                    <a:pt x="185" y="330"/>
                    <a:pt x="185" y="330"/>
                    <a:pt x="185" y="330"/>
                  </a:cubicBezTo>
                  <a:cubicBezTo>
                    <a:pt x="188" y="332"/>
                    <a:pt x="188" y="332"/>
                    <a:pt x="188" y="332"/>
                  </a:cubicBezTo>
                  <a:cubicBezTo>
                    <a:pt x="191" y="330"/>
                    <a:pt x="191" y="330"/>
                    <a:pt x="191" y="330"/>
                  </a:cubicBezTo>
                  <a:cubicBezTo>
                    <a:pt x="191" y="330"/>
                    <a:pt x="195" y="316"/>
                    <a:pt x="197" y="312"/>
                  </a:cubicBezTo>
                  <a:cubicBezTo>
                    <a:pt x="198" y="306"/>
                    <a:pt x="202" y="287"/>
                    <a:pt x="202" y="287"/>
                  </a:cubicBezTo>
                  <a:cubicBezTo>
                    <a:pt x="248" y="49"/>
                    <a:pt x="248" y="49"/>
                    <a:pt x="248" y="49"/>
                  </a:cubicBezTo>
                  <a:cubicBezTo>
                    <a:pt x="248" y="49"/>
                    <a:pt x="163" y="31"/>
                    <a:pt x="134" y="24"/>
                  </a:cubicBezTo>
                  <a:cubicBezTo>
                    <a:pt x="111" y="19"/>
                    <a:pt x="42" y="0"/>
                    <a:pt x="42" y="0"/>
                  </a:cubicBezTo>
                  <a:cubicBezTo>
                    <a:pt x="8" y="130"/>
                    <a:pt x="8" y="130"/>
                    <a:pt x="8" y="130"/>
                  </a:cubicBezTo>
                  <a:lnTo>
                    <a:pt x="5" y="13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74D49F76-4D76-2F42-BFF1-48FFDB579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8002" y="1830902"/>
              <a:ext cx="440161" cy="372704"/>
            </a:xfrm>
            <a:custGeom>
              <a:avLst/>
              <a:gdLst>
                <a:gd name="T0" fmla="*/ 269 w 308"/>
                <a:gd name="T1" fmla="*/ 182 h 261"/>
                <a:gd name="T2" fmla="*/ 270 w 308"/>
                <a:gd name="T3" fmla="*/ 175 h 261"/>
                <a:gd name="T4" fmla="*/ 275 w 308"/>
                <a:gd name="T5" fmla="*/ 171 h 261"/>
                <a:gd name="T6" fmla="*/ 276 w 308"/>
                <a:gd name="T7" fmla="*/ 159 h 261"/>
                <a:gd name="T8" fmla="*/ 274 w 308"/>
                <a:gd name="T9" fmla="*/ 154 h 261"/>
                <a:gd name="T10" fmla="*/ 271 w 308"/>
                <a:gd name="T11" fmla="*/ 153 h 261"/>
                <a:gd name="T12" fmla="*/ 270 w 308"/>
                <a:gd name="T13" fmla="*/ 145 h 261"/>
                <a:gd name="T14" fmla="*/ 277 w 308"/>
                <a:gd name="T15" fmla="*/ 137 h 261"/>
                <a:gd name="T16" fmla="*/ 288 w 308"/>
                <a:gd name="T17" fmla="*/ 125 h 261"/>
                <a:gd name="T18" fmla="*/ 291 w 308"/>
                <a:gd name="T19" fmla="*/ 120 h 261"/>
                <a:gd name="T20" fmla="*/ 297 w 308"/>
                <a:gd name="T21" fmla="*/ 111 h 261"/>
                <a:gd name="T22" fmla="*/ 304 w 308"/>
                <a:gd name="T23" fmla="*/ 104 h 261"/>
                <a:gd name="T24" fmla="*/ 308 w 308"/>
                <a:gd name="T25" fmla="*/ 98 h 261"/>
                <a:gd name="T26" fmla="*/ 307 w 308"/>
                <a:gd name="T27" fmla="*/ 90 h 261"/>
                <a:gd name="T28" fmla="*/ 300 w 308"/>
                <a:gd name="T29" fmla="*/ 83 h 261"/>
                <a:gd name="T30" fmla="*/ 297 w 308"/>
                <a:gd name="T31" fmla="*/ 74 h 261"/>
                <a:gd name="T32" fmla="*/ 220 w 308"/>
                <a:gd name="T33" fmla="*/ 56 h 261"/>
                <a:gd name="T34" fmla="*/ 211 w 308"/>
                <a:gd name="T35" fmla="*/ 56 h 261"/>
                <a:gd name="T36" fmla="*/ 178 w 308"/>
                <a:gd name="T37" fmla="*/ 58 h 261"/>
                <a:gd name="T38" fmla="*/ 172 w 308"/>
                <a:gd name="T39" fmla="*/ 57 h 261"/>
                <a:gd name="T40" fmla="*/ 167 w 308"/>
                <a:gd name="T41" fmla="*/ 58 h 261"/>
                <a:gd name="T42" fmla="*/ 164 w 308"/>
                <a:gd name="T43" fmla="*/ 56 h 261"/>
                <a:gd name="T44" fmla="*/ 156 w 308"/>
                <a:gd name="T45" fmla="*/ 55 h 261"/>
                <a:gd name="T46" fmla="*/ 155 w 308"/>
                <a:gd name="T47" fmla="*/ 52 h 261"/>
                <a:gd name="T48" fmla="*/ 143 w 308"/>
                <a:gd name="T49" fmla="*/ 49 h 261"/>
                <a:gd name="T50" fmla="*/ 136 w 308"/>
                <a:gd name="T51" fmla="*/ 46 h 261"/>
                <a:gd name="T52" fmla="*/ 121 w 308"/>
                <a:gd name="T53" fmla="*/ 49 h 261"/>
                <a:gd name="T54" fmla="*/ 103 w 308"/>
                <a:gd name="T55" fmla="*/ 40 h 261"/>
                <a:gd name="T56" fmla="*/ 99 w 308"/>
                <a:gd name="T57" fmla="*/ 12 h 261"/>
                <a:gd name="T58" fmla="*/ 90 w 308"/>
                <a:gd name="T59" fmla="*/ 10 h 261"/>
                <a:gd name="T60" fmla="*/ 80 w 308"/>
                <a:gd name="T61" fmla="*/ 4 h 261"/>
                <a:gd name="T62" fmla="*/ 70 w 308"/>
                <a:gd name="T63" fmla="*/ 0 h 261"/>
                <a:gd name="T64" fmla="*/ 68 w 308"/>
                <a:gd name="T65" fmla="*/ 13 h 261"/>
                <a:gd name="T66" fmla="*/ 64 w 308"/>
                <a:gd name="T67" fmla="*/ 28 h 261"/>
                <a:gd name="T68" fmla="*/ 60 w 308"/>
                <a:gd name="T69" fmla="*/ 38 h 261"/>
                <a:gd name="T70" fmla="*/ 55 w 308"/>
                <a:gd name="T71" fmla="*/ 50 h 261"/>
                <a:gd name="T72" fmla="*/ 47 w 308"/>
                <a:gd name="T73" fmla="*/ 67 h 261"/>
                <a:gd name="T74" fmla="*/ 35 w 308"/>
                <a:gd name="T75" fmla="*/ 98 h 261"/>
                <a:gd name="T76" fmla="*/ 24 w 308"/>
                <a:gd name="T77" fmla="*/ 120 h 261"/>
                <a:gd name="T78" fmla="*/ 18 w 308"/>
                <a:gd name="T79" fmla="*/ 130 h 261"/>
                <a:gd name="T80" fmla="*/ 14 w 308"/>
                <a:gd name="T81" fmla="*/ 136 h 261"/>
                <a:gd name="T82" fmla="*/ 5 w 308"/>
                <a:gd name="T83" fmla="*/ 148 h 261"/>
                <a:gd name="T84" fmla="*/ 5 w 308"/>
                <a:gd name="T85" fmla="*/ 160 h 261"/>
                <a:gd name="T86" fmla="*/ 5 w 308"/>
                <a:gd name="T87" fmla="*/ 164 h 261"/>
                <a:gd name="T88" fmla="*/ 3 w 308"/>
                <a:gd name="T89" fmla="*/ 169 h 261"/>
                <a:gd name="T90" fmla="*/ 1 w 308"/>
                <a:gd name="T91" fmla="*/ 174 h 261"/>
                <a:gd name="T92" fmla="*/ 0 w 308"/>
                <a:gd name="T93" fmla="*/ 187 h 261"/>
                <a:gd name="T94" fmla="*/ 3 w 308"/>
                <a:gd name="T95" fmla="*/ 193 h 261"/>
                <a:gd name="T96" fmla="*/ 239 w 308"/>
                <a:gd name="T97" fmla="*/ 258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8" h="261">
                  <a:moveTo>
                    <a:pt x="251" y="261"/>
                  </a:moveTo>
                  <a:cubicBezTo>
                    <a:pt x="269" y="182"/>
                    <a:pt x="269" y="182"/>
                    <a:pt x="269" y="182"/>
                  </a:cubicBezTo>
                  <a:cubicBezTo>
                    <a:pt x="269" y="177"/>
                    <a:pt x="269" y="177"/>
                    <a:pt x="269" y="177"/>
                  </a:cubicBezTo>
                  <a:cubicBezTo>
                    <a:pt x="270" y="175"/>
                    <a:pt x="270" y="175"/>
                    <a:pt x="270" y="175"/>
                  </a:cubicBezTo>
                  <a:cubicBezTo>
                    <a:pt x="275" y="173"/>
                    <a:pt x="275" y="173"/>
                    <a:pt x="275" y="173"/>
                  </a:cubicBezTo>
                  <a:cubicBezTo>
                    <a:pt x="275" y="171"/>
                    <a:pt x="275" y="171"/>
                    <a:pt x="275" y="171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59"/>
                    <a:pt x="276" y="159"/>
                    <a:pt x="276" y="159"/>
                  </a:cubicBezTo>
                  <a:cubicBezTo>
                    <a:pt x="277" y="157"/>
                    <a:pt x="277" y="157"/>
                    <a:pt x="277" y="157"/>
                  </a:cubicBezTo>
                  <a:cubicBezTo>
                    <a:pt x="274" y="154"/>
                    <a:pt x="274" y="154"/>
                    <a:pt x="274" y="154"/>
                  </a:cubicBezTo>
                  <a:cubicBezTo>
                    <a:pt x="273" y="154"/>
                    <a:pt x="273" y="154"/>
                    <a:pt x="273" y="154"/>
                  </a:cubicBezTo>
                  <a:cubicBezTo>
                    <a:pt x="271" y="153"/>
                    <a:pt x="271" y="153"/>
                    <a:pt x="271" y="153"/>
                  </a:cubicBezTo>
                  <a:cubicBezTo>
                    <a:pt x="269" y="150"/>
                    <a:pt x="269" y="150"/>
                    <a:pt x="269" y="150"/>
                  </a:cubicBezTo>
                  <a:cubicBezTo>
                    <a:pt x="270" y="145"/>
                    <a:pt x="270" y="145"/>
                    <a:pt x="270" y="145"/>
                  </a:cubicBezTo>
                  <a:cubicBezTo>
                    <a:pt x="271" y="142"/>
                    <a:pt x="271" y="142"/>
                    <a:pt x="271" y="142"/>
                  </a:cubicBezTo>
                  <a:cubicBezTo>
                    <a:pt x="277" y="137"/>
                    <a:pt x="277" y="137"/>
                    <a:pt x="277" y="137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289" y="121"/>
                    <a:pt x="289" y="121"/>
                    <a:pt x="289" y="121"/>
                  </a:cubicBezTo>
                  <a:cubicBezTo>
                    <a:pt x="291" y="120"/>
                    <a:pt x="291" y="120"/>
                    <a:pt x="291" y="120"/>
                  </a:cubicBezTo>
                  <a:cubicBezTo>
                    <a:pt x="293" y="115"/>
                    <a:pt x="293" y="115"/>
                    <a:pt x="293" y="115"/>
                  </a:cubicBezTo>
                  <a:cubicBezTo>
                    <a:pt x="297" y="111"/>
                    <a:pt x="297" y="111"/>
                    <a:pt x="297" y="111"/>
                  </a:cubicBezTo>
                  <a:cubicBezTo>
                    <a:pt x="300" y="107"/>
                    <a:pt x="300" y="107"/>
                    <a:pt x="300" y="107"/>
                  </a:cubicBezTo>
                  <a:cubicBezTo>
                    <a:pt x="304" y="104"/>
                    <a:pt x="304" y="104"/>
                    <a:pt x="304" y="104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8" y="98"/>
                    <a:pt x="308" y="98"/>
                    <a:pt x="308" y="98"/>
                  </a:cubicBezTo>
                  <a:cubicBezTo>
                    <a:pt x="308" y="94"/>
                    <a:pt x="308" y="94"/>
                    <a:pt x="308" y="94"/>
                  </a:cubicBezTo>
                  <a:cubicBezTo>
                    <a:pt x="307" y="90"/>
                    <a:pt x="307" y="90"/>
                    <a:pt x="307" y="90"/>
                  </a:cubicBezTo>
                  <a:cubicBezTo>
                    <a:pt x="305" y="87"/>
                    <a:pt x="305" y="87"/>
                    <a:pt x="305" y="87"/>
                  </a:cubicBezTo>
                  <a:cubicBezTo>
                    <a:pt x="300" y="83"/>
                    <a:pt x="300" y="83"/>
                    <a:pt x="300" y="83"/>
                  </a:cubicBezTo>
                  <a:cubicBezTo>
                    <a:pt x="297" y="78"/>
                    <a:pt x="297" y="78"/>
                    <a:pt x="297" y="78"/>
                  </a:cubicBezTo>
                  <a:cubicBezTo>
                    <a:pt x="297" y="74"/>
                    <a:pt x="297" y="74"/>
                    <a:pt x="297" y="74"/>
                  </a:cubicBezTo>
                  <a:cubicBezTo>
                    <a:pt x="231" y="57"/>
                    <a:pt x="231" y="57"/>
                    <a:pt x="231" y="57"/>
                  </a:cubicBezTo>
                  <a:cubicBezTo>
                    <a:pt x="220" y="56"/>
                    <a:pt x="220" y="56"/>
                    <a:pt x="220" y="56"/>
                  </a:cubicBezTo>
                  <a:cubicBezTo>
                    <a:pt x="216" y="57"/>
                    <a:pt x="216" y="57"/>
                    <a:pt x="216" y="57"/>
                  </a:cubicBezTo>
                  <a:cubicBezTo>
                    <a:pt x="211" y="56"/>
                    <a:pt x="211" y="56"/>
                    <a:pt x="211" y="56"/>
                  </a:cubicBezTo>
                  <a:cubicBezTo>
                    <a:pt x="207" y="57"/>
                    <a:pt x="207" y="57"/>
                    <a:pt x="207" y="57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7"/>
                    <a:pt x="172" y="57"/>
                    <a:pt x="172" y="57"/>
                  </a:cubicBezTo>
                  <a:cubicBezTo>
                    <a:pt x="169" y="58"/>
                    <a:pt x="169" y="58"/>
                    <a:pt x="169" y="58"/>
                  </a:cubicBezTo>
                  <a:cubicBezTo>
                    <a:pt x="167" y="58"/>
                    <a:pt x="167" y="58"/>
                    <a:pt x="167" y="58"/>
                  </a:cubicBezTo>
                  <a:cubicBezTo>
                    <a:pt x="164" y="57"/>
                    <a:pt x="164" y="57"/>
                    <a:pt x="164" y="57"/>
                  </a:cubicBezTo>
                  <a:cubicBezTo>
                    <a:pt x="164" y="56"/>
                    <a:pt x="164" y="56"/>
                    <a:pt x="164" y="56"/>
                  </a:cubicBezTo>
                  <a:cubicBezTo>
                    <a:pt x="159" y="56"/>
                    <a:pt x="159" y="56"/>
                    <a:pt x="159" y="56"/>
                  </a:cubicBezTo>
                  <a:cubicBezTo>
                    <a:pt x="156" y="55"/>
                    <a:pt x="156" y="55"/>
                    <a:pt x="156" y="55"/>
                  </a:cubicBezTo>
                  <a:cubicBezTo>
                    <a:pt x="155" y="53"/>
                    <a:pt x="155" y="53"/>
                    <a:pt x="155" y="53"/>
                  </a:cubicBezTo>
                  <a:cubicBezTo>
                    <a:pt x="155" y="52"/>
                    <a:pt x="155" y="52"/>
                    <a:pt x="155" y="52"/>
                  </a:cubicBezTo>
                  <a:cubicBezTo>
                    <a:pt x="151" y="51"/>
                    <a:pt x="151" y="51"/>
                    <a:pt x="151" y="51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38" y="47"/>
                    <a:pt x="138" y="47"/>
                    <a:pt x="138" y="47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0"/>
                    <a:pt x="106" y="33"/>
                    <a:pt x="105" y="24"/>
                  </a:cubicBezTo>
                  <a:cubicBezTo>
                    <a:pt x="104" y="14"/>
                    <a:pt x="99" y="12"/>
                    <a:pt x="99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4"/>
                    <a:pt x="85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5" y="50"/>
                    <a:pt x="55" y="50"/>
                    <a:pt x="55" y="50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35" y="98"/>
                    <a:pt x="35" y="98"/>
                    <a:pt x="35" y="98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24" y="120"/>
                    <a:pt x="24" y="120"/>
                    <a:pt x="24" y="120"/>
                  </a:cubicBezTo>
                  <a:cubicBezTo>
                    <a:pt x="22" y="124"/>
                    <a:pt x="22" y="124"/>
                    <a:pt x="22" y="124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5" y="148"/>
                    <a:pt x="5" y="148"/>
                    <a:pt x="5" y="148"/>
                  </a:cubicBezTo>
                  <a:cubicBezTo>
                    <a:pt x="3" y="152"/>
                    <a:pt x="3" y="152"/>
                    <a:pt x="3" y="152"/>
                  </a:cubicBezTo>
                  <a:cubicBezTo>
                    <a:pt x="5" y="160"/>
                    <a:pt x="5" y="160"/>
                    <a:pt x="5" y="160"/>
                  </a:cubicBezTo>
                  <a:cubicBezTo>
                    <a:pt x="5" y="162"/>
                    <a:pt x="5" y="162"/>
                    <a:pt x="5" y="162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70"/>
                    <a:pt x="1" y="170"/>
                    <a:pt x="1" y="170"/>
                  </a:cubicBezTo>
                  <a:cubicBezTo>
                    <a:pt x="1" y="174"/>
                    <a:pt x="1" y="174"/>
                    <a:pt x="1" y="174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2" y="190"/>
                    <a:pt x="2" y="190"/>
                    <a:pt x="2" y="190"/>
                  </a:cubicBezTo>
                  <a:cubicBezTo>
                    <a:pt x="3" y="193"/>
                    <a:pt x="3" y="193"/>
                    <a:pt x="3" y="193"/>
                  </a:cubicBezTo>
                  <a:cubicBezTo>
                    <a:pt x="147" y="234"/>
                    <a:pt x="147" y="234"/>
                    <a:pt x="147" y="234"/>
                  </a:cubicBezTo>
                  <a:cubicBezTo>
                    <a:pt x="147" y="234"/>
                    <a:pt x="216" y="253"/>
                    <a:pt x="239" y="258"/>
                  </a:cubicBezTo>
                  <a:cubicBezTo>
                    <a:pt x="242" y="259"/>
                    <a:pt x="246" y="260"/>
                    <a:pt x="251" y="26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A400EFD9-4275-8342-A45C-128D3AADC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213" y="1731401"/>
              <a:ext cx="325483" cy="532916"/>
            </a:xfrm>
            <a:custGeom>
              <a:avLst/>
              <a:gdLst>
                <a:gd name="T0" fmla="*/ 46 w 228"/>
                <a:gd name="T1" fmla="*/ 143 h 373"/>
                <a:gd name="T2" fmla="*/ 49 w 228"/>
                <a:gd name="T3" fmla="*/ 152 h 373"/>
                <a:gd name="T4" fmla="*/ 56 w 228"/>
                <a:gd name="T5" fmla="*/ 159 h 373"/>
                <a:gd name="T6" fmla="*/ 57 w 228"/>
                <a:gd name="T7" fmla="*/ 167 h 373"/>
                <a:gd name="T8" fmla="*/ 53 w 228"/>
                <a:gd name="T9" fmla="*/ 173 h 373"/>
                <a:gd name="T10" fmla="*/ 46 w 228"/>
                <a:gd name="T11" fmla="*/ 180 h 373"/>
                <a:gd name="T12" fmla="*/ 40 w 228"/>
                <a:gd name="T13" fmla="*/ 189 h 373"/>
                <a:gd name="T14" fmla="*/ 37 w 228"/>
                <a:gd name="T15" fmla="*/ 194 h 373"/>
                <a:gd name="T16" fmla="*/ 26 w 228"/>
                <a:gd name="T17" fmla="*/ 206 h 373"/>
                <a:gd name="T18" fmla="*/ 19 w 228"/>
                <a:gd name="T19" fmla="*/ 214 h 373"/>
                <a:gd name="T20" fmla="*/ 20 w 228"/>
                <a:gd name="T21" fmla="*/ 222 h 373"/>
                <a:gd name="T22" fmla="*/ 23 w 228"/>
                <a:gd name="T23" fmla="*/ 223 h 373"/>
                <a:gd name="T24" fmla="*/ 25 w 228"/>
                <a:gd name="T25" fmla="*/ 228 h 373"/>
                <a:gd name="T26" fmla="*/ 24 w 228"/>
                <a:gd name="T27" fmla="*/ 240 h 373"/>
                <a:gd name="T28" fmla="*/ 19 w 228"/>
                <a:gd name="T29" fmla="*/ 244 h 373"/>
                <a:gd name="T30" fmla="*/ 18 w 228"/>
                <a:gd name="T31" fmla="*/ 251 h 373"/>
                <a:gd name="T32" fmla="*/ 102 w 228"/>
                <a:gd name="T33" fmla="*/ 352 h 373"/>
                <a:gd name="T34" fmla="*/ 228 w 228"/>
                <a:gd name="T35" fmla="*/ 256 h 373"/>
                <a:gd name="T36" fmla="*/ 224 w 228"/>
                <a:gd name="T37" fmla="*/ 252 h 373"/>
                <a:gd name="T38" fmla="*/ 223 w 228"/>
                <a:gd name="T39" fmla="*/ 247 h 373"/>
                <a:gd name="T40" fmla="*/ 218 w 228"/>
                <a:gd name="T41" fmla="*/ 241 h 373"/>
                <a:gd name="T42" fmla="*/ 213 w 228"/>
                <a:gd name="T43" fmla="*/ 246 h 373"/>
                <a:gd name="T44" fmla="*/ 202 w 228"/>
                <a:gd name="T45" fmla="*/ 248 h 373"/>
                <a:gd name="T46" fmla="*/ 189 w 228"/>
                <a:gd name="T47" fmla="*/ 245 h 373"/>
                <a:gd name="T48" fmla="*/ 184 w 228"/>
                <a:gd name="T49" fmla="*/ 247 h 373"/>
                <a:gd name="T50" fmla="*/ 179 w 228"/>
                <a:gd name="T51" fmla="*/ 247 h 373"/>
                <a:gd name="T52" fmla="*/ 171 w 228"/>
                <a:gd name="T53" fmla="*/ 244 h 373"/>
                <a:gd name="T54" fmla="*/ 168 w 228"/>
                <a:gd name="T55" fmla="*/ 247 h 373"/>
                <a:gd name="T56" fmla="*/ 164 w 228"/>
                <a:gd name="T57" fmla="*/ 249 h 373"/>
                <a:gd name="T58" fmla="*/ 162 w 228"/>
                <a:gd name="T59" fmla="*/ 242 h 373"/>
                <a:gd name="T60" fmla="*/ 160 w 228"/>
                <a:gd name="T61" fmla="*/ 232 h 373"/>
                <a:gd name="T62" fmla="*/ 156 w 228"/>
                <a:gd name="T63" fmla="*/ 226 h 373"/>
                <a:gd name="T64" fmla="*/ 149 w 228"/>
                <a:gd name="T65" fmla="*/ 220 h 373"/>
                <a:gd name="T66" fmla="*/ 149 w 228"/>
                <a:gd name="T67" fmla="*/ 213 h 373"/>
                <a:gd name="T68" fmla="*/ 145 w 228"/>
                <a:gd name="T69" fmla="*/ 204 h 373"/>
                <a:gd name="T70" fmla="*/ 145 w 228"/>
                <a:gd name="T71" fmla="*/ 195 h 373"/>
                <a:gd name="T72" fmla="*/ 142 w 228"/>
                <a:gd name="T73" fmla="*/ 183 h 373"/>
                <a:gd name="T74" fmla="*/ 139 w 228"/>
                <a:gd name="T75" fmla="*/ 179 h 373"/>
                <a:gd name="T76" fmla="*/ 133 w 228"/>
                <a:gd name="T77" fmla="*/ 182 h 373"/>
                <a:gd name="T78" fmla="*/ 127 w 228"/>
                <a:gd name="T79" fmla="*/ 186 h 373"/>
                <a:gd name="T80" fmla="*/ 125 w 228"/>
                <a:gd name="T81" fmla="*/ 183 h 373"/>
                <a:gd name="T82" fmla="*/ 119 w 228"/>
                <a:gd name="T83" fmla="*/ 179 h 373"/>
                <a:gd name="T84" fmla="*/ 125 w 228"/>
                <a:gd name="T85" fmla="*/ 168 h 373"/>
                <a:gd name="T86" fmla="*/ 129 w 228"/>
                <a:gd name="T87" fmla="*/ 166 h 373"/>
                <a:gd name="T88" fmla="*/ 128 w 228"/>
                <a:gd name="T89" fmla="*/ 154 h 373"/>
                <a:gd name="T90" fmla="*/ 134 w 228"/>
                <a:gd name="T91" fmla="*/ 141 h 373"/>
                <a:gd name="T92" fmla="*/ 137 w 228"/>
                <a:gd name="T93" fmla="*/ 131 h 373"/>
                <a:gd name="T94" fmla="*/ 128 w 228"/>
                <a:gd name="T95" fmla="*/ 128 h 373"/>
                <a:gd name="T96" fmla="*/ 123 w 228"/>
                <a:gd name="T97" fmla="*/ 118 h 373"/>
                <a:gd name="T98" fmla="*/ 119 w 228"/>
                <a:gd name="T99" fmla="*/ 106 h 373"/>
                <a:gd name="T100" fmla="*/ 109 w 228"/>
                <a:gd name="T101" fmla="*/ 93 h 373"/>
                <a:gd name="T102" fmla="*/ 104 w 228"/>
                <a:gd name="T103" fmla="*/ 82 h 373"/>
                <a:gd name="T104" fmla="*/ 101 w 228"/>
                <a:gd name="T105" fmla="*/ 76 h 373"/>
                <a:gd name="T106" fmla="*/ 101 w 228"/>
                <a:gd name="T107" fmla="*/ 69 h 373"/>
                <a:gd name="T108" fmla="*/ 97 w 228"/>
                <a:gd name="T109" fmla="*/ 62 h 373"/>
                <a:gd name="T110" fmla="*/ 98 w 228"/>
                <a:gd name="T111" fmla="*/ 48 h 373"/>
                <a:gd name="T112" fmla="*/ 104 w 228"/>
                <a:gd name="T113" fmla="*/ 25 h 373"/>
                <a:gd name="T114" fmla="*/ 108 w 228"/>
                <a:gd name="T115" fmla="*/ 8 h 373"/>
                <a:gd name="T116" fmla="*/ 47 w 228"/>
                <a:gd name="T117" fmla="*/ 12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8" h="373">
                  <a:moveTo>
                    <a:pt x="48" y="132"/>
                  </a:moveTo>
                  <a:cubicBezTo>
                    <a:pt x="48" y="138"/>
                    <a:pt x="46" y="143"/>
                    <a:pt x="46" y="143"/>
                  </a:cubicBezTo>
                  <a:cubicBezTo>
                    <a:pt x="46" y="147"/>
                    <a:pt x="46" y="147"/>
                    <a:pt x="46" y="147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54" y="156"/>
                    <a:pt x="54" y="156"/>
                    <a:pt x="54" y="156"/>
                  </a:cubicBezTo>
                  <a:cubicBezTo>
                    <a:pt x="56" y="159"/>
                    <a:pt x="56" y="159"/>
                    <a:pt x="56" y="159"/>
                  </a:cubicBezTo>
                  <a:cubicBezTo>
                    <a:pt x="57" y="163"/>
                    <a:pt x="57" y="163"/>
                    <a:pt x="57" y="163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54" y="168"/>
                    <a:pt x="54" y="168"/>
                    <a:pt x="54" y="168"/>
                  </a:cubicBezTo>
                  <a:cubicBezTo>
                    <a:pt x="53" y="173"/>
                    <a:pt x="53" y="173"/>
                    <a:pt x="53" y="173"/>
                  </a:cubicBezTo>
                  <a:cubicBezTo>
                    <a:pt x="49" y="176"/>
                    <a:pt x="49" y="176"/>
                    <a:pt x="49" y="176"/>
                  </a:cubicBezTo>
                  <a:cubicBezTo>
                    <a:pt x="46" y="180"/>
                    <a:pt x="46" y="180"/>
                    <a:pt x="46" y="180"/>
                  </a:cubicBezTo>
                  <a:cubicBezTo>
                    <a:pt x="42" y="184"/>
                    <a:pt x="42" y="184"/>
                    <a:pt x="42" y="184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38" y="190"/>
                    <a:pt x="38" y="190"/>
                    <a:pt x="38" y="190"/>
                  </a:cubicBezTo>
                  <a:cubicBezTo>
                    <a:pt x="37" y="194"/>
                    <a:pt x="37" y="194"/>
                    <a:pt x="37" y="194"/>
                  </a:cubicBezTo>
                  <a:cubicBezTo>
                    <a:pt x="34" y="198"/>
                    <a:pt x="34" y="198"/>
                    <a:pt x="34" y="198"/>
                  </a:cubicBezTo>
                  <a:cubicBezTo>
                    <a:pt x="26" y="206"/>
                    <a:pt x="26" y="206"/>
                    <a:pt x="26" y="206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19" y="214"/>
                    <a:pt x="19" y="214"/>
                    <a:pt x="19" y="214"/>
                  </a:cubicBezTo>
                  <a:cubicBezTo>
                    <a:pt x="18" y="219"/>
                    <a:pt x="18" y="219"/>
                    <a:pt x="18" y="219"/>
                  </a:cubicBezTo>
                  <a:cubicBezTo>
                    <a:pt x="20" y="222"/>
                    <a:pt x="20" y="222"/>
                    <a:pt x="20" y="222"/>
                  </a:cubicBezTo>
                  <a:cubicBezTo>
                    <a:pt x="22" y="223"/>
                    <a:pt x="22" y="223"/>
                    <a:pt x="22" y="223"/>
                  </a:cubicBezTo>
                  <a:cubicBezTo>
                    <a:pt x="23" y="223"/>
                    <a:pt x="23" y="223"/>
                    <a:pt x="23" y="223"/>
                  </a:cubicBezTo>
                  <a:cubicBezTo>
                    <a:pt x="26" y="226"/>
                    <a:pt x="26" y="226"/>
                    <a:pt x="26" y="226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25" y="236"/>
                    <a:pt x="25" y="236"/>
                    <a:pt x="25" y="236"/>
                  </a:cubicBezTo>
                  <a:cubicBezTo>
                    <a:pt x="24" y="240"/>
                    <a:pt x="24" y="240"/>
                    <a:pt x="24" y="240"/>
                  </a:cubicBezTo>
                  <a:cubicBezTo>
                    <a:pt x="24" y="242"/>
                    <a:pt x="24" y="242"/>
                    <a:pt x="24" y="242"/>
                  </a:cubicBezTo>
                  <a:cubicBezTo>
                    <a:pt x="19" y="244"/>
                    <a:pt x="19" y="244"/>
                    <a:pt x="19" y="244"/>
                  </a:cubicBezTo>
                  <a:cubicBezTo>
                    <a:pt x="18" y="246"/>
                    <a:pt x="18" y="246"/>
                    <a:pt x="18" y="246"/>
                  </a:cubicBezTo>
                  <a:cubicBezTo>
                    <a:pt x="18" y="251"/>
                    <a:pt x="18" y="251"/>
                    <a:pt x="18" y="251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35" y="338"/>
                    <a:pt x="102" y="352"/>
                    <a:pt x="102" y="352"/>
                  </a:cubicBezTo>
                  <a:cubicBezTo>
                    <a:pt x="208" y="373"/>
                    <a:pt x="208" y="373"/>
                    <a:pt x="208" y="373"/>
                  </a:cubicBezTo>
                  <a:cubicBezTo>
                    <a:pt x="228" y="256"/>
                    <a:pt x="228" y="256"/>
                    <a:pt x="228" y="256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224" y="252"/>
                    <a:pt x="224" y="252"/>
                    <a:pt x="224" y="252"/>
                  </a:cubicBezTo>
                  <a:cubicBezTo>
                    <a:pt x="224" y="251"/>
                    <a:pt x="224" y="251"/>
                    <a:pt x="224" y="251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221" y="244"/>
                    <a:pt x="221" y="244"/>
                    <a:pt x="221" y="244"/>
                  </a:cubicBezTo>
                  <a:cubicBezTo>
                    <a:pt x="218" y="241"/>
                    <a:pt x="218" y="241"/>
                    <a:pt x="218" y="241"/>
                  </a:cubicBezTo>
                  <a:cubicBezTo>
                    <a:pt x="214" y="241"/>
                    <a:pt x="214" y="241"/>
                    <a:pt x="214" y="241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12" y="249"/>
                    <a:pt x="212" y="249"/>
                    <a:pt x="212" y="249"/>
                  </a:cubicBezTo>
                  <a:cubicBezTo>
                    <a:pt x="202" y="248"/>
                    <a:pt x="202" y="248"/>
                    <a:pt x="202" y="248"/>
                  </a:cubicBezTo>
                  <a:cubicBezTo>
                    <a:pt x="197" y="246"/>
                    <a:pt x="197" y="246"/>
                    <a:pt x="197" y="246"/>
                  </a:cubicBezTo>
                  <a:cubicBezTo>
                    <a:pt x="189" y="245"/>
                    <a:pt x="189" y="245"/>
                    <a:pt x="189" y="245"/>
                  </a:cubicBezTo>
                  <a:cubicBezTo>
                    <a:pt x="185" y="245"/>
                    <a:pt x="185" y="245"/>
                    <a:pt x="185" y="245"/>
                  </a:cubicBezTo>
                  <a:cubicBezTo>
                    <a:pt x="184" y="247"/>
                    <a:pt x="184" y="247"/>
                    <a:pt x="184" y="247"/>
                  </a:cubicBezTo>
                  <a:cubicBezTo>
                    <a:pt x="184" y="249"/>
                    <a:pt x="184" y="249"/>
                    <a:pt x="184" y="249"/>
                  </a:cubicBezTo>
                  <a:cubicBezTo>
                    <a:pt x="179" y="247"/>
                    <a:pt x="179" y="247"/>
                    <a:pt x="179" y="247"/>
                  </a:cubicBezTo>
                  <a:cubicBezTo>
                    <a:pt x="174" y="244"/>
                    <a:pt x="174" y="244"/>
                    <a:pt x="174" y="244"/>
                  </a:cubicBezTo>
                  <a:cubicBezTo>
                    <a:pt x="171" y="244"/>
                    <a:pt x="171" y="244"/>
                    <a:pt x="171" y="244"/>
                  </a:cubicBezTo>
                  <a:cubicBezTo>
                    <a:pt x="169" y="244"/>
                    <a:pt x="169" y="244"/>
                    <a:pt x="169" y="244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49"/>
                    <a:pt x="168" y="249"/>
                    <a:pt x="168" y="249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2" y="245"/>
                    <a:pt x="162" y="245"/>
                    <a:pt x="162" y="245"/>
                  </a:cubicBezTo>
                  <a:cubicBezTo>
                    <a:pt x="162" y="242"/>
                    <a:pt x="162" y="242"/>
                    <a:pt x="162" y="242"/>
                  </a:cubicBezTo>
                  <a:cubicBezTo>
                    <a:pt x="162" y="238"/>
                    <a:pt x="162" y="238"/>
                    <a:pt x="162" y="238"/>
                  </a:cubicBezTo>
                  <a:cubicBezTo>
                    <a:pt x="160" y="232"/>
                    <a:pt x="160" y="232"/>
                    <a:pt x="160" y="232"/>
                  </a:cubicBezTo>
                  <a:cubicBezTo>
                    <a:pt x="160" y="226"/>
                    <a:pt x="160" y="226"/>
                    <a:pt x="160" y="226"/>
                  </a:cubicBezTo>
                  <a:cubicBezTo>
                    <a:pt x="156" y="226"/>
                    <a:pt x="156" y="226"/>
                    <a:pt x="156" y="226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49" y="220"/>
                    <a:pt x="149" y="220"/>
                    <a:pt x="149" y="220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149" y="208"/>
                    <a:pt x="149" y="208"/>
                    <a:pt x="149" y="208"/>
                  </a:cubicBezTo>
                  <a:cubicBezTo>
                    <a:pt x="145" y="204"/>
                    <a:pt x="145" y="204"/>
                    <a:pt x="145" y="204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45" y="195"/>
                    <a:pt x="145" y="195"/>
                    <a:pt x="145" y="195"/>
                  </a:cubicBezTo>
                  <a:cubicBezTo>
                    <a:pt x="144" y="187"/>
                    <a:pt x="144" y="187"/>
                    <a:pt x="144" y="187"/>
                  </a:cubicBezTo>
                  <a:cubicBezTo>
                    <a:pt x="142" y="183"/>
                    <a:pt x="142" y="183"/>
                    <a:pt x="142" y="183"/>
                  </a:cubicBezTo>
                  <a:cubicBezTo>
                    <a:pt x="141" y="179"/>
                    <a:pt x="141" y="179"/>
                    <a:pt x="141" y="179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5" y="182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0" y="183"/>
                    <a:pt x="130" y="183"/>
                    <a:pt x="130" y="183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6"/>
                    <a:pt x="125" y="186"/>
                    <a:pt x="125" y="186"/>
                  </a:cubicBezTo>
                  <a:cubicBezTo>
                    <a:pt x="125" y="183"/>
                    <a:pt x="125" y="183"/>
                    <a:pt x="125" y="183"/>
                  </a:cubicBezTo>
                  <a:cubicBezTo>
                    <a:pt x="121" y="181"/>
                    <a:pt x="121" y="181"/>
                    <a:pt x="121" y="181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8" y="168"/>
                    <a:pt x="128" y="168"/>
                  </a:cubicBezTo>
                  <a:cubicBezTo>
                    <a:pt x="129" y="166"/>
                    <a:pt x="129" y="166"/>
                    <a:pt x="129" y="166"/>
                  </a:cubicBezTo>
                  <a:cubicBezTo>
                    <a:pt x="127" y="160"/>
                    <a:pt x="127" y="160"/>
                    <a:pt x="127" y="160"/>
                  </a:cubicBezTo>
                  <a:cubicBezTo>
                    <a:pt x="128" y="154"/>
                    <a:pt x="128" y="154"/>
                    <a:pt x="128" y="154"/>
                  </a:cubicBezTo>
                  <a:cubicBezTo>
                    <a:pt x="131" y="147"/>
                    <a:pt x="131" y="147"/>
                    <a:pt x="131" y="147"/>
                  </a:cubicBezTo>
                  <a:cubicBezTo>
                    <a:pt x="134" y="141"/>
                    <a:pt x="134" y="141"/>
                    <a:pt x="134" y="141"/>
                  </a:cubicBezTo>
                  <a:cubicBezTo>
                    <a:pt x="137" y="135"/>
                    <a:pt x="137" y="135"/>
                    <a:pt x="137" y="135"/>
                  </a:cubicBezTo>
                  <a:cubicBezTo>
                    <a:pt x="137" y="131"/>
                    <a:pt x="137" y="131"/>
                    <a:pt x="137" y="131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5" y="124"/>
                    <a:pt x="125" y="124"/>
                    <a:pt x="125" y="124"/>
                  </a:cubicBezTo>
                  <a:cubicBezTo>
                    <a:pt x="123" y="118"/>
                    <a:pt x="123" y="118"/>
                    <a:pt x="123" y="118"/>
                  </a:cubicBezTo>
                  <a:cubicBezTo>
                    <a:pt x="122" y="111"/>
                    <a:pt x="122" y="111"/>
                    <a:pt x="122" y="111"/>
                  </a:cubicBezTo>
                  <a:cubicBezTo>
                    <a:pt x="119" y="106"/>
                    <a:pt x="119" y="106"/>
                    <a:pt x="119" y="106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4" y="79"/>
                    <a:pt x="104" y="79"/>
                    <a:pt x="104" y="79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1" y="72"/>
                    <a:pt x="101" y="72"/>
                    <a:pt x="101" y="72"/>
                  </a:cubicBezTo>
                  <a:cubicBezTo>
                    <a:pt x="101" y="69"/>
                    <a:pt x="101" y="69"/>
                    <a:pt x="101" y="69"/>
                  </a:cubicBezTo>
                  <a:cubicBezTo>
                    <a:pt x="99" y="64"/>
                    <a:pt x="99" y="64"/>
                    <a:pt x="99" y="64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52" y="114"/>
                    <a:pt x="47" y="120"/>
                  </a:cubicBezTo>
                  <a:cubicBezTo>
                    <a:pt x="43" y="127"/>
                    <a:pt x="48" y="125"/>
                    <a:pt x="48" y="132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C32BFFC9-B766-FE45-B1A4-601CD73BE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5502" y="1743206"/>
              <a:ext cx="558212" cy="360899"/>
            </a:xfrm>
            <a:custGeom>
              <a:avLst/>
              <a:gdLst>
                <a:gd name="T0" fmla="*/ 184 w 391"/>
                <a:gd name="T1" fmla="*/ 33 h 252"/>
                <a:gd name="T2" fmla="*/ 9 w 391"/>
                <a:gd name="T3" fmla="*/ 10 h 252"/>
                <a:gd name="T4" fmla="*/ 4 w 391"/>
                <a:gd name="T5" fmla="*/ 28 h 252"/>
                <a:gd name="T6" fmla="*/ 0 w 391"/>
                <a:gd name="T7" fmla="*/ 51 h 252"/>
                <a:gd name="T8" fmla="*/ 2 w 391"/>
                <a:gd name="T9" fmla="*/ 56 h 252"/>
                <a:gd name="T10" fmla="*/ 4 w 391"/>
                <a:gd name="T11" fmla="*/ 64 h 252"/>
                <a:gd name="T12" fmla="*/ 7 w 391"/>
                <a:gd name="T13" fmla="*/ 71 h 252"/>
                <a:gd name="T14" fmla="*/ 11 w 391"/>
                <a:gd name="T15" fmla="*/ 80 h 252"/>
                <a:gd name="T16" fmla="*/ 17 w 391"/>
                <a:gd name="T17" fmla="*/ 93 h 252"/>
                <a:gd name="T18" fmla="*/ 25 w 391"/>
                <a:gd name="T19" fmla="*/ 103 h 252"/>
                <a:gd name="T20" fmla="*/ 28 w 391"/>
                <a:gd name="T21" fmla="*/ 116 h 252"/>
                <a:gd name="T22" fmla="*/ 31 w 391"/>
                <a:gd name="T23" fmla="*/ 121 h 252"/>
                <a:gd name="T24" fmla="*/ 40 w 391"/>
                <a:gd name="T25" fmla="*/ 127 h 252"/>
                <a:gd name="T26" fmla="*/ 34 w 391"/>
                <a:gd name="T27" fmla="*/ 139 h 252"/>
                <a:gd name="T28" fmla="*/ 30 w 391"/>
                <a:gd name="T29" fmla="*/ 152 h 252"/>
                <a:gd name="T30" fmla="*/ 31 w 391"/>
                <a:gd name="T31" fmla="*/ 160 h 252"/>
                <a:gd name="T32" fmla="*/ 25 w 391"/>
                <a:gd name="T33" fmla="*/ 164 h 252"/>
                <a:gd name="T34" fmla="*/ 24 w 391"/>
                <a:gd name="T35" fmla="*/ 173 h 252"/>
                <a:gd name="T36" fmla="*/ 28 w 391"/>
                <a:gd name="T37" fmla="*/ 178 h 252"/>
                <a:gd name="T38" fmla="*/ 33 w 391"/>
                <a:gd name="T39" fmla="*/ 175 h 252"/>
                <a:gd name="T40" fmla="*/ 38 w 391"/>
                <a:gd name="T41" fmla="*/ 174 h 252"/>
                <a:gd name="T42" fmla="*/ 44 w 391"/>
                <a:gd name="T43" fmla="*/ 171 h 252"/>
                <a:gd name="T44" fmla="*/ 47 w 391"/>
                <a:gd name="T45" fmla="*/ 179 h 252"/>
                <a:gd name="T46" fmla="*/ 48 w 391"/>
                <a:gd name="T47" fmla="*/ 193 h 252"/>
                <a:gd name="T48" fmla="*/ 52 w 391"/>
                <a:gd name="T49" fmla="*/ 200 h 252"/>
                <a:gd name="T50" fmla="*/ 52 w 391"/>
                <a:gd name="T51" fmla="*/ 210 h 252"/>
                <a:gd name="T52" fmla="*/ 54 w 391"/>
                <a:gd name="T53" fmla="*/ 215 h 252"/>
                <a:gd name="T54" fmla="*/ 63 w 391"/>
                <a:gd name="T55" fmla="*/ 218 h 252"/>
                <a:gd name="T56" fmla="*/ 65 w 391"/>
                <a:gd name="T57" fmla="*/ 230 h 252"/>
                <a:gd name="T58" fmla="*/ 65 w 391"/>
                <a:gd name="T59" fmla="*/ 237 h 252"/>
                <a:gd name="T60" fmla="*/ 71 w 391"/>
                <a:gd name="T61" fmla="*/ 241 h 252"/>
                <a:gd name="T62" fmla="*/ 72 w 391"/>
                <a:gd name="T63" fmla="*/ 236 h 252"/>
                <a:gd name="T64" fmla="*/ 77 w 391"/>
                <a:gd name="T65" fmla="*/ 236 h 252"/>
                <a:gd name="T66" fmla="*/ 87 w 391"/>
                <a:gd name="T67" fmla="*/ 241 h 252"/>
                <a:gd name="T68" fmla="*/ 88 w 391"/>
                <a:gd name="T69" fmla="*/ 237 h 252"/>
                <a:gd name="T70" fmla="*/ 100 w 391"/>
                <a:gd name="T71" fmla="*/ 238 h 252"/>
                <a:gd name="T72" fmla="*/ 115 w 391"/>
                <a:gd name="T73" fmla="*/ 241 h 252"/>
                <a:gd name="T74" fmla="*/ 117 w 391"/>
                <a:gd name="T75" fmla="*/ 233 h 252"/>
                <a:gd name="T76" fmla="*/ 124 w 391"/>
                <a:gd name="T77" fmla="*/ 236 h 252"/>
                <a:gd name="T78" fmla="*/ 127 w 391"/>
                <a:gd name="T79" fmla="*/ 243 h 252"/>
                <a:gd name="T80" fmla="*/ 129 w 391"/>
                <a:gd name="T81" fmla="*/ 246 h 252"/>
                <a:gd name="T82" fmla="*/ 136 w 391"/>
                <a:gd name="T83" fmla="*/ 221 h 252"/>
                <a:gd name="T84" fmla="*/ 373 w 391"/>
                <a:gd name="T85" fmla="*/ 252 h 252"/>
                <a:gd name="T86" fmla="*/ 391 w 391"/>
                <a:gd name="T87" fmla="*/ 6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1" h="252">
                  <a:moveTo>
                    <a:pt x="391" y="60"/>
                  </a:moveTo>
                  <a:cubicBezTo>
                    <a:pt x="391" y="60"/>
                    <a:pt x="243" y="42"/>
                    <a:pt x="184" y="33"/>
                  </a:cubicBezTo>
                  <a:cubicBezTo>
                    <a:pt x="112" y="22"/>
                    <a:pt x="11" y="0"/>
                    <a:pt x="11" y="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5" y="103"/>
                    <a:pt x="25" y="103"/>
                    <a:pt x="25" y="103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7"/>
                    <a:pt x="40" y="127"/>
                    <a:pt x="40" y="127"/>
                  </a:cubicBezTo>
                  <a:cubicBezTo>
                    <a:pt x="37" y="133"/>
                    <a:pt x="37" y="133"/>
                    <a:pt x="37" y="133"/>
                  </a:cubicBezTo>
                  <a:cubicBezTo>
                    <a:pt x="34" y="139"/>
                    <a:pt x="34" y="139"/>
                    <a:pt x="34" y="139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0" y="152"/>
                    <a:pt x="30" y="152"/>
                    <a:pt x="30" y="152"/>
                  </a:cubicBezTo>
                  <a:cubicBezTo>
                    <a:pt x="32" y="158"/>
                    <a:pt x="32" y="158"/>
                    <a:pt x="32" y="158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5" y="164"/>
                    <a:pt x="25" y="164"/>
                    <a:pt x="25" y="164"/>
                  </a:cubicBezTo>
                  <a:cubicBezTo>
                    <a:pt x="22" y="171"/>
                    <a:pt x="22" y="171"/>
                    <a:pt x="22" y="171"/>
                  </a:cubicBezTo>
                  <a:cubicBezTo>
                    <a:pt x="24" y="173"/>
                    <a:pt x="24" y="173"/>
                    <a:pt x="24" y="173"/>
                  </a:cubicBezTo>
                  <a:cubicBezTo>
                    <a:pt x="28" y="175"/>
                    <a:pt x="28" y="175"/>
                    <a:pt x="28" y="175"/>
                  </a:cubicBezTo>
                  <a:cubicBezTo>
                    <a:pt x="28" y="178"/>
                    <a:pt x="28" y="178"/>
                    <a:pt x="28" y="178"/>
                  </a:cubicBezTo>
                  <a:cubicBezTo>
                    <a:pt x="30" y="178"/>
                    <a:pt x="30" y="178"/>
                    <a:pt x="30" y="178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42" y="171"/>
                    <a:pt x="42" y="171"/>
                    <a:pt x="42" y="171"/>
                  </a:cubicBezTo>
                  <a:cubicBezTo>
                    <a:pt x="44" y="171"/>
                    <a:pt x="44" y="171"/>
                    <a:pt x="44" y="171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48" y="187"/>
                    <a:pt x="48" y="187"/>
                    <a:pt x="48" y="187"/>
                  </a:cubicBezTo>
                  <a:cubicBezTo>
                    <a:pt x="48" y="193"/>
                    <a:pt x="48" y="193"/>
                    <a:pt x="48" y="193"/>
                  </a:cubicBezTo>
                  <a:cubicBezTo>
                    <a:pt x="48" y="196"/>
                    <a:pt x="48" y="196"/>
                    <a:pt x="48" y="196"/>
                  </a:cubicBezTo>
                  <a:cubicBezTo>
                    <a:pt x="52" y="200"/>
                    <a:pt x="52" y="200"/>
                    <a:pt x="52" y="200"/>
                  </a:cubicBezTo>
                  <a:cubicBezTo>
                    <a:pt x="52" y="205"/>
                    <a:pt x="52" y="205"/>
                    <a:pt x="52" y="205"/>
                  </a:cubicBezTo>
                  <a:cubicBezTo>
                    <a:pt x="52" y="210"/>
                    <a:pt x="52" y="210"/>
                    <a:pt x="52" y="210"/>
                  </a:cubicBezTo>
                  <a:cubicBezTo>
                    <a:pt x="52" y="212"/>
                    <a:pt x="52" y="212"/>
                    <a:pt x="52" y="212"/>
                  </a:cubicBezTo>
                  <a:cubicBezTo>
                    <a:pt x="54" y="215"/>
                    <a:pt x="54" y="215"/>
                    <a:pt x="54" y="215"/>
                  </a:cubicBezTo>
                  <a:cubicBezTo>
                    <a:pt x="59" y="218"/>
                    <a:pt x="59" y="218"/>
                    <a:pt x="59" y="218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5" y="230"/>
                    <a:pt x="65" y="230"/>
                    <a:pt x="65" y="230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65" y="237"/>
                    <a:pt x="65" y="237"/>
                    <a:pt x="65" y="237"/>
                  </a:cubicBezTo>
                  <a:cubicBezTo>
                    <a:pt x="67" y="241"/>
                    <a:pt x="67" y="241"/>
                    <a:pt x="67" y="241"/>
                  </a:cubicBezTo>
                  <a:cubicBezTo>
                    <a:pt x="71" y="241"/>
                    <a:pt x="71" y="241"/>
                    <a:pt x="71" y="241"/>
                  </a:cubicBezTo>
                  <a:cubicBezTo>
                    <a:pt x="71" y="239"/>
                    <a:pt x="71" y="239"/>
                    <a:pt x="71" y="239"/>
                  </a:cubicBezTo>
                  <a:cubicBezTo>
                    <a:pt x="72" y="236"/>
                    <a:pt x="72" y="236"/>
                    <a:pt x="72" y="236"/>
                  </a:cubicBezTo>
                  <a:cubicBezTo>
                    <a:pt x="74" y="236"/>
                    <a:pt x="74" y="236"/>
                    <a:pt x="74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82" y="239"/>
                    <a:pt x="82" y="239"/>
                    <a:pt x="82" y="239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39"/>
                    <a:pt x="87" y="239"/>
                    <a:pt x="87" y="239"/>
                  </a:cubicBezTo>
                  <a:cubicBezTo>
                    <a:pt x="88" y="237"/>
                    <a:pt x="88" y="237"/>
                    <a:pt x="88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100" y="238"/>
                    <a:pt x="100" y="238"/>
                    <a:pt x="100" y="238"/>
                  </a:cubicBezTo>
                  <a:cubicBezTo>
                    <a:pt x="105" y="240"/>
                    <a:pt x="105" y="240"/>
                    <a:pt x="105" y="240"/>
                  </a:cubicBezTo>
                  <a:cubicBezTo>
                    <a:pt x="115" y="241"/>
                    <a:pt x="115" y="241"/>
                    <a:pt x="115" y="241"/>
                  </a:cubicBezTo>
                  <a:cubicBezTo>
                    <a:pt x="116" y="238"/>
                    <a:pt x="116" y="238"/>
                    <a:pt x="116" y="238"/>
                  </a:cubicBezTo>
                  <a:cubicBezTo>
                    <a:pt x="117" y="233"/>
                    <a:pt x="117" y="233"/>
                    <a:pt x="117" y="233"/>
                  </a:cubicBezTo>
                  <a:cubicBezTo>
                    <a:pt x="121" y="233"/>
                    <a:pt x="121" y="233"/>
                    <a:pt x="121" y="233"/>
                  </a:cubicBezTo>
                  <a:cubicBezTo>
                    <a:pt x="124" y="236"/>
                    <a:pt x="124" y="236"/>
                    <a:pt x="124" y="236"/>
                  </a:cubicBezTo>
                  <a:cubicBezTo>
                    <a:pt x="126" y="239"/>
                    <a:pt x="126" y="239"/>
                    <a:pt x="126" y="239"/>
                  </a:cubicBezTo>
                  <a:cubicBezTo>
                    <a:pt x="127" y="243"/>
                    <a:pt x="127" y="243"/>
                    <a:pt x="127" y="243"/>
                  </a:cubicBezTo>
                  <a:cubicBezTo>
                    <a:pt x="127" y="244"/>
                    <a:pt x="127" y="244"/>
                    <a:pt x="127" y="244"/>
                  </a:cubicBezTo>
                  <a:cubicBezTo>
                    <a:pt x="129" y="246"/>
                    <a:pt x="129" y="246"/>
                    <a:pt x="129" y="246"/>
                  </a:cubicBezTo>
                  <a:cubicBezTo>
                    <a:pt x="131" y="248"/>
                    <a:pt x="131" y="248"/>
                    <a:pt x="131" y="248"/>
                  </a:cubicBezTo>
                  <a:cubicBezTo>
                    <a:pt x="136" y="221"/>
                    <a:pt x="136" y="221"/>
                    <a:pt x="136" y="221"/>
                  </a:cubicBezTo>
                  <a:cubicBezTo>
                    <a:pt x="372" y="252"/>
                    <a:pt x="372" y="252"/>
                    <a:pt x="372" y="252"/>
                  </a:cubicBezTo>
                  <a:cubicBezTo>
                    <a:pt x="373" y="252"/>
                    <a:pt x="373" y="252"/>
                    <a:pt x="373" y="252"/>
                  </a:cubicBezTo>
                  <a:cubicBezTo>
                    <a:pt x="377" y="207"/>
                    <a:pt x="377" y="207"/>
                    <a:pt x="377" y="207"/>
                  </a:cubicBezTo>
                  <a:lnTo>
                    <a:pt x="391" y="6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9F064D65-8BA3-9B47-8F07-0171E4019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7046" y="1787054"/>
              <a:ext cx="197314" cy="315365"/>
            </a:xfrm>
            <a:custGeom>
              <a:avLst/>
              <a:gdLst>
                <a:gd name="T0" fmla="*/ 34 w 117"/>
                <a:gd name="T1" fmla="*/ 182 h 187"/>
                <a:gd name="T2" fmla="*/ 34 w 117"/>
                <a:gd name="T3" fmla="*/ 176 h 187"/>
                <a:gd name="T4" fmla="*/ 37 w 117"/>
                <a:gd name="T5" fmla="*/ 171 h 187"/>
                <a:gd name="T6" fmla="*/ 40 w 117"/>
                <a:gd name="T7" fmla="*/ 166 h 187"/>
                <a:gd name="T8" fmla="*/ 44 w 117"/>
                <a:gd name="T9" fmla="*/ 161 h 187"/>
                <a:gd name="T10" fmla="*/ 40 w 117"/>
                <a:gd name="T11" fmla="*/ 159 h 187"/>
                <a:gd name="T12" fmla="*/ 42 w 117"/>
                <a:gd name="T13" fmla="*/ 155 h 187"/>
                <a:gd name="T14" fmla="*/ 45 w 117"/>
                <a:gd name="T15" fmla="*/ 155 h 187"/>
                <a:gd name="T16" fmla="*/ 48 w 117"/>
                <a:gd name="T17" fmla="*/ 150 h 187"/>
                <a:gd name="T18" fmla="*/ 52 w 117"/>
                <a:gd name="T19" fmla="*/ 153 h 187"/>
                <a:gd name="T20" fmla="*/ 51 w 117"/>
                <a:gd name="T21" fmla="*/ 149 h 187"/>
                <a:gd name="T22" fmla="*/ 56 w 117"/>
                <a:gd name="T23" fmla="*/ 148 h 187"/>
                <a:gd name="T24" fmla="*/ 59 w 117"/>
                <a:gd name="T25" fmla="*/ 139 h 187"/>
                <a:gd name="T26" fmla="*/ 67 w 117"/>
                <a:gd name="T27" fmla="*/ 141 h 187"/>
                <a:gd name="T28" fmla="*/ 68 w 117"/>
                <a:gd name="T29" fmla="*/ 132 h 187"/>
                <a:gd name="T30" fmla="*/ 68 w 117"/>
                <a:gd name="T31" fmla="*/ 123 h 187"/>
                <a:gd name="T32" fmla="*/ 69 w 117"/>
                <a:gd name="T33" fmla="*/ 116 h 187"/>
                <a:gd name="T34" fmla="*/ 79 w 117"/>
                <a:gd name="T35" fmla="*/ 122 h 187"/>
                <a:gd name="T36" fmla="*/ 81 w 117"/>
                <a:gd name="T37" fmla="*/ 115 h 187"/>
                <a:gd name="T38" fmla="*/ 84 w 117"/>
                <a:gd name="T39" fmla="*/ 122 h 187"/>
                <a:gd name="T40" fmla="*/ 88 w 117"/>
                <a:gd name="T41" fmla="*/ 116 h 187"/>
                <a:gd name="T42" fmla="*/ 87 w 117"/>
                <a:gd name="T43" fmla="*/ 111 h 187"/>
                <a:gd name="T44" fmla="*/ 95 w 117"/>
                <a:gd name="T45" fmla="*/ 115 h 187"/>
                <a:gd name="T46" fmla="*/ 97 w 117"/>
                <a:gd name="T47" fmla="*/ 111 h 187"/>
                <a:gd name="T48" fmla="*/ 103 w 117"/>
                <a:gd name="T49" fmla="*/ 105 h 187"/>
                <a:gd name="T50" fmla="*/ 106 w 117"/>
                <a:gd name="T51" fmla="*/ 101 h 187"/>
                <a:gd name="T52" fmla="*/ 114 w 117"/>
                <a:gd name="T53" fmla="*/ 97 h 187"/>
                <a:gd name="T54" fmla="*/ 116 w 117"/>
                <a:gd name="T55" fmla="*/ 88 h 187"/>
                <a:gd name="T56" fmla="*/ 112 w 117"/>
                <a:gd name="T57" fmla="*/ 86 h 187"/>
                <a:gd name="T58" fmla="*/ 112 w 117"/>
                <a:gd name="T59" fmla="*/ 82 h 187"/>
                <a:gd name="T60" fmla="*/ 104 w 117"/>
                <a:gd name="T61" fmla="*/ 77 h 187"/>
                <a:gd name="T62" fmla="*/ 101 w 117"/>
                <a:gd name="T63" fmla="*/ 64 h 187"/>
                <a:gd name="T64" fmla="*/ 95 w 117"/>
                <a:gd name="T65" fmla="*/ 63 h 187"/>
                <a:gd name="T66" fmla="*/ 84 w 117"/>
                <a:gd name="T67" fmla="*/ 56 h 187"/>
                <a:gd name="T68" fmla="*/ 77 w 117"/>
                <a:gd name="T69" fmla="*/ 31 h 187"/>
                <a:gd name="T70" fmla="*/ 71 w 117"/>
                <a:gd name="T71" fmla="*/ 11 h 187"/>
                <a:gd name="T72" fmla="*/ 53 w 117"/>
                <a:gd name="T73" fmla="*/ 3 h 187"/>
                <a:gd name="T74" fmla="*/ 42 w 117"/>
                <a:gd name="T75" fmla="*/ 11 h 187"/>
                <a:gd name="T76" fmla="*/ 30 w 117"/>
                <a:gd name="T77" fmla="*/ 5 h 187"/>
                <a:gd name="T78" fmla="*/ 22 w 117"/>
                <a:gd name="T79" fmla="*/ 22 h 187"/>
                <a:gd name="T80" fmla="*/ 13 w 117"/>
                <a:gd name="T81" fmla="*/ 54 h 187"/>
                <a:gd name="T82" fmla="*/ 15 w 117"/>
                <a:gd name="T83" fmla="*/ 71 h 187"/>
                <a:gd name="T84" fmla="*/ 12 w 117"/>
                <a:gd name="T85" fmla="*/ 82 h 187"/>
                <a:gd name="T86" fmla="*/ 7 w 117"/>
                <a:gd name="T87" fmla="*/ 95 h 187"/>
                <a:gd name="T88" fmla="*/ 0 w 117"/>
                <a:gd name="T89" fmla="*/ 10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" h="187">
                  <a:moveTo>
                    <a:pt x="33" y="187"/>
                  </a:moveTo>
                  <a:lnTo>
                    <a:pt x="33" y="185"/>
                  </a:lnTo>
                  <a:lnTo>
                    <a:pt x="34" y="182"/>
                  </a:lnTo>
                  <a:lnTo>
                    <a:pt x="34" y="181"/>
                  </a:lnTo>
                  <a:lnTo>
                    <a:pt x="34" y="178"/>
                  </a:lnTo>
                  <a:lnTo>
                    <a:pt x="34" y="176"/>
                  </a:lnTo>
                  <a:lnTo>
                    <a:pt x="35" y="174"/>
                  </a:lnTo>
                  <a:lnTo>
                    <a:pt x="37" y="174"/>
                  </a:lnTo>
                  <a:lnTo>
                    <a:pt x="37" y="171"/>
                  </a:lnTo>
                  <a:lnTo>
                    <a:pt x="38" y="169"/>
                  </a:lnTo>
                  <a:lnTo>
                    <a:pt x="38" y="166"/>
                  </a:lnTo>
                  <a:lnTo>
                    <a:pt x="40" y="166"/>
                  </a:lnTo>
                  <a:lnTo>
                    <a:pt x="41" y="166"/>
                  </a:lnTo>
                  <a:lnTo>
                    <a:pt x="44" y="166"/>
                  </a:lnTo>
                  <a:lnTo>
                    <a:pt x="44" y="161"/>
                  </a:lnTo>
                  <a:lnTo>
                    <a:pt x="41" y="161"/>
                  </a:lnTo>
                  <a:lnTo>
                    <a:pt x="40" y="161"/>
                  </a:lnTo>
                  <a:lnTo>
                    <a:pt x="40" y="159"/>
                  </a:lnTo>
                  <a:lnTo>
                    <a:pt x="40" y="158"/>
                  </a:lnTo>
                  <a:lnTo>
                    <a:pt x="42" y="156"/>
                  </a:lnTo>
                  <a:lnTo>
                    <a:pt x="42" y="155"/>
                  </a:lnTo>
                  <a:lnTo>
                    <a:pt x="44" y="153"/>
                  </a:lnTo>
                  <a:lnTo>
                    <a:pt x="45" y="154"/>
                  </a:lnTo>
                  <a:lnTo>
                    <a:pt x="45" y="155"/>
                  </a:lnTo>
                  <a:lnTo>
                    <a:pt x="47" y="154"/>
                  </a:lnTo>
                  <a:lnTo>
                    <a:pt x="48" y="153"/>
                  </a:lnTo>
                  <a:lnTo>
                    <a:pt x="48" y="150"/>
                  </a:lnTo>
                  <a:lnTo>
                    <a:pt x="50" y="152"/>
                  </a:lnTo>
                  <a:lnTo>
                    <a:pt x="51" y="153"/>
                  </a:lnTo>
                  <a:lnTo>
                    <a:pt x="52" y="153"/>
                  </a:lnTo>
                  <a:lnTo>
                    <a:pt x="52" y="150"/>
                  </a:lnTo>
                  <a:lnTo>
                    <a:pt x="52" y="149"/>
                  </a:lnTo>
                  <a:lnTo>
                    <a:pt x="51" y="149"/>
                  </a:lnTo>
                  <a:lnTo>
                    <a:pt x="50" y="147"/>
                  </a:lnTo>
                  <a:lnTo>
                    <a:pt x="54" y="147"/>
                  </a:lnTo>
                  <a:lnTo>
                    <a:pt x="56" y="148"/>
                  </a:lnTo>
                  <a:lnTo>
                    <a:pt x="59" y="147"/>
                  </a:lnTo>
                  <a:lnTo>
                    <a:pt x="60" y="144"/>
                  </a:lnTo>
                  <a:lnTo>
                    <a:pt x="59" y="139"/>
                  </a:lnTo>
                  <a:lnTo>
                    <a:pt x="61" y="139"/>
                  </a:lnTo>
                  <a:lnTo>
                    <a:pt x="64" y="142"/>
                  </a:lnTo>
                  <a:lnTo>
                    <a:pt x="67" y="141"/>
                  </a:lnTo>
                  <a:lnTo>
                    <a:pt x="68" y="139"/>
                  </a:lnTo>
                  <a:lnTo>
                    <a:pt x="69" y="135"/>
                  </a:lnTo>
                  <a:lnTo>
                    <a:pt x="68" y="132"/>
                  </a:lnTo>
                  <a:lnTo>
                    <a:pt x="69" y="128"/>
                  </a:lnTo>
                  <a:lnTo>
                    <a:pt x="69" y="126"/>
                  </a:lnTo>
                  <a:lnTo>
                    <a:pt x="68" y="123"/>
                  </a:lnTo>
                  <a:lnTo>
                    <a:pt x="68" y="121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73" y="120"/>
                  </a:lnTo>
                  <a:lnTo>
                    <a:pt x="74" y="122"/>
                  </a:lnTo>
                  <a:lnTo>
                    <a:pt x="79" y="122"/>
                  </a:lnTo>
                  <a:lnTo>
                    <a:pt x="79" y="120"/>
                  </a:lnTo>
                  <a:lnTo>
                    <a:pt x="79" y="116"/>
                  </a:lnTo>
                  <a:lnTo>
                    <a:pt x="81" y="115"/>
                  </a:lnTo>
                  <a:lnTo>
                    <a:pt x="84" y="116"/>
                  </a:lnTo>
                  <a:lnTo>
                    <a:pt x="84" y="118"/>
                  </a:lnTo>
                  <a:lnTo>
                    <a:pt x="84" y="122"/>
                  </a:lnTo>
                  <a:lnTo>
                    <a:pt x="87" y="121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6" y="114"/>
                  </a:lnTo>
                  <a:lnTo>
                    <a:pt x="86" y="112"/>
                  </a:lnTo>
                  <a:lnTo>
                    <a:pt x="87" y="111"/>
                  </a:lnTo>
                  <a:lnTo>
                    <a:pt x="90" y="114"/>
                  </a:lnTo>
                  <a:lnTo>
                    <a:pt x="93" y="116"/>
                  </a:lnTo>
                  <a:lnTo>
                    <a:pt x="95" y="115"/>
                  </a:lnTo>
                  <a:lnTo>
                    <a:pt x="94" y="111"/>
                  </a:lnTo>
                  <a:lnTo>
                    <a:pt x="95" y="111"/>
                  </a:lnTo>
                  <a:lnTo>
                    <a:pt x="97" y="111"/>
                  </a:lnTo>
                  <a:lnTo>
                    <a:pt x="97" y="105"/>
                  </a:lnTo>
                  <a:lnTo>
                    <a:pt x="101" y="105"/>
                  </a:lnTo>
                  <a:lnTo>
                    <a:pt x="103" y="105"/>
                  </a:lnTo>
                  <a:lnTo>
                    <a:pt x="104" y="104"/>
                  </a:lnTo>
                  <a:lnTo>
                    <a:pt x="104" y="101"/>
                  </a:lnTo>
                  <a:lnTo>
                    <a:pt x="106" y="101"/>
                  </a:lnTo>
                  <a:lnTo>
                    <a:pt x="107" y="100"/>
                  </a:lnTo>
                  <a:lnTo>
                    <a:pt x="110" y="97"/>
                  </a:lnTo>
                  <a:lnTo>
                    <a:pt x="114" y="97"/>
                  </a:lnTo>
                  <a:lnTo>
                    <a:pt x="116" y="95"/>
                  </a:lnTo>
                  <a:lnTo>
                    <a:pt x="117" y="89"/>
                  </a:lnTo>
                  <a:lnTo>
                    <a:pt x="116" y="88"/>
                  </a:lnTo>
                  <a:lnTo>
                    <a:pt x="115" y="88"/>
                  </a:lnTo>
                  <a:lnTo>
                    <a:pt x="113" y="88"/>
                  </a:lnTo>
                  <a:lnTo>
                    <a:pt x="112" y="86"/>
                  </a:lnTo>
                  <a:lnTo>
                    <a:pt x="114" y="84"/>
                  </a:lnTo>
                  <a:lnTo>
                    <a:pt x="114" y="83"/>
                  </a:lnTo>
                  <a:lnTo>
                    <a:pt x="112" y="82"/>
                  </a:lnTo>
                  <a:lnTo>
                    <a:pt x="110" y="7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2" y="73"/>
                  </a:lnTo>
                  <a:lnTo>
                    <a:pt x="101" y="68"/>
                  </a:lnTo>
                  <a:lnTo>
                    <a:pt x="101" y="64"/>
                  </a:lnTo>
                  <a:lnTo>
                    <a:pt x="100" y="61"/>
                  </a:lnTo>
                  <a:lnTo>
                    <a:pt x="97" y="62"/>
                  </a:lnTo>
                  <a:lnTo>
                    <a:pt x="95" y="63"/>
                  </a:lnTo>
                  <a:lnTo>
                    <a:pt x="91" y="63"/>
                  </a:lnTo>
                  <a:lnTo>
                    <a:pt x="87" y="61"/>
                  </a:lnTo>
                  <a:lnTo>
                    <a:pt x="84" y="56"/>
                  </a:lnTo>
                  <a:lnTo>
                    <a:pt x="83" y="49"/>
                  </a:lnTo>
                  <a:lnTo>
                    <a:pt x="79" y="40"/>
                  </a:lnTo>
                  <a:lnTo>
                    <a:pt x="77" y="31"/>
                  </a:lnTo>
                  <a:lnTo>
                    <a:pt x="75" y="26"/>
                  </a:lnTo>
                  <a:lnTo>
                    <a:pt x="73" y="18"/>
                  </a:lnTo>
                  <a:lnTo>
                    <a:pt x="71" y="11"/>
                  </a:lnTo>
                  <a:lnTo>
                    <a:pt x="69" y="8"/>
                  </a:lnTo>
                  <a:lnTo>
                    <a:pt x="56" y="0"/>
                  </a:lnTo>
                  <a:lnTo>
                    <a:pt x="53" y="3"/>
                  </a:lnTo>
                  <a:lnTo>
                    <a:pt x="50" y="7"/>
                  </a:lnTo>
                  <a:lnTo>
                    <a:pt x="45" y="11"/>
                  </a:lnTo>
                  <a:lnTo>
                    <a:pt x="42" y="11"/>
                  </a:lnTo>
                  <a:lnTo>
                    <a:pt x="39" y="9"/>
                  </a:lnTo>
                  <a:lnTo>
                    <a:pt x="34" y="6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2" y="22"/>
                  </a:lnTo>
                  <a:lnTo>
                    <a:pt x="20" y="33"/>
                  </a:lnTo>
                  <a:lnTo>
                    <a:pt x="15" y="45"/>
                  </a:lnTo>
                  <a:lnTo>
                    <a:pt x="13" y="54"/>
                  </a:lnTo>
                  <a:lnTo>
                    <a:pt x="12" y="64"/>
                  </a:lnTo>
                  <a:lnTo>
                    <a:pt x="13" y="69"/>
                  </a:lnTo>
                  <a:lnTo>
                    <a:pt x="15" y="71"/>
                  </a:lnTo>
                  <a:lnTo>
                    <a:pt x="14" y="73"/>
                  </a:lnTo>
                  <a:lnTo>
                    <a:pt x="12" y="76"/>
                  </a:lnTo>
                  <a:lnTo>
                    <a:pt x="12" y="82"/>
                  </a:lnTo>
                  <a:lnTo>
                    <a:pt x="10" y="87"/>
                  </a:lnTo>
                  <a:lnTo>
                    <a:pt x="10" y="94"/>
                  </a:lnTo>
                  <a:lnTo>
                    <a:pt x="7" y="95"/>
                  </a:lnTo>
                  <a:lnTo>
                    <a:pt x="7" y="100"/>
                  </a:lnTo>
                  <a:lnTo>
                    <a:pt x="1" y="100"/>
                  </a:lnTo>
                  <a:lnTo>
                    <a:pt x="0" y="103"/>
                  </a:lnTo>
                  <a:lnTo>
                    <a:pt x="23" y="178"/>
                  </a:lnTo>
                  <a:lnTo>
                    <a:pt x="33" y="18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09A47352-D814-9A4C-8E2D-80E291B09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7598" y="2002920"/>
              <a:ext cx="408119" cy="300187"/>
            </a:xfrm>
            <a:custGeom>
              <a:avLst/>
              <a:gdLst>
                <a:gd name="T0" fmla="*/ 10 w 242"/>
                <a:gd name="T1" fmla="*/ 136 h 178"/>
                <a:gd name="T2" fmla="*/ 16 w 242"/>
                <a:gd name="T3" fmla="*/ 129 h 178"/>
                <a:gd name="T4" fmla="*/ 22 w 242"/>
                <a:gd name="T5" fmla="*/ 124 h 178"/>
                <a:gd name="T6" fmla="*/ 22 w 242"/>
                <a:gd name="T7" fmla="*/ 119 h 178"/>
                <a:gd name="T8" fmla="*/ 14 w 242"/>
                <a:gd name="T9" fmla="*/ 102 h 178"/>
                <a:gd name="T10" fmla="*/ 31 w 242"/>
                <a:gd name="T11" fmla="*/ 96 h 178"/>
                <a:gd name="T12" fmla="*/ 47 w 242"/>
                <a:gd name="T13" fmla="*/ 96 h 178"/>
                <a:gd name="T14" fmla="*/ 56 w 242"/>
                <a:gd name="T15" fmla="*/ 96 h 178"/>
                <a:gd name="T16" fmla="*/ 67 w 242"/>
                <a:gd name="T17" fmla="*/ 93 h 178"/>
                <a:gd name="T18" fmla="*/ 83 w 242"/>
                <a:gd name="T19" fmla="*/ 83 h 178"/>
                <a:gd name="T20" fmla="*/ 93 w 242"/>
                <a:gd name="T21" fmla="*/ 77 h 178"/>
                <a:gd name="T22" fmla="*/ 93 w 242"/>
                <a:gd name="T23" fmla="*/ 71 h 178"/>
                <a:gd name="T24" fmla="*/ 93 w 242"/>
                <a:gd name="T25" fmla="*/ 63 h 178"/>
                <a:gd name="T26" fmla="*/ 89 w 242"/>
                <a:gd name="T27" fmla="*/ 61 h 178"/>
                <a:gd name="T28" fmla="*/ 85 w 242"/>
                <a:gd name="T29" fmla="*/ 55 h 178"/>
                <a:gd name="T30" fmla="*/ 98 w 242"/>
                <a:gd name="T31" fmla="*/ 44 h 178"/>
                <a:gd name="T32" fmla="*/ 102 w 242"/>
                <a:gd name="T33" fmla="*/ 33 h 178"/>
                <a:gd name="T34" fmla="*/ 116 w 242"/>
                <a:gd name="T35" fmla="*/ 15 h 178"/>
                <a:gd name="T36" fmla="*/ 130 w 242"/>
                <a:gd name="T37" fmla="*/ 8 h 178"/>
                <a:gd name="T38" fmla="*/ 147 w 242"/>
                <a:gd name="T39" fmla="*/ 2 h 178"/>
                <a:gd name="T40" fmla="*/ 163 w 242"/>
                <a:gd name="T41" fmla="*/ 5 h 178"/>
                <a:gd name="T42" fmla="*/ 165 w 242"/>
                <a:gd name="T43" fmla="*/ 16 h 178"/>
                <a:gd name="T44" fmla="*/ 171 w 242"/>
                <a:gd name="T45" fmla="*/ 24 h 178"/>
                <a:gd name="T46" fmla="*/ 171 w 242"/>
                <a:gd name="T47" fmla="*/ 34 h 178"/>
                <a:gd name="T48" fmla="*/ 174 w 242"/>
                <a:gd name="T49" fmla="*/ 48 h 178"/>
                <a:gd name="T50" fmla="*/ 181 w 242"/>
                <a:gd name="T51" fmla="*/ 59 h 178"/>
                <a:gd name="T52" fmla="*/ 184 w 242"/>
                <a:gd name="T53" fmla="*/ 79 h 178"/>
                <a:gd name="T54" fmla="*/ 188 w 242"/>
                <a:gd name="T55" fmla="*/ 89 h 178"/>
                <a:gd name="T56" fmla="*/ 188 w 242"/>
                <a:gd name="T57" fmla="*/ 120 h 178"/>
                <a:gd name="T58" fmla="*/ 192 w 242"/>
                <a:gd name="T59" fmla="*/ 146 h 178"/>
                <a:gd name="T60" fmla="*/ 192 w 242"/>
                <a:gd name="T61" fmla="*/ 158 h 178"/>
                <a:gd name="T62" fmla="*/ 186 w 242"/>
                <a:gd name="T63" fmla="*/ 171 h 178"/>
                <a:gd name="T64" fmla="*/ 198 w 242"/>
                <a:gd name="T65" fmla="*/ 166 h 178"/>
                <a:gd name="T66" fmla="*/ 206 w 242"/>
                <a:gd name="T67" fmla="*/ 160 h 178"/>
                <a:gd name="T68" fmla="*/ 217 w 242"/>
                <a:gd name="T69" fmla="*/ 158 h 178"/>
                <a:gd name="T70" fmla="*/ 225 w 242"/>
                <a:gd name="T71" fmla="*/ 153 h 178"/>
                <a:gd name="T72" fmla="*/ 225 w 242"/>
                <a:gd name="T73" fmla="*/ 157 h 178"/>
                <a:gd name="T74" fmla="*/ 233 w 242"/>
                <a:gd name="T75" fmla="*/ 151 h 178"/>
                <a:gd name="T76" fmla="*/ 240 w 242"/>
                <a:gd name="T77" fmla="*/ 149 h 178"/>
                <a:gd name="T78" fmla="*/ 233 w 242"/>
                <a:gd name="T79" fmla="*/ 157 h 178"/>
                <a:gd name="T80" fmla="*/ 219 w 242"/>
                <a:gd name="T81" fmla="*/ 166 h 178"/>
                <a:gd name="T82" fmla="*/ 206 w 242"/>
                <a:gd name="T83" fmla="*/ 173 h 178"/>
                <a:gd name="T84" fmla="*/ 189 w 242"/>
                <a:gd name="T85" fmla="*/ 178 h 178"/>
                <a:gd name="T86" fmla="*/ 182 w 242"/>
                <a:gd name="T87" fmla="*/ 171 h 178"/>
                <a:gd name="T88" fmla="*/ 180 w 242"/>
                <a:gd name="T89" fmla="*/ 165 h 178"/>
                <a:gd name="T90" fmla="*/ 155 w 242"/>
                <a:gd name="T91" fmla="*/ 158 h 178"/>
                <a:gd name="T92" fmla="*/ 154 w 242"/>
                <a:gd name="T93" fmla="*/ 151 h 178"/>
                <a:gd name="T94" fmla="*/ 148 w 242"/>
                <a:gd name="T95" fmla="*/ 150 h 178"/>
                <a:gd name="T96" fmla="*/ 140 w 242"/>
                <a:gd name="T97" fmla="*/ 138 h 178"/>
                <a:gd name="T98" fmla="*/ 2 w 242"/>
                <a:gd name="T99" fmla="*/ 156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2" h="178">
                  <a:moveTo>
                    <a:pt x="0" y="146"/>
                  </a:moveTo>
                  <a:lnTo>
                    <a:pt x="10" y="136"/>
                  </a:lnTo>
                  <a:lnTo>
                    <a:pt x="12" y="133"/>
                  </a:lnTo>
                  <a:lnTo>
                    <a:pt x="16" y="129"/>
                  </a:lnTo>
                  <a:lnTo>
                    <a:pt x="18" y="127"/>
                  </a:lnTo>
                  <a:lnTo>
                    <a:pt x="22" y="124"/>
                  </a:lnTo>
                  <a:lnTo>
                    <a:pt x="22" y="121"/>
                  </a:lnTo>
                  <a:lnTo>
                    <a:pt x="22" y="119"/>
                  </a:lnTo>
                  <a:lnTo>
                    <a:pt x="17" y="109"/>
                  </a:lnTo>
                  <a:lnTo>
                    <a:pt x="14" y="102"/>
                  </a:lnTo>
                  <a:lnTo>
                    <a:pt x="18" y="99"/>
                  </a:lnTo>
                  <a:lnTo>
                    <a:pt x="31" y="96"/>
                  </a:lnTo>
                  <a:lnTo>
                    <a:pt x="38" y="96"/>
                  </a:lnTo>
                  <a:lnTo>
                    <a:pt x="47" y="96"/>
                  </a:lnTo>
                  <a:lnTo>
                    <a:pt x="53" y="96"/>
                  </a:lnTo>
                  <a:lnTo>
                    <a:pt x="56" y="96"/>
                  </a:lnTo>
                  <a:lnTo>
                    <a:pt x="63" y="93"/>
                  </a:lnTo>
                  <a:lnTo>
                    <a:pt x="67" y="93"/>
                  </a:lnTo>
                  <a:lnTo>
                    <a:pt x="77" y="90"/>
                  </a:lnTo>
                  <a:lnTo>
                    <a:pt x="83" y="83"/>
                  </a:lnTo>
                  <a:lnTo>
                    <a:pt x="89" y="80"/>
                  </a:lnTo>
                  <a:lnTo>
                    <a:pt x="93" y="77"/>
                  </a:lnTo>
                  <a:lnTo>
                    <a:pt x="93" y="75"/>
                  </a:lnTo>
                  <a:lnTo>
                    <a:pt x="93" y="71"/>
                  </a:lnTo>
                  <a:lnTo>
                    <a:pt x="89" y="66"/>
                  </a:lnTo>
                  <a:lnTo>
                    <a:pt x="93" y="63"/>
                  </a:lnTo>
                  <a:lnTo>
                    <a:pt x="94" y="59"/>
                  </a:lnTo>
                  <a:lnTo>
                    <a:pt x="89" y="61"/>
                  </a:lnTo>
                  <a:lnTo>
                    <a:pt x="87" y="59"/>
                  </a:lnTo>
                  <a:lnTo>
                    <a:pt x="85" y="55"/>
                  </a:lnTo>
                  <a:lnTo>
                    <a:pt x="90" y="51"/>
                  </a:lnTo>
                  <a:lnTo>
                    <a:pt x="98" y="44"/>
                  </a:lnTo>
                  <a:lnTo>
                    <a:pt x="101" y="38"/>
                  </a:lnTo>
                  <a:lnTo>
                    <a:pt x="102" y="33"/>
                  </a:lnTo>
                  <a:lnTo>
                    <a:pt x="110" y="23"/>
                  </a:lnTo>
                  <a:lnTo>
                    <a:pt x="116" y="15"/>
                  </a:lnTo>
                  <a:lnTo>
                    <a:pt x="123" y="10"/>
                  </a:lnTo>
                  <a:lnTo>
                    <a:pt x="130" y="8"/>
                  </a:lnTo>
                  <a:lnTo>
                    <a:pt x="141" y="5"/>
                  </a:lnTo>
                  <a:lnTo>
                    <a:pt x="147" y="2"/>
                  </a:lnTo>
                  <a:lnTo>
                    <a:pt x="163" y="0"/>
                  </a:lnTo>
                  <a:lnTo>
                    <a:pt x="163" y="5"/>
                  </a:lnTo>
                  <a:lnTo>
                    <a:pt x="163" y="11"/>
                  </a:lnTo>
                  <a:lnTo>
                    <a:pt x="165" y="16"/>
                  </a:lnTo>
                  <a:lnTo>
                    <a:pt x="168" y="23"/>
                  </a:lnTo>
                  <a:lnTo>
                    <a:pt x="171" y="24"/>
                  </a:lnTo>
                  <a:lnTo>
                    <a:pt x="174" y="32"/>
                  </a:lnTo>
                  <a:lnTo>
                    <a:pt x="171" y="34"/>
                  </a:lnTo>
                  <a:lnTo>
                    <a:pt x="170" y="41"/>
                  </a:lnTo>
                  <a:lnTo>
                    <a:pt x="174" y="48"/>
                  </a:lnTo>
                  <a:lnTo>
                    <a:pt x="177" y="56"/>
                  </a:lnTo>
                  <a:lnTo>
                    <a:pt x="181" y="59"/>
                  </a:lnTo>
                  <a:lnTo>
                    <a:pt x="182" y="70"/>
                  </a:lnTo>
                  <a:lnTo>
                    <a:pt x="184" y="79"/>
                  </a:lnTo>
                  <a:lnTo>
                    <a:pt x="188" y="88"/>
                  </a:lnTo>
                  <a:lnTo>
                    <a:pt x="188" y="89"/>
                  </a:lnTo>
                  <a:lnTo>
                    <a:pt x="188" y="102"/>
                  </a:lnTo>
                  <a:lnTo>
                    <a:pt x="188" y="120"/>
                  </a:lnTo>
                  <a:lnTo>
                    <a:pt x="192" y="139"/>
                  </a:lnTo>
                  <a:lnTo>
                    <a:pt x="192" y="146"/>
                  </a:lnTo>
                  <a:lnTo>
                    <a:pt x="196" y="152"/>
                  </a:lnTo>
                  <a:lnTo>
                    <a:pt x="192" y="158"/>
                  </a:lnTo>
                  <a:lnTo>
                    <a:pt x="193" y="161"/>
                  </a:lnTo>
                  <a:lnTo>
                    <a:pt x="186" y="171"/>
                  </a:lnTo>
                  <a:lnTo>
                    <a:pt x="193" y="168"/>
                  </a:lnTo>
                  <a:lnTo>
                    <a:pt x="198" y="166"/>
                  </a:lnTo>
                  <a:lnTo>
                    <a:pt x="204" y="162"/>
                  </a:lnTo>
                  <a:lnTo>
                    <a:pt x="206" y="160"/>
                  </a:lnTo>
                  <a:lnTo>
                    <a:pt x="212" y="159"/>
                  </a:lnTo>
                  <a:lnTo>
                    <a:pt x="217" y="158"/>
                  </a:lnTo>
                  <a:lnTo>
                    <a:pt x="219" y="156"/>
                  </a:lnTo>
                  <a:lnTo>
                    <a:pt x="225" y="153"/>
                  </a:lnTo>
                  <a:lnTo>
                    <a:pt x="230" y="147"/>
                  </a:lnTo>
                  <a:lnTo>
                    <a:pt x="225" y="157"/>
                  </a:lnTo>
                  <a:lnTo>
                    <a:pt x="230" y="155"/>
                  </a:lnTo>
                  <a:lnTo>
                    <a:pt x="233" y="151"/>
                  </a:lnTo>
                  <a:lnTo>
                    <a:pt x="236" y="150"/>
                  </a:lnTo>
                  <a:lnTo>
                    <a:pt x="240" y="149"/>
                  </a:lnTo>
                  <a:lnTo>
                    <a:pt x="242" y="149"/>
                  </a:lnTo>
                  <a:lnTo>
                    <a:pt x="233" y="157"/>
                  </a:lnTo>
                  <a:lnTo>
                    <a:pt x="225" y="163"/>
                  </a:lnTo>
                  <a:lnTo>
                    <a:pt x="219" y="166"/>
                  </a:lnTo>
                  <a:lnTo>
                    <a:pt x="214" y="171"/>
                  </a:lnTo>
                  <a:lnTo>
                    <a:pt x="206" y="173"/>
                  </a:lnTo>
                  <a:lnTo>
                    <a:pt x="197" y="176"/>
                  </a:lnTo>
                  <a:lnTo>
                    <a:pt x="189" y="178"/>
                  </a:lnTo>
                  <a:lnTo>
                    <a:pt x="184" y="175"/>
                  </a:lnTo>
                  <a:lnTo>
                    <a:pt x="182" y="171"/>
                  </a:lnTo>
                  <a:lnTo>
                    <a:pt x="182" y="167"/>
                  </a:lnTo>
                  <a:lnTo>
                    <a:pt x="180" y="165"/>
                  </a:lnTo>
                  <a:lnTo>
                    <a:pt x="167" y="161"/>
                  </a:lnTo>
                  <a:lnTo>
                    <a:pt x="155" y="158"/>
                  </a:lnTo>
                  <a:lnTo>
                    <a:pt x="157" y="153"/>
                  </a:lnTo>
                  <a:lnTo>
                    <a:pt x="154" y="151"/>
                  </a:lnTo>
                  <a:lnTo>
                    <a:pt x="151" y="151"/>
                  </a:lnTo>
                  <a:lnTo>
                    <a:pt x="148" y="150"/>
                  </a:lnTo>
                  <a:lnTo>
                    <a:pt x="144" y="143"/>
                  </a:lnTo>
                  <a:lnTo>
                    <a:pt x="140" y="138"/>
                  </a:lnTo>
                  <a:lnTo>
                    <a:pt x="132" y="133"/>
                  </a:lnTo>
                  <a:lnTo>
                    <a:pt x="2" y="156"/>
                  </a:lnTo>
                  <a:lnTo>
                    <a:pt x="0" y="146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8AD34FDD-83D3-0745-BBAD-222A5E3C1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2488" y="1982681"/>
              <a:ext cx="94441" cy="170331"/>
            </a:xfrm>
            <a:custGeom>
              <a:avLst/>
              <a:gdLst>
                <a:gd name="T0" fmla="*/ 0 w 56"/>
                <a:gd name="T1" fmla="*/ 23 h 101"/>
                <a:gd name="T2" fmla="*/ 2 w 56"/>
                <a:gd name="T3" fmla="*/ 28 h 101"/>
                <a:gd name="T4" fmla="*/ 5 w 56"/>
                <a:gd name="T5" fmla="*/ 35 h 101"/>
                <a:gd name="T6" fmla="*/ 8 w 56"/>
                <a:gd name="T7" fmla="*/ 36 h 101"/>
                <a:gd name="T8" fmla="*/ 11 w 56"/>
                <a:gd name="T9" fmla="*/ 44 h 101"/>
                <a:gd name="T10" fmla="*/ 8 w 56"/>
                <a:gd name="T11" fmla="*/ 46 h 101"/>
                <a:gd name="T12" fmla="*/ 7 w 56"/>
                <a:gd name="T13" fmla="*/ 53 h 101"/>
                <a:gd name="T14" fmla="*/ 11 w 56"/>
                <a:gd name="T15" fmla="*/ 60 h 101"/>
                <a:gd name="T16" fmla="*/ 14 w 56"/>
                <a:gd name="T17" fmla="*/ 68 h 101"/>
                <a:gd name="T18" fmla="*/ 18 w 56"/>
                <a:gd name="T19" fmla="*/ 71 h 101"/>
                <a:gd name="T20" fmla="*/ 19 w 56"/>
                <a:gd name="T21" fmla="*/ 82 h 101"/>
                <a:gd name="T22" fmla="*/ 21 w 56"/>
                <a:gd name="T23" fmla="*/ 91 h 101"/>
                <a:gd name="T24" fmla="*/ 25 w 56"/>
                <a:gd name="T25" fmla="*/ 100 h 101"/>
                <a:gd name="T26" fmla="*/ 25 w 56"/>
                <a:gd name="T27" fmla="*/ 101 h 101"/>
                <a:gd name="T28" fmla="*/ 47 w 56"/>
                <a:gd name="T29" fmla="*/ 98 h 101"/>
                <a:gd name="T30" fmla="*/ 45 w 56"/>
                <a:gd name="T31" fmla="*/ 91 h 101"/>
                <a:gd name="T32" fmla="*/ 46 w 56"/>
                <a:gd name="T33" fmla="*/ 82 h 101"/>
                <a:gd name="T34" fmla="*/ 45 w 56"/>
                <a:gd name="T35" fmla="*/ 71 h 101"/>
                <a:gd name="T36" fmla="*/ 44 w 56"/>
                <a:gd name="T37" fmla="*/ 60 h 101"/>
                <a:gd name="T38" fmla="*/ 47 w 56"/>
                <a:gd name="T39" fmla="*/ 45 h 101"/>
                <a:gd name="T40" fmla="*/ 47 w 56"/>
                <a:gd name="T41" fmla="*/ 32 h 101"/>
                <a:gd name="T42" fmla="*/ 56 w 56"/>
                <a:gd name="T43" fmla="*/ 25 h 101"/>
                <a:gd name="T44" fmla="*/ 56 w 56"/>
                <a:gd name="T45" fmla="*/ 21 h 101"/>
                <a:gd name="T46" fmla="*/ 53 w 56"/>
                <a:gd name="T47" fmla="*/ 17 h 101"/>
                <a:gd name="T48" fmla="*/ 53 w 56"/>
                <a:gd name="T49" fmla="*/ 12 h 101"/>
                <a:gd name="T50" fmla="*/ 53 w 56"/>
                <a:gd name="T51" fmla="*/ 4 h 101"/>
                <a:gd name="T52" fmla="*/ 50 w 56"/>
                <a:gd name="T53" fmla="*/ 0 h 101"/>
                <a:gd name="T54" fmla="*/ 43 w 56"/>
                <a:gd name="T55" fmla="*/ 2 h 101"/>
                <a:gd name="T56" fmla="*/ 36 w 56"/>
                <a:gd name="T57" fmla="*/ 4 h 101"/>
                <a:gd name="T58" fmla="*/ 22 w 56"/>
                <a:gd name="T59" fmla="*/ 6 h 101"/>
                <a:gd name="T60" fmla="*/ 15 w 56"/>
                <a:gd name="T61" fmla="*/ 8 h 101"/>
                <a:gd name="T62" fmla="*/ 5 w 56"/>
                <a:gd name="T63" fmla="*/ 12 h 101"/>
                <a:gd name="T64" fmla="*/ 0 w 56"/>
                <a:gd name="T65" fmla="*/ 12 h 101"/>
                <a:gd name="T66" fmla="*/ 0 w 56"/>
                <a:gd name="T67" fmla="*/ 17 h 101"/>
                <a:gd name="T68" fmla="*/ 0 w 56"/>
                <a:gd name="T69" fmla="*/ 2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" h="101">
                  <a:moveTo>
                    <a:pt x="0" y="23"/>
                  </a:moveTo>
                  <a:lnTo>
                    <a:pt x="2" y="28"/>
                  </a:lnTo>
                  <a:lnTo>
                    <a:pt x="5" y="35"/>
                  </a:lnTo>
                  <a:lnTo>
                    <a:pt x="8" y="36"/>
                  </a:lnTo>
                  <a:lnTo>
                    <a:pt x="11" y="44"/>
                  </a:lnTo>
                  <a:lnTo>
                    <a:pt x="8" y="46"/>
                  </a:lnTo>
                  <a:lnTo>
                    <a:pt x="7" y="53"/>
                  </a:lnTo>
                  <a:lnTo>
                    <a:pt x="11" y="60"/>
                  </a:lnTo>
                  <a:lnTo>
                    <a:pt x="14" y="68"/>
                  </a:lnTo>
                  <a:lnTo>
                    <a:pt x="18" y="71"/>
                  </a:lnTo>
                  <a:lnTo>
                    <a:pt x="19" y="82"/>
                  </a:lnTo>
                  <a:lnTo>
                    <a:pt x="21" y="91"/>
                  </a:lnTo>
                  <a:lnTo>
                    <a:pt x="25" y="100"/>
                  </a:lnTo>
                  <a:lnTo>
                    <a:pt x="25" y="101"/>
                  </a:lnTo>
                  <a:lnTo>
                    <a:pt x="47" y="98"/>
                  </a:lnTo>
                  <a:lnTo>
                    <a:pt x="45" y="91"/>
                  </a:lnTo>
                  <a:lnTo>
                    <a:pt x="46" y="82"/>
                  </a:lnTo>
                  <a:lnTo>
                    <a:pt x="45" y="71"/>
                  </a:lnTo>
                  <a:lnTo>
                    <a:pt x="44" y="60"/>
                  </a:lnTo>
                  <a:lnTo>
                    <a:pt x="47" y="45"/>
                  </a:lnTo>
                  <a:lnTo>
                    <a:pt x="47" y="32"/>
                  </a:lnTo>
                  <a:lnTo>
                    <a:pt x="56" y="25"/>
                  </a:lnTo>
                  <a:lnTo>
                    <a:pt x="56" y="21"/>
                  </a:lnTo>
                  <a:lnTo>
                    <a:pt x="53" y="17"/>
                  </a:lnTo>
                  <a:lnTo>
                    <a:pt x="53" y="12"/>
                  </a:lnTo>
                  <a:lnTo>
                    <a:pt x="53" y="4"/>
                  </a:lnTo>
                  <a:lnTo>
                    <a:pt x="50" y="0"/>
                  </a:lnTo>
                  <a:lnTo>
                    <a:pt x="43" y="2"/>
                  </a:lnTo>
                  <a:lnTo>
                    <a:pt x="36" y="4"/>
                  </a:lnTo>
                  <a:lnTo>
                    <a:pt x="22" y="6"/>
                  </a:lnTo>
                  <a:lnTo>
                    <a:pt x="15" y="8"/>
                  </a:lnTo>
                  <a:lnTo>
                    <a:pt x="5" y="12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81B7EDEB-7D3A-0848-B620-A1CBEE2EE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6691" y="1960757"/>
              <a:ext cx="84322" cy="187195"/>
            </a:xfrm>
            <a:custGeom>
              <a:avLst/>
              <a:gdLst>
                <a:gd name="T0" fmla="*/ 18 w 50"/>
                <a:gd name="T1" fmla="*/ 0 h 111"/>
                <a:gd name="T2" fmla="*/ 14 w 50"/>
                <a:gd name="T3" fmla="*/ 1 h 111"/>
                <a:gd name="T4" fmla="*/ 9 w 50"/>
                <a:gd name="T5" fmla="*/ 1 h 111"/>
                <a:gd name="T6" fmla="*/ 9 w 50"/>
                <a:gd name="T7" fmla="*/ 6 h 111"/>
                <a:gd name="T8" fmla="*/ 8 w 50"/>
                <a:gd name="T9" fmla="*/ 9 h 111"/>
                <a:gd name="T10" fmla="*/ 6 w 50"/>
                <a:gd name="T11" fmla="*/ 13 h 111"/>
                <a:gd name="T12" fmla="*/ 9 w 50"/>
                <a:gd name="T13" fmla="*/ 17 h 111"/>
                <a:gd name="T14" fmla="*/ 9 w 50"/>
                <a:gd name="T15" fmla="*/ 25 h 111"/>
                <a:gd name="T16" fmla="*/ 9 w 50"/>
                <a:gd name="T17" fmla="*/ 30 h 111"/>
                <a:gd name="T18" fmla="*/ 12 w 50"/>
                <a:gd name="T19" fmla="*/ 34 h 111"/>
                <a:gd name="T20" fmla="*/ 12 w 50"/>
                <a:gd name="T21" fmla="*/ 38 h 111"/>
                <a:gd name="T22" fmla="*/ 3 w 50"/>
                <a:gd name="T23" fmla="*/ 45 h 111"/>
                <a:gd name="T24" fmla="*/ 3 w 50"/>
                <a:gd name="T25" fmla="*/ 58 h 111"/>
                <a:gd name="T26" fmla="*/ 0 w 50"/>
                <a:gd name="T27" fmla="*/ 73 h 111"/>
                <a:gd name="T28" fmla="*/ 1 w 50"/>
                <a:gd name="T29" fmla="*/ 84 h 111"/>
                <a:gd name="T30" fmla="*/ 2 w 50"/>
                <a:gd name="T31" fmla="*/ 95 h 111"/>
                <a:gd name="T32" fmla="*/ 1 w 50"/>
                <a:gd name="T33" fmla="*/ 104 h 111"/>
                <a:gd name="T34" fmla="*/ 3 w 50"/>
                <a:gd name="T35" fmla="*/ 111 h 111"/>
                <a:gd name="T36" fmla="*/ 40 w 50"/>
                <a:gd name="T37" fmla="*/ 102 h 111"/>
                <a:gd name="T38" fmla="*/ 41 w 50"/>
                <a:gd name="T39" fmla="*/ 97 h 111"/>
                <a:gd name="T40" fmla="*/ 49 w 50"/>
                <a:gd name="T41" fmla="*/ 94 h 111"/>
                <a:gd name="T42" fmla="*/ 48 w 50"/>
                <a:gd name="T43" fmla="*/ 91 h 111"/>
                <a:gd name="T44" fmla="*/ 50 w 50"/>
                <a:gd name="T45" fmla="*/ 83 h 111"/>
                <a:gd name="T46" fmla="*/ 50 w 50"/>
                <a:gd name="T47" fmla="*/ 83 h 111"/>
                <a:gd name="T48" fmla="*/ 41 w 50"/>
                <a:gd name="T49" fmla="*/ 75 h 111"/>
                <a:gd name="T50" fmla="*/ 18 w 50"/>
                <a:gd name="T51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" h="111">
                  <a:moveTo>
                    <a:pt x="18" y="0"/>
                  </a:moveTo>
                  <a:lnTo>
                    <a:pt x="14" y="1"/>
                  </a:lnTo>
                  <a:lnTo>
                    <a:pt x="9" y="1"/>
                  </a:lnTo>
                  <a:lnTo>
                    <a:pt x="9" y="6"/>
                  </a:lnTo>
                  <a:lnTo>
                    <a:pt x="8" y="9"/>
                  </a:lnTo>
                  <a:lnTo>
                    <a:pt x="6" y="13"/>
                  </a:lnTo>
                  <a:lnTo>
                    <a:pt x="9" y="17"/>
                  </a:lnTo>
                  <a:lnTo>
                    <a:pt x="9" y="25"/>
                  </a:lnTo>
                  <a:lnTo>
                    <a:pt x="9" y="30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3" y="45"/>
                  </a:lnTo>
                  <a:lnTo>
                    <a:pt x="3" y="58"/>
                  </a:lnTo>
                  <a:lnTo>
                    <a:pt x="0" y="73"/>
                  </a:lnTo>
                  <a:lnTo>
                    <a:pt x="1" y="84"/>
                  </a:lnTo>
                  <a:lnTo>
                    <a:pt x="2" y="95"/>
                  </a:lnTo>
                  <a:lnTo>
                    <a:pt x="1" y="104"/>
                  </a:lnTo>
                  <a:lnTo>
                    <a:pt x="3" y="111"/>
                  </a:lnTo>
                  <a:lnTo>
                    <a:pt x="40" y="102"/>
                  </a:lnTo>
                  <a:lnTo>
                    <a:pt x="41" y="97"/>
                  </a:lnTo>
                  <a:lnTo>
                    <a:pt x="49" y="94"/>
                  </a:lnTo>
                  <a:lnTo>
                    <a:pt x="48" y="91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1" y="75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A20AF97A-A071-5240-95C1-9AB83592A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4650" y="2188428"/>
              <a:ext cx="94441" cy="86009"/>
            </a:xfrm>
            <a:custGeom>
              <a:avLst/>
              <a:gdLst>
                <a:gd name="T0" fmla="*/ 4 w 56"/>
                <a:gd name="T1" fmla="*/ 29 h 51"/>
                <a:gd name="T2" fmla="*/ 4 w 56"/>
                <a:gd name="T3" fmla="*/ 36 h 51"/>
                <a:gd name="T4" fmla="*/ 8 w 56"/>
                <a:gd name="T5" fmla="*/ 42 h 51"/>
                <a:gd name="T6" fmla="*/ 4 w 56"/>
                <a:gd name="T7" fmla="*/ 48 h 51"/>
                <a:gd name="T8" fmla="*/ 5 w 56"/>
                <a:gd name="T9" fmla="*/ 51 h 51"/>
                <a:gd name="T10" fmla="*/ 9 w 56"/>
                <a:gd name="T11" fmla="*/ 50 h 51"/>
                <a:gd name="T12" fmla="*/ 13 w 56"/>
                <a:gd name="T13" fmla="*/ 45 h 51"/>
                <a:gd name="T14" fmla="*/ 15 w 56"/>
                <a:gd name="T15" fmla="*/ 44 h 51"/>
                <a:gd name="T16" fmla="*/ 20 w 56"/>
                <a:gd name="T17" fmla="*/ 39 h 51"/>
                <a:gd name="T18" fmla="*/ 25 w 56"/>
                <a:gd name="T19" fmla="*/ 36 h 51"/>
                <a:gd name="T20" fmla="*/ 33 w 56"/>
                <a:gd name="T21" fmla="*/ 36 h 51"/>
                <a:gd name="T22" fmla="*/ 37 w 56"/>
                <a:gd name="T23" fmla="*/ 34 h 51"/>
                <a:gd name="T24" fmla="*/ 39 w 56"/>
                <a:gd name="T25" fmla="*/ 32 h 51"/>
                <a:gd name="T26" fmla="*/ 44 w 56"/>
                <a:gd name="T27" fmla="*/ 30 h 51"/>
                <a:gd name="T28" fmla="*/ 49 w 56"/>
                <a:gd name="T29" fmla="*/ 28 h 51"/>
                <a:gd name="T30" fmla="*/ 55 w 56"/>
                <a:gd name="T31" fmla="*/ 28 h 51"/>
                <a:gd name="T32" fmla="*/ 56 w 56"/>
                <a:gd name="T33" fmla="*/ 26 h 51"/>
                <a:gd name="T34" fmla="*/ 50 w 56"/>
                <a:gd name="T35" fmla="*/ 0 h 51"/>
                <a:gd name="T36" fmla="*/ 24 w 56"/>
                <a:gd name="T37" fmla="*/ 5 h 51"/>
                <a:gd name="T38" fmla="*/ 0 w 56"/>
                <a:gd name="T39" fmla="*/ 9 h 51"/>
                <a:gd name="T40" fmla="*/ 0 w 56"/>
                <a:gd name="T41" fmla="*/ 10 h 51"/>
                <a:gd name="T42" fmla="*/ 4 w 56"/>
                <a:gd name="T43" fmla="*/ 2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51">
                  <a:moveTo>
                    <a:pt x="4" y="29"/>
                  </a:moveTo>
                  <a:lnTo>
                    <a:pt x="4" y="36"/>
                  </a:lnTo>
                  <a:lnTo>
                    <a:pt x="8" y="42"/>
                  </a:lnTo>
                  <a:lnTo>
                    <a:pt x="4" y="48"/>
                  </a:lnTo>
                  <a:lnTo>
                    <a:pt x="5" y="51"/>
                  </a:lnTo>
                  <a:lnTo>
                    <a:pt x="9" y="50"/>
                  </a:lnTo>
                  <a:lnTo>
                    <a:pt x="13" y="45"/>
                  </a:lnTo>
                  <a:lnTo>
                    <a:pt x="15" y="44"/>
                  </a:lnTo>
                  <a:lnTo>
                    <a:pt x="20" y="39"/>
                  </a:lnTo>
                  <a:lnTo>
                    <a:pt x="25" y="36"/>
                  </a:lnTo>
                  <a:lnTo>
                    <a:pt x="33" y="36"/>
                  </a:lnTo>
                  <a:lnTo>
                    <a:pt x="37" y="34"/>
                  </a:lnTo>
                  <a:lnTo>
                    <a:pt x="39" y="32"/>
                  </a:lnTo>
                  <a:lnTo>
                    <a:pt x="44" y="30"/>
                  </a:lnTo>
                  <a:lnTo>
                    <a:pt x="49" y="28"/>
                  </a:lnTo>
                  <a:lnTo>
                    <a:pt x="55" y="28"/>
                  </a:lnTo>
                  <a:lnTo>
                    <a:pt x="56" y="26"/>
                  </a:lnTo>
                  <a:lnTo>
                    <a:pt x="50" y="0"/>
                  </a:lnTo>
                  <a:lnTo>
                    <a:pt x="24" y="5"/>
                  </a:lnTo>
                  <a:lnTo>
                    <a:pt x="0" y="9"/>
                  </a:lnTo>
                  <a:lnTo>
                    <a:pt x="0" y="10"/>
                  </a:lnTo>
                  <a:lnTo>
                    <a:pt x="4" y="2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F2F2C423-F8E8-F643-8410-489C08E9C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8972" y="2179995"/>
              <a:ext cx="40475" cy="52280"/>
            </a:xfrm>
            <a:custGeom>
              <a:avLst/>
              <a:gdLst>
                <a:gd name="T0" fmla="*/ 23 w 24"/>
                <a:gd name="T1" fmla="*/ 15 h 31"/>
                <a:gd name="T2" fmla="*/ 21 w 24"/>
                <a:gd name="T3" fmla="*/ 13 h 31"/>
                <a:gd name="T4" fmla="*/ 21 w 24"/>
                <a:gd name="T5" fmla="*/ 12 h 31"/>
                <a:gd name="T6" fmla="*/ 18 w 24"/>
                <a:gd name="T7" fmla="*/ 11 h 31"/>
                <a:gd name="T8" fmla="*/ 16 w 24"/>
                <a:gd name="T9" fmla="*/ 10 h 31"/>
                <a:gd name="T10" fmla="*/ 16 w 24"/>
                <a:gd name="T11" fmla="*/ 7 h 31"/>
                <a:gd name="T12" fmla="*/ 13 w 24"/>
                <a:gd name="T13" fmla="*/ 5 h 31"/>
                <a:gd name="T14" fmla="*/ 10 w 24"/>
                <a:gd name="T15" fmla="*/ 0 h 31"/>
                <a:gd name="T16" fmla="*/ 0 w 24"/>
                <a:gd name="T17" fmla="*/ 5 h 31"/>
                <a:gd name="T18" fmla="*/ 6 w 24"/>
                <a:gd name="T19" fmla="*/ 31 h 31"/>
                <a:gd name="T20" fmla="*/ 8 w 24"/>
                <a:gd name="T21" fmla="*/ 29 h 31"/>
                <a:gd name="T22" fmla="*/ 10 w 24"/>
                <a:gd name="T23" fmla="*/ 28 h 31"/>
                <a:gd name="T24" fmla="*/ 14 w 24"/>
                <a:gd name="T25" fmla="*/ 26 h 31"/>
                <a:gd name="T26" fmla="*/ 14 w 24"/>
                <a:gd name="T27" fmla="*/ 23 h 31"/>
                <a:gd name="T28" fmla="*/ 14 w 24"/>
                <a:gd name="T29" fmla="*/ 22 h 31"/>
                <a:gd name="T30" fmla="*/ 14 w 24"/>
                <a:gd name="T31" fmla="*/ 20 h 31"/>
                <a:gd name="T32" fmla="*/ 14 w 24"/>
                <a:gd name="T33" fmla="*/ 17 h 31"/>
                <a:gd name="T34" fmla="*/ 14 w 24"/>
                <a:gd name="T35" fmla="*/ 15 h 31"/>
                <a:gd name="T36" fmla="*/ 14 w 24"/>
                <a:gd name="T37" fmla="*/ 14 h 31"/>
                <a:gd name="T38" fmla="*/ 15 w 24"/>
                <a:gd name="T39" fmla="*/ 13 h 31"/>
                <a:gd name="T40" fmla="*/ 16 w 24"/>
                <a:gd name="T41" fmla="*/ 13 h 31"/>
                <a:gd name="T42" fmla="*/ 19 w 24"/>
                <a:gd name="T43" fmla="*/ 14 h 31"/>
                <a:gd name="T44" fmla="*/ 19 w 24"/>
                <a:gd name="T45" fmla="*/ 16 h 31"/>
                <a:gd name="T46" fmla="*/ 21 w 24"/>
                <a:gd name="T47" fmla="*/ 20 h 31"/>
                <a:gd name="T48" fmla="*/ 21 w 24"/>
                <a:gd name="T49" fmla="*/ 21 h 31"/>
                <a:gd name="T50" fmla="*/ 22 w 24"/>
                <a:gd name="T51" fmla="*/ 22 h 31"/>
                <a:gd name="T52" fmla="*/ 24 w 24"/>
                <a:gd name="T53" fmla="*/ 21 h 31"/>
                <a:gd name="T54" fmla="*/ 24 w 24"/>
                <a:gd name="T55" fmla="*/ 20 h 31"/>
                <a:gd name="T56" fmla="*/ 24 w 24"/>
                <a:gd name="T57" fmla="*/ 19 h 31"/>
                <a:gd name="T58" fmla="*/ 23 w 24"/>
                <a:gd name="T5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" h="31">
                  <a:moveTo>
                    <a:pt x="23" y="15"/>
                  </a:moveTo>
                  <a:lnTo>
                    <a:pt x="21" y="13"/>
                  </a:lnTo>
                  <a:lnTo>
                    <a:pt x="21" y="12"/>
                  </a:lnTo>
                  <a:lnTo>
                    <a:pt x="18" y="11"/>
                  </a:lnTo>
                  <a:lnTo>
                    <a:pt x="16" y="10"/>
                  </a:lnTo>
                  <a:lnTo>
                    <a:pt x="16" y="7"/>
                  </a:lnTo>
                  <a:lnTo>
                    <a:pt x="13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6" y="31"/>
                  </a:lnTo>
                  <a:lnTo>
                    <a:pt x="8" y="29"/>
                  </a:lnTo>
                  <a:lnTo>
                    <a:pt x="10" y="28"/>
                  </a:lnTo>
                  <a:lnTo>
                    <a:pt x="14" y="26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4" y="17"/>
                  </a:lnTo>
                  <a:lnTo>
                    <a:pt x="14" y="15"/>
                  </a:lnTo>
                  <a:lnTo>
                    <a:pt x="14" y="14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2" y="22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3" y="1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7302BA0-C1FE-294E-B72F-5F3530761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4650" y="2119282"/>
              <a:ext cx="183822" cy="92755"/>
            </a:xfrm>
            <a:custGeom>
              <a:avLst/>
              <a:gdLst>
                <a:gd name="T0" fmla="*/ 105 w 109"/>
                <a:gd name="T1" fmla="*/ 32 h 55"/>
                <a:gd name="T2" fmla="*/ 101 w 109"/>
                <a:gd name="T3" fmla="*/ 29 h 55"/>
                <a:gd name="T4" fmla="*/ 97 w 109"/>
                <a:gd name="T5" fmla="*/ 25 h 55"/>
                <a:gd name="T6" fmla="*/ 97 w 109"/>
                <a:gd name="T7" fmla="*/ 29 h 55"/>
                <a:gd name="T8" fmla="*/ 102 w 109"/>
                <a:gd name="T9" fmla="*/ 35 h 55"/>
                <a:gd name="T10" fmla="*/ 95 w 109"/>
                <a:gd name="T11" fmla="*/ 36 h 55"/>
                <a:gd name="T12" fmla="*/ 88 w 109"/>
                <a:gd name="T13" fmla="*/ 37 h 55"/>
                <a:gd name="T14" fmla="*/ 85 w 109"/>
                <a:gd name="T15" fmla="*/ 35 h 55"/>
                <a:gd name="T16" fmla="*/ 81 w 109"/>
                <a:gd name="T17" fmla="*/ 32 h 55"/>
                <a:gd name="T18" fmla="*/ 81 w 109"/>
                <a:gd name="T19" fmla="*/ 27 h 55"/>
                <a:gd name="T20" fmla="*/ 73 w 109"/>
                <a:gd name="T21" fmla="*/ 22 h 55"/>
                <a:gd name="T22" fmla="*/ 69 w 109"/>
                <a:gd name="T23" fmla="*/ 22 h 55"/>
                <a:gd name="T24" fmla="*/ 68 w 109"/>
                <a:gd name="T25" fmla="*/ 16 h 55"/>
                <a:gd name="T26" fmla="*/ 71 w 109"/>
                <a:gd name="T27" fmla="*/ 13 h 55"/>
                <a:gd name="T28" fmla="*/ 77 w 109"/>
                <a:gd name="T29" fmla="*/ 9 h 55"/>
                <a:gd name="T30" fmla="*/ 76 w 109"/>
                <a:gd name="T31" fmla="*/ 6 h 55"/>
                <a:gd name="T32" fmla="*/ 71 w 109"/>
                <a:gd name="T33" fmla="*/ 6 h 55"/>
                <a:gd name="T34" fmla="*/ 68 w 109"/>
                <a:gd name="T35" fmla="*/ 0 h 55"/>
                <a:gd name="T36" fmla="*/ 59 w 109"/>
                <a:gd name="T37" fmla="*/ 8 h 55"/>
                <a:gd name="T38" fmla="*/ 0 w 109"/>
                <a:gd name="T39" fmla="*/ 20 h 55"/>
                <a:gd name="T40" fmla="*/ 0 w 109"/>
                <a:gd name="T41" fmla="*/ 50 h 55"/>
                <a:gd name="T42" fmla="*/ 50 w 109"/>
                <a:gd name="T43" fmla="*/ 41 h 55"/>
                <a:gd name="T44" fmla="*/ 63 w 109"/>
                <a:gd name="T45" fmla="*/ 41 h 55"/>
                <a:gd name="T46" fmla="*/ 66 w 109"/>
                <a:gd name="T47" fmla="*/ 46 h 55"/>
                <a:gd name="T48" fmla="*/ 71 w 109"/>
                <a:gd name="T49" fmla="*/ 48 h 55"/>
                <a:gd name="T50" fmla="*/ 73 w 109"/>
                <a:gd name="T51" fmla="*/ 51 h 55"/>
                <a:gd name="T52" fmla="*/ 74 w 109"/>
                <a:gd name="T53" fmla="*/ 55 h 55"/>
                <a:gd name="T54" fmla="*/ 77 w 109"/>
                <a:gd name="T55" fmla="*/ 55 h 55"/>
                <a:gd name="T56" fmla="*/ 79 w 109"/>
                <a:gd name="T57" fmla="*/ 49 h 55"/>
                <a:gd name="T58" fmla="*/ 82 w 109"/>
                <a:gd name="T59" fmla="*/ 45 h 55"/>
                <a:gd name="T60" fmla="*/ 86 w 109"/>
                <a:gd name="T61" fmla="*/ 46 h 55"/>
                <a:gd name="T62" fmla="*/ 87 w 109"/>
                <a:gd name="T63" fmla="*/ 51 h 55"/>
                <a:gd name="T64" fmla="*/ 92 w 109"/>
                <a:gd name="T65" fmla="*/ 47 h 55"/>
                <a:gd name="T66" fmla="*/ 94 w 109"/>
                <a:gd name="T67" fmla="*/ 45 h 55"/>
                <a:gd name="T68" fmla="*/ 101 w 109"/>
                <a:gd name="T69" fmla="*/ 43 h 55"/>
                <a:gd name="T70" fmla="*/ 106 w 109"/>
                <a:gd name="T71" fmla="*/ 40 h 55"/>
                <a:gd name="T72" fmla="*/ 109 w 109"/>
                <a:gd name="T73" fmla="*/ 3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9" h="55">
                  <a:moveTo>
                    <a:pt x="107" y="35"/>
                  </a:moveTo>
                  <a:lnTo>
                    <a:pt x="105" y="32"/>
                  </a:lnTo>
                  <a:lnTo>
                    <a:pt x="104" y="31"/>
                  </a:lnTo>
                  <a:lnTo>
                    <a:pt x="101" y="29"/>
                  </a:lnTo>
                  <a:lnTo>
                    <a:pt x="98" y="27"/>
                  </a:lnTo>
                  <a:lnTo>
                    <a:pt x="97" y="25"/>
                  </a:lnTo>
                  <a:lnTo>
                    <a:pt x="96" y="27"/>
                  </a:lnTo>
                  <a:lnTo>
                    <a:pt x="97" y="29"/>
                  </a:lnTo>
                  <a:lnTo>
                    <a:pt x="100" y="32"/>
                  </a:lnTo>
                  <a:lnTo>
                    <a:pt x="102" y="35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89" y="39"/>
                  </a:lnTo>
                  <a:lnTo>
                    <a:pt x="88" y="37"/>
                  </a:lnTo>
                  <a:lnTo>
                    <a:pt x="87" y="36"/>
                  </a:lnTo>
                  <a:lnTo>
                    <a:pt x="85" y="35"/>
                  </a:lnTo>
                  <a:lnTo>
                    <a:pt x="82" y="33"/>
                  </a:lnTo>
                  <a:lnTo>
                    <a:pt x="81" y="32"/>
                  </a:lnTo>
                  <a:lnTo>
                    <a:pt x="82" y="30"/>
                  </a:lnTo>
                  <a:lnTo>
                    <a:pt x="81" y="27"/>
                  </a:lnTo>
                  <a:lnTo>
                    <a:pt x="77" y="24"/>
                  </a:lnTo>
                  <a:lnTo>
                    <a:pt x="73" y="22"/>
                  </a:lnTo>
                  <a:lnTo>
                    <a:pt x="71" y="22"/>
                  </a:lnTo>
                  <a:lnTo>
                    <a:pt x="69" y="22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1" y="13"/>
                  </a:lnTo>
                  <a:lnTo>
                    <a:pt x="73" y="11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6" y="6"/>
                  </a:lnTo>
                  <a:lnTo>
                    <a:pt x="73" y="6"/>
                  </a:lnTo>
                  <a:lnTo>
                    <a:pt x="71" y="6"/>
                  </a:lnTo>
                  <a:lnTo>
                    <a:pt x="70" y="3"/>
                  </a:lnTo>
                  <a:lnTo>
                    <a:pt x="68" y="0"/>
                  </a:lnTo>
                  <a:lnTo>
                    <a:pt x="60" y="3"/>
                  </a:lnTo>
                  <a:lnTo>
                    <a:pt x="59" y="8"/>
                  </a:lnTo>
                  <a:lnTo>
                    <a:pt x="22" y="17"/>
                  </a:lnTo>
                  <a:lnTo>
                    <a:pt x="0" y="20"/>
                  </a:lnTo>
                  <a:lnTo>
                    <a:pt x="0" y="33"/>
                  </a:lnTo>
                  <a:lnTo>
                    <a:pt x="0" y="50"/>
                  </a:lnTo>
                  <a:lnTo>
                    <a:pt x="24" y="46"/>
                  </a:lnTo>
                  <a:lnTo>
                    <a:pt x="50" y="41"/>
                  </a:lnTo>
                  <a:lnTo>
                    <a:pt x="60" y="36"/>
                  </a:lnTo>
                  <a:lnTo>
                    <a:pt x="63" y="41"/>
                  </a:lnTo>
                  <a:lnTo>
                    <a:pt x="66" y="43"/>
                  </a:lnTo>
                  <a:lnTo>
                    <a:pt x="66" y="46"/>
                  </a:lnTo>
                  <a:lnTo>
                    <a:pt x="68" y="47"/>
                  </a:lnTo>
                  <a:lnTo>
                    <a:pt x="71" y="48"/>
                  </a:lnTo>
                  <a:lnTo>
                    <a:pt x="71" y="49"/>
                  </a:lnTo>
                  <a:lnTo>
                    <a:pt x="73" y="51"/>
                  </a:lnTo>
                  <a:lnTo>
                    <a:pt x="74" y="55"/>
                  </a:lnTo>
                  <a:lnTo>
                    <a:pt x="74" y="55"/>
                  </a:lnTo>
                  <a:lnTo>
                    <a:pt x="76" y="55"/>
                  </a:lnTo>
                  <a:lnTo>
                    <a:pt x="77" y="55"/>
                  </a:lnTo>
                  <a:lnTo>
                    <a:pt x="79" y="53"/>
                  </a:lnTo>
                  <a:lnTo>
                    <a:pt x="79" y="49"/>
                  </a:lnTo>
                  <a:lnTo>
                    <a:pt x="82" y="47"/>
                  </a:lnTo>
                  <a:lnTo>
                    <a:pt x="82" y="45"/>
                  </a:lnTo>
                  <a:lnTo>
                    <a:pt x="85" y="43"/>
                  </a:lnTo>
                  <a:lnTo>
                    <a:pt x="86" y="46"/>
                  </a:lnTo>
                  <a:lnTo>
                    <a:pt x="87" y="49"/>
                  </a:lnTo>
                  <a:lnTo>
                    <a:pt x="87" y="51"/>
                  </a:lnTo>
                  <a:lnTo>
                    <a:pt x="90" y="49"/>
                  </a:lnTo>
                  <a:lnTo>
                    <a:pt x="92" y="47"/>
                  </a:lnTo>
                  <a:lnTo>
                    <a:pt x="92" y="45"/>
                  </a:lnTo>
                  <a:lnTo>
                    <a:pt x="94" y="45"/>
                  </a:lnTo>
                  <a:lnTo>
                    <a:pt x="97" y="43"/>
                  </a:lnTo>
                  <a:lnTo>
                    <a:pt x="101" y="43"/>
                  </a:lnTo>
                  <a:lnTo>
                    <a:pt x="103" y="41"/>
                  </a:lnTo>
                  <a:lnTo>
                    <a:pt x="106" y="40"/>
                  </a:lnTo>
                  <a:lnTo>
                    <a:pt x="108" y="38"/>
                  </a:lnTo>
                  <a:lnTo>
                    <a:pt x="109" y="36"/>
                  </a:lnTo>
                  <a:lnTo>
                    <a:pt x="107" y="3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350458E8-5893-6446-9F03-D887C9AF3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6311" y="2205292"/>
              <a:ext cx="16864" cy="11806"/>
            </a:xfrm>
            <a:custGeom>
              <a:avLst/>
              <a:gdLst>
                <a:gd name="T0" fmla="*/ 3 w 12"/>
                <a:gd name="T1" fmla="*/ 9 h 9"/>
                <a:gd name="T2" fmla="*/ 7 w 12"/>
                <a:gd name="T3" fmla="*/ 9 h 9"/>
                <a:gd name="T4" fmla="*/ 10 w 12"/>
                <a:gd name="T5" fmla="*/ 6 h 9"/>
                <a:gd name="T6" fmla="*/ 12 w 12"/>
                <a:gd name="T7" fmla="*/ 4 h 9"/>
                <a:gd name="T8" fmla="*/ 8 w 12"/>
                <a:gd name="T9" fmla="*/ 2 h 9"/>
                <a:gd name="T10" fmla="*/ 4 w 12"/>
                <a:gd name="T11" fmla="*/ 1 h 9"/>
                <a:gd name="T12" fmla="*/ 0 w 12"/>
                <a:gd name="T13" fmla="*/ 7 h 9"/>
                <a:gd name="T14" fmla="*/ 3 w 12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9">
                  <a:moveTo>
                    <a:pt x="3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5" y="0"/>
                    <a:pt x="4" y="1"/>
                  </a:cubicBezTo>
                  <a:cubicBezTo>
                    <a:pt x="4" y="2"/>
                    <a:pt x="0" y="7"/>
                    <a:pt x="0" y="7"/>
                  </a:cubicBezTo>
                  <a:lnTo>
                    <a:pt x="3" y="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CCA6E01F-06BE-4E47-B263-1FB6F178F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3818" y="2269378"/>
              <a:ext cx="70830" cy="158525"/>
            </a:xfrm>
            <a:custGeom>
              <a:avLst/>
              <a:gdLst>
                <a:gd name="T0" fmla="*/ 36 w 42"/>
                <a:gd name="T1" fmla="*/ 13 h 94"/>
                <a:gd name="T2" fmla="*/ 36 w 42"/>
                <a:gd name="T3" fmla="*/ 9 h 94"/>
                <a:gd name="T4" fmla="*/ 34 w 42"/>
                <a:gd name="T5" fmla="*/ 7 h 94"/>
                <a:gd name="T6" fmla="*/ 21 w 42"/>
                <a:gd name="T7" fmla="*/ 3 h 94"/>
                <a:gd name="T8" fmla="*/ 9 w 42"/>
                <a:gd name="T9" fmla="*/ 0 h 94"/>
                <a:gd name="T10" fmla="*/ 8 w 42"/>
                <a:gd name="T11" fmla="*/ 3 h 94"/>
                <a:gd name="T12" fmla="*/ 6 w 42"/>
                <a:gd name="T13" fmla="*/ 7 h 94"/>
                <a:gd name="T14" fmla="*/ 3 w 42"/>
                <a:gd name="T15" fmla="*/ 9 h 94"/>
                <a:gd name="T16" fmla="*/ 2 w 42"/>
                <a:gd name="T17" fmla="*/ 14 h 94"/>
                <a:gd name="T18" fmla="*/ 3 w 42"/>
                <a:gd name="T19" fmla="*/ 20 h 94"/>
                <a:gd name="T20" fmla="*/ 3 w 42"/>
                <a:gd name="T21" fmla="*/ 25 h 94"/>
                <a:gd name="T22" fmla="*/ 2 w 42"/>
                <a:gd name="T23" fmla="*/ 30 h 94"/>
                <a:gd name="T24" fmla="*/ 5 w 42"/>
                <a:gd name="T25" fmla="*/ 32 h 94"/>
                <a:gd name="T26" fmla="*/ 9 w 42"/>
                <a:gd name="T27" fmla="*/ 34 h 94"/>
                <a:gd name="T28" fmla="*/ 11 w 42"/>
                <a:gd name="T29" fmla="*/ 38 h 94"/>
                <a:gd name="T30" fmla="*/ 15 w 42"/>
                <a:gd name="T31" fmla="*/ 42 h 94"/>
                <a:gd name="T32" fmla="*/ 20 w 42"/>
                <a:gd name="T33" fmla="*/ 46 h 94"/>
                <a:gd name="T34" fmla="*/ 20 w 42"/>
                <a:gd name="T35" fmla="*/ 47 h 94"/>
                <a:gd name="T36" fmla="*/ 18 w 42"/>
                <a:gd name="T37" fmla="*/ 53 h 94"/>
                <a:gd name="T38" fmla="*/ 10 w 42"/>
                <a:gd name="T39" fmla="*/ 58 h 94"/>
                <a:gd name="T40" fmla="*/ 3 w 42"/>
                <a:gd name="T41" fmla="*/ 64 h 94"/>
                <a:gd name="T42" fmla="*/ 2 w 42"/>
                <a:gd name="T43" fmla="*/ 67 h 94"/>
                <a:gd name="T44" fmla="*/ 0 w 42"/>
                <a:gd name="T45" fmla="*/ 72 h 94"/>
                <a:gd name="T46" fmla="*/ 1 w 42"/>
                <a:gd name="T47" fmla="*/ 75 h 94"/>
                <a:gd name="T48" fmla="*/ 3 w 42"/>
                <a:gd name="T49" fmla="*/ 79 h 94"/>
                <a:gd name="T50" fmla="*/ 8 w 42"/>
                <a:gd name="T51" fmla="*/ 83 h 94"/>
                <a:gd name="T52" fmla="*/ 12 w 42"/>
                <a:gd name="T53" fmla="*/ 85 h 94"/>
                <a:gd name="T54" fmla="*/ 15 w 42"/>
                <a:gd name="T55" fmla="*/ 86 h 94"/>
                <a:gd name="T56" fmla="*/ 20 w 42"/>
                <a:gd name="T57" fmla="*/ 86 h 94"/>
                <a:gd name="T58" fmla="*/ 24 w 42"/>
                <a:gd name="T59" fmla="*/ 86 h 94"/>
                <a:gd name="T60" fmla="*/ 25 w 42"/>
                <a:gd name="T61" fmla="*/ 86 h 94"/>
                <a:gd name="T62" fmla="*/ 24 w 42"/>
                <a:gd name="T63" fmla="*/ 90 h 94"/>
                <a:gd name="T64" fmla="*/ 24 w 42"/>
                <a:gd name="T65" fmla="*/ 93 h 94"/>
                <a:gd name="T66" fmla="*/ 25 w 42"/>
                <a:gd name="T67" fmla="*/ 94 h 94"/>
                <a:gd name="T68" fmla="*/ 26 w 42"/>
                <a:gd name="T69" fmla="*/ 94 h 94"/>
                <a:gd name="T70" fmla="*/ 27 w 42"/>
                <a:gd name="T71" fmla="*/ 87 h 94"/>
                <a:gd name="T72" fmla="*/ 28 w 42"/>
                <a:gd name="T73" fmla="*/ 86 h 94"/>
                <a:gd name="T74" fmla="*/ 31 w 42"/>
                <a:gd name="T75" fmla="*/ 82 h 94"/>
                <a:gd name="T76" fmla="*/ 36 w 42"/>
                <a:gd name="T77" fmla="*/ 78 h 94"/>
                <a:gd name="T78" fmla="*/ 36 w 42"/>
                <a:gd name="T79" fmla="*/ 69 h 94"/>
                <a:gd name="T80" fmla="*/ 36 w 42"/>
                <a:gd name="T81" fmla="*/ 65 h 94"/>
                <a:gd name="T82" fmla="*/ 40 w 42"/>
                <a:gd name="T83" fmla="*/ 61 h 94"/>
                <a:gd name="T84" fmla="*/ 41 w 42"/>
                <a:gd name="T85" fmla="*/ 53 h 94"/>
                <a:gd name="T86" fmla="*/ 42 w 42"/>
                <a:gd name="T87" fmla="*/ 48 h 94"/>
                <a:gd name="T88" fmla="*/ 42 w 42"/>
                <a:gd name="T89" fmla="*/ 40 h 94"/>
                <a:gd name="T90" fmla="*/ 42 w 42"/>
                <a:gd name="T91" fmla="*/ 36 h 94"/>
                <a:gd name="T92" fmla="*/ 40 w 42"/>
                <a:gd name="T93" fmla="*/ 30 h 94"/>
                <a:gd name="T94" fmla="*/ 36 w 42"/>
                <a:gd name="T95" fmla="*/ 30 h 94"/>
                <a:gd name="T96" fmla="*/ 34 w 42"/>
                <a:gd name="T97" fmla="*/ 30 h 94"/>
                <a:gd name="T98" fmla="*/ 35 w 42"/>
                <a:gd name="T99" fmla="*/ 25 h 94"/>
                <a:gd name="T100" fmla="*/ 37 w 42"/>
                <a:gd name="T101" fmla="*/ 20 h 94"/>
                <a:gd name="T102" fmla="*/ 39 w 42"/>
                <a:gd name="T103" fmla="*/ 18 h 94"/>
                <a:gd name="T104" fmla="*/ 38 w 42"/>
                <a:gd name="T105" fmla="*/ 17 h 94"/>
                <a:gd name="T106" fmla="*/ 36 w 42"/>
                <a:gd name="T107" fmla="*/ 1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94">
                  <a:moveTo>
                    <a:pt x="36" y="13"/>
                  </a:moveTo>
                  <a:lnTo>
                    <a:pt x="36" y="9"/>
                  </a:lnTo>
                  <a:lnTo>
                    <a:pt x="34" y="7"/>
                  </a:lnTo>
                  <a:lnTo>
                    <a:pt x="21" y="3"/>
                  </a:lnTo>
                  <a:lnTo>
                    <a:pt x="9" y="0"/>
                  </a:lnTo>
                  <a:lnTo>
                    <a:pt x="8" y="3"/>
                  </a:lnTo>
                  <a:lnTo>
                    <a:pt x="6" y="7"/>
                  </a:lnTo>
                  <a:lnTo>
                    <a:pt x="3" y="9"/>
                  </a:lnTo>
                  <a:lnTo>
                    <a:pt x="2" y="14"/>
                  </a:lnTo>
                  <a:lnTo>
                    <a:pt x="3" y="20"/>
                  </a:lnTo>
                  <a:lnTo>
                    <a:pt x="3" y="25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9" y="34"/>
                  </a:lnTo>
                  <a:lnTo>
                    <a:pt x="11" y="38"/>
                  </a:lnTo>
                  <a:lnTo>
                    <a:pt x="15" y="42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18" y="53"/>
                  </a:lnTo>
                  <a:lnTo>
                    <a:pt x="10" y="58"/>
                  </a:lnTo>
                  <a:lnTo>
                    <a:pt x="3" y="64"/>
                  </a:lnTo>
                  <a:lnTo>
                    <a:pt x="2" y="67"/>
                  </a:lnTo>
                  <a:lnTo>
                    <a:pt x="0" y="72"/>
                  </a:lnTo>
                  <a:lnTo>
                    <a:pt x="1" y="75"/>
                  </a:lnTo>
                  <a:lnTo>
                    <a:pt x="3" y="79"/>
                  </a:lnTo>
                  <a:lnTo>
                    <a:pt x="8" y="83"/>
                  </a:lnTo>
                  <a:lnTo>
                    <a:pt x="12" y="85"/>
                  </a:lnTo>
                  <a:lnTo>
                    <a:pt x="15" y="86"/>
                  </a:lnTo>
                  <a:lnTo>
                    <a:pt x="20" y="86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7" y="87"/>
                  </a:lnTo>
                  <a:lnTo>
                    <a:pt x="28" y="86"/>
                  </a:lnTo>
                  <a:lnTo>
                    <a:pt x="31" y="82"/>
                  </a:lnTo>
                  <a:lnTo>
                    <a:pt x="36" y="78"/>
                  </a:lnTo>
                  <a:lnTo>
                    <a:pt x="36" y="69"/>
                  </a:lnTo>
                  <a:lnTo>
                    <a:pt x="36" y="65"/>
                  </a:lnTo>
                  <a:lnTo>
                    <a:pt x="40" y="61"/>
                  </a:lnTo>
                  <a:lnTo>
                    <a:pt x="41" y="53"/>
                  </a:lnTo>
                  <a:lnTo>
                    <a:pt x="42" y="48"/>
                  </a:lnTo>
                  <a:lnTo>
                    <a:pt x="42" y="40"/>
                  </a:lnTo>
                  <a:lnTo>
                    <a:pt x="42" y="36"/>
                  </a:lnTo>
                  <a:lnTo>
                    <a:pt x="40" y="30"/>
                  </a:lnTo>
                  <a:lnTo>
                    <a:pt x="36" y="30"/>
                  </a:lnTo>
                  <a:lnTo>
                    <a:pt x="34" y="30"/>
                  </a:lnTo>
                  <a:lnTo>
                    <a:pt x="35" y="25"/>
                  </a:lnTo>
                  <a:lnTo>
                    <a:pt x="37" y="20"/>
                  </a:lnTo>
                  <a:lnTo>
                    <a:pt x="39" y="18"/>
                  </a:lnTo>
                  <a:lnTo>
                    <a:pt x="38" y="17"/>
                  </a:lnTo>
                  <a:lnTo>
                    <a:pt x="36" y="1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2C5F246F-92C5-9A48-887A-A7DDB84FD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0327" y="2378996"/>
              <a:ext cx="55652" cy="91068"/>
            </a:xfrm>
            <a:custGeom>
              <a:avLst/>
              <a:gdLst>
                <a:gd name="T0" fmla="*/ 9 w 33"/>
                <a:gd name="T1" fmla="*/ 10 h 54"/>
                <a:gd name="T2" fmla="*/ 8 w 33"/>
                <a:gd name="T3" fmla="*/ 7 h 54"/>
                <a:gd name="T4" fmla="*/ 10 w 33"/>
                <a:gd name="T5" fmla="*/ 2 h 54"/>
                <a:gd name="T6" fmla="*/ 11 w 33"/>
                <a:gd name="T7" fmla="*/ 1 h 54"/>
                <a:gd name="T8" fmla="*/ 9 w 33"/>
                <a:gd name="T9" fmla="*/ 0 h 54"/>
                <a:gd name="T10" fmla="*/ 6 w 33"/>
                <a:gd name="T11" fmla="*/ 0 h 54"/>
                <a:gd name="T12" fmla="*/ 5 w 33"/>
                <a:gd name="T13" fmla="*/ 0 h 54"/>
                <a:gd name="T14" fmla="*/ 2 w 33"/>
                <a:gd name="T15" fmla="*/ 2 h 54"/>
                <a:gd name="T16" fmla="*/ 0 w 33"/>
                <a:gd name="T17" fmla="*/ 5 h 54"/>
                <a:gd name="T18" fmla="*/ 12 w 33"/>
                <a:gd name="T19" fmla="*/ 54 h 54"/>
                <a:gd name="T20" fmla="*/ 33 w 33"/>
                <a:gd name="T21" fmla="*/ 51 h 54"/>
                <a:gd name="T22" fmla="*/ 32 w 33"/>
                <a:gd name="T23" fmla="*/ 43 h 54"/>
                <a:gd name="T24" fmla="*/ 29 w 33"/>
                <a:gd name="T25" fmla="*/ 40 h 54"/>
                <a:gd name="T26" fmla="*/ 28 w 33"/>
                <a:gd name="T27" fmla="*/ 38 h 54"/>
                <a:gd name="T28" fmla="*/ 26 w 33"/>
                <a:gd name="T29" fmla="*/ 37 h 54"/>
                <a:gd name="T30" fmla="*/ 23 w 33"/>
                <a:gd name="T31" fmla="*/ 34 h 54"/>
                <a:gd name="T32" fmla="*/ 20 w 33"/>
                <a:gd name="T33" fmla="*/ 32 h 54"/>
                <a:gd name="T34" fmla="*/ 18 w 33"/>
                <a:gd name="T35" fmla="*/ 28 h 54"/>
                <a:gd name="T36" fmla="*/ 16 w 33"/>
                <a:gd name="T37" fmla="*/ 24 h 54"/>
                <a:gd name="T38" fmla="*/ 14 w 33"/>
                <a:gd name="T39" fmla="*/ 20 h 54"/>
                <a:gd name="T40" fmla="*/ 16 w 33"/>
                <a:gd name="T41" fmla="*/ 17 h 54"/>
                <a:gd name="T42" fmla="*/ 11 w 33"/>
                <a:gd name="T43" fmla="*/ 14 h 54"/>
                <a:gd name="T44" fmla="*/ 9 w 33"/>
                <a:gd name="T45" fmla="*/ 1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" h="54">
                  <a:moveTo>
                    <a:pt x="9" y="10"/>
                  </a:moveTo>
                  <a:lnTo>
                    <a:pt x="8" y="7"/>
                  </a:lnTo>
                  <a:lnTo>
                    <a:pt x="10" y="2"/>
                  </a:lnTo>
                  <a:lnTo>
                    <a:pt x="11" y="1"/>
                  </a:lnTo>
                  <a:lnTo>
                    <a:pt x="9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12" y="54"/>
                  </a:lnTo>
                  <a:lnTo>
                    <a:pt x="33" y="51"/>
                  </a:lnTo>
                  <a:lnTo>
                    <a:pt x="32" y="43"/>
                  </a:lnTo>
                  <a:lnTo>
                    <a:pt x="29" y="40"/>
                  </a:lnTo>
                  <a:lnTo>
                    <a:pt x="28" y="38"/>
                  </a:lnTo>
                  <a:lnTo>
                    <a:pt x="26" y="37"/>
                  </a:lnTo>
                  <a:lnTo>
                    <a:pt x="23" y="34"/>
                  </a:lnTo>
                  <a:lnTo>
                    <a:pt x="20" y="32"/>
                  </a:lnTo>
                  <a:lnTo>
                    <a:pt x="18" y="28"/>
                  </a:lnTo>
                  <a:lnTo>
                    <a:pt x="16" y="24"/>
                  </a:lnTo>
                  <a:lnTo>
                    <a:pt x="14" y="20"/>
                  </a:lnTo>
                  <a:lnTo>
                    <a:pt x="16" y="17"/>
                  </a:lnTo>
                  <a:lnTo>
                    <a:pt x="11" y="14"/>
                  </a:lnTo>
                  <a:lnTo>
                    <a:pt x="9" y="1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B0BABF83-69CB-8644-B348-B6A0F5395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496" y="2227215"/>
              <a:ext cx="317051" cy="205746"/>
            </a:xfrm>
            <a:custGeom>
              <a:avLst/>
              <a:gdLst>
                <a:gd name="T0" fmla="*/ 165 w 188"/>
                <a:gd name="T1" fmla="*/ 90 h 122"/>
                <a:gd name="T2" fmla="*/ 166 w 188"/>
                <a:gd name="T3" fmla="*/ 90 h 122"/>
                <a:gd name="T4" fmla="*/ 169 w 188"/>
                <a:gd name="T5" fmla="*/ 90 h 122"/>
                <a:gd name="T6" fmla="*/ 171 w 188"/>
                <a:gd name="T7" fmla="*/ 91 h 122"/>
                <a:gd name="T8" fmla="*/ 171 w 188"/>
                <a:gd name="T9" fmla="*/ 89 h 122"/>
                <a:gd name="T10" fmla="*/ 178 w 188"/>
                <a:gd name="T11" fmla="*/ 83 h 122"/>
                <a:gd name="T12" fmla="*/ 186 w 188"/>
                <a:gd name="T13" fmla="*/ 78 h 122"/>
                <a:gd name="T14" fmla="*/ 188 w 188"/>
                <a:gd name="T15" fmla="*/ 72 h 122"/>
                <a:gd name="T16" fmla="*/ 188 w 188"/>
                <a:gd name="T17" fmla="*/ 71 h 122"/>
                <a:gd name="T18" fmla="*/ 183 w 188"/>
                <a:gd name="T19" fmla="*/ 67 h 122"/>
                <a:gd name="T20" fmla="*/ 179 w 188"/>
                <a:gd name="T21" fmla="*/ 63 h 122"/>
                <a:gd name="T22" fmla="*/ 177 w 188"/>
                <a:gd name="T23" fmla="*/ 59 h 122"/>
                <a:gd name="T24" fmla="*/ 173 w 188"/>
                <a:gd name="T25" fmla="*/ 57 h 122"/>
                <a:gd name="T26" fmla="*/ 170 w 188"/>
                <a:gd name="T27" fmla="*/ 55 h 122"/>
                <a:gd name="T28" fmla="*/ 171 w 188"/>
                <a:gd name="T29" fmla="*/ 50 h 122"/>
                <a:gd name="T30" fmla="*/ 171 w 188"/>
                <a:gd name="T31" fmla="*/ 45 h 122"/>
                <a:gd name="T32" fmla="*/ 170 w 188"/>
                <a:gd name="T33" fmla="*/ 39 h 122"/>
                <a:gd name="T34" fmla="*/ 171 w 188"/>
                <a:gd name="T35" fmla="*/ 34 h 122"/>
                <a:gd name="T36" fmla="*/ 174 w 188"/>
                <a:gd name="T37" fmla="*/ 32 h 122"/>
                <a:gd name="T38" fmla="*/ 176 w 188"/>
                <a:gd name="T39" fmla="*/ 28 h 122"/>
                <a:gd name="T40" fmla="*/ 177 w 188"/>
                <a:gd name="T41" fmla="*/ 25 h 122"/>
                <a:gd name="T42" fmla="*/ 179 w 188"/>
                <a:gd name="T43" fmla="*/ 20 h 122"/>
                <a:gd name="T44" fmla="*/ 176 w 188"/>
                <a:gd name="T45" fmla="*/ 18 h 122"/>
                <a:gd name="T46" fmla="*/ 173 w 188"/>
                <a:gd name="T47" fmla="*/ 18 h 122"/>
                <a:gd name="T48" fmla="*/ 170 w 188"/>
                <a:gd name="T49" fmla="*/ 17 h 122"/>
                <a:gd name="T50" fmla="*/ 166 w 188"/>
                <a:gd name="T51" fmla="*/ 10 h 122"/>
                <a:gd name="T52" fmla="*/ 162 w 188"/>
                <a:gd name="T53" fmla="*/ 5 h 122"/>
                <a:gd name="T54" fmla="*/ 154 w 188"/>
                <a:gd name="T55" fmla="*/ 0 h 122"/>
                <a:gd name="T56" fmla="*/ 24 w 188"/>
                <a:gd name="T57" fmla="*/ 23 h 122"/>
                <a:gd name="T58" fmla="*/ 22 w 188"/>
                <a:gd name="T59" fmla="*/ 13 h 122"/>
                <a:gd name="T60" fmla="*/ 16 w 188"/>
                <a:gd name="T61" fmla="*/ 17 h 122"/>
                <a:gd name="T62" fmla="*/ 11 w 188"/>
                <a:gd name="T63" fmla="*/ 21 h 122"/>
                <a:gd name="T64" fmla="*/ 6 w 188"/>
                <a:gd name="T65" fmla="*/ 24 h 122"/>
                <a:gd name="T66" fmla="*/ 0 w 188"/>
                <a:gd name="T67" fmla="*/ 28 h 122"/>
                <a:gd name="T68" fmla="*/ 16 w 188"/>
                <a:gd name="T69" fmla="*/ 122 h 122"/>
                <a:gd name="T70" fmla="*/ 160 w 188"/>
                <a:gd name="T71" fmla="*/ 95 h 122"/>
                <a:gd name="T72" fmla="*/ 162 w 188"/>
                <a:gd name="T73" fmla="*/ 92 h 122"/>
                <a:gd name="T74" fmla="*/ 165 w 188"/>
                <a:gd name="T75" fmla="*/ 9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8" h="122">
                  <a:moveTo>
                    <a:pt x="165" y="90"/>
                  </a:moveTo>
                  <a:lnTo>
                    <a:pt x="166" y="90"/>
                  </a:lnTo>
                  <a:lnTo>
                    <a:pt x="169" y="90"/>
                  </a:lnTo>
                  <a:lnTo>
                    <a:pt x="171" y="91"/>
                  </a:lnTo>
                  <a:lnTo>
                    <a:pt x="171" y="89"/>
                  </a:lnTo>
                  <a:lnTo>
                    <a:pt x="178" y="83"/>
                  </a:lnTo>
                  <a:lnTo>
                    <a:pt x="186" y="78"/>
                  </a:lnTo>
                  <a:lnTo>
                    <a:pt x="188" y="72"/>
                  </a:lnTo>
                  <a:lnTo>
                    <a:pt x="188" y="71"/>
                  </a:lnTo>
                  <a:lnTo>
                    <a:pt x="183" y="67"/>
                  </a:lnTo>
                  <a:lnTo>
                    <a:pt x="179" y="63"/>
                  </a:lnTo>
                  <a:lnTo>
                    <a:pt x="177" y="59"/>
                  </a:lnTo>
                  <a:lnTo>
                    <a:pt x="173" y="57"/>
                  </a:lnTo>
                  <a:lnTo>
                    <a:pt x="170" y="55"/>
                  </a:lnTo>
                  <a:lnTo>
                    <a:pt x="171" y="50"/>
                  </a:lnTo>
                  <a:lnTo>
                    <a:pt x="171" y="45"/>
                  </a:lnTo>
                  <a:lnTo>
                    <a:pt x="170" y="39"/>
                  </a:lnTo>
                  <a:lnTo>
                    <a:pt x="171" y="34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7" y="25"/>
                  </a:lnTo>
                  <a:lnTo>
                    <a:pt x="179" y="20"/>
                  </a:lnTo>
                  <a:lnTo>
                    <a:pt x="176" y="18"/>
                  </a:lnTo>
                  <a:lnTo>
                    <a:pt x="173" y="18"/>
                  </a:lnTo>
                  <a:lnTo>
                    <a:pt x="170" y="17"/>
                  </a:lnTo>
                  <a:lnTo>
                    <a:pt x="166" y="10"/>
                  </a:lnTo>
                  <a:lnTo>
                    <a:pt x="162" y="5"/>
                  </a:lnTo>
                  <a:lnTo>
                    <a:pt x="154" y="0"/>
                  </a:lnTo>
                  <a:lnTo>
                    <a:pt x="24" y="23"/>
                  </a:lnTo>
                  <a:lnTo>
                    <a:pt x="22" y="13"/>
                  </a:lnTo>
                  <a:lnTo>
                    <a:pt x="16" y="17"/>
                  </a:lnTo>
                  <a:lnTo>
                    <a:pt x="11" y="21"/>
                  </a:lnTo>
                  <a:lnTo>
                    <a:pt x="6" y="24"/>
                  </a:lnTo>
                  <a:lnTo>
                    <a:pt x="0" y="28"/>
                  </a:lnTo>
                  <a:lnTo>
                    <a:pt x="16" y="122"/>
                  </a:lnTo>
                  <a:lnTo>
                    <a:pt x="160" y="95"/>
                  </a:lnTo>
                  <a:lnTo>
                    <a:pt x="162" y="92"/>
                  </a:lnTo>
                  <a:lnTo>
                    <a:pt x="165" y="9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8D2DE1C0-78EA-4B4A-B6B0-81BA18391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3682" y="3051887"/>
              <a:ext cx="490754" cy="384509"/>
            </a:xfrm>
            <a:custGeom>
              <a:avLst/>
              <a:gdLst>
                <a:gd name="T0" fmla="*/ 200 w 291"/>
                <a:gd name="T1" fmla="*/ 0 h 228"/>
                <a:gd name="T2" fmla="*/ 211 w 291"/>
                <a:gd name="T3" fmla="*/ 10 h 228"/>
                <a:gd name="T4" fmla="*/ 223 w 291"/>
                <a:gd name="T5" fmla="*/ 30 h 228"/>
                <a:gd name="T6" fmla="*/ 241 w 291"/>
                <a:gd name="T7" fmla="*/ 62 h 228"/>
                <a:gd name="T8" fmla="*/ 259 w 291"/>
                <a:gd name="T9" fmla="*/ 84 h 228"/>
                <a:gd name="T10" fmla="*/ 256 w 291"/>
                <a:gd name="T11" fmla="*/ 86 h 228"/>
                <a:gd name="T12" fmla="*/ 268 w 291"/>
                <a:gd name="T13" fmla="*/ 116 h 228"/>
                <a:gd name="T14" fmla="*/ 286 w 291"/>
                <a:gd name="T15" fmla="*/ 144 h 228"/>
                <a:gd name="T16" fmla="*/ 291 w 291"/>
                <a:gd name="T17" fmla="*/ 176 h 228"/>
                <a:gd name="T18" fmla="*/ 288 w 291"/>
                <a:gd name="T19" fmla="*/ 196 h 228"/>
                <a:gd name="T20" fmla="*/ 287 w 291"/>
                <a:gd name="T21" fmla="*/ 211 h 228"/>
                <a:gd name="T22" fmla="*/ 280 w 291"/>
                <a:gd name="T23" fmla="*/ 227 h 228"/>
                <a:gd name="T24" fmla="*/ 281 w 291"/>
                <a:gd name="T25" fmla="*/ 222 h 228"/>
                <a:gd name="T26" fmla="*/ 274 w 291"/>
                <a:gd name="T27" fmla="*/ 221 h 228"/>
                <a:gd name="T28" fmla="*/ 264 w 291"/>
                <a:gd name="T29" fmla="*/ 222 h 228"/>
                <a:gd name="T30" fmla="*/ 255 w 291"/>
                <a:gd name="T31" fmla="*/ 222 h 228"/>
                <a:gd name="T32" fmla="*/ 255 w 291"/>
                <a:gd name="T33" fmla="*/ 217 h 228"/>
                <a:gd name="T34" fmla="*/ 263 w 291"/>
                <a:gd name="T35" fmla="*/ 216 h 228"/>
                <a:gd name="T36" fmla="*/ 253 w 291"/>
                <a:gd name="T37" fmla="*/ 212 h 228"/>
                <a:gd name="T38" fmla="*/ 245 w 291"/>
                <a:gd name="T39" fmla="*/ 200 h 228"/>
                <a:gd name="T40" fmla="*/ 233 w 291"/>
                <a:gd name="T41" fmla="*/ 193 h 228"/>
                <a:gd name="T42" fmla="*/ 223 w 291"/>
                <a:gd name="T43" fmla="*/ 177 h 228"/>
                <a:gd name="T44" fmla="*/ 216 w 291"/>
                <a:gd name="T45" fmla="*/ 169 h 228"/>
                <a:gd name="T46" fmla="*/ 215 w 291"/>
                <a:gd name="T47" fmla="*/ 161 h 228"/>
                <a:gd name="T48" fmla="*/ 209 w 291"/>
                <a:gd name="T49" fmla="*/ 158 h 228"/>
                <a:gd name="T50" fmla="*/ 205 w 291"/>
                <a:gd name="T51" fmla="*/ 161 h 228"/>
                <a:gd name="T52" fmla="*/ 194 w 291"/>
                <a:gd name="T53" fmla="*/ 147 h 228"/>
                <a:gd name="T54" fmla="*/ 192 w 291"/>
                <a:gd name="T55" fmla="*/ 140 h 228"/>
                <a:gd name="T56" fmla="*/ 194 w 291"/>
                <a:gd name="T57" fmla="*/ 130 h 228"/>
                <a:gd name="T58" fmla="*/ 194 w 291"/>
                <a:gd name="T59" fmla="*/ 121 h 228"/>
                <a:gd name="T60" fmla="*/ 191 w 291"/>
                <a:gd name="T61" fmla="*/ 122 h 228"/>
                <a:gd name="T62" fmla="*/ 187 w 291"/>
                <a:gd name="T63" fmla="*/ 119 h 228"/>
                <a:gd name="T64" fmla="*/ 189 w 291"/>
                <a:gd name="T65" fmla="*/ 127 h 228"/>
                <a:gd name="T66" fmla="*/ 186 w 291"/>
                <a:gd name="T67" fmla="*/ 129 h 228"/>
                <a:gd name="T68" fmla="*/ 180 w 291"/>
                <a:gd name="T69" fmla="*/ 120 h 228"/>
                <a:gd name="T70" fmla="*/ 182 w 291"/>
                <a:gd name="T71" fmla="*/ 106 h 228"/>
                <a:gd name="T72" fmla="*/ 182 w 291"/>
                <a:gd name="T73" fmla="*/ 86 h 228"/>
                <a:gd name="T74" fmla="*/ 174 w 291"/>
                <a:gd name="T75" fmla="*/ 72 h 228"/>
                <a:gd name="T76" fmla="*/ 163 w 291"/>
                <a:gd name="T77" fmla="*/ 67 h 228"/>
                <a:gd name="T78" fmla="*/ 152 w 291"/>
                <a:gd name="T79" fmla="*/ 60 h 228"/>
                <a:gd name="T80" fmla="*/ 143 w 291"/>
                <a:gd name="T81" fmla="*/ 48 h 228"/>
                <a:gd name="T82" fmla="*/ 130 w 291"/>
                <a:gd name="T83" fmla="*/ 39 h 228"/>
                <a:gd name="T84" fmla="*/ 117 w 291"/>
                <a:gd name="T85" fmla="*/ 39 h 228"/>
                <a:gd name="T86" fmla="*/ 116 w 291"/>
                <a:gd name="T87" fmla="*/ 47 h 228"/>
                <a:gd name="T88" fmla="*/ 107 w 291"/>
                <a:gd name="T89" fmla="*/ 49 h 228"/>
                <a:gd name="T90" fmla="*/ 83 w 291"/>
                <a:gd name="T91" fmla="*/ 59 h 228"/>
                <a:gd name="T92" fmla="*/ 77 w 291"/>
                <a:gd name="T93" fmla="*/ 49 h 228"/>
                <a:gd name="T94" fmla="*/ 77 w 291"/>
                <a:gd name="T95" fmla="*/ 43 h 228"/>
                <a:gd name="T96" fmla="*/ 72 w 291"/>
                <a:gd name="T97" fmla="*/ 39 h 228"/>
                <a:gd name="T98" fmla="*/ 72 w 291"/>
                <a:gd name="T99" fmla="*/ 35 h 228"/>
                <a:gd name="T100" fmla="*/ 69 w 291"/>
                <a:gd name="T101" fmla="*/ 38 h 228"/>
                <a:gd name="T102" fmla="*/ 64 w 291"/>
                <a:gd name="T103" fmla="*/ 39 h 228"/>
                <a:gd name="T104" fmla="*/ 65 w 291"/>
                <a:gd name="T105" fmla="*/ 43 h 228"/>
                <a:gd name="T106" fmla="*/ 53 w 291"/>
                <a:gd name="T107" fmla="*/ 37 h 228"/>
                <a:gd name="T108" fmla="*/ 39 w 291"/>
                <a:gd name="T109" fmla="*/ 33 h 228"/>
                <a:gd name="T110" fmla="*/ 19 w 291"/>
                <a:gd name="T111" fmla="*/ 35 h 228"/>
                <a:gd name="T112" fmla="*/ 7 w 291"/>
                <a:gd name="T113" fmla="*/ 32 h 228"/>
                <a:gd name="T114" fmla="*/ 0 w 291"/>
                <a:gd name="T115" fmla="*/ 20 h 228"/>
                <a:gd name="T116" fmla="*/ 10 w 291"/>
                <a:gd name="T117" fmla="*/ 14 h 228"/>
                <a:gd name="T118" fmla="*/ 98 w 291"/>
                <a:gd name="T119" fmla="*/ 16 h 228"/>
                <a:gd name="T120" fmla="*/ 197 w 291"/>
                <a:gd name="T121" fmla="*/ 1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228">
                  <a:moveTo>
                    <a:pt x="194" y="0"/>
                  </a:moveTo>
                  <a:lnTo>
                    <a:pt x="194" y="0"/>
                  </a:lnTo>
                  <a:lnTo>
                    <a:pt x="200" y="0"/>
                  </a:lnTo>
                  <a:lnTo>
                    <a:pt x="209" y="2"/>
                  </a:lnTo>
                  <a:lnTo>
                    <a:pt x="210" y="7"/>
                  </a:lnTo>
                  <a:lnTo>
                    <a:pt x="211" y="10"/>
                  </a:lnTo>
                  <a:lnTo>
                    <a:pt x="215" y="12"/>
                  </a:lnTo>
                  <a:lnTo>
                    <a:pt x="218" y="17"/>
                  </a:lnTo>
                  <a:lnTo>
                    <a:pt x="223" y="30"/>
                  </a:lnTo>
                  <a:lnTo>
                    <a:pt x="229" y="40"/>
                  </a:lnTo>
                  <a:lnTo>
                    <a:pt x="237" y="55"/>
                  </a:lnTo>
                  <a:lnTo>
                    <a:pt x="241" y="62"/>
                  </a:lnTo>
                  <a:lnTo>
                    <a:pt x="251" y="77"/>
                  </a:lnTo>
                  <a:lnTo>
                    <a:pt x="256" y="81"/>
                  </a:lnTo>
                  <a:lnTo>
                    <a:pt x="259" y="84"/>
                  </a:lnTo>
                  <a:lnTo>
                    <a:pt x="259" y="87"/>
                  </a:lnTo>
                  <a:lnTo>
                    <a:pt x="259" y="96"/>
                  </a:lnTo>
                  <a:lnTo>
                    <a:pt x="256" y="86"/>
                  </a:lnTo>
                  <a:lnTo>
                    <a:pt x="255" y="96"/>
                  </a:lnTo>
                  <a:lnTo>
                    <a:pt x="261" y="106"/>
                  </a:lnTo>
                  <a:lnTo>
                    <a:pt x="268" y="116"/>
                  </a:lnTo>
                  <a:lnTo>
                    <a:pt x="275" y="129"/>
                  </a:lnTo>
                  <a:lnTo>
                    <a:pt x="280" y="137"/>
                  </a:lnTo>
                  <a:lnTo>
                    <a:pt x="286" y="144"/>
                  </a:lnTo>
                  <a:lnTo>
                    <a:pt x="289" y="153"/>
                  </a:lnTo>
                  <a:lnTo>
                    <a:pt x="291" y="168"/>
                  </a:lnTo>
                  <a:lnTo>
                    <a:pt x="291" y="176"/>
                  </a:lnTo>
                  <a:lnTo>
                    <a:pt x="291" y="185"/>
                  </a:lnTo>
                  <a:lnTo>
                    <a:pt x="291" y="193"/>
                  </a:lnTo>
                  <a:lnTo>
                    <a:pt x="288" y="196"/>
                  </a:lnTo>
                  <a:lnTo>
                    <a:pt x="286" y="200"/>
                  </a:lnTo>
                  <a:lnTo>
                    <a:pt x="286" y="205"/>
                  </a:lnTo>
                  <a:lnTo>
                    <a:pt x="287" y="211"/>
                  </a:lnTo>
                  <a:lnTo>
                    <a:pt x="286" y="218"/>
                  </a:lnTo>
                  <a:lnTo>
                    <a:pt x="283" y="225"/>
                  </a:lnTo>
                  <a:lnTo>
                    <a:pt x="280" y="227"/>
                  </a:lnTo>
                  <a:lnTo>
                    <a:pt x="277" y="228"/>
                  </a:lnTo>
                  <a:lnTo>
                    <a:pt x="279" y="224"/>
                  </a:lnTo>
                  <a:lnTo>
                    <a:pt x="281" y="222"/>
                  </a:lnTo>
                  <a:lnTo>
                    <a:pt x="281" y="217"/>
                  </a:lnTo>
                  <a:lnTo>
                    <a:pt x="280" y="217"/>
                  </a:lnTo>
                  <a:lnTo>
                    <a:pt x="274" y="221"/>
                  </a:lnTo>
                  <a:lnTo>
                    <a:pt x="270" y="222"/>
                  </a:lnTo>
                  <a:lnTo>
                    <a:pt x="267" y="221"/>
                  </a:lnTo>
                  <a:lnTo>
                    <a:pt x="264" y="222"/>
                  </a:lnTo>
                  <a:lnTo>
                    <a:pt x="261" y="224"/>
                  </a:lnTo>
                  <a:lnTo>
                    <a:pt x="259" y="223"/>
                  </a:lnTo>
                  <a:lnTo>
                    <a:pt x="255" y="222"/>
                  </a:lnTo>
                  <a:lnTo>
                    <a:pt x="253" y="219"/>
                  </a:lnTo>
                  <a:lnTo>
                    <a:pt x="254" y="217"/>
                  </a:lnTo>
                  <a:lnTo>
                    <a:pt x="255" y="217"/>
                  </a:lnTo>
                  <a:lnTo>
                    <a:pt x="262" y="218"/>
                  </a:lnTo>
                  <a:lnTo>
                    <a:pt x="264" y="217"/>
                  </a:lnTo>
                  <a:lnTo>
                    <a:pt x="263" y="216"/>
                  </a:lnTo>
                  <a:lnTo>
                    <a:pt x="260" y="214"/>
                  </a:lnTo>
                  <a:lnTo>
                    <a:pt x="256" y="215"/>
                  </a:lnTo>
                  <a:lnTo>
                    <a:pt x="253" y="212"/>
                  </a:lnTo>
                  <a:lnTo>
                    <a:pt x="250" y="207"/>
                  </a:lnTo>
                  <a:lnTo>
                    <a:pt x="246" y="203"/>
                  </a:lnTo>
                  <a:lnTo>
                    <a:pt x="245" y="200"/>
                  </a:lnTo>
                  <a:lnTo>
                    <a:pt x="242" y="196"/>
                  </a:lnTo>
                  <a:lnTo>
                    <a:pt x="237" y="195"/>
                  </a:lnTo>
                  <a:lnTo>
                    <a:pt x="233" y="193"/>
                  </a:lnTo>
                  <a:lnTo>
                    <a:pt x="229" y="192"/>
                  </a:lnTo>
                  <a:lnTo>
                    <a:pt x="225" y="181"/>
                  </a:lnTo>
                  <a:lnTo>
                    <a:pt x="223" y="177"/>
                  </a:lnTo>
                  <a:lnTo>
                    <a:pt x="220" y="174"/>
                  </a:lnTo>
                  <a:lnTo>
                    <a:pt x="219" y="172"/>
                  </a:lnTo>
                  <a:lnTo>
                    <a:pt x="216" y="169"/>
                  </a:lnTo>
                  <a:lnTo>
                    <a:pt x="213" y="167"/>
                  </a:lnTo>
                  <a:lnTo>
                    <a:pt x="214" y="163"/>
                  </a:lnTo>
                  <a:lnTo>
                    <a:pt x="215" y="161"/>
                  </a:lnTo>
                  <a:lnTo>
                    <a:pt x="212" y="155"/>
                  </a:lnTo>
                  <a:lnTo>
                    <a:pt x="209" y="156"/>
                  </a:lnTo>
                  <a:lnTo>
                    <a:pt x="209" y="158"/>
                  </a:lnTo>
                  <a:lnTo>
                    <a:pt x="209" y="163"/>
                  </a:lnTo>
                  <a:lnTo>
                    <a:pt x="207" y="163"/>
                  </a:lnTo>
                  <a:lnTo>
                    <a:pt x="205" y="161"/>
                  </a:lnTo>
                  <a:lnTo>
                    <a:pt x="202" y="158"/>
                  </a:lnTo>
                  <a:lnTo>
                    <a:pt x="197" y="150"/>
                  </a:lnTo>
                  <a:lnTo>
                    <a:pt x="194" y="147"/>
                  </a:lnTo>
                  <a:lnTo>
                    <a:pt x="193" y="146"/>
                  </a:lnTo>
                  <a:lnTo>
                    <a:pt x="194" y="144"/>
                  </a:lnTo>
                  <a:lnTo>
                    <a:pt x="192" y="140"/>
                  </a:lnTo>
                  <a:lnTo>
                    <a:pt x="189" y="139"/>
                  </a:lnTo>
                  <a:lnTo>
                    <a:pt x="192" y="133"/>
                  </a:lnTo>
                  <a:lnTo>
                    <a:pt x="194" y="130"/>
                  </a:lnTo>
                  <a:lnTo>
                    <a:pt x="195" y="127"/>
                  </a:lnTo>
                  <a:lnTo>
                    <a:pt x="196" y="124"/>
                  </a:lnTo>
                  <a:lnTo>
                    <a:pt x="194" y="121"/>
                  </a:lnTo>
                  <a:lnTo>
                    <a:pt x="193" y="125"/>
                  </a:lnTo>
                  <a:lnTo>
                    <a:pt x="191" y="124"/>
                  </a:lnTo>
                  <a:lnTo>
                    <a:pt x="191" y="122"/>
                  </a:lnTo>
                  <a:lnTo>
                    <a:pt x="188" y="118"/>
                  </a:lnTo>
                  <a:lnTo>
                    <a:pt x="187" y="118"/>
                  </a:lnTo>
                  <a:lnTo>
                    <a:pt x="187" y="119"/>
                  </a:lnTo>
                  <a:lnTo>
                    <a:pt x="188" y="121"/>
                  </a:lnTo>
                  <a:lnTo>
                    <a:pt x="189" y="124"/>
                  </a:lnTo>
                  <a:lnTo>
                    <a:pt x="189" y="127"/>
                  </a:lnTo>
                  <a:lnTo>
                    <a:pt x="189" y="128"/>
                  </a:lnTo>
                  <a:lnTo>
                    <a:pt x="187" y="130"/>
                  </a:lnTo>
                  <a:lnTo>
                    <a:pt x="186" y="129"/>
                  </a:lnTo>
                  <a:lnTo>
                    <a:pt x="184" y="127"/>
                  </a:lnTo>
                  <a:lnTo>
                    <a:pt x="181" y="122"/>
                  </a:lnTo>
                  <a:lnTo>
                    <a:pt x="180" y="120"/>
                  </a:lnTo>
                  <a:lnTo>
                    <a:pt x="180" y="116"/>
                  </a:lnTo>
                  <a:lnTo>
                    <a:pt x="180" y="110"/>
                  </a:lnTo>
                  <a:lnTo>
                    <a:pt x="182" y="106"/>
                  </a:lnTo>
                  <a:lnTo>
                    <a:pt x="183" y="98"/>
                  </a:lnTo>
                  <a:lnTo>
                    <a:pt x="183" y="93"/>
                  </a:lnTo>
                  <a:lnTo>
                    <a:pt x="182" y="86"/>
                  </a:lnTo>
                  <a:lnTo>
                    <a:pt x="180" y="79"/>
                  </a:lnTo>
                  <a:lnTo>
                    <a:pt x="177" y="77"/>
                  </a:lnTo>
                  <a:lnTo>
                    <a:pt x="174" y="72"/>
                  </a:lnTo>
                  <a:lnTo>
                    <a:pt x="168" y="71"/>
                  </a:lnTo>
                  <a:lnTo>
                    <a:pt x="165" y="71"/>
                  </a:lnTo>
                  <a:lnTo>
                    <a:pt x="163" y="67"/>
                  </a:lnTo>
                  <a:lnTo>
                    <a:pt x="160" y="66"/>
                  </a:lnTo>
                  <a:lnTo>
                    <a:pt x="156" y="61"/>
                  </a:lnTo>
                  <a:lnTo>
                    <a:pt x="152" y="60"/>
                  </a:lnTo>
                  <a:lnTo>
                    <a:pt x="151" y="55"/>
                  </a:lnTo>
                  <a:lnTo>
                    <a:pt x="149" y="53"/>
                  </a:lnTo>
                  <a:lnTo>
                    <a:pt x="143" y="48"/>
                  </a:lnTo>
                  <a:lnTo>
                    <a:pt x="138" y="44"/>
                  </a:lnTo>
                  <a:lnTo>
                    <a:pt x="134" y="42"/>
                  </a:lnTo>
                  <a:lnTo>
                    <a:pt x="130" y="39"/>
                  </a:lnTo>
                  <a:lnTo>
                    <a:pt x="127" y="38"/>
                  </a:lnTo>
                  <a:lnTo>
                    <a:pt x="122" y="38"/>
                  </a:lnTo>
                  <a:lnTo>
                    <a:pt x="117" y="39"/>
                  </a:lnTo>
                  <a:lnTo>
                    <a:pt x="116" y="42"/>
                  </a:lnTo>
                  <a:lnTo>
                    <a:pt x="117" y="45"/>
                  </a:lnTo>
                  <a:lnTo>
                    <a:pt x="116" y="47"/>
                  </a:lnTo>
                  <a:lnTo>
                    <a:pt x="114" y="47"/>
                  </a:lnTo>
                  <a:lnTo>
                    <a:pt x="112" y="45"/>
                  </a:lnTo>
                  <a:lnTo>
                    <a:pt x="107" y="49"/>
                  </a:lnTo>
                  <a:lnTo>
                    <a:pt x="101" y="54"/>
                  </a:lnTo>
                  <a:lnTo>
                    <a:pt x="94" y="56"/>
                  </a:lnTo>
                  <a:lnTo>
                    <a:pt x="83" y="59"/>
                  </a:lnTo>
                  <a:lnTo>
                    <a:pt x="83" y="53"/>
                  </a:lnTo>
                  <a:lnTo>
                    <a:pt x="80" y="50"/>
                  </a:lnTo>
                  <a:lnTo>
                    <a:pt x="77" y="49"/>
                  </a:lnTo>
                  <a:lnTo>
                    <a:pt x="72" y="46"/>
                  </a:lnTo>
                  <a:lnTo>
                    <a:pt x="76" y="44"/>
                  </a:lnTo>
                  <a:lnTo>
                    <a:pt x="77" y="43"/>
                  </a:lnTo>
                  <a:lnTo>
                    <a:pt x="70" y="42"/>
                  </a:lnTo>
                  <a:lnTo>
                    <a:pt x="70" y="39"/>
                  </a:lnTo>
                  <a:lnTo>
                    <a:pt x="72" y="39"/>
                  </a:lnTo>
                  <a:lnTo>
                    <a:pt x="73" y="37"/>
                  </a:lnTo>
                  <a:lnTo>
                    <a:pt x="73" y="35"/>
                  </a:lnTo>
                  <a:lnTo>
                    <a:pt x="72" y="35"/>
                  </a:lnTo>
                  <a:lnTo>
                    <a:pt x="70" y="36"/>
                  </a:lnTo>
                  <a:lnTo>
                    <a:pt x="70" y="37"/>
                  </a:lnTo>
                  <a:lnTo>
                    <a:pt x="69" y="38"/>
                  </a:lnTo>
                  <a:lnTo>
                    <a:pt x="67" y="36"/>
                  </a:lnTo>
                  <a:lnTo>
                    <a:pt x="62" y="36"/>
                  </a:lnTo>
                  <a:lnTo>
                    <a:pt x="64" y="39"/>
                  </a:lnTo>
                  <a:lnTo>
                    <a:pt x="65" y="39"/>
                  </a:lnTo>
                  <a:lnTo>
                    <a:pt x="66" y="43"/>
                  </a:lnTo>
                  <a:lnTo>
                    <a:pt x="65" y="43"/>
                  </a:lnTo>
                  <a:lnTo>
                    <a:pt x="61" y="41"/>
                  </a:lnTo>
                  <a:lnTo>
                    <a:pt x="57" y="38"/>
                  </a:lnTo>
                  <a:lnTo>
                    <a:pt x="53" y="37"/>
                  </a:lnTo>
                  <a:lnTo>
                    <a:pt x="44" y="37"/>
                  </a:lnTo>
                  <a:lnTo>
                    <a:pt x="41" y="35"/>
                  </a:lnTo>
                  <a:lnTo>
                    <a:pt x="39" y="33"/>
                  </a:lnTo>
                  <a:lnTo>
                    <a:pt x="36" y="33"/>
                  </a:lnTo>
                  <a:lnTo>
                    <a:pt x="26" y="35"/>
                  </a:lnTo>
                  <a:lnTo>
                    <a:pt x="19" y="35"/>
                  </a:lnTo>
                  <a:lnTo>
                    <a:pt x="14" y="38"/>
                  </a:lnTo>
                  <a:lnTo>
                    <a:pt x="11" y="39"/>
                  </a:lnTo>
                  <a:lnTo>
                    <a:pt x="7" y="32"/>
                  </a:lnTo>
                  <a:lnTo>
                    <a:pt x="6" y="27"/>
                  </a:lnTo>
                  <a:lnTo>
                    <a:pt x="2" y="22"/>
                  </a:lnTo>
                  <a:lnTo>
                    <a:pt x="0" y="20"/>
                  </a:lnTo>
                  <a:lnTo>
                    <a:pt x="0" y="17"/>
                  </a:lnTo>
                  <a:lnTo>
                    <a:pt x="3" y="16"/>
                  </a:lnTo>
                  <a:lnTo>
                    <a:pt x="10" y="14"/>
                  </a:lnTo>
                  <a:lnTo>
                    <a:pt x="18" y="12"/>
                  </a:lnTo>
                  <a:lnTo>
                    <a:pt x="93" y="6"/>
                  </a:lnTo>
                  <a:lnTo>
                    <a:pt x="98" y="16"/>
                  </a:lnTo>
                  <a:lnTo>
                    <a:pt x="189" y="11"/>
                  </a:lnTo>
                  <a:lnTo>
                    <a:pt x="190" y="19"/>
                  </a:lnTo>
                  <a:lnTo>
                    <a:pt x="197" y="19"/>
                  </a:lnTo>
                  <a:lnTo>
                    <a:pt x="19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59301ABD-AC95-FC4A-8D07-60E1B53D8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2546" y="2950699"/>
              <a:ext cx="306933" cy="271518"/>
            </a:xfrm>
            <a:custGeom>
              <a:avLst/>
              <a:gdLst>
                <a:gd name="T0" fmla="*/ 176 w 182"/>
                <a:gd name="T1" fmla="*/ 147 h 161"/>
                <a:gd name="T2" fmla="*/ 171 w 182"/>
                <a:gd name="T3" fmla="*/ 146 h 161"/>
                <a:gd name="T4" fmla="*/ 160 w 182"/>
                <a:gd name="T5" fmla="*/ 139 h 161"/>
                <a:gd name="T6" fmla="*/ 152 w 182"/>
                <a:gd name="T7" fmla="*/ 134 h 161"/>
                <a:gd name="T8" fmla="*/ 155 w 182"/>
                <a:gd name="T9" fmla="*/ 130 h 161"/>
                <a:gd name="T10" fmla="*/ 166 w 182"/>
                <a:gd name="T11" fmla="*/ 128 h 161"/>
                <a:gd name="T12" fmla="*/ 162 w 182"/>
                <a:gd name="T13" fmla="*/ 118 h 161"/>
                <a:gd name="T14" fmla="*/ 148 w 182"/>
                <a:gd name="T15" fmla="*/ 122 h 161"/>
                <a:gd name="T16" fmla="*/ 148 w 182"/>
                <a:gd name="T17" fmla="*/ 119 h 161"/>
                <a:gd name="T18" fmla="*/ 154 w 182"/>
                <a:gd name="T19" fmla="*/ 114 h 161"/>
                <a:gd name="T20" fmla="*/ 150 w 182"/>
                <a:gd name="T21" fmla="*/ 99 h 161"/>
                <a:gd name="T22" fmla="*/ 84 w 182"/>
                <a:gd name="T23" fmla="*/ 82 h 161"/>
                <a:gd name="T24" fmla="*/ 84 w 182"/>
                <a:gd name="T25" fmla="*/ 73 h 161"/>
                <a:gd name="T26" fmla="*/ 87 w 182"/>
                <a:gd name="T27" fmla="*/ 64 h 161"/>
                <a:gd name="T28" fmla="*/ 90 w 182"/>
                <a:gd name="T29" fmla="*/ 58 h 161"/>
                <a:gd name="T30" fmla="*/ 97 w 182"/>
                <a:gd name="T31" fmla="*/ 43 h 161"/>
                <a:gd name="T32" fmla="*/ 99 w 182"/>
                <a:gd name="T33" fmla="*/ 37 h 161"/>
                <a:gd name="T34" fmla="*/ 102 w 182"/>
                <a:gd name="T35" fmla="*/ 23 h 161"/>
                <a:gd name="T36" fmla="*/ 98 w 182"/>
                <a:gd name="T37" fmla="*/ 14 h 161"/>
                <a:gd name="T38" fmla="*/ 94 w 182"/>
                <a:gd name="T39" fmla="*/ 9 h 161"/>
                <a:gd name="T40" fmla="*/ 97 w 182"/>
                <a:gd name="T41" fmla="*/ 2 h 161"/>
                <a:gd name="T42" fmla="*/ 0 w 182"/>
                <a:gd name="T43" fmla="*/ 47 h 161"/>
                <a:gd name="T44" fmla="*/ 11 w 182"/>
                <a:gd name="T45" fmla="*/ 64 h 161"/>
                <a:gd name="T46" fmla="*/ 13 w 182"/>
                <a:gd name="T47" fmla="*/ 75 h 161"/>
                <a:gd name="T48" fmla="*/ 13 w 182"/>
                <a:gd name="T49" fmla="*/ 94 h 161"/>
                <a:gd name="T50" fmla="*/ 9 w 182"/>
                <a:gd name="T51" fmla="*/ 110 h 161"/>
                <a:gd name="T52" fmla="*/ 9 w 182"/>
                <a:gd name="T53" fmla="*/ 131 h 161"/>
                <a:gd name="T54" fmla="*/ 15 w 182"/>
                <a:gd name="T55" fmla="*/ 136 h 161"/>
                <a:gd name="T56" fmla="*/ 25 w 182"/>
                <a:gd name="T57" fmla="*/ 134 h 161"/>
                <a:gd name="T58" fmla="*/ 44 w 182"/>
                <a:gd name="T59" fmla="*/ 139 h 161"/>
                <a:gd name="T60" fmla="*/ 72 w 182"/>
                <a:gd name="T61" fmla="*/ 142 h 161"/>
                <a:gd name="T62" fmla="*/ 78 w 182"/>
                <a:gd name="T63" fmla="*/ 138 h 161"/>
                <a:gd name="T64" fmla="*/ 70 w 182"/>
                <a:gd name="T65" fmla="*/ 137 h 161"/>
                <a:gd name="T66" fmla="*/ 77 w 182"/>
                <a:gd name="T67" fmla="*/ 132 h 161"/>
                <a:gd name="T68" fmla="*/ 97 w 182"/>
                <a:gd name="T69" fmla="*/ 142 h 161"/>
                <a:gd name="T70" fmla="*/ 98 w 182"/>
                <a:gd name="T71" fmla="*/ 150 h 161"/>
                <a:gd name="T72" fmla="*/ 111 w 182"/>
                <a:gd name="T73" fmla="*/ 155 h 161"/>
                <a:gd name="T74" fmla="*/ 121 w 182"/>
                <a:gd name="T75" fmla="*/ 154 h 161"/>
                <a:gd name="T76" fmla="*/ 132 w 182"/>
                <a:gd name="T77" fmla="*/ 150 h 161"/>
                <a:gd name="T78" fmla="*/ 142 w 182"/>
                <a:gd name="T79" fmla="*/ 153 h 161"/>
                <a:gd name="T80" fmla="*/ 142 w 182"/>
                <a:gd name="T81" fmla="*/ 141 h 161"/>
                <a:gd name="T82" fmla="*/ 150 w 182"/>
                <a:gd name="T83" fmla="*/ 147 h 161"/>
                <a:gd name="T84" fmla="*/ 168 w 182"/>
                <a:gd name="T85" fmla="*/ 154 h 161"/>
                <a:gd name="T86" fmla="*/ 169 w 182"/>
                <a:gd name="T87" fmla="*/ 161 h 161"/>
                <a:gd name="T88" fmla="*/ 176 w 182"/>
                <a:gd name="T89" fmla="*/ 158 h 161"/>
                <a:gd name="T90" fmla="*/ 181 w 182"/>
                <a:gd name="T91" fmla="*/ 154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161">
                  <a:moveTo>
                    <a:pt x="181" y="149"/>
                  </a:moveTo>
                  <a:lnTo>
                    <a:pt x="179" y="149"/>
                  </a:lnTo>
                  <a:lnTo>
                    <a:pt x="176" y="147"/>
                  </a:lnTo>
                  <a:lnTo>
                    <a:pt x="175" y="147"/>
                  </a:lnTo>
                  <a:lnTo>
                    <a:pt x="173" y="147"/>
                  </a:lnTo>
                  <a:lnTo>
                    <a:pt x="171" y="146"/>
                  </a:lnTo>
                  <a:lnTo>
                    <a:pt x="166" y="143"/>
                  </a:lnTo>
                  <a:lnTo>
                    <a:pt x="165" y="143"/>
                  </a:lnTo>
                  <a:lnTo>
                    <a:pt x="160" y="139"/>
                  </a:lnTo>
                  <a:lnTo>
                    <a:pt x="158" y="137"/>
                  </a:lnTo>
                  <a:lnTo>
                    <a:pt x="155" y="136"/>
                  </a:lnTo>
                  <a:lnTo>
                    <a:pt x="152" y="134"/>
                  </a:lnTo>
                  <a:lnTo>
                    <a:pt x="150" y="132"/>
                  </a:lnTo>
                  <a:lnTo>
                    <a:pt x="153" y="132"/>
                  </a:lnTo>
                  <a:lnTo>
                    <a:pt x="155" y="130"/>
                  </a:lnTo>
                  <a:lnTo>
                    <a:pt x="160" y="130"/>
                  </a:lnTo>
                  <a:lnTo>
                    <a:pt x="161" y="128"/>
                  </a:lnTo>
                  <a:lnTo>
                    <a:pt x="166" y="128"/>
                  </a:lnTo>
                  <a:lnTo>
                    <a:pt x="168" y="126"/>
                  </a:lnTo>
                  <a:lnTo>
                    <a:pt x="165" y="121"/>
                  </a:lnTo>
                  <a:lnTo>
                    <a:pt x="162" y="118"/>
                  </a:lnTo>
                  <a:lnTo>
                    <a:pt x="161" y="118"/>
                  </a:lnTo>
                  <a:lnTo>
                    <a:pt x="151" y="121"/>
                  </a:lnTo>
                  <a:lnTo>
                    <a:pt x="148" y="122"/>
                  </a:lnTo>
                  <a:lnTo>
                    <a:pt x="145" y="122"/>
                  </a:lnTo>
                  <a:lnTo>
                    <a:pt x="145" y="121"/>
                  </a:lnTo>
                  <a:lnTo>
                    <a:pt x="148" y="119"/>
                  </a:lnTo>
                  <a:lnTo>
                    <a:pt x="151" y="118"/>
                  </a:lnTo>
                  <a:lnTo>
                    <a:pt x="154" y="116"/>
                  </a:lnTo>
                  <a:lnTo>
                    <a:pt x="154" y="114"/>
                  </a:lnTo>
                  <a:lnTo>
                    <a:pt x="154" y="110"/>
                  </a:lnTo>
                  <a:lnTo>
                    <a:pt x="153" y="103"/>
                  </a:lnTo>
                  <a:lnTo>
                    <a:pt x="150" y="99"/>
                  </a:lnTo>
                  <a:lnTo>
                    <a:pt x="148" y="95"/>
                  </a:lnTo>
                  <a:lnTo>
                    <a:pt x="149" y="79"/>
                  </a:lnTo>
                  <a:lnTo>
                    <a:pt x="84" y="82"/>
                  </a:lnTo>
                  <a:lnTo>
                    <a:pt x="83" y="78"/>
                  </a:lnTo>
                  <a:lnTo>
                    <a:pt x="83" y="75"/>
                  </a:lnTo>
                  <a:lnTo>
                    <a:pt x="84" y="73"/>
                  </a:lnTo>
                  <a:lnTo>
                    <a:pt x="87" y="71"/>
                  </a:lnTo>
                  <a:lnTo>
                    <a:pt x="87" y="66"/>
                  </a:lnTo>
                  <a:lnTo>
                    <a:pt x="87" y="64"/>
                  </a:lnTo>
                  <a:lnTo>
                    <a:pt x="88" y="61"/>
                  </a:lnTo>
                  <a:lnTo>
                    <a:pt x="89" y="60"/>
                  </a:lnTo>
                  <a:lnTo>
                    <a:pt x="90" y="58"/>
                  </a:lnTo>
                  <a:lnTo>
                    <a:pt x="91" y="51"/>
                  </a:lnTo>
                  <a:lnTo>
                    <a:pt x="93" y="49"/>
                  </a:lnTo>
                  <a:lnTo>
                    <a:pt x="97" y="43"/>
                  </a:lnTo>
                  <a:lnTo>
                    <a:pt x="98" y="41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2" y="34"/>
                  </a:lnTo>
                  <a:lnTo>
                    <a:pt x="103" y="26"/>
                  </a:lnTo>
                  <a:lnTo>
                    <a:pt x="102" y="23"/>
                  </a:lnTo>
                  <a:lnTo>
                    <a:pt x="99" y="21"/>
                  </a:lnTo>
                  <a:lnTo>
                    <a:pt x="99" y="19"/>
                  </a:lnTo>
                  <a:lnTo>
                    <a:pt x="98" y="14"/>
                  </a:lnTo>
                  <a:lnTo>
                    <a:pt x="98" y="13"/>
                  </a:lnTo>
                  <a:lnTo>
                    <a:pt x="97" y="11"/>
                  </a:lnTo>
                  <a:lnTo>
                    <a:pt x="94" y="9"/>
                  </a:lnTo>
                  <a:lnTo>
                    <a:pt x="98" y="7"/>
                  </a:lnTo>
                  <a:lnTo>
                    <a:pt x="98" y="5"/>
                  </a:lnTo>
                  <a:lnTo>
                    <a:pt x="97" y="2"/>
                  </a:lnTo>
                  <a:lnTo>
                    <a:pt x="94" y="0"/>
                  </a:lnTo>
                  <a:lnTo>
                    <a:pt x="0" y="3"/>
                  </a:lnTo>
                  <a:lnTo>
                    <a:pt x="0" y="47"/>
                  </a:lnTo>
                  <a:lnTo>
                    <a:pt x="7" y="53"/>
                  </a:lnTo>
                  <a:lnTo>
                    <a:pt x="7" y="55"/>
                  </a:lnTo>
                  <a:lnTo>
                    <a:pt x="11" y="64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13" y="75"/>
                  </a:lnTo>
                  <a:lnTo>
                    <a:pt x="15" y="83"/>
                  </a:lnTo>
                  <a:lnTo>
                    <a:pt x="17" y="89"/>
                  </a:lnTo>
                  <a:lnTo>
                    <a:pt x="13" y="94"/>
                  </a:lnTo>
                  <a:lnTo>
                    <a:pt x="11" y="102"/>
                  </a:lnTo>
                  <a:lnTo>
                    <a:pt x="11" y="105"/>
                  </a:lnTo>
                  <a:lnTo>
                    <a:pt x="9" y="110"/>
                  </a:lnTo>
                  <a:lnTo>
                    <a:pt x="12" y="117"/>
                  </a:lnTo>
                  <a:lnTo>
                    <a:pt x="12" y="121"/>
                  </a:lnTo>
                  <a:lnTo>
                    <a:pt x="9" y="131"/>
                  </a:lnTo>
                  <a:lnTo>
                    <a:pt x="6" y="136"/>
                  </a:lnTo>
                  <a:lnTo>
                    <a:pt x="10" y="136"/>
                  </a:lnTo>
                  <a:lnTo>
                    <a:pt x="15" y="136"/>
                  </a:lnTo>
                  <a:lnTo>
                    <a:pt x="18" y="134"/>
                  </a:lnTo>
                  <a:lnTo>
                    <a:pt x="22" y="134"/>
                  </a:lnTo>
                  <a:lnTo>
                    <a:pt x="25" y="134"/>
                  </a:lnTo>
                  <a:lnTo>
                    <a:pt x="34" y="136"/>
                  </a:lnTo>
                  <a:lnTo>
                    <a:pt x="39" y="137"/>
                  </a:lnTo>
                  <a:lnTo>
                    <a:pt x="44" y="139"/>
                  </a:lnTo>
                  <a:lnTo>
                    <a:pt x="51" y="142"/>
                  </a:lnTo>
                  <a:lnTo>
                    <a:pt x="64" y="142"/>
                  </a:lnTo>
                  <a:lnTo>
                    <a:pt x="72" y="142"/>
                  </a:lnTo>
                  <a:lnTo>
                    <a:pt x="79" y="142"/>
                  </a:lnTo>
                  <a:lnTo>
                    <a:pt x="80" y="141"/>
                  </a:lnTo>
                  <a:lnTo>
                    <a:pt x="78" y="138"/>
                  </a:lnTo>
                  <a:lnTo>
                    <a:pt x="73" y="138"/>
                  </a:lnTo>
                  <a:lnTo>
                    <a:pt x="72" y="138"/>
                  </a:lnTo>
                  <a:lnTo>
                    <a:pt x="70" y="137"/>
                  </a:lnTo>
                  <a:lnTo>
                    <a:pt x="71" y="134"/>
                  </a:lnTo>
                  <a:lnTo>
                    <a:pt x="72" y="132"/>
                  </a:lnTo>
                  <a:lnTo>
                    <a:pt x="77" y="132"/>
                  </a:lnTo>
                  <a:lnTo>
                    <a:pt x="84" y="135"/>
                  </a:lnTo>
                  <a:lnTo>
                    <a:pt x="91" y="141"/>
                  </a:lnTo>
                  <a:lnTo>
                    <a:pt x="97" y="142"/>
                  </a:lnTo>
                  <a:lnTo>
                    <a:pt x="101" y="140"/>
                  </a:lnTo>
                  <a:lnTo>
                    <a:pt x="100" y="144"/>
                  </a:lnTo>
                  <a:lnTo>
                    <a:pt x="98" y="150"/>
                  </a:lnTo>
                  <a:lnTo>
                    <a:pt x="100" y="153"/>
                  </a:lnTo>
                  <a:lnTo>
                    <a:pt x="106" y="155"/>
                  </a:lnTo>
                  <a:lnTo>
                    <a:pt x="111" y="155"/>
                  </a:lnTo>
                  <a:lnTo>
                    <a:pt x="115" y="158"/>
                  </a:lnTo>
                  <a:lnTo>
                    <a:pt x="119" y="158"/>
                  </a:lnTo>
                  <a:lnTo>
                    <a:pt x="121" y="154"/>
                  </a:lnTo>
                  <a:lnTo>
                    <a:pt x="125" y="150"/>
                  </a:lnTo>
                  <a:lnTo>
                    <a:pt x="128" y="149"/>
                  </a:lnTo>
                  <a:lnTo>
                    <a:pt x="132" y="150"/>
                  </a:lnTo>
                  <a:lnTo>
                    <a:pt x="136" y="155"/>
                  </a:lnTo>
                  <a:lnTo>
                    <a:pt x="140" y="155"/>
                  </a:lnTo>
                  <a:lnTo>
                    <a:pt x="142" y="153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2" y="141"/>
                  </a:lnTo>
                  <a:lnTo>
                    <a:pt x="146" y="141"/>
                  </a:lnTo>
                  <a:lnTo>
                    <a:pt x="150" y="143"/>
                  </a:lnTo>
                  <a:lnTo>
                    <a:pt x="150" y="147"/>
                  </a:lnTo>
                  <a:lnTo>
                    <a:pt x="158" y="148"/>
                  </a:lnTo>
                  <a:lnTo>
                    <a:pt x="165" y="151"/>
                  </a:lnTo>
                  <a:lnTo>
                    <a:pt x="168" y="154"/>
                  </a:lnTo>
                  <a:lnTo>
                    <a:pt x="166" y="157"/>
                  </a:lnTo>
                  <a:lnTo>
                    <a:pt x="165" y="161"/>
                  </a:lnTo>
                  <a:lnTo>
                    <a:pt x="169" y="161"/>
                  </a:lnTo>
                  <a:lnTo>
                    <a:pt x="171" y="158"/>
                  </a:lnTo>
                  <a:lnTo>
                    <a:pt x="173" y="156"/>
                  </a:lnTo>
                  <a:lnTo>
                    <a:pt x="176" y="158"/>
                  </a:lnTo>
                  <a:lnTo>
                    <a:pt x="176" y="160"/>
                  </a:lnTo>
                  <a:lnTo>
                    <a:pt x="178" y="157"/>
                  </a:lnTo>
                  <a:lnTo>
                    <a:pt x="181" y="154"/>
                  </a:lnTo>
                  <a:lnTo>
                    <a:pt x="182" y="153"/>
                  </a:lnTo>
                  <a:lnTo>
                    <a:pt x="181" y="14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8042AA94-AF3A-B941-BA5F-0547A6D81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5444" y="2707852"/>
              <a:ext cx="274890" cy="247908"/>
            </a:xfrm>
            <a:custGeom>
              <a:avLst/>
              <a:gdLst>
                <a:gd name="T0" fmla="*/ 6 w 163"/>
                <a:gd name="T1" fmla="*/ 123 h 147"/>
                <a:gd name="T2" fmla="*/ 4 w 163"/>
                <a:gd name="T3" fmla="*/ 121 h 147"/>
                <a:gd name="T4" fmla="*/ 7 w 163"/>
                <a:gd name="T5" fmla="*/ 124 h 147"/>
                <a:gd name="T6" fmla="*/ 10 w 163"/>
                <a:gd name="T7" fmla="*/ 125 h 147"/>
                <a:gd name="T8" fmla="*/ 12 w 163"/>
                <a:gd name="T9" fmla="*/ 123 h 147"/>
                <a:gd name="T10" fmla="*/ 22 w 163"/>
                <a:gd name="T11" fmla="*/ 124 h 147"/>
                <a:gd name="T12" fmla="*/ 22 w 163"/>
                <a:gd name="T13" fmla="*/ 147 h 147"/>
                <a:gd name="T14" fmla="*/ 116 w 163"/>
                <a:gd name="T15" fmla="*/ 144 h 147"/>
                <a:gd name="T16" fmla="*/ 117 w 163"/>
                <a:gd name="T17" fmla="*/ 144 h 147"/>
                <a:gd name="T18" fmla="*/ 119 w 163"/>
                <a:gd name="T19" fmla="*/ 139 h 147"/>
                <a:gd name="T20" fmla="*/ 120 w 163"/>
                <a:gd name="T21" fmla="*/ 136 h 147"/>
                <a:gd name="T22" fmla="*/ 119 w 163"/>
                <a:gd name="T23" fmla="*/ 133 h 147"/>
                <a:gd name="T24" fmla="*/ 119 w 163"/>
                <a:gd name="T25" fmla="*/ 127 h 147"/>
                <a:gd name="T26" fmla="*/ 119 w 163"/>
                <a:gd name="T27" fmla="*/ 125 h 147"/>
                <a:gd name="T28" fmla="*/ 117 w 163"/>
                <a:gd name="T29" fmla="*/ 122 h 147"/>
                <a:gd name="T30" fmla="*/ 116 w 163"/>
                <a:gd name="T31" fmla="*/ 121 h 147"/>
                <a:gd name="T32" fmla="*/ 116 w 163"/>
                <a:gd name="T33" fmla="*/ 119 h 147"/>
                <a:gd name="T34" fmla="*/ 117 w 163"/>
                <a:gd name="T35" fmla="*/ 117 h 147"/>
                <a:gd name="T36" fmla="*/ 116 w 163"/>
                <a:gd name="T37" fmla="*/ 116 h 147"/>
                <a:gd name="T38" fmla="*/ 118 w 163"/>
                <a:gd name="T39" fmla="*/ 113 h 147"/>
                <a:gd name="T40" fmla="*/ 121 w 163"/>
                <a:gd name="T41" fmla="*/ 109 h 147"/>
                <a:gd name="T42" fmla="*/ 122 w 163"/>
                <a:gd name="T43" fmla="*/ 109 h 147"/>
                <a:gd name="T44" fmla="*/ 121 w 163"/>
                <a:gd name="T45" fmla="*/ 107 h 147"/>
                <a:gd name="T46" fmla="*/ 123 w 163"/>
                <a:gd name="T47" fmla="*/ 103 h 147"/>
                <a:gd name="T48" fmla="*/ 125 w 163"/>
                <a:gd name="T49" fmla="*/ 100 h 147"/>
                <a:gd name="T50" fmla="*/ 123 w 163"/>
                <a:gd name="T51" fmla="*/ 99 h 147"/>
                <a:gd name="T52" fmla="*/ 124 w 163"/>
                <a:gd name="T53" fmla="*/ 95 h 147"/>
                <a:gd name="T54" fmla="*/ 127 w 163"/>
                <a:gd name="T55" fmla="*/ 92 h 147"/>
                <a:gd name="T56" fmla="*/ 132 w 163"/>
                <a:gd name="T57" fmla="*/ 86 h 147"/>
                <a:gd name="T58" fmla="*/ 135 w 163"/>
                <a:gd name="T59" fmla="*/ 81 h 147"/>
                <a:gd name="T60" fmla="*/ 135 w 163"/>
                <a:gd name="T61" fmla="*/ 77 h 147"/>
                <a:gd name="T62" fmla="*/ 137 w 163"/>
                <a:gd name="T63" fmla="*/ 72 h 147"/>
                <a:gd name="T64" fmla="*/ 138 w 163"/>
                <a:gd name="T65" fmla="*/ 72 h 147"/>
                <a:gd name="T66" fmla="*/ 140 w 163"/>
                <a:gd name="T67" fmla="*/ 70 h 147"/>
                <a:gd name="T68" fmla="*/ 141 w 163"/>
                <a:gd name="T69" fmla="*/ 67 h 147"/>
                <a:gd name="T70" fmla="*/ 143 w 163"/>
                <a:gd name="T71" fmla="*/ 65 h 147"/>
                <a:gd name="T72" fmla="*/ 147 w 163"/>
                <a:gd name="T73" fmla="*/ 63 h 147"/>
                <a:gd name="T74" fmla="*/ 146 w 163"/>
                <a:gd name="T75" fmla="*/ 60 h 147"/>
                <a:gd name="T76" fmla="*/ 148 w 163"/>
                <a:gd name="T77" fmla="*/ 58 h 147"/>
                <a:gd name="T78" fmla="*/ 150 w 163"/>
                <a:gd name="T79" fmla="*/ 54 h 147"/>
                <a:gd name="T80" fmla="*/ 150 w 163"/>
                <a:gd name="T81" fmla="*/ 48 h 147"/>
                <a:gd name="T82" fmla="*/ 150 w 163"/>
                <a:gd name="T83" fmla="*/ 43 h 147"/>
                <a:gd name="T84" fmla="*/ 153 w 163"/>
                <a:gd name="T85" fmla="*/ 39 h 147"/>
                <a:gd name="T86" fmla="*/ 156 w 163"/>
                <a:gd name="T87" fmla="*/ 37 h 147"/>
                <a:gd name="T88" fmla="*/ 156 w 163"/>
                <a:gd name="T89" fmla="*/ 35 h 147"/>
                <a:gd name="T90" fmla="*/ 157 w 163"/>
                <a:gd name="T91" fmla="*/ 33 h 147"/>
                <a:gd name="T92" fmla="*/ 157 w 163"/>
                <a:gd name="T93" fmla="*/ 29 h 147"/>
                <a:gd name="T94" fmla="*/ 160 w 163"/>
                <a:gd name="T95" fmla="*/ 28 h 147"/>
                <a:gd name="T96" fmla="*/ 161 w 163"/>
                <a:gd name="T97" fmla="*/ 26 h 147"/>
                <a:gd name="T98" fmla="*/ 162 w 163"/>
                <a:gd name="T99" fmla="*/ 24 h 147"/>
                <a:gd name="T100" fmla="*/ 163 w 163"/>
                <a:gd name="T101" fmla="*/ 22 h 147"/>
                <a:gd name="T102" fmla="*/ 163 w 163"/>
                <a:gd name="T103" fmla="*/ 19 h 147"/>
                <a:gd name="T104" fmla="*/ 138 w 163"/>
                <a:gd name="T105" fmla="*/ 20 h 147"/>
                <a:gd name="T106" fmla="*/ 148 w 163"/>
                <a:gd name="T107" fmla="*/ 5 h 147"/>
                <a:gd name="T108" fmla="*/ 147 w 163"/>
                <a:gd name="T109" fmla="*/ 0 h 147"/>
                <a:gd name="T110" fmla="*/ 0 w 163"/>
                <a:gd name="T111" fmla="*/ 4 h 147"/>
                <a:gd name="T112" fmla="*/ 7 w 163"/>
                <a:gd name="T113" fmla="*/ 47 h 147"/>
                <a:gd name="T114" fmla="*/ 6 w 163"/>
                <a:gd name="T115" fmla="*/ 12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3" h="147">
                  <a:moveTo>
                    <a:pt x="6" y="123"/>
                  </a:moveTo>
                  <a:lnTo>
                    <a:pt x="4" y="121"/>
                  </a:lnTo>
                  <a:lnTo>
                    <a:pt x="7" y="124"/>
                  </a:lnTo>
                  <a:lnTo>
                    <a:pt x="10" y="125"/>
                  </a:lnTo>
                  <a:lnTo>
                    <a:pt x="12" y="123"/>
                  </a:lnTo>
                  <a:lnTo>
                    <a:pt x="22" y="124"/>
                  </a:lnTo>
                  <a:lnTo>
                    <a:pt x="22" y="147"/>
                  </a:lnTo>
                  <a:lnTo>
                    <a:pt x="116" y="144"/>
                  </a:lnTo>
                  <a:lnTo>
                    <a:pt x="117" y="144"/>
                  </a:lnTo>
                  <a:lnTo>
                    <a:pt x="119" y="139"/>
                  </a:lnTo>
                  <a:lnTo>
                    <a:pt x="120" y="136"/>
                  </a:lnTo>
                  <a:lnTo>
                    <a:pt x="119" y="133"/>
                  </a:lnTo>
                  <a:lnTo>
                    <a:pt x="119" y="127"/>
                  </a:lnTo>
                  <a:lnTo>
                    <a:pt x="119" y="125"/>
                  </a:lnTo>
                  <a:lnTo>
                    <a:pt x="117" y="122"/>
                  </a:lnTo>
                  <a:lnTo>
                    <a:pt x="116" y="121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6" y="116"/>
                  </a:lnTo>
                  <a:lnTo>
                    <a:pt x="118" y="113"/>
                  </a:lnTo>
                  <a:lnTo>
                    <a:pt x="121" y="109"/>
                  </a:lnTo>
                  <a:lnTo>
                    <a:pt x="122" y="109"/>
                  </a:lnTo>
                  <a:lnTo>
                    <a:pt x="121" y="107"/>
                  </a:lnTo>
                  <a:lnTo>
                    <a:pt x="123" y="103"/>
                  </a:lnTo>
                  <a:lnTo>
                    <a:pt x="125" y="100"/>
                  </a:lnTo>
                  <a:lnTo>
                    <a:pt x="123" y="99"/>
                  </a:lnTo>
                  <a:lnTo>
                    <a:pt x="124" y="95"/>
                  </a:lnTo>
                  <a:lnTo>
                    <a:pt x="127" y="92"/>
                  </a:lnTo>
                  <a:lnTo>
                    <a:pt x="132" y="86"/>
                  </a:lnTo>
                  <a:lnTo>
                    <a:pt x="135" y="81"/>
                  </a:lnTo>
                  <a:lnTo>
                    <a:pt x="135" y="77"/>
                  </a:lnTo>
                  <a:lnTo>
                    <a:pt x="137" y="72"/>
                  </a:lnTo>
                  <a:lnTo>
                    <a:pt x="138" y="72"/>
                  </a:lnTo>
                  <a:lnTo>
                    <a:pt x="140" y="70"/>
                  </a:lnTo>
                  <a:lnTo>
                    <a:pt x="141" y="67"/>
                  </a:lnTo>
                  <a:lnTo>
                    <a:pt x="143" y="65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8" y="58"/>
                  </a:lnTo>
                  <a:lnTo>
                    <a:pt x="150" y="54"/>
                  </a:lnTo>
                  <a:lnTo>
                    <a:pt x="150" y="48"/>
                  </a:lnTo>
                  <a:lnTo>
                    <a:pt x="150" y="43"/>
                  </a:lnTo>
                  <a:lnTo>
                    <a:pt x="153" y="39"/>
                  </a:lnTo>
                  <a:lnTo>
                    <a:pt x="156" y="37"/>
                  </a:lnTo>
                  <a:lnTo>
                    <a:pt x="156" y="35"/>
                  </a:lnTo>
                  <a:lnTo>
                    <a:pt x="157" y="33"/>
                  </a:lnTo>
                  <a:lnTo>
                    <a:pt x="157" y="29"/>
                  </a:lnTo>
                  <a:lnTo>
                    <a:pt x="160" y="28"/>
                  </a:lnTo>
                  <a:lnTo>
                    <a:pt x="161" y="26"/>
                  </a:lnTo>
                  <a:lnTo>
                    <a:pt x="162" y="24"/>
                  </a:lnTo>
                  <a:lnTo>
                    <a:pt x="163" y="22"/>
                  </a:lnTo>
                  <a:lnTo>
                    <a:pt x="163" y="19"/>
                  </a:lnTo>
                  <a:lnTo>
                    <a:pt x="138" y="20"/>
                  </a:lnTo>
                  <a:lnTo>
                    <a:pt x="148" y="5"/>
                  </a:lnTo>
                  <a:lnTo>
                    <a:pt x="147" y="0"/>
                  </a:lnTo>
                  <a:lnTo>
                    <a:pt x="0" y="4"/>
                  </a:lnTo>
                  <a:lnTo>
                    <a:pt x="7" y="47"/>
                  </a:lnTo>
                  <a:lnTo>
                    <a:pt x="6" y="12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B09D54BA-12EE-4F49-B12E-1723920CA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1665" y="2657259"/>
              <a:ext cx="465458" cy="151779"/>
            </a:xfrm>
            <a:custGeom>
              <a:avLst/>
              <a:gdLst>
                <a:gd name="T0" fmla="*/ 193 w 326"/>
                <a:gd name="T1" fmla="*/ 14 h 107"/>
                <a:gd name="T2" fmla="*/ 83 w 326"/>
                <a:gd name="T3" fmla="*/ 21 h 107"/>
                <a:gd name="T4" fmla="*/ 85 w 326"/>
                <a:gd name="T5" fmla="*/ 31 h 107"/>
                <a:gd name="T6" fmla="*/ 26 w 326"/>
                <a:gd name="T7" fmla="*/ 32 h 107"/>
                <a:gd name="T8" fmla="*/ 24 w 326"/>
                <a:gd name="T9" fmla="*/ 33 h 107"/>
                <a:gd name="T10" fmla="*/ 24 w 326"/>
                <a:gd name="T11" fmla="*/ 36 h 107"/>
                <a:gd name="T12" fmla="*/ 24 w 326"/>
                <a:gd name="T13" fmla="*/ 39 h 107"/>
                <a:gd name="T14" fmla="*/ 23 w 326"/>
                <a:gd name="T15" fmla="*/ 42 h 107"/>
                <a:gd name="T16" fmla="*/ 21 w 326"/>
                <a:gd name="T17" fmla="*/ 43 h 107"/>
                <a:gd name="T18" fmla="*/ 20 w 326"/>
                <a:gd name="T19" fmla="*/ 45 h 107"/>
                <a:gd name="T20" fmla="*/ 21 w 326"/>
                <a:gd name="T21" fmla="*/ 46 h 107"/>
                <a:gd name="T22" fmla="*/ 23 w 326"/>
                <a:gd name="T23" fmla="*/ 50 h 107"/>
                <a:gd name="T24" fmla="*/ 22 w 326"/>
                <a:gd name="T25" fmla="*/ 52 h 107"/>
                <a:gd name="T26" fmla="*/ 20 w 326"/>
                <a:gd name="T27" fmla="*/ 55 h 107"/>
                <a:gd name="T28" fmla="*/ 19 w 326"/>
                <a:gd name="T29" fmla="*/ 58 h 107"/>
                <a:gd name="T30" fmla="*/ 20 w 326"/>
                <a:gd name="T31" fmla="*/ 58 h 107"/>
                <a:gd name="T32" fmla="*/ 20 w 326"/>
                <a:gd name="T33" fmla="*/ 62 h 107"/>
                <a:gd name="T34" fmla="*/ 19 w 326"/>
                <a:gd name="T35" fmla="*/ 64 h 107"/>
                <a:gd name="T36" fmla="*/ 18 w 326"/>
                <a:gd name="T37" fmla="*/ 66 h 107"/>
                <a:gd name="T38" fmla="*/ 16 w 326"/>
                <a:gd name="T39" fmla="*/ 69 h 107"/>
                <a:gd name="T40" fmla="*/ 13 w 326"/>
                <a:gd name="T41" fmla="*/ 70 h 107"/>
                <a:gd name="T42" fmla="*/ 13 w 326"/>
                <a:gd name="T43" fmla="*/ 75 h 107"/>
                <a:gd name="T44" fmla="*/ 12 w 326"/>
                <a:gd name="T45" fmla="*/ 77 h 107"/>
                <a:gd name="T46" fmla="*/ 12 w 326"/>
                <a:gd name="T47" fmla="*/ 79 h 107"/>
                <a:gd name="T48" fmla="*/ 8 w 326"/>
                <a:gd name="T49" fmla="*/ 82 h 107"/>
                <a:gd name="T50" fmla="*/ 5 w 326"/>
                <a:gd name="T51" fmla="*/ 87 h 107"/>
                <a:gd name="T52" fmla="*/ 5 w 326"/>
                <a:gd name="T53" fmla="*/ 92 h 107"/>
                <a:gd name="T54" fmla="*/ 5 w 326"/>
                <a:gd name="T55" fmla="*/ 99 h 107"/>
                <a:gd name="T56" fmla="*/ 2 w 326"/>
                <a:gd name="T57" fmla="*/ 104 h 107"/>
                <a:gd name="T58" fmla="*/ 0 w 326"/>
                <a:gd name="T59" fmla="*/ 107 h 107"/>
                <a:gd name="T60" fmla="*/ 0 w 326"/>
                <a:gd name="T61" fmla="*/ 107 h 107"/>
                <a:gd name="T62" fmla="*/ 232 w 326"/>
                <a:gd name="T63" fmla="*/ 89 h 107"/>
                <a:gd name="T64" fmla="*/ 232 w 326"/>
                <a:gd name="T65" fmla="*/ 89 h 107"/>
                <a:gd name="T66" fmla="*/ 232 w 326"/>
                <a:gd name="T67" fmla="*/ 88 h 107"/>
                <a:gd name="T68" fmla="*/ 233 w 326"/>
                <a:gd name="T69" fmla="*/ 82 h 107"/>
                <a:gd name="T70" fmla="*/ 233 w 326"/>
                <a:gd name="T71" fmla="*/ 79 h 107"/>
                <a:gd name="T72" fmla="*/ 237 w 326"/>
                <a:gd name="T73" fmla="*/ 75 h 107"/>
                <a:gd name="T74" fmla="*/ 240 w 326"/>
                <a:gd name="T75" fmla="*/ 75 h 107"/>
                <a:gd name="T76" fmla="*/ 244 w 326"/>
                <a:gd name="T77" fmla="*/ 72 h 107"/>
                <a:gd name="T78" fmla="*/ 243 w 326"/>
                <a:gd name="T79" fmla="*/ 68 h 107"/>
                <a:gd name="T80" fmla="*/ 246 w 326"/>
                <a:gd name="T81" fmla="*/ 64 h 107"/>
                <a:gd name="T82" fmla="*/ 280 w 326"/>
                <a:gd name="T83" fmla="*/ 44 h 107"/>
                <a:gd name="T84" fmla="*/ 285 w 326"/>
                <a:gd name="T85" fmla="*/ 41 h 107"/>
                <a:gd name="T86" fmla="*/ 287 w 326"/>
                <a:gd name="T87" fmla="*/ 37 h 107"/>
                <a:gd name="T88" fmla="*/ 291 w 326"/>
                <a:gd name="T89" fmla="*/ 31 h 107"/>
                <a:gd name="T90" fmla="*/ 294 w 326"/>
                <a:gd name="T91" fmla="*/ 31 h 107"/>
                <a:gd name="T92" fmla="*/ 297 w 326"/>
                <a:gd name="T93" fmla="*/ 35 h 107"/>
                <a:gd name="T94" fmla="*/ 301 w 326"/>
                <a:gd name="T95" fmla="*/ 31 h 107"/>
                <a:gd name="T96" fmla="*/ 306 w 326"/>
                <a:gd name="T97" fmla="*/ 25 h 107"/>
                <a:gd name="T98" fmla="*/ 317 w 326"/>
                <a:gd name="T99" fmla="*/ 23 h 107"/>
                <a:gd name="T100" fmla="*/ 318 w 326"/>
                <a:gd name="T101" fmla="*/ 19 h 107"/>
                <a:gd name="T102" fmla="*/ 321 w 326"/>
                <a:gd name="T103" fmla="*/ 14 h 107"/>
                <a:gd name="T104" fmla="*/ 325 w 326"/>
                <a:gd name="T105" fmla="*/ 12 h 107"/>
                <a:gd name="T106" fmla="*/ 326 w 326"/>
                <a:gd name="T107" fmla="*/ 12 h 107"/>
                <a:gd name="T108" fmla="*/ 326 w 326"/>
                <a:gd name="T109" fmla="*/ 0 h 107"/>
                <a:gd name="T110" fmla="*/ 193 w 326"/>
                <a:gd name="T111" fmla="*/ 1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6" h="107">
                  <a:moveTo>
                    <a:pt x="193" y="14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3" y="49"/>
                    <a:pt x="23" y="50"/>
                  </a:cubicBezTo>
                  <a:cubicBezTo>
                    <a:pt x="24" y="51"/>
                    <a:pt x="22" y="52"/>
                    <a:pt x="22" y="52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5" y="99"/>
                    <a:pt x="5" y="99"/>
                    <a:pt x="5" y="99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233" y="82"/>
                    <a:pt x="233" y="82"/>
                    <a:pt x="233" y="82"/>
                  </a:cubicBezTo>
                  <a:cubicBezTo>
                    <a:pt x="233" y="79"/>
                    <a:pt x="233" y="79"/>
                    <a:pt x="233" y="79"/>
                  </a:cubicBezTo>
                  <a:cubicBezTo>
                    <a:pt x="237" y="75"/>
                    <a:pt x="237" y="75"/>
                    <a:pt x="237" y="75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44" y="72"/>
                    <a:pt x="244" y="72"/>
                    <a:pt x="244" y="72"/>
                  </a:cubicBezTo>
                  <a:cubicBezTo>
                    <a:pt x="243" y="68"/>
                    <a:pt x="243" y="68"/>
                    <a:pt x="243" y="68"/>
                  </a:cubicBezTo>
                  <a:cubicBezTo>
                    <a:pt x="246" y="64"/>
                    <a:pt x="246" y="64"/>
                    <a:pt x="246" y="64"/>
                  </a:cubicBezTo>
                  <a:cubicBezTo>
                    <a:pt x="280" y="44"/>
                    <a:pt x="280" y="44"/>
                    <a:pt x="280" y="44"/>
                  </a:cubicBezTo>
                  <a:cubicBezTo>
                    <a:pt x="285" y="41"/>
                    <a:pt x="285" y="41"/>
                    <a:pt x="285" y="41"/>
                  </a:cubicBezTo>
                  <a:cubicBezTo>
                    <a:pt x="287" y="37"/>
                    <a:pt x="287" y="37"/>
                    <a:pt x="287" y="37"/>
                  </a:cubicBezTo>
                  <a:cubicBezTo>
                    <a:pt x="291" y="31"/>
                    <a:pt x="291" y="31"/>
                    <a:pt x="291" y="31"/>
                  </a:cubicBezTo>
                  <a:cubicBezTo>
                    <a:pt x="294" y="31"/>
                    <a:pt x="294" y="31"/>
                    <a:pt x="294" y="31"/>
                  </a:cubicBezTo>
                  <a:cubicBezTo>
                    <a:pt x="297" y="35"/>
                    <a:pt x="297" y="35"/>
                    <a:pt x="297" y="35"/>
                  </a:cubicBezTo>
                  <a:cubicBezTo>
                    <a:pt x="301" y="31"/>
                    <a:pt x="301" y="31"/>
                    <a:pt x="301" y="31"/>
                  </a:cubicBezTo>
                  <a:cubicBezTo>
                    <a:pt x="306" y="25"/>
                    <a:pt x="306" y="25"/>
                    <a:pt x="306" y="25"/>
                  </a:cubicBezTo>
                  <a:cubicBezTo>
                    <a:pt x="317" y="23"/>
                    <a:pt x="317" y="23"/>
                    <a:pt x="317" y="23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21" y="14"/>
                    <a:pt x="321" y="14"/>
                    <a:pt x="321" y="14"/>
                  </a:cubicBezTo>
                  <a:cubicBezTo>
                    <a:pt x="325" y="12"/>
                    <a:pt x="325" y="12"/>
                    <a:pt x="325" y="12"/>
                  </a:cubicBezTo>
                  <a:cubicBezTo>
                    <a:pt x="326" y="12"/>
                    <a:pt x="326" y="12"/>
                    <a:pt x="326" y="12"/>
                  </a:cubicBezTo>
                  <a:cubicBezTo>
                    <a:pt x="326" y="0"/>
                    <a:pt x="326" y="0"/>
                    <a:pt x="326" y="0"/>
                  </a:cubicBezTo>
                  <a:lnTo>
                    <a:pt x="193" y="1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DCCDD748-1FFB-0444-A8FA-DF2636F8B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2208" y="2606665"/>
              <a:ext cx="465458" cy="205746"/>
            </a:xfrm>
            <a:custGeom>
              <a:avLst/>
              <a:gdLst>
                <a:gd name="T0" fmla="*/ 320 w 326"/>
                <a:gd name="T1" fmla="*/ 28 h 144"/>
                <a:gd name="T2" fmla="*/ 315 w 326"/>
                <a:gd name="T3" fmla="*/ 38 h 144"/>
                <a:gd name="T4" fmla="*/ 311 w 326"/>
                <a:gd name="T5" fmla="*/ 32 h 144"/>
                <a:gd name="T6" fmla="*/ 300 w 326"/>
                <a:gd name="T7" fmla="*/ 30 h 144"/>
                <a:gd name="T8" fmla="*/ 289 w 326"/>
                <a:gd name="T9" fmla="*/ 35 h 144"/>
                <a:gd name="T10" fmla="*/ 285 w 326"/>
                <a:gd name="T11" fmla="*/ 32 h 144"/>
                <a:gd name="T12" fmla="*/ 282 w 326"/>
                <a:gd name="T13" fmla="*/ 25 h 144"/>
                <a:gd name="T14" fmla="*/ 281 w 326"/>
                <a:gd name="T15" fmla="*/ 18 h 144"/>
                <a:gd name="T16" fmla="*/ 284 w 326"/>
                <a:gd name="T17" fmla="*/ 20 h 144"/>
                <a:gd name="T18" fmla="*/ 290 w 326"/>
                <a:gd name="T19" fmla="*/ 29 h 144"/>
                <a:gd name="T20" fmla="*/ 295 w 326"/>
                <a:gd name="T21" fmla="*/ 26 h 144"/>
                <a:gd name="T22" fmla="*/ 305 w 326"/>
                <a:gd name="T23" fmla="*/ 22 h 144"/>
                <a:gd name="T24" fmla="*/ 306 w 326"/>
                <a:gd name="T25" fmla="*/ 16 h 144"/>
                <a:gd name="T26" fmla="*/ 303 w 326"/>
                <a:gd name="T27" fmla="*/ 12 h 144"/>
                <a:gd name="T28" fmla="*/ 312 w 326"/>
                <a:gd name="T29" fmla="*/ 14 h 144"/>
                <a:gd name="T30" fmla="*/ 308 w 326"/>
                <a:gd name="T31" fmla="*/ 4 h 144"/>
                <a:gd name="T32" fmla="*/ 155 w 326"/>
                <a:gd name="T33" fmla="*/ 28 h 144"/>
                <a:gd name="T34" fmla="*/ 93 w 326"/>
                <a:gd name="T35" fmla="*/ 47 h 144"/>
                <a:gd name="T36" fmla="*/ 85 w 326"/>
                <a:gd name="T37" fmla="*/ 58 h 144"/>
                <a:gd name="T38" fmla="*/ 65 w 326"/>
                <a:gd name="T39" fmla="*/ 70 h 144"/>
                <a:gd name="T40" fmla="*/ 55 w 326"/>
                <a:gd name="T41" fmla="*/ 72 h 144"/>
                <a:gd name="T42" fmla="*/ 14 w 326"/>
                <a:gd name="T43" fmla="*/ 99 h 144"/>
                <a:gd name="T44" fmla="*/ 8 w 326"/>
                <a:gd name="T45" fmla="*/ 110 h 144"/>
                <a:gd name="T46" fmla="*/ 1 w 326"/>
                <a:gd name="T47" fmla="*/ 117 h 144"/>
                <a:gd name="T48" fmla="*/ 0 w 326"/>
                <a:gd name="T49" fmla="*/ 124 h 144"/>
                <a:gd name="T50" fmla="*/ 83 w 326"/>
                <a:gd name="T51" fmla="*/ 104 h 144"/>
                <a:gd name="T52" fmla="*/ 108 w 326"/>
                <a:gd name="T53" fmla="*/ 105 h 144"/>
                <a:gd name="T54" fmla="*/ 123 w 326"/>
                <a:gd name="T55" fmla="*/ 100 h 144"/>
                <a:gd name="T56" fmla="*/ 142 w 326"/>
                <a:gd name="T57" fmla="*/ 114 h 144"/>
                <a:gd name="T58" fmla="*/ 243 w 326"/>
                <a:gd name="T59" fmla="*/ 140 h 144"/>
                <a:gd name="T60" fmla="*/ 256 w 326"/>
                <a:gd name="T61" fmla="*/ 136 h 144"/>
                <a:gd name="T62" fmla="*/ 263 w 326"/>
                <a:gd name="T63" fmla="*/ 117 h 144"/>
                <a:gd name="T64" fmla="*/ 271 w 326"/>
                <a:gd name="T65" fmla="*/ 106 h 144"/>
                <a:gd name="T66" fmla="*/ 270 w 326"/>
                <a:gd name="T67" fmla="*/ 100 h 144"/>
                <a:gd name="T68" fmla="*/ 272 w 326"/>
                <a:gd name="T69" fmla="*/ 97 h 144"/>
                <a:gd name="T70" fmla="*/ 278 w 326"/>
                <a:gd name="T71" fmla="*/ 100 h 144"/>
                <a:gd name="T72" fmla="*/ 281 w 326"/>
                <a:gd name="T73" fmla="*/ 95 h 144"/>
                <a:gd name="T74" fmla="*/ 285 w 326"/>
                <a:gd name="T75" fmla="*/ 95 h 144"/>
                <a:gd name="T76" fmla="*/ 296 w 326"/>
                <a:gd name="T77" fmla="*/ 91 h 144"/>
                <a:gd name="T78" fmla="*/ 301 w 326"/>
                <a:gd name="T79" fmla="*/ 87 h 144"/>
                <a:gd name="T80" fmla="*/ 308 w 326"/>
                <a:gd name="T81" fmla="*/ 81 h 144"/>
                <a:gd name="T82" fmla="*/ 308 w 326"/>
                <a:gd name="T83" fmla="*/ 75 h 144"/>
                <a:gd name="T84" fmla="*/ 301 w 326"/>
                <a:gd name="T85" fmla="*/ 78 h 144"/>
                <a:gd name="T86" fmla="*/ 291 w 326"/>
                <a:gd name="T87" fmla="*/ 83 h 144"/>
                <a:gd name="T88" fmla="*/ 283 w 326"/>
                <a:gd name="T89" fmla="*/ 77 h 144"/>
                <a:gd name="T90" fmla="*/ 288 w 326"/>
                <a:gd name="T91" fmla="*/ 77 h 144"/>
                <a:gd name="T92" fmla="*/ 296 w 326"/>
                <a:gd name="T93" fmla="*/ 73 h 144"/>
                <a:gd name="T94" fmla="*/ 297 w 326"/>
                <a:gd name="T95" fmla="*/ 68 h 144"/>
                <a:gd name="T96" fmla="*/ 296 w 326"/>
                <a:gd name="T97" fmla="*/ 64 h 144"/>
                <a:gd name="T98" fmla="*/ 280 w 326"/>
                <a:gd name="T99" fmla="*/ 58 h 144"/>
                <a:gd name="T100" fmla="*/ 290 w 326"/>
                <a:gd name="T101" fmla="*/ 57 h 144"/>
                <a:gd name="T102" fmla="*/ 294 w 326"/>
                <a:gd name="T103" fmla="*/ 55 h 144"/>
                <a:gd name="T104" fmla="*/ 294 w 326"/>
                <a:gd name="T105" fmla="*/ 51 h 144"/>
                <a:gd name="T106" fmla="*/ 300 w 326"/>
                <a:gd name="T107" fmla="*/ 58 h 144"/>
                <a:gd name="T108" fmla="*/ 306 w 326"/>
                <a:gd name="T109" fmla="*/ 58 h 144"/>
                <a:gd name="T110" fmla="*/ 317 w 326"/>
                <a:gd name="T111" fmla="*/ 57 h 144"/>
                <a:gd name="T112" fmla="*/ 319 w 326"/>
                <a:gd name="T113" fmla="*/ 48 h 144"/>
                <a:gd name="T114" fmla="*/ 322 w 326"/>
                <a:gd name="T115" fmla="*/ 42 h 144"/>
                <a:gd name="T116" fmla="*/ 325 w 326"/>
                <a:gd name="T117" fmla="*/ 3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6" h="144">
                  <a:moveTo>
                    <a:pt x="324" y="34"/>
                  </a:moveTo>
                  <a:cubicBezTo>
                    <a:pt x="322" y="31"/>
                    <a:pt x="322" y="31"/>
                    <a:pt x="322" y="31"/>
                  </a:cubicBezTo>
                  <a:cubicBezTo>
                    <a:pt x="320" y="28"/>
                    <a:pt x="320" y="28"/>
                    <a:pt x="320" y="28"/>
                  </a:cubicBezTo>
                  <a:cubicBezTo>
                    <a:pt x="317" y="28"/>
                    <a:pt x="317" y="28"/>
                    <a:pt x="317" y="28"/>
                  </a:cubicBezTo>
                  <a:cubicBezTo>
                    <a:pt x="316" y="29"/>
                    <a:pt x="316" y="29"/>
                    <a:pt x="316" y="29"/>
                  </a:cubicBezTo>
                  <a:cubicBezTo>
                    <a:pt x="315" y="38"/>
                    <a:pt x="315" y="38"/>
                    <a:pt x="315" y="38"/>
                  </a:cubicBezTo>
                  <a:cubicBezTo>
                    <a:pt x="315" y="40"/>
                    <a:pt x="315" y="40"/>
                    <a:pt x="315" y="40"/>
                  </a:cubicBezTo>
                  <a:cubicBezTo>
                    <a:pt x="312" y="38"/>
                    <a:pt x="312" y="38"/>
                    <a:pt x="312" y="38"/>
                  </a:cubicBezTo>
                  <a:cubicBezTo>
                    <a:pt x="311" y="32"/>
                    <a:pt x="311" y="32"/>
                    <a:pt x="311" y="32"/>
                  </a:cubicBezTo>
                  <a:cubicBezTo>
                    <a:pt x="309" y="28"/>
                    <a:pt x="309" y="28"/>
                    <a:pt x="309" y="28"/>
                  </a:cubicBezTo>
                  <a:cubicBezTo>
                    <a:pt x="306" y="27"/>
                    <a:pt x="306" y="27"/>
                    <a:pt x="306" y="27"/>
                  </a:cubicBezTo>
                  <a:cubicBezTo>
                    <a:pt x="300" y="30"/>
                    <a:pt x="300" y="30"/>
                    <a:pt x="300" y="30"/>
                  </a:cubicBezTo>
                  <a:cubicBezTo>
                    <a:pt x="298" y="30"/>
                    <a:pt x="298" y="30"/>
                    <a:pt x="298" y="30"/>
                  </a:cubicBezTo>
                  <a:cubicBezTo>
                    <a:pt x="292" y="32"/>
                    <a:pt x="292" y="32"/>
                    <a:pt x="292" y="32"/>
                  </a:cubicBezTo>
                  <a:cubicBezTo>
                    <a:pt x="289" y="35"/>
                    <a:pt x="289" y="35"/>
                    <a:pt x="289" y="35"/>
                  </a:cubicBezTo>
                  <a:cubicBezTo>
                    <a:pt x="286" y="39"/>
                    <a:pt x="286" y="39"/>
                    <a:pt x="286" y="39"/>
                  </a:cubicBezTo>
                  <a:cubicBezTo>
                    <a:pt x="285" y="37"/>
                    <a:pt x="285" y="37"/>
                    <a:pt x="285" y="37"/>
                  </a:cubicBezTo>
                  <a:cubicBezTo>
                    <a:pt x="285" y="32"/>
                    <a:pt x="285" y="32"/>
                    <a:pt x="285" y="32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7"/>
                    <a:pt x="283" y="27"/>
                    <a:pt x="283" y="27"/>
                  </a:cubicBezTo>
                  <a:cubicBezTo>
                    <a:pt x="282" y="25"/>
                    <a:pt x="282" y="25"/>
                    <a:pt x="282" y="25"/>
                  </a:cubicBezTo>
                  <a:cubicBezTo>
                    <a:pt x="281" y="23"/>
                    <a:pt x="281" y="23"/>
                    <a:pt x="281" y="23"/>
                  </a:cubicBezTo>
                  <a:cubicBezTo>
                    <a:pt x="281" y="20"/>
                    <a:pt x="281" y="20"/>
                    <a:pt x="281" y="20"/>
                  </a:cubicBezTo>
                  <a:cubicBezTo>
                    <a:pt x="281" y="18"/>
                    <a:pt x="281" y="18"/>
                    <a:pt x="281" y="18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4" y="20"/>
                    <a:pt x="284" y="20"/>
                    <a:pt x="284" y="20"/>
                  </a:cubicBezTo>
                  <a:cubicBezTo>
                    <a:pt x="285" y="26"/>
                    <a:pt x="285" y="26"/>
                    <a:pt x="285" y="26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91" y="28"/>
                    <a:pt x="291" y="28"/>
                    <a:pt x="291" y="28"/>
                  </a:cubicBezTo>
                  <a:cubicBezTo>
                    <a:pt x="294" y="26"/>
                    <a:pt x="294" y="26"/>
                    <a:pt x="294" y="26"/>
                  </a:cubicBezTo>
                  <a:cubicBezTo>
                    <a:pt x="295" y="26"/>
                    <a:pt x="295" y="26"/>
                    <a:pt x="295" y="26"/>
                  </a:cubicBezTo>
                  <a:cubicBezTo>
                    <a:pt x="299" y="24"/>
                    <a:pt x="299" y="24"/>
                    <a:pt x="299" y="24"/>
                  </a:cubicBezTo>
                  <a:cubicBezTo>
                    <a:pt x="300" y="22"/>
                    <a:pt x="300" y="22"/>
                    <a:pt x="300" y="22"/>
                  </a:cubicBezTo>
                  <a:cubicBezTo>
                    <a:pt x="305" y="22"/>
                    <a:pt x="305" y="22"/>
                    <a:pt x="305" y="22"/>
                  </a:cubicBezTo>
                  <a:cubicBezTo>
                    <a:pt x="306" y="19"/>
                    <a:pt x="306" y="19"/>
                    <a:pt x="306" y="19"/>
                  </a:cubicBezTo>
                  <a:cubicBezTo>
                    <a:pt x="307" y="18"/>
                    <a:pt x="307" y="18"/>
                    <a:pt x="307" y="18"/>
                  </a:cubicBezTo>
                  <a:cubicBezTo>
                    <a:pt x="307" y="18"/>
                    <a:pt x="306" y="17"/>
                    <a:pt x="306" y="16"/>
                  </a:cubicBezTo>
                  <a:cubicBezTo>
                    <a:pt x="305" y="16"/>
                    <a:pt x="305" y="16"/>
                    <a:pt x="305" y="16"/>
                  </a:cubicBezTo>
                  <a:cubicBezTo>
                    <a:pt x="303" y="13"/>
                    <a:pt x="303" y="13"/>
                    <a:pt x="303" y="13"/>
                  </a:cubicBezTo>
                  <a:cubicBezTo>
                    <a:pt x="303" y="12"/>
                    <a:pt x="303" y="12"/>
                    <a:pt x="303" y="12"/>
                  </a:cubicBezTo>
                  <a:cubicBezTo>
                    <a:pt x="304" y="12"/>
                    <a:pt x="304" y="12"/>
                    <a:pt x="304" y="12"/>
                  </a:cubicBezTo>
                  <a:cubicBezTo>
                    <a:pt x="309" y="14"/>
                    <a:pt x="309" y="14"/>
                    <a:pt x="309" y="14"/>
                  </a:cubicBezTo>
                  <a:cubicBezTo>
                    <a:pt x="312" y="14"/>
                    <a:pt x="312" y="14"/>
                    <a:pt x="312" y="14"/>
                  </a:cubicBezTo>
                  <a:cubicBezTo>
                    <a:pt x="312" y="11"/>
                    <a:pt x="312" y="11"/>
                    <a:pt x="312" y="11"/>
                  </a:cubicBezTo>
                  <a:cubicBezTo>
                    <a:pt x="309" y="7"/>
                    <a:pt x="309" y="7"/>
                    <a:pt x="309" y="7"/>
                  </a:cubicBezTo>
                  <a:cubicBezTo>
                    <a:pt x="308" y="4"/>
                    <a:pt x="308" y="4"/>
                    <a:pt x="308" y="4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218" y="18"/>
                    <a:pt x="218" y="18"/>
                    <a:pt x="218" y="18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23" y="100"/>
                    <a:pt x="123" y="100"/>
                    <a:pt x="123" y="100"/>
                  </a:cubicBezTo>
                  <a:cubicBezTo>
                    <a:pt x="132" y="101"/>
                    <a:pt x="132" y="101"/>
                    <a:pt x="132" y="101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82" y="106"/>
                    <a:pt x="182" y="106"/>
                    <a:pt x="182" y="106"/>
                  </a:cubicBezTo>
                  <a:cubicBezTo>
                    <a:pt x="234" y="144"/>
                    <a:pt x="234" y="144"/>
                    <a:pt x="234" y="144"/>
                  </a:cubicBezTo>
                  <a:cubicBezTo>
                    <a:pt x="243" y="140"/>
                    <a:pt x="243" y="140"/>
                    <a:pt x="243" y="140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54" y="139"/>
                    <a:pt x="254" y="139"/>
                    <a:pt x="254" y="139"/>
                  </a:cubicBezTo>
                  <a:cubicBezTo>
                    <a:pt x="256" y="136"/>
                    <a:pt x="256" y="136"/>
                    <a:pt x="256" y="136"/>
                  </a:cubicBezTo>
                  <a:cubicBezTo>
                    <a:pt x="259" y="133"/>
                    <a:pt x="259" y="133"/>
                    <a:pt x="259" y="133"/>
                  </a:cubicBezTo>
                  <a:cubicBezTo>
                    <a:pt x="260" y="124"/>
                    <a:pt x="260" y="124"/>
                    <a:pt x="260" y="124"/>
                  </a:cubicBezTo>
                  <a:cubicBezTo>
                    <a:pt x="263" y="117"/>
                    <a:pt x="263" y="117"/>
                    <a:pt x="263" y="117"/>
                  </a:cubicBezTo>
                  <a:cubicBezTo>
                    <a:pt x="267" y="111"/>
                    <a:pt x="267" y="111"/>
                    <a:pt x="267" y="111"/>
                  </a:cubicBezTo>
                  <a:cubicBezTo>
                    <a:pt x="271" y="108"/>
                    <a:pt x="271" y="108"/>
                    <a:pt x="271" y="108"/>
                  </a:cubicBezTo>
                  <a:cubicBezTo>
                    <a:pt x="271" y="106"/>
                    <a:pt x="271" y="106"/>
                    <a:pt x="271" y="106"/>
                  </a:cubicBezTo>
                  <a:cubicBezTo>
                    <a:pt x="270" y="103"/>
                    <a:pt x="270" y="103"/>
                    <a:pt x="270" y="103"/>
                  </a:cubicBezTo>
                  <a:cubicBezTo>
                    <a:pt x="269" y="101"/>
                    <a:pt x="269" y="101"/>
                    <a:pt x="269" y="101"/>
                  </a:cubicBezTo>
                  <a:cubicBezTo>
                    <a:pt x="270" y="100"/>
                    <a:pt x="270" y="100"/>
                    <a:pt x="270" y="100"/>
                  </a:cubicBezTo>
                  <a:cubicBezTo>
                    <a:pt x="270" y="98"/>
                    <a:pt x="270" y="98"/>
                    <a:pt x="270" y="98"/>
                  </a:cubicBezTo>
                  <a:cubicBezTo>
                    <a:pt x="271" y="97"/>
                    <a:pt x="271" y="97"/>
                    <a:pt x="271" y="97"/>
                  </a:cubicBezTo>
                  <a:cubicBezTo>
                    <a:pt x="272" y="97"/>
                    <a:pt x="272" y="97"/>
                    <a:pt x="272" y="97"/>
                  </a:cubicBezTo>
                  <a:cubicBezTo>
                    <a:pt x="273" y="98"/>
                    <a:pt x="273" y="98"/>
                    <a:pt x="273" y="98"/>
                  </a:cubicBezTo>
                  <a:cubicBezTo>
                    <a:pt x="274" y="102"/>
                    <a:pt x="274" y="102"/>
                    <a:pt x="274" y="102"/>
                  </a:cubicBezTo>
                  <a:cubicBezTo>
                    <a:pt x="278" y="100"/>
                    <a:pt x="278" y="100"/>
                    <a:pt x="278" y="100"/>
                  </a:cubicBezTo>
                  <a:cubicBezTo>
                    <a:pt x="281" y="99"/>
                    <a:pt x="281" y="99"/>
                    <a:pt x="281" y="99"/>
                  </a:cubicBezTo>
                  <a:cubicBezTo>
                    <a:pt x="281" y="97"/>
                    <a:pt x="281" y="97"/>
                    <a:pt x="281" y="97"/>
                  </a:cubicBezTo>
                  <a:cubicBezTo>
                    <a:pt x="281" y="95"/>
                    <a:pt x="281" y="95"/>
                    <a:pt x="281" y="95"/>
                  </a:cubicBezTo>
                  <a:cubicBezTo>
                    <a:pt x="283" y="94"/>
                    <a:pt x="283" y="94"/>
                    <a:pt x="283" y="94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5" y="95"/>
                    <a:pt x="285" y="95"/>
                    <a:pt x="285" y="9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294" y="91"/>
                    <a:pt x="294" y="91"/>
                    <a:pt x="294" y="91"/>
                  </a:cubicBezTo>
                  <a:cubicBezTo>
                    <a:pt x="296" y="91"/>
                    <a:pt x="296" y="91"/>
                    <a:pt x="296" y="91"/>
                  </a:cubicBezTo>
                  <a:cubicBezTo>
                    <a:pt x="299" y="89"/>
                    <a:pt x="299" y="89"/>
                    <a:pt x="299" y="89"/>
                  </a:cubicBezTo>
                  <a:cubicBezTo>
                    <a:pt x="301" y="88"/>
                    <a:pt x="301" y="88"/>
                    <a:pt x="301" y="88"/>
                  </a:cubicBezTo>
                  <a:cubicBezTo>
                    <a:pt x="301" y="87"/>
                    <a:pt x="301" y="87"/>
                    <a:pt x="301" y="87"/>
                  </a:cubicBezTo>
                  <a:cubicBezTo>
                    <a:pt x="305" y="90"/>
                    <a:pt x="305" y="90"/>
                    <a:pt x="305" y="90"/>
                  </a:cubicBezTo>
                  <a:cubicBezTo>
                    <a:pt x="307" y="86"/>
                    <a:pt x="307" y="86"/>
                    <a:pt x="307" y="86"/>
                  </a:cubicBezTo>
                  <a:cubicBezTo>
                    <a:pt x="308" y="81"/>
                    <a:pt x="308" y="81"/>
                    <a:pt x="308" y="81"/>
                  </a:cubicBezTo>
                  <a:cubicBezTo>
                    <a:pt x="309" y="79"/>
                    <a:pt x="309" y="79"/>
                    <a:pt x="309" y="79"/>
                  </a:cubicBezTo>
                  <a:cubicBezTo>
                    <a:pt x="310" y="77"/>
                    <a:pt x="310" y="77"/>
                    <a:pt x="310" y="77"/>
                  </a:cubicBezTo>
                  <a:cubicBezTo>
                    <a:pt x="310" y="77"/>
                    <a:pt x="309" y="74"/>
                    <a:pt x="308" y="75"/>
                  </a:cubicBezTo>
                  <a:cubicBezTo>
                    <a:pt x="307" y="75"/>
                    <a:pt x="304" y="76"/>
                    <a:pt x="304" y="76"/>
                  </a:cubicBezTo>
                  <a:cubicBezTo>
                    <a:pt x="303" y="78"/>
                    <a:pt x="303" y="78"/>
                    <a:pt x="303" y="78"/>
                  </a:cubicBezTo>
                  <a:cubicBezTo>
                    <a:pt x="301" y="78"/>
                    <a:pt x="301" y="78"/>
                    <a:pt x="301" y="78"/>
                  </a:cubicBezTo>
                  <a:cubicBezTo>
                    <a:pt x="299" y="80"/>
                    <a:pt x="299" y="80"/>
                    <a:pt x="299" y="80"/>
                  </a:cubicBezTo>
                  <a:cubicBezTo>
                    <a:pt x="294" y="83"/>
                    <a:pt x="294" y="83"/>
                    <a:pt x="294" y="83"/>
                  </a:cubicBezTo>
                  <a:cubicBezTo>
                    <a:pt x="291" y="83"/>
                    <a:pt x="291" y="83"/>
                    <a:pt x="291" y="83"/>
                  </a:cubicBezTo>
                  <a:cubicBezTo>
                    <a:pt x="283" y="81"/>
                    <a:pt x="283" y="81"/>
                    <a:pt x="283" y="81"/>
                  </a:cubicBezTo>
                  <a:cubicBezTo>
                    <a:pt x="283" y="79"/>
                    <a:pt x="283" y="79"/>
                    <a:pt x="283" y="79"/>
                  </a:cubicBezTo>
                  <a:cubicBezTo>
                    <a:pt x="283" y="77"/>
                    <a:pt x="283" y="77"/>
                    <a:pt x="283" y="77"/>
                  </a:cubicBezTo>
                  <a:cubicBezTo>
                    <a:pt x="284" y="76"/>
                    <a:pt x="284" y="76"/>
                    <a:pt x="284" y="76"/>
                  </a:cubicBezTo>
                  <a:cubicBezTo>
                    <a:pt x="286" y="76"/>
                    <a:pt x="286" y="76"/>
                    <a:pt x="286" y="76"/>
                  </a:cubicBezTo>
                  <a:cubicBezTo>
                    <a:pt x="288" y="77"/>
                    <a:pt x="288" y="77"/>
                    <a:pt x="288" y="77"/>
                  </a:cubicBezTo>
                  <a:cubicBezTo>
                    <a:pt x="293" y="77"/>
                    <a:pt x="293" y="77"/>
                    <a:pt x="293" y="77"/>
                  </a:cubicBezTo>
                  <a:cubicBezTo>
                    <a:pt x="296" y="75"/>
                    <a:pt x="296" y="75"/>
                    <a:pt x="296" y="75"/>
                  </a:cubicBezTo>
                  <a:cubicBezTo>
                    <a:pt x="296" y="73"/>
                    <a:pt x="296" y="73"/>
                    <a:pt x="296" y="73"/>
                  </a:cubicBezTo>
                  <a:cubicBezTo>
                    <a:pt x="295" y="71"/>
                    <a:pt x="295" y="71"/>
                    <a:pt x="295" y="71"/>
                  </a:cubicBezTo>
                  <a:cubicBezTo>
                    <a:pt x="296" y="68"/>
                    <a:pt x="296" y="68"/>
                    <a:pt x="296" y="68"/>
                  </a:cubicBezTo>
                  <a:cubicBezTo>
                    <a:pt x="297" y="68"/>
                    <a:pt x="297" y="68"/>
                    <a:pt x="297" y="68"/>
                  </a:cubicBezTo>
                  <a:cubicBezTo>
                    <a:pt x="299" y="66"/>
                    <a:pt x="299" y="66"/>
                    <a:pt x="299" y="66"/>
                  </a:cubicBezTo>
                  <a:cubicBezTo>
                    <a:pt x="299" y="64"/>
                    <a:pt x="299" y="64"/>
                    <a:pt x="299" y="64"/>
                  </a:cubicBezTo>
                  <a:cubicBezTo>
                    <a:pt x="296" y="64"/>
                    <a:pt x="296" y="64"/>
                    <a:pt x="296" y="64"/>
                  </a:cubicBezTo>
                  <a:cubicBezTo>
                    <a:pt x="290" y="61"/>
                    <a:pt x="290" y="61"/>
                    <a:pt x="290" y="61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0" y="58"/>
                    <a:pt x="280" y="58"/>
                    <a:pt x="280" y="58"/>
                  </a:cubicBezTo>
                  <a:cubicBezTo>
                    <a:pt x="280" y="57"/>
                    <a:pt x="280" y="57"/>
                    <a:pt x="280" y="57"/>
                  </a:cubicBezTo>
                  <a:cubicBezTo>
                    <a:pt x="284" y="57"/>
                    <a:pt x="284" y="57"/>
                    <a:pt x="284" y="57"/>
                  </a:cubicBezTo>
                  <a:cubicBezTo>
                    <a:pt x="290" y="57"/>
                    <a:pt x="290" y="57"/>
                    <a:pt x="290" y="57"/>
                  </a:cubicBezTo>
                  <a:cubicBezTo>
                    <a:pt x="294" y="59"/>
                    <a:pt x="294" y="59"/>
                    <a:pt x="294" y="59"/>
                  </a:cubicBezTo>
                  <a:cubicBezTo>
                    <a:pt x="295" y="57"/>
                    <a:pt x="295" y="57"/>
                    <a:pt x="295" y="57"/>
                  </a:cubicBezTo>
                  <a:cubicBezTo>
                    <a:pt x="294" y="55"/>
                    <a:pt x="294" y="55"/>
                    <a:pt x="294" y="55"/>
                  </a:cubicBezTo>
                  <a:cubicBezTo>
                    <a:pt x="293" y="54"/>
                    <a:pt x="293" y="54"/>
                    <a:pt x="293" y="54"/>
                  </a:cubicBezTo>
                  <a:cubicBezTo>
                    <a:pt x="292" y="52"/>
                    <a:pt x="292" y="52"/>
                    <a:pt x="292" y="52"/>
                  </a:cubicBezTo>
                  <a:cubicBezTo>
                    <a:pt x="294" y="51"/>
                    <a:pt x="294" y="51"/>
                    <a:pt x="294" y="51"/>
                  </a:cubicBezTo>
                  <a:cubicBezTo>
                    <a:pt x="297" y="51"/>
                    <a:pt x="297" y="51"/>
                    <a:pt x="297" y="51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300" y="58"/>
                    <a:pt x="300" y="58"/>
                    <a:pt x="300" y="58"/>
                  </a:cubicBezTo>
                  <a:cubicBezTo>
                    <a:pt x="303" y="58"/>
                    <a:pt x="303" y="58"/>
                    <a:pt x="303" y="58"/>
                  </a:cubicBezTo>
                  <a:cubicBezTo>
                    <a:pt x="304" y="57"/>
                    <a:pt x="304" y="57"/>
                    <a:pt x="304" y="57"/>
                  </a:cubicBezTo>
                  <a:cubicBezTo>
                    <a:pt x="306" y="58"/>
                    <a:pt x="306" y="58"/>
                    <a:pt x="306" y="58"/>
                  </a:cubicBezTo>
                  <a:cubicBezTo>
                    <a:pt x="310" y="58"/>
                    <a:pt x="310" y="58"/>
                    <a:pt x="310" y="58"/>
                  </a:cubicBezTo>
                  <a:cubicBezTo>
                    <a:pt x="316" y="58"/>
                    <a:pt x="316" y="58"/>
                    <a:pt x="316" y="58"/>
                  </a:cubicBezTo>
                  <a:cubicBezTo>
                    <a:pt x="317" y="57"/>
                    <a:pt x="317" y="57"/>
                    <a:pt x="317" y="57"/>
                  </a:cubicBezTo>
                  <a:cubicBezTo>
                    <a:pt x="317" y="53"/>
                    <a:pt x="317" y="53"/>
                    <a:pt x="317" y="53"/>
                  </a:cubicBezTo>
                  <a:cubicBezTo>
                    <a:pt x="318" y="51"/>
                    <a:pt x="318" y="51"/>
                    <a:pt x="318" y="51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19" y="46"/>
                    <a:pt x="319" y="46"/>
                    <a:pt x="319" y="46"/>
                  </a:cubicBezTo>
                  <a:cubicBezTo>
                    <a:pt x="320" y="42"/>
                    <a:pt x="320" y="42"/>
                    <a:pt x="320" y="42"/>
                  </a:cubicBezTo>
                  <a:cubicBezTo>
                    <a:pt x="322" y="42"/>
                    <a:pt x="322" y="42"/>
                    <a:pt x="322" y="42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25" y="42"/>
                    <a:pt x="325" y="42"/>
                    <a:pt x="325" y="42"/>
                  </a:cubicBezTo>
                  <a:cubicBezTo>
                    <a:pt x="325" y="39"/>
                    <a:pt x="325" y="39"/>
                    <a:pt x="325" y="39"/>
                  </a:cubicBezTo>
                  <a:cubicBezTo>
                    <a:pt x="326" y="37"/>
                    <a:pt x="326" y="37"/>
                    <a:pt x="326" y="37"/>
                  </a:cubicBezTo>
                  <a:lnTo>
                    <a:pt x="324" y="3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49DAFA2-6239-5B47-8CB2-2CCE9054E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4750" y="2775310"/>
              <a:ext cx="286695" cy="308620"/>
            </a:xfrm>
            <a:custGeom>
              <a:avLst/>
              <a:gdLst>
                <a:gd name="T0" fmla="*/ 196 w 201"/>
                <a:gd name="T1" fmla="*/ 127 h 216"/>
                <a:gd name="T2" fmla="*/ 195 w 201"/>
                <a:gd name="T3" fmla="*/ 120 h 216"/>
                <a:gd name="T4" fmla="*/ 191 w 201"/>
                <a:gd name="T5" fmla="*/ 115 h 216"/>
                <a:gd name="T6" fmla="*/ 190 w 201"/>
                <a:gd name="T7" fmla="*/ 110 h 216"/>
                <a:gd name="T8" fmla="*/ 187 w 201"/>
                <a:gd name="T9" fmla="*/ 107 h 216"/>
                <a:gd name="T10" fmla="*/ 183 w 201"/>
                <a:gd name="T11" fmla="*/ 106 h 216"/>
                <a:gd name="T12" fmla="*/ 181 w 201"/>
                <a:gd name="T13" fmla="*/ 101 h 216"/>
                <a:gd name="T14" fmla="*/ 179 w 201"/>
                <a:gd name="T15" fmla="*/ 96 h 216"/>
                <a:gd name="T16" fmla="*/ 174 w 201"/>
                <a:gd name="T17" fmla="*/ 89 h 216"/>
                <a:gd name="T18" fmla="*/ 168 w 201"/>
                <a:gd name="T19" fmla="*/ 84 h 216"/>
                <a:gd name="T20" fmla="*/ 158 w 201"/>
                <a:gd name="T21" fmla="*/ 78 h 216"/>
                <a:gd name="T22" fmla="*/ 147 w 201"/>
                <a:gd name="T23" fmla="*/ 63 h 216"/>
                <a:gd name="T24" fmla="*/ 126 w 201"/>
                <a:gd name="T25" fmla="*/ 46 h 216"/>
                <a:gd name="T26" fmla="*/ 116 w 201"/>
                <a:gd name="T27" fmla="*/ 35 h 216"/>
                <a:gd name="T28" fmla="*/ 111 w 201"/>
                <a:gd name="T29" fmla="*/ 27 h 216"/>
                <a:gd name="T30" fmla="*/ 96 w 201"/>
                <a:gd name="T31" fmla="*/ 19 h 216"/>
                <a:gd name="T32" fmla="*/ 92 w 201"/>
                <a:gd name="T33" fmla="*/ 14 h 216"/>
                <a:gd name="T34" fmla="*/ 97 w 201"/>
                <a:gd name="T35" fmla="*/ 8 h 216"/>
                <a:gd name="T36" fmla="*/ 103 w 201"/>
                <a:gd name="T37" fmla="*/ 4 h 216"/>
                <a:gd name="T38" fmla="*/ 104 w 201"/>
                <a:gd name="T39" fmla="*/ 0 h 216"/>
                <a:gd name="T40" fmla="*/ 48 w 201"/>
                <a:gd name="T41" fmla="*/ 6 h 216"/>
                <a:gd name="T42" fmla="*/ 0 w 201"/>
                <a:gd name="T43" fmla="*/ 10 h 216"/>
                <a:gd name="T44" fmla="*/ 11 w 201"/>
                <a:gd name="T45" fmla="*/ 58 h 216"/>
                <a:gd name="T46" fmla="*/ 25 w 201"/>
                <a:gd name="T47" fmla="*/ 107 h 216"/>
                <a:gd name="T48" fmla="*/ 38 w 201"/>
                <a:gd name="T49" fmla="*/ 128 h 216"/>
                <a:gd name="T50" fmla="*/ 39 w 201"/>
                <a:gd name="T51" fmla="*/ 137 h 216"/>
                <a:gd name="T52" fmla="*/ 40 w 201"/>
                <a:gd name="T53" fmla="*/ 144 h 216"/>
                <a:gd name="T54" fmla="*/ 39 w 201"/>
                <a:gd name="T55" fmla="*/ 150 h 216"/>
                <a:gd name="T56" fmla="*/ 35 w 201"/>
                <a:gd name="T57" fmla="*/ 157 h 216"/>
                <a:gd name="T58" fmla="*/ 37 w 201"/>
                <a:gd name="T59" fmla="*/ 172 h 216"/>
                <a:gd name="T60" fmla="*/ 40 w 201"/>
                <a:gd name="T61" fmla="*/ 182 h 216"/>
                <a:gd name="T62" fmla="*/ 37 w 201"/>
                <a:gd name="T63" fmla="*/ 186 h 216"/>
                <a:gd name="T64" fmla="*/ 41 w 201"/>
                <a:gd name="T65" fmla="*/ 193 h 216"/>
                <a:gd name="T66" fmla="*/ 46 w 201"/>
                <a:gd name="T67" fmla="*/ 201 h 216"/>
                <a:gd name="T68" fmla="*/ 160 w 201"/>
                <a:gd name="T69" fmla="*/ 207 h 216"/>
                <a:gd name="T70" fmla="*/ 169 w 201"/>
                <a:gd name="T71" fmla="*/ 216 h 216"/>
                <a:gd name="T72" fmla="*/ 166 w 201"/>
                <a:gd name="T73" fmla="*/ 193 h 216"/>
                <a:gd name="T74" fmla="*/ 183 w 201"/>
                <a:gd name="T75" fmla="*/ 196 h 216"/>
                <a:gd name="T76" fmla="*/ 185 w 201"/>
                <a:gd name="T77" fmla="*/ 189 h 216"/>
                <a:gd name="T78" fmla="*/ 182 w 201"/>
                <a:gd name="T79" fmla="*/ 187 h 216"/>
                <a:gd name="T80" fmla="*/ 180 w 201"/>
                <a:gd name="T81" fmla="*/ 183 h 216"/>
                <a:gd name="T82" fmla="*/ 185 w 201"/>
                <a:gd name="T83" fmla="*/ 183 h 216"/>
                <a:gd name="T84" fmla="*/ 183 w 201"/>
                <a:gd name="T85" fmla="*/ 177 h 216"/>
                <a:gd name="T86" fmla="*/ 188 w 201"/>
                <a:gd name="T87" fmla="*/ 174 h 216"/>
                <a:gd name="T88" fmla="*/ 187 w 201"/>
                <a:gd name="T89" fmla="*/ 168 h 216"/>
                <a:gd name="T90" fmla="*/ 188 w 201"/>
                <a:gd name="T91" fmla="*/ 165 h 216"/>
                <a:gd name="T92" fmla="*/ 189 w 201"/>
                <a:gd name="T93" fmla="*/ 161 h 216"/>
                <a:gd name="T94" fmla="*/ 189 w 201"/>
                <a:gd name="T95" fmla="*/ 151 h 216"/>
                <a:gd name="T96" fmla="*/ 194 w 201"/>
                <a:gd name="T97" fmla="*/ 152 h 216"/>
                <a:gd name="T98" fmla="*/ 193 w 201"/>
                <a:gd name="T99" fmla="*/ 149 h 216"/>
                <a:gd name="T100" fmla="*/ 189 w 201"/>
                <a:gd name="T101" fmla="*/ 144 h 216"/>
                <a:gd name="T102" fmla="*/ 196 w 201"/>
                <a:gd name="T103" fmla="*/ 144 h 216"/>
                <a:gd name="T104" fmla="*/ 193 w 201"/>
                <a:gd name="T105" fmla="*/ 141 h 216"/>
                <a:gd name="T106" fmla="*/ 192 w 201"/>
                <a:gd name="T107" fmla="*/ 137 h 216"/>
                <a:gd name="T108" fmla="*/ 197 w 201"/>
                <a:gd name="T109" fmla="*/ 138 h 216"/>
                <a:gd name="T110" fmla="*/ 199 w 201"/>
                <a:gd name="T111" fmla="*/ 134 h 216"/>
                <a:gd name="T112" fmla="*/ 201 w 201"/>
                <a:gd name="T113" fmla="*/ 130 h 216"/>
                <a:gd name="T114" fmla="*/ 198 w 201"/>
                <a:gd name="T115" fmla="*/ 12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1" h="216">
                  <a:moveTo>
                    <a:pt x="198" y="128"/>
                  </a:moveTo>
                  <a:cubicBezTo>
                    <a:pt x="196" y="127"/>
                    <a:pt x="196" y="127"/>
                    <a:pt x="196" y="127"/>
                  </a:cubicBezTo>
                  <a:cubicBezTo>
                    <a:pt x="195" y="124"/>
                    <a:pt x="195" y="124"/>
                    <a:pt x="195" y="124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5" y="119"/>
                    <a:pt x="195" y="119"/>
                    <a:pt x="195" y="119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90" y="112"/>
                    <a:pt x="190" y="112"/>
                    <a:pt x="190" y="112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187" y="107"/>
                    <a:pt x="187" y="107"/>
                    <a:pt x="187" y="107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3" y="106"/>
                    <a:pt x="183" y="106"/>
                    <a:pt x="183" y="106"/>
                  </a:cubicBezTo>
                  <a:cubicBezTo>
                    <a:pt x="182" y="104"/>
                    <a:pt x="182" y="104"/>
                    <a:pt x="182" y="104"/>
                  </a:cubicBezTo>
                  <a:cubicBezTo>
                    <a:pt x="181" y="101"/>
                    <a:pt x="181" y="101"/>
                    <a:pt x="181" y="101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79" y="96"/>
                    <a:pt x="179" y="96"/>
                    <a:pt x="179" y="96"/>
                  </a:cubicBezTo>
                  <a:cubicBezTo>
                    <a:pt x="176" y="91"/>
                    <a:pt x="176" y="91"/>
                    <a:pt x="176" y="91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71" y="87"/>
                    <a:pt x="171" y="87"/>
                    <a:pt x="171" y="87"/>
                  </a:cubicBezTo>
                  <a:cubicBezTo>
                    <a:pt x="168" y="84"/>
                    <a:pt x="168" y="84"/>
                    <a:pt x="168" y="84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3" y="71"/>
                    <a:pt x="153" y="71"/>
                    <a:pt x="153" y="71"/>
                  </a:cubicBezTo>
                  <a:cubicBezTo>
                    <a:pt x="147" y="63"/>
                    <a:pt x="147" y="63"/>
                    <a:pt x="147" y="63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1" y="27"/>
                    <a:pt x="111" y="27"/>
                    <a:pt x="111" y="27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4" y="16"/>
                    <a:pt x="94" y="16"/>
                    <a:pt x="94" y="16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9" y="137"/>
                    <a:pt x="39" y="137"/>
                    <a:pt x="39" y="137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44"/>
                    <a:pt x="40" y="144"/>
                    <a:pt x="40" y="144"/>
                  </a:cubicBezTo>
                  <a:cubicBezTo>
                    <a:pt x="35" y="147"/>
                    <a:pt x="35" y="147"/>
                    <a:pt x="35" y="147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8" y="155"/>
                    <a:pt x="38" y="155"/>
                    <a:pt x="38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35" y="163"/>
                    <a:pt x="35" y="163"/>
                    <a:pt x="35" y="163"/>
                  </a:cubicBezTo>
                  <a:cubicBezTo>
                    <a:pt x="37" y="172"/>
                    <a:pt x="37" y="172"/>
                    <a:pt x="37" y="172"/>
                  </a:cubicBezTo>
                  <a:cubicBezTo>
                    <a:pt x="39" y="176"/>
                    <a:pt x="39" y="176"/>
                    <a:pt x="39" y="176"/>
                  </a:cubicBezTo>
                  <a:cubicBezTo>
                    <a:pt x="40" y="182"/>
                    <a:pt x="40" y="182"/>
                    <a:pt x="40" y="182"/>
                  </a:cubicBezTo>
                  <a:cubicBezTo>
                    <a:pt x="38" y="184"/>
                    <a:pt x="38" y="184"/>
                    <a:pt x="38" y="184"/>
                  </a:cubicBezTo>
                  <a:cubicBezTo>
                    <a:pt x="37" y="186"/>
                    <a:pt x="37" y="186"/>
                    <a:pt x="37" y="186"/>
                  </a:cubicBezTo>
                  <a:cubicBezTo>
                    <a:pt x="39" y="190"/>
                    <a:pt x="39" y="190"/>
                    <a:pt x="39" y="190"/>
                  </a:cubicBezTo>
                  <a:cubicBezTo>
                    <a:pt x="41" y="193"/>
                    <a:pt x="41" y="193"/>
                    <a:pt x="41" y="193"/>
                  </a:cubicBezTo>
                  <a:cubicBezTo>
                    <a:pt x="45" y="199"/>
                    <a:pt x="45" y="199"/>
                    <a:pt x="45" y="199"/>
                  </a:cubicBezTo>
                  <a:cubicBezTo>
                    <a:pt x="46" y="201"/>
                    <a:pt x="46" y="201"/>
                    <a:pt x="46" y="201"/>
                  </a:cubicBezTo>
                  <a:cubicBezTo>
                    <a:pt x="52" y="213"/>
                    <a:pt x="52" y="213"/>
                    <a:pt x="52" y="213"/>
                  </a:cubicBezTo>
                  <a:cubicBezTo>
                    <a:pt x="160" y="207"/>
                    <a:pt x="160" y="207"/>
                    <a:pt x="160" y="207"/>
                  </a:cubicBezTo>
                  <a:cubicBezTo>
                    <a:pt x="161" y="216"/>
                    <a:pt x="161" y="216"/>
                    <a:pt x="161" y="216"/>
                  </a:cubicBezTo>
                  <a:cubicBezTo>
                    <a:pt x="169" y="216"/>
                    <a:pt x="169" y="216"/>
                    <a:pt x="169" y="216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73" y="194"/>
                    <a:pt x="173" y="194"/>
                    <a:pt x="173" y="194"/>
                  </a:cubicBezTo>
                  <a:cubicBezTo>
                    <a:pt x="183" y="196"/>
                    <a:pt x="183" y="196"/>
                    <a:pt x="183" y="196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4" y="193"/>
                    <a:pt x="185" y="189"/>
                    <a:pt x="185" y="189"/>
                  </a:cubicBezTo>
                  <a:cubicBezTo>
                    <a:pt x="185" y="188"/>
                    <a:pt x="184" y="188"/>
                    <a:pt x="184" y="188"/>
                  </a:cubicBezTo>
                  <a:cubicBezTo>
                    <a:pt x="184" y="188"/>
                    <a:pt x="183" y="187"/>
                    <a:pt x="182" y="187"/>
                  </a:cubicBezTo>
                  <a:cubicBezTo>
                    <a:pt x="181" y="186"/>
                    <a:pt x="181" y="185"/>
                    <a:pt x="180" y="184"/>
                  </a:cubicBezTo>
                  <a:cubicBezTo>
                    <a:pt x="179" y="183"/>
                    <a:pt x="180" y="183"/>
                    <a:pt x="180" y="183"/>
                  </a:cubicBezTo>
                  <a:cubicBezTo>
                    <a:pt x="182" y="183"/>
                    <a:pt x="182" y="183"/>
                    <a:pt x="182" y="183"/>
                  </a:cubicBezTo>
                  <a:cubicBezTo>
                    <a:pt x="185" y="183"/>
                    <a:pt x="185" y="183"/>
                    <a:pt x="185" y="183"/>
                  </a:cubicBezTo>
                  <a:cubicBezTo>
                    <a:pt x="185" y="183"/>
                    <a:pt x="184" y="181"/>
                    <a:pt x="184" y="179"/>
                  </a:cubicBezTo>
                  <a:cubicBezTo>
                    <a:pt x="183" y="177"/>
                    <a:pt x="183" y="177"/>
                    <a:pt x="183" y="177"/>
                  </a:cubicBezTo>
                  <a:cubicBezTo>
                    <a:pt x="186" y="176"/>
                    <a:pt x="186" y="176"/>
                    <a:pt x="186" y="176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90" y="169"/>
                    <a:pt x="190" y="169"/>
                    <a:pt x="190" y="169"/>
                  </a:cubicBezTo>
                  <a:cubicBezTo>
                    <a:pt x="187" y="168"/>
                    <a:pt x="187" y="168"/>
                    <a:pt x="187" y="168"/>
                  </a:cubicBezTo>
                  <a:cubicBezTo>
                    <a:pt x="187" y="168"/>
                    <a:pt x="187" y="167"/>
                    <a:pt x="187" y="167"/>
                  </a:cubicBezTo>
                  <a:cubicBezTo>
                    <a:pt x="187" y="166"/>
                    <a:pt x="188" y="166"/>
                    <a:pt x="188" y="165"/>
                  </a:cubicBezTo>
                  <a:cubicBezTo>
                    <a:pt x="188" y="165"/>
                    <a:pt x="189" y="164"/>
                    <a:pt x="189" y="164"/>
                  </a:cubicBezTo>
                  <a:cubicBezTo>
                    <a:pt x="189" y="161"/>
                    <a:pt x="189" y="161"/>
                    <a:pt x="189" y="161"/>
                  </a:cubicBezTo>
                  <a:cubicBezTo>
                    <a:pt x="189" y="154"/>
                    <a:pt x="189" y="154"/>
                    <a:pt x="189" y="154"/>
                  </a:cubicBezTo>
                  <a:cubicBezTo>
                    <a:pt x="189" y="151"/>
                    <a:pt x="189" y="151"/>
                    <a:pt x="189" y="151"/>
                  </a:cubicBezTo>
                  <a:cubicBezTo>
                    <a:pt x="189" y="151"/>
                    <a:pt x="191" y="151"/>
                    <a:pt x="192" y="151"/>
                  </a:cubicBezTo>
                  <a:cubicBezTo>
                    <a:pt x="192" y="151"/>
                    <a:pt x="194" y="152"/>
                    <a:pt x="194" y="152"/>
                  </a:cubicBezTo>
                  <a:cubicBezTo>
                    <a:pt x="194" y="152"/>
                    <a:pt x="195" y="151"/>
                    <a:pt x="195" y="150"/>
                  </a:cubicBezTo>
                  <a:cubicBezTo>
                    <a:pt x="195" y="150"/>
                    <a:pt x="195" y="150"/>
                    <a:pt x="193" y="149"/>
                  </a:cubicBezTo>
                  <a:cubicBezTo>
                    <a:pt x="192" y="148"/>
                    <a:pt x="190" y="147"/>
                    <a:pt x="190" y="147"/>
                  </a:cubicBezTo>
                  <a:cubicBezTo>
                    <a:pt x="190" y="146"/>
                    <a:pt x="189" y="144"/>
                    <a:pt x="189" y="144"/>
                  </a:cubicBezTo>
                  <a:cubicBezTo>
                    <a:pt x="191" y="144"/>
                    <a:pt x="191" y="144"/>
                    <a:pt x="191" y="144"/>
                  </a:cubicBezTo>
                  <a:cubicBezTo>
                    <a:pt x="196" y="144"/>
                    <a:pt x="196" y="144"/>
                    <a:pt x="196" y="144"/>
                  </a:cubicBezTo>
                  <a:cubicBezTo>
                    <a:pt x="197" y="141"/>
                    <a:pt x="197" y="141"/>
                    <a:pt x="197" y="141"/>
                  </a:cubicBezTo>
                  <a:cubicBezTo>
                    <a:pt x="197" y="141"/>
                    <a:pt x="193" y="141"/>
                    <a:pt x="193" y="141"/>
                  </a:cubicBezTo>
                  <a:cubicBezTo>
                    <a:pt x="193" y="141"/>
                    <a:pt x="191" y="139"/>
                    <a:pt x="191" y="139"/>
                  </a:cubicBezTo>
                  <a:cubicBezTo>
                    <a:pt x="192" y="137"/>
                    <a:pt x="192" y="137"/>
                    <a:pt x="192" y="137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7" y="138"/>
                    <a:pt x="197" y="138"/>
                    <a:pt x="197" y="138"/>
                  </a:cubicBezTo>
                  <a:cubicBezTo>
                    <a:pt x="199" y="137"/>
                    <a:pt x="199" y="137"/>
                    <a:pt x="199" y="137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1" y="130"/>
                    <a:pt x="201" y="130"/>
                    <a:pt x="201" y="130"/>
                  </a:cubicBezTo>
                  <a:cubicBezTo>
                    <a:pt x="200" y="129"/>
                    <a:pt x="200" y="129"/>
                    <a:pt x="200" y="129"/>
                  </a:cubicBezTo>
                  <a:lnTo>
                    <a:pt x="198" y="12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accent6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7556F973-C892-004F-9B6F-7E763C9E1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9191" y="2432962"/>
              <a:ext cx="418238" cy="234416"/>
            </a:xfrm>
            <a:custGeom>
              <a:avLst/>
              <a:gdLst>
                <a:gd name="T0" fmla="*/ 169 w 248"/>
                <a:gd name="T1" fmla="*/ 118 h 139"/>
                <a:gd name="T2" fmla="*/ 248 w 248"/>
                <a:gd name="T3" fmla="*/ 101 h 139"/>
                <a:gd name="T4" fmla="*/ 246 w 248"/>
                <a:gd name="T5" fmla="*/ 93 h 139"/>
                <a:gd name="T6" fmla="*/ 239 w 248"/>
                <a:gd name="T7" fmla="*/ 86 h 139"/>
                <a:gd name="T8" fmla="*/ 232 w 248"/>
                <a:gd name="T9" fmla="*/ 83 h 139"/>
                <a:gd name="T10" fmla="*/ 228 w 248"/>
                <a:gd name="T11" fmla="*/ 78 h 139"/>
                <a:gd name="T12" fmla="*/ 224 w 248"/>
                <a:gd name="T13" fmla="*/ 72 h 139"/>
                <a:gd name="T14" fmla="*/ 226 w 248"/>
                <a:gd name="T15" fmla="*/ 68 h 139"/>
                <a:gd name="T16" fmla="*/ 228 w 248"/>
                <a:gd name="T17" fmla="*/ 67 h 139"/>
                <a:gd name="T18" fmla="*/ 224 w 248"/>
                <a:gd name="T19" fmla="*/ 63 h 139"/>
                <a:gd name="T20" fmla="*/ 211 w 248"/>
                <a:gd name="T21" fmla="*/ 54 h 139"/>
                <a:gd name="T22" fmla="*/ 215 w 248"/>
                <a:gd name="T23" fmla="*/ 55 h 139"/>
                <a:gd name="T24" fmla="*/ 221 w 248"/>
                <a:gd name="T25" fmla="*/ 59 h 139"/>
                <a:gd name="T26" fmla="*/ 225 w 248"/>
                <a:gd name="T27" fmla="*/ 56 h 139"/>
                <a:gd name="T28" fmla="*/ 225 w 248"/>
                <a:gd name="T29" fmla="*/ 48 h 139"/>
                <a:gd name="T30" fmla="*/ 215 w 248"/>
                <a:gd name="T31" fmla="*/ 45 h 139"/>
                <a:gd name="T32" fmla="*/ 211 w 248"/>
                <a:gd name="T33" fmla="*/ 41 h 139"/>
                <a:gd name="T34" fmla="*/ 207 w 248"/>
                <a:gd name="T35" fmla="*/ 43 h 139"/>
                <a:gd name="T36" fmla="*/ 199 w 248"/>
                <a:gd name="T37" fmla="*/ 37 h 139"/>
                <a:gd name="T38" fmla="*/ 193 w 248"/>
                <a:gd name="T39" fmla="*/ 37 h 139"/>
                <a:gd name="T40" fmla="*/ 188 w 248"/>
                <a:gd name="T41" fmla="*/ 36 h 139"/>
                <a:gd name="T42" fmla="*/ 191 w 248"/>
                <a:gd name="T43" fmla="*/ 24 h 139"/>
                <a:gd name="T44" fmla="*/ 192 w 248"/>
                <a:gd name="T45" fmla="*/ 17 h 139"/>
                <a:gd name="T46" fmla="*/ 183 w 248"/>
                <a:gd name="T47" fmla="*/ 10 h 139"/>
                <a:gd name="T48" fmla="*/ 171 w 248"/>
                <a:gd name="T49" fmla="*/ 5 h 139"/>
                <a:gd name="T50" fmla="*/ 166 w 248"/>
                <a:gd name="T51" fmla="*/ 8 h 139"/>
                <a:gd name="T52" fmla="*/ 151 w 248"/>
                <a:gd name="T53" fmla="*/ 0 h 139"/>
                <a:gd name="T54" fmla="*/ 149 w 248"/>
                <a:gd name="T55" fmla="*/ 15 h 139"/>
                <a:gd name="T56" fmla="*/ 144 w 248"/>
                <a:gd name="T57" fmla="*/ 21 h 139"/>
                <a:gd name="T58" fmla="*/ 138 w 248"/>
                <a:gd name="T59" fmla="*/ 28 h 139"/>
                <a:gd name="T60" fmla="*/ 134 w 248"/>
                <a:gd name="T61" fmla="*/ 28 h 139"/>
                <a:gd name="T62" fmla="*/ 131 w 248"/>
                <a:gd name="T63" fmla="*/ 36 h 139"/>
                <a:gd name="T64" fmla="*/ 127 w 248"/>
                <a:gd name="T65" fmla="*/ 46 h 139"/>
                <a:gd name="T66" fmla="*/ 120 w 248"/>
                <a:gd name="T67" fmla="*/ 43 h 139"/>
                <a:gd name="T68" fmla="*/ 115 w 248"/>
                <a:gd name="T69" fmla="*/ 48 h 139"/>
                <a:gd name="T70" fmla="*/ 109 w 248"/>
                <a:gd name="T71" fmla="*/ 68 h 139"/>
                <a:gd name="T72" fmla="*/ 103 w 248"/>
                <a:gd name="T73" fmla="*/ 78 h 139"/>
                <a:gd name="T74" fmla="*/ 100 w 248"/>
                <a:gd name="T75" fmla="*/ 89 h 139"/>
                <a:gd name="T76" fmla="*/ 82 w 248"/>
                <a:gd name="T77" fmla="*/ 101 h 139"/>
                <a:gd name="T78" fmla="*/ 69 w 248"/>
                <a:gd name="T79" fmla="*/ 100 h 139"/>
                <a:gd name="T80" fmla="*/ 61 w 248"/>
                <a:gd name="T81" fmla="*/ 107 h 139"/>
                <a:gd name="T82" fmla="*/ 50 w 248"/>
                <a:gd name="T83" fmla="*/ 100 h 139"/>
                <a:gd name="T84" fmla="*/ 46 w 248"/>
                <a:gd name="T85" fmla="*/ 97 h 139"/>
                <a:gd name="T86" fmla="*/ 43 w 248"/>
                <a:gd name="T87" fmla="*/ 103 h 139"/>
                <a:gd name="T88" fmla="*/ 28 w 248"/>
                <a:gd name="T89" fmla="*/ 113 h 139"/>
                <a:gd name="T90" fmla="*/ 22 w 248"/>
                <a:gd name="T91" fmla="*/ 127 h 139"/>
                <a:gd name="T92" fmla="*/ 15 w 248"/>
                <a:gd name="T93" fmla="*/ 130 h 139"/>
                <a:gd name="T94" fmla="*/ 6 w 248"/>
                <a:gd name="T95" fmla="*/ 136 h 139"/>
                <a:gd name="T96" fmla="*/ 64 w 248"/>
                <a:gd name="T97" fmla="*/ 13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8" h="139">
                  <a:moveTo>
                    <a:pt x="116" y="127"/>
                  </a:moveTo>
                  <a:lnTo>
                    <a:pt x="169" y="118"/>
                  </a:lnTo>
                  <a:lnTo>
                    <a:pt x="243" y="103"/>
                  </a:lnTo>
                  <a:lnTo>
                    <a:pt x="248" y="101"/>
                  </a:lnTo>
                  <a:lnTo>
                    <a:pt x="248" y="98"/>
                  </a:lnTo>
                  <a:lnTo>
                    <a:pt x="246" y="93"/>
                  </a:lnTo>
                  <a:lnTo>
                    <a:pt x="243" y="89"/>
                  </a:lnTo>
                  <a:lnTo>
                    <a:pt x="239" y="86"/>
                  </a:lnTo>
                  <a:lnTo>
                    <a:pt x="237" y="86"/>
                  </a:lnTo>
                  <a:lnTo>
                    <a:pt x="232" y="83"/>
                  </a:lnTo>
                  <a:lnTo>
                    <a:pt x="231" y="80"/>
                  </a:lnTo>
                  <a:lnTo>
                    <a:pt x="228" y="78"/>
                  </a:lnTo>
                  <a:lnTo>
                    <a:pt x="226" y="74"/>
                  </a:lnTo>
                  <a:lnTo>
                    <a:pt x="224" y="72"/>
                  </a:lnTo>
                  <a:lnTo>
                    <a:pt x="224" y="70"/>
                  </a:lnTo>
                  <a:lnTo>
                    <a:pt x="226" y="68"/>
                  </a:lnTo>
                  <a:lnTo>
                    <a:pt x="230" y="70"/>
                  </a:lnTo>
                  <a:lnTo>
                    <a:pt x="228" y="67"/>
                  </a:lnTo>
                  <a:lnTo>
                    <a:pt x="226" y="64"/>
                  </a:lnTo>
                  <a:lnTo>
                    <a:pt x="224" y="63"/>
                  </a:lnTo>
                  <a:lnTo>
                    <a:pt x="215" y="60"/>
                  </a:lnTo>
                  <a:lnTo>
                    <a:pt x="211" y="54"/>
                  </a:lnTo>
                  <a:lnTo>
                    <a:pt x="211" y="53"/>
                  </a:lnTo>
                  <a:lnTo>
                    <a:pt x="215" y="55"/>
                  </a:lnTo>
                  <a:lnTo>
                    <a:pt x="220" y="56"/>
                  </a:lnTo>
                  <a:lnTo>
                    <a:pt x="221" y="59"/>
                  </a:lnTo>
                  <a:lnTo>
                    <a:pt x="227" y="60"/>
                  </a:lnTo>
                  <a:lnTo>
                    <a:pt x="225" y="56"/>
                  </a:lnTo>
                  <a:lnTo>
                    <a:pt x="225" y="51"/>
                  </a:lnTo>
                  <a:lnTo>
                    <a:pt x="225" y="48"/>
                  </a:lnTo>
                  <a:lnTo>
                    <a:pt x="221" y="49"/>
                  </a:lnTo>
                  <a:lnTo>
                    <a:pt x="215" y="45"/>
                  </a:lnTo>
                  <a:lnTo>
                    <a:pt x="212" y="41"/>
                  </a:lnTo>
                  <a:lnTo>
                    <a:pt x="211" y="41"/>
                  </a:lnTo>
                  <a:lnTo>
                    <a:pt x="210" y="43"/>
                  </a:lnTo>
                  <a:lnTo>
                    <a:pt x="207" y="43"/>
                  </a:lnTo>
                  <a:lnTo>
                    <a:pt x="203" y="39"/>
                  </a:lnTo>
                  <a:lnTo>
                    <a:pt x="199" y="37"/>
                  </a:lnTo>
                  <a:lnTo>
                    <a:pt x="195" y="36"/>
                  </a:lnTo>
                  <a:lnTo>
                    <a:pt x="193" y="37"/>
                  </a:lnTo>
                  <a:lnTo>
                    <a:pt x="190" y="38"/>
                  </a:lnTo>
                  <a:lnTo>
                    <a:pt x="188" y="36"/>
                  </a:lnTo>
                  <a:lnTo>
                    <a:pt x="188" y="25"/>
                  </a:lnTo>
                  <a:lnTo>
                    <a:pt x="191" y="24"/>
                  </a:lnTo>
                  <a:lnTo>
                    <a:pt x="193" y="21"/>
                  </a:lnTo>
                  <a:lnTo>
                    <a:pt x="192" y="17"/>
                  </a:lnTo>
                  <a:lnTo>
                    <a:pt x="188" y="14"/>
                  </a:lnTo>
                  <a:lnTo>
                    <a:pt x="183" y="10"/>
                  </a:lnTo>
                  <a:lnTo>
                    <a:pt x="173" y="4"/>
                  </a:lnTo>
                  <a:lnTo>
                    <a:pt x="171" y="5"/>
                  </a:lnTo>
                  <a:lnTo>
                    <a:pt x="168" y="8"/>
                  </a:lnTo>
                  <a:lnTo>
                    <a:pt x="166" y="8"/>
                  </a:lnTo>
                  <a:lnTo>
                    <a:pt x="160" y="5"/>
                  </a:lnTo>
                  <a:lnTo>
                    <a:pt x="151" y="0"/>
                  </a:lnTo>
                  <a:lnTo>
                    <a:pt x="151" y="8"/>
                  </a:lnTo>
                  <a:lnTo>
                    <a:pt x="149" y="15"/>
                  </a:lnTo>
                  <a:lnTo>
                    <a:pt x="147" y="18"/>
                  </a:lnTo>
                  <a:lnTo>
                    <a:pt x="144" y="21"/>
                  </a:lnTo>
                  <a:lnTo>
                    <a:pt x="139" y="30"/>
                  </a:lnTo>
                  <a:lnTo>
                    <a:pt x="138" y="28"/>
                  </a:lnTo>
                  <a:lnTo>
                    <a:pt x="135" y="28"/>
                  </a:lnTo>
                  <a:lnTo>
                    <a:pt x="134" y="28"/>
                  </a:lnTo>
                  <a:lnTo>
                    <a:pt x="133" y="32"/>
                  </a:lnTo>
                  <a:lnTo>
                    <a:pt x="131" y="36"/>
                  </a:lnTo>
                  <a:lnTo>
                    <a:pt x="128" y="44"/>
                  </a:lnTo>
                  <a:lnTo>
                    <a:pt x="127" y="46"/>
                  </a:lnTo>
                  <a:lnTo>
                    <a:pt x="125" y="45"/>
                  </a:lnTo>
                  <a:lnTo>
                    <a:pt x="120" y="43"/>
                  </a:lnTo>
                  <a:lnTo>
                    <a:pt x="116" y="41"/>
                  </a:lnTo>
                  <a:lnTo>
                    <a:pt x="115" y="48"/>
                  </a:lnTo>
                  <a:lnTo>
                    <a:pt x="112" y="60"/>
                  </a:lnTo>
                  <a:lnTo>
                    <a:pt x="109" y="68"/>
                  </a:lnTo>
                  <a:lnTo>
                    <a:pt x="104" y="73"/>
                  </a:lnTo>
                  <a:lnTo>
                    <a:pt x="103" y="78"/>
                  </a:lnTo>
                  <a:lnTo>
                    <a:pt x="104" y="86"/>
                  </a:lnTo>
                  <a:lnTo>
                    <a:pt x="100" y="89"/>
                  </a:lnTo>
                  <a:lnTo>
                    <a:pt x="89" y="95"/>
                  </a:lnTo>
                  <a:lnTo>
                    <a:pt x="82" y="101"/>
                  </a:lnTo>
                  <a:lnTo>
                    <a:pt x="73" y="103"/>
                  </a:lnTo>
                  <a:lnTo>
                    <a:pt x="69" y="100"/>
                  </a:lnTo>
                  <a:lnTo>
                    <a:pt x="63" y="107"/>
                  </a:lnTo>
                  <a:lnTo>
                    <a:pt x="61" y="107"/>
                  </a:lnTo>
                  <a:lnTo>
                    <a:pt x="56" y="105"/>
                  </a:lnTo>
                  <a:lnTo>
                    <a:pt x="50" y="100"/>
                  </a:lnTo>
                  <a:lnTo>
                    <a:pt x="49" y="97"/>
                  </a:lnTo>
                  <a:lnTo>
                    <a:pt x="46" y="97"/>
                  </a:lnTo>
                  <a:lnTo>
                    <a:pt x="45" y="99"/>
                  </a:lnTo>
                  <a:lnTo>
                    <a:pt x="43" y="103"/>
                  </a:lnTo>
                  <a:lnTo>
                    <a:pt x="39" y="109"/>
                  </a:lnTo>
                  <a:lnTo>
                    <a:pt x="28" y="113"/>
                  </a:lnTo>
                  <a:lnTo>
                    <a:pt x="25" y="118"/>
                  </a:lnTo>
                  <a:lnTo>
                    <a:pt x="22" y="127"/>
                  </a:lnTo>
                  <a:lnTo>
                    <a:pt x="18" y="128"/>
                  </a:lnTo>
                  <a:lnTo>
                    <a:pt x="15" y="130"/>
                  </a:lnTo>
                  <a:lnTo>
                    <a:pt x="10" y="133"/>
                  </a:lnTo>
                  <a:lnTo>
                    <a:pt x="6" y="136"/>
                  </a:lnTo>
                  <a:lnTo>
                    <a:pt x="0" y="139"/>
                  </a:lnTo>
                  <a:lnTo>
                    <a:pt x="64" y="133"/>
                  </a:lnTo>
                  <a:lnTo>
                    <a:pt x="116" y="127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74BEA36-AD04-F847-8C8F-8258A800B3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6292" y="2750013"/>
              <a:ext cx="269831" cy="209119"/>
            </a:xfrm>
            <a:custGeom>
              <a:avLst/>
              <a:gdLst>
                <a:gd name="T0" fmla="*/ 94 w 189"/>
                <a:gd name="T1" fmla="*/ 4 h 147"/>
                <a:gd name="T2" fmla="*/ 79 w 189"/>
                <a:gd name="T3" fmla="*/ 0 h 147"/>
                <a:gd name="T4" fmla="*/ 67 w 189"/>
                <a:gd name="T5" fmla="*/ 4 h 147"/>
                <a:gd name="T6" fmla="*/ 58 w 189"/>
                <a:gd name="T7" fmla="*/ 6 h 147"/>
                <a:gd name="T8" fmla="*/ 39 w 189"/>
                <a:gd name="T9" fmla="*/ 4 h 147"/>
                <a:gd name="T10" fmla="*/ 26 w 189"/>
                <a:gd name="T11" fmla="*/ 7 h 147"/>
                <a:gd name="T12" fmla="*/ 12 w 189"/>
                <a:gd name="T13" fmla="*/ 18 h 147"/>
                <a:gd name="T14" fmla="*/ 11 w 189"/>
                <a:gd name="T15" fmla="*/ 22 h 147"/>
                <a:gd name="T16" fmla="*/ 5 w 189"/>
                <a:gd name="T17" fmla="*/ 26 h 147"/>
                <a:gd name="T18" fmla="*/ 0 w 189"/>
                <a:gd name="T19" fmla="*/ 32 h 147"/>
                <a:gd name="T20" fmla="*/ 4 w 189"/>
                <a:gd name="T21" fmla="*/ 37 h 147"/>
                <a:gd name="T22" fmla="*/ 19 w 189"/>
                <a:gd name="T23" fmla="*/ 45 h 147"/>
                <a:gd name="T24" fmla="*/ 24 w 189"/>
                <a:gd name="T25" fmla="*/ 53 h 147"/>
                <a:gd name="T26" fmla="*/ 34 w 189"/>
                <a:gd name="T27" fmla="*/ 64 h 147"/>
                <a:gd name="T28" fmla="*/ 55 w 189"/>
                <a:gd name="T29" fmla="*/ 81 h 147"/>
                <a:gd name="T30" fmla="*/ 66 w 189"/>
                <a:gd name="T31" fmla="*/ 96 h 147"/>
                <a:gd name="T32" fmla="*/ 76 w 189"/>
                <a:gd name="T33" fmla="*/ 102 h 147"/>
                <a:gd name="T34" fmla="*/ 82 w 189"/>
                <a:gd name="T35" fmla="*/ 107 h 147"/>
                <a:gd name="T36" fmla="*/ 87 w 189"/>
                <a:gd name="T37" fmla="*/ 114 h 147"/>
                <a:gd name="T38" fmla="*/ 89 w 189"/>
                <a:gd name="T39" fmla="*/ 119 h 147"/>
                <a:gd name="T40" fmla="*/ 91 w 189"/>
                <a:gd name="T41" fmla="*/ 124 h 147"/>
                <a:gd name="T42" fmla="*/ 95 w 189"/>
                <a:gd name="T43" fmla="*/ 125 h 147"/>
                <a:gd name="T44" fmla="*/ 98 w 189"/>
                <a:gd name="T45" fmla="*/ 128 h 147"/>
                <a:gd name="T46" fmla="*/ 99 w 189"/>
                <a:gd name="T47" fmla="*/ 133 h 147"/>
                <a:gd name="T48" fmla="*/ 103 w 189"/>
                <a:gd name="T49" fmla="*/ 138 h 147"/>
                <a:gd name="T50" fmla="*/ 104 w 189"/>
                <a:gd name="T51" fmla="*/ 145 h 147"/>
                <a:gd name="T52" fmla="*/ 108 w 189"/>
                <a:gd name="T53" fmla="*/ 147 h 147"/>
                <a:gd name="T54" fmla="*/ 110 w 189"/>
                <a:gd name="T55" fmla="*/ 140 h 147"/>
                <a:gd name="T56" fmla="*/ 116 w 189"/>
                <a:gd name="T57" fmla="*/ 140 h 147"/>
                <a:gd name="T58" fmla="*/ 117 w 189"/>
                <a:gd name="T59" fmla="*/ 137 h 147"/>
                <a:gd name="T60" fmla="*/ 112 w 189"/>
                <a:gd name="T61" fmla="*/ 136 h 147"/>
                <a:gd name="T62" fmla="*/ 110 w 189"/>
                <a:gd name="T63" fmla="*/ 133 h 147"/>
                <a:gd name="T64" fmla="*/ 115 w 189"/>
                <a:gd name="T65" fmla="*/ 132 h 147"/>
                <a:gd name="T66" fmla="*/ 119 w 189"/>
                <a:gd name="T67" fmla="*/ 135 h 147"/>
                <a:gd name="T68" fmla="*/ 124 w 189"/>
                <a:gd name="T69" fmla="*/ 128 h 147"/>
                <a:gd name="T70" fmla="*/ 123 w 189"/>
                <a:gd name="T71" fmla="*/ 123 h 147"/>
                <a:gd name="T72" fmla="*/ 130 w 189"/>
                <a:gd name="T73" fmla="*/ 123 h 147"/>
                <a:gd name="T74" fmla="*/ 135 w 189"/>
                <a:gd name="T75" fmla="*/ 119 h 147"/>
                <a:gd name="T76" fmla="*/ 131 w 189"/>
                <a:gd name="T77" fmla="*/ 118 h 147"/>
                <a:gd name="T78" fmla="*/ 129 w 189"/>
                <a:gd name="T79" fmla="*/ 115 h 147"/>
                <a:gd name="T80" fmla="*/ 133 w 189"/>
                <a:gd name="T81" fmla="*/ 115 h 147"/>
                <a:gd name="T82" fmla="*/ 138 w 189"/>
                <a:gd name="T83" fmla="*/ 117 h 147"/>
                <a:gd name="T84" fmla="*/ 145 w 189"/>
                <a:gd name="T85" fmla="*/ 110 h 147"/>
                <a:gd name="T86" fmla="*/ 141 w 189"/>
                <a:gd name="T87" fmla="*/ 105 h 147"/>
                <a:gd name="T88" fmla="*/ 143 w 189"/>
                <a:gd name="T89" fmla="*/ 103 h 147"/>
                <a:gd name="T90" fmla="*/ 149 w 189"/>
                <a:gd name="T91" fmla="*/ 103 h 147"/>
                <a:gd name="T92" fmla="*/ 155 w 189"/>
                <a:gd name="T93" fmla="*/ 93 h 147"/>
                <a:gd name="T94" fmla="*/ 164 w 189"/>
                <a:gd name="T95" fmla="*/ 89 h 147"/>
                <a:gd name="T96" fmla="*/ 169 w 189"/>
                <a:gd name="T97" fmla="*/ 81 h 147"/>
                <a:gd name="T98" fmla="*/ 165 w 189"/>
                <a:gd name="T99" fmla="*/ 75 h 147"/>
                <a:gd name="T100" fmla="*/ 169 w 189"/>
                <a:gd name="T101" fmla="*/ 75 h 147"/>
                <a:gd name="T102" fmla="*/ 170 w 189"/>
                <a:gd name="T103" fmla="*/ 70 h 147"/>
                <a:gd name="T104" fmla="*/ 175 w 189"/>
                <a:gd name="T105" fmla="*/ 60 h 147"/>
                <a:gd name="T106" fmla="*/ 178 w 189"/>
                <a:gd name="T107" fmla="*/ 54 h 147"/>
                <a:gd name="T108" fmla="*/ 187 w 189"/>
                <a:gd name="T109" fmla="*/ 46 h 147"/>
                <a:gd name="T110" fmla="*/ 138 w 189"/>
                <a:gd name="T111" fmla="*/ 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9" h="147">
                  <a:moveTo>
                    <a:pt x="98" y="14"/>
                  </a:moveTo>
                  <a:cubicBezTo>
                    <a:pt x="94" y="4"/>
                    <a:pt x="94" y="4"/>
                    <a:pt x="94" y="4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6" y="102"/>
                    <a:pt x="76" y="102"/>
                    <a:pt x="76" y="102"/>
                  </a:cubicBezTo>
                  <a:cubicBezTo>
                    <a:pt x="79" y="105"/>
                    <a:pt x="79" y="105"/>
                    <a:pt x="79" y="105"/>
                  </a:cubicBezTo>
                  <a:cubicBezTo>
                    <a:pt x="82" y="107"/>
                    <a:pt x="82" y="107"/>
                    <a:pt x="82" y="107"/>
                  </a:cubicBezTo>
                  <a:cubicBezTo>
                    <a:pt x="84" y="109"/>
                    <a:pt x="84" y="109"/>
                    <a:pt x="84" y="109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89" y="117"/>
                    <a:pt x="89" y="117"/>
                    <a:pt x="89" y="117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91" y="124"/>
                    <a:pt x="91" y="124"/>
                    <a:pt x="91" y="124"/>
                  </a:cubicBezTo>
                  <a:cubicBezTo>
                    <a:pt x="92" y="124"/>
                    <a:pt x="92" y="124"/>
                    <a:pt x="92" y="124"/>
                  </a:cubicBezTo>
                  <a:cubicBezTo>
                    <a:pt x="95" y="125"/>
                    <a:pt x="95" y="125"/>
                    <a:pt x="95" y="125"/>
                  </a:cubicBezTo>
                  <a:cubicBezTo>
                    <a:pt x="98" y="127"/>
                    <a:pt x="98" y="127"/>
                    <a:pt x="98" y="127"/>
                  </a:cubicBezTo>
                  <a:cubicBezTo>
                    <a:pt x="98" y="128"/>
                    <a:pt x="98" y="128"/>
                    <a:pt x="98" y="128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9" y="133"/>
                    <a:pt x="99" y="133"/>
                    <a:pt x="99" y="133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5"/>
                    <a:pt x="104" y="145"/>
                    <a:pt x="104" y="145"/>
                  </a:cubicBezTo>
                  <a:cubicBezTo>
                    <a:pt x="106" y="146"/>
                    <a:pt x="106" y="146"/>
                    <a:pt x="106" y="146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1"/>
                    <a:pt x="108" y="141"/>
                    <a:pt x="108" y="141"/>
                  </a:cubicBezTo>
                  <a:cubicBezTo>
                    <a:pt x="110" y="140"/>
                    <a:pt x="110" y="140"/>
                    <a:pt x="110" y="140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6" y="140"/>
                    <a:pt x="116" y="140"/>
                    <a:pt x="116" y="140"/>
                  </a:cubicBezTo>
                  <a:cubicBezTo>
                    <a:pt x="116" y="140"/>
                    <a:pt x="118" y="139"/>
                    <a:pt x="118" y="139"/>
                  </a:cubicBezTo>
                  <a:cubicBezTo>
                    <a:pt x="118" y="138"/>
                    <a:pt x="117" y="137"/>
                    <a:pt x="117" y="137"/>
                  </a:cubicBezTo>
                  <a:cubicBezTo>
                    <a:pt x="116" y="137"/>
                    <a:pt x="116" y="137"/>
                    <a:pt x="116" y="137"/>
                  </a:cubicBezTo>
                  <a:cubicBezTo>
                    <a:pt x="116" y="137"/>
                    <a:pt x="112" y="136"/>
                    <a:pt x="112" y="136"/>
                  </a:cubicBezTo>
                  <a:cubicBezTo>
                    <a:pt x="111" y="136"/>
                    <a:pt x="110" y="134"/>
                    <a:pt x="110" y="134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9" y="135"/>
                    <a:pt x="119" y="135"/>
                    <a:pt x="119" y="135"/>
                  </a:cubicBezTo>
                  <a:cubicBezTo>
                    <a:pt x="123" y="134"/>
                    <a:pt x="123" y="134"/>
                    <a:pt x="123" y="134"/>
                  </a:cubicBezTo>
                  <a:cubicBezTo>
                    <a:pt x="124" y="128"/>
                    <a:pt x="124" y="128"/>
                    <a:pt x="124" y="128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26" y="123"/>
                    <a:pt x="126" y="123"/>
                    <a:pt x="126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35" y="120"/>
                    <a:pt x="135" y="120"/>
                    <a:pt x="135" y="120"/>
                  </a:cubicBezTo>
                  <a:cubicBezTo>
                    <a:pt x="135" y="119"/>
                    <a:pt x="135" y="119"/>
                    <a:pt x="135" y="119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29" y="117"/>
                    <a:pt x="129" y="117"/>
                    <a:pt x="129" y="117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33" y="115"/>
                    <a:pt x="133" y="115"/>
                    <a:pt x="133" y="115"/>
                  </a:cubicBezTo>
                  <a:cubicBezTo>
                    <a:pt x="136" y="117"/>
                    <a:pt x="136" y="117"/>
                    <a:pt x="136" y="117"/>
                  </a:cubicBezTo>
                  <a:cubicBezTo>
                    <a:pt x="138" y="117"/>
                    <a:pt x="138" y="117"/>
                    <a:pt x="138" y="117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4"/>
                    <a:pt x="141" y="104"/>
                    <a:pt x="141" y="104"/>
                  </a:cubicBezTo>
                  <a:cubicBezTo>
                    <a:pt x="143" y="103"/>
                    <a:pt x="143" y="103"/>
                    <a:pt x="143" y="103"/>
                  </a:cubicBezTo>
                  <a:cubicBezTo>
                    <a:pt x="147" y="105"/>
                    <a:pt x="147" y="105"/>
                    <a:pt x="147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51" y="100"/>
                    <a:pt x="151" y="100"/>
                    <a:pt x="151" y="100"/>
                  </a:cubicBezTo>
                  <a:cubicBezTo>
                    <a:pt x="155" y="93"/>
                    <a:pt x="155" y="93"/>
                    <a:pt x="155" y="93"/>
                  </a:cubicBezTo>
                  <a:cubicBezTo>
                    <a:pt x="159" y="90"/>
                    <a:pt x="159" y="90"/>
                    <a:pt x="159" y="90"/>
                  </a:cubicBezTo>
                  <a:cubicBezTo>
                    <a:pt x="164" y="89"/>
                    <a:pt x="164" y="89"/>
                    <a:pt x="164" y="89"/>
                  </a:cubicBezTo>
                  <a:cubicBezTo>
                    <a:pt x="167" y="84"/>
                    <a:pt x="167" y="84"/>
                    <a:pt x="167" y="84"/>
                  </a:cubicBezTo>
                  <a:cubicBezTo>
                    <a:pt x="169" y="81"/>
                    <a:pt x="169" y="81"/>
                    <a:pt x="169" y="81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7" y="75"/>
                    <a:pt x="167" y="75"/>
                    <a:pt x="167" y="75"/>
                  </a:cubicBezTo>
                  <a:cubicBezTo>
                    <a:pt x="169" y="75"/>
                    <a:pt x="169" y="75"/>
                    <a:pt x="169" y="75"/>
                  </a:cubicBezTo>
                  <a:cubicBezTo>
                    <a:pt x="169" y="72"/>
                    <a:pt x="169" y="72"/>
                    <a:pt x="169" y="72"/>
                  </a:cubicBezTo>
                  <a:cubicBezTo>
                    <a:pt x="170" y="70"/>
                    <a:pt x="170" y="70"/>
                    <a:pt x="170" y="70"/>
                  </a:cubicBezTo>
                  <a:cubicBezTo>
                    <a:pt x="173" y="66"/>
                    <a:pt x="173" y="66"/>
                    <a:pt x="173" y="66"/>
                  </a:cubicBezTo>
                  <a:cubicBezTo>
                    <a:pt x="175" y="60"/>
                    <a:pt x="175" y="60"/>
                    <a:pt x="175" y="60"/>
                  </a:cubicBezTo>
                  <a:cubicBezTo>
                    <a:pt x="177" y="56"/>
                    <a:pt x="177" y="56"/>
                    <a:pt x="177" y="56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80" y="52"/>
                    <a:pt x="180" y="52"/>
                    <a:pt x="180" y="52"/>
                  </a:cubicBezTo>
                  <a:cubicBezTo>
                    <a:pt x="187" y="46"/>
                    <a:pt x="187" y="46"/>
                    <a:pt x="187" y="46"/>
                  </a:cubicBezTo>
                  <a:cubicBezTo>
                    <a:pt x="189" y="44"/>
                    <a:pt x="189" y="44"/>
                    <a:pt x="189" y="44"/>
                  </a:cubicBezTo>
                  <a:cubicBezTo>
                    <a:pt x="138" y="6"/>
                    <a:pt x="138" y="6"/>
                    <a:pt x="138" y="6"/>
                  </a:cubicBezTo>
                  <a:lnTo>
                    <a:pt x="98" y="1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40EED29C-3DBE-1E45-99ED-603446512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8029" y="2788801"/>
              <a:ext cx="212492" cy="340661"/>
            </a:xfrm>
            <a:custGeom>
              <a:avLst/>
              <a:gdLst>
                <a:gd name="T0" fmla="*/ 39 w 126"/>
                <a:gd name="T1" fmla="*/ 183 h 202"/>
                <a:gd name="T2" fmla="*/ 33 w 126"/>
                <a:gd name="T3" fmla="*/ 176 h 202"/>
                <a:gd name="T4" fmla="*/ 36 w 126"/>
                <a:gd name="T5" fmla="*/ 172 h 202"/>
                <a:gd name="T6" fmla="*/ 51 w 126"/>
                <a:gd name="T7" fmla="*/ 168 h 202"/>
                <a:gd name="T8" fmla="*/ 125 w 126"/>
                <a:gd name="T9" fmla="*/ 161 h 202"/>
                <a:gd name="T10" fmla="*/ 120 w 126"/>
                <a:gd name="T11" fmla="*/ 153 h 202"/>
                <a:gd name="T12" fmla="*/ 119 w 126"/>
                <a:gd name="T13" fmla="*/ 148 h 202"/>
                <a:gd name="T14" fmla="*/ 120 w 126"/>
                <a:gd name="T15" fmla="*/ 141 h 202"/>
                <a:gd name="T16" fmla="*/ 116 w 126"/>
                <a:gd name="T17" fmla="*/ 130 h 202"/>
                <a:gd name="T18" fmla="*/ 119 w 126"/>
                <a:gd name="T19" fmla="*/ 123 h 202"/>
                <a:gd name="T20" fmla="*/ 116 w 126"/>
                <a:gd name="T21" fmla="*/ 117 h 202"/>
                <a:gd name="T22" fmla="*/ 122 w 126"/>
                <a:gd name="T23" fmla="*/ 110 h 202"/>
                <a:gd name="T24" fmla="*/ 119 w 126"/>
                <a:gd name="T25" fmla="*/ 104 h 202"/>
                <a:gd name="T26" fmla="*/ 115 w 126"/>
                <a:gd name="T27" fmla="*/ 95 h 202"/>
                <a:gd name="T28" fmla="*/ 106 w 126"/>
                <a:gd name="T29" fmla="*/ 75 h 202"/>
                <a:gd name="T30" fmla="*/ 89 w 126"/>
                <a:gd name="T31" fmla="*/ 12 h 202"/>
                <a:gd name="T32" fmla="*/ 94 w 126"/>
                <a:gd name="T33" fmla="*/ 0 h 202"/>
                <a:gd name="T34" fmla="*/ 1 w 126"/>
                <a:gd name="T35" fmla="*/ 7 h 202"/>
                <a:gd name="T36" fmla="*/ 0 w 126"/>
                <a:gd name="T37" fmla="*/ 106 h 202"/>
                <a:gd name="T38" fmla="*/ 6 w 126"/>
                <a:gd name="T39" fmla="*/ 196 h 202"/>
                <a:gd name="T40" fmla="*/ 11 w 126"/>
                <a:gd name="T41" fmla="*/ 197 h 202"/>
                <a:gd name="T42" fmla="*/ 16 w 126"/>
                <a:gd name="T43" fmla="*/ 195 h 202"/>
                <a:gd name="T44" fmla="*/ 16 w 126"/>
                <a:gd name="T45" fmla="*/ 187 h 202"/>
                <a:gd name="T46" fmla="*/ 21 w 126"/>
                <a:gd name="T47" fmla="*/ 184 h 202"/>
                <a:gd name="T48" fmla="*/ 22 w 126"/>
                <a:gd name="T49" fmla="*/ 189 h 202"/>
                <a:gd name="T50" fmla="*/ 22 w 126"/>
                <a:gd name="T51" fmla="*/ 193 h 202"/>
                <a:gd name="T52" fmla="*/ 25 w 126"/>
                <a:gd name="T53" fmla="*/ 195 h 202"/>
                <a:gd name="T54" fmla="*/ 27 w 126"/>
                <a:gd name="T55" fmla="*/ 199 h 202"/>
                <a:gd name="T56" fmla="*/ 25 w 126"/>
                <a:gd name="T57" fmla="*/ 202 h 202"/>
                <a:gd name="T58" fmla="*/ 31 w 126"/>
                <a:gd name="T59" fmla="*/ 200 h 202"/>
                <a:gd name="T60" fmla="*/ 38 w 126"/>
                <a:gd name="T61" fmla="*/ 197 h 202"/>
                <a:gd name="T62" fmla="*/ 43 w 126"/>
                <a:gd name="T63" fmla="*/ 196 h 202"/>
                <a:gd name="T64" fmla="*/ 44 w 126"/>
                <a:gd name="T65" fmla="*/ 195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" h="202">
                  <a:moveTo>
                    <a:pt x="40" y="188"/>
                  </a:moveTo>
                  <a:lnTo>
                    <a:pt x="39" y="183"/>
                  </a:lnTo>
                  <a:lnTo>
                    <a:pt x="35" y="178"/>
                  </a:lnTo>
                  <a:lnTo>
                    <a:pt x="33" y="176"/>
                  </a:lnTo>
                  <a:lnTo>
                    <a:pt x="33" y="173"/>
                  </a:lnTo>
                  <a:lnTo>
                    <a:pt x="36" y="172"/>
                  </a:lnTo>
                  <a:lnTo>
                    <a:pt x="43" y="170"/>
                  </a:lnTo>
                  <a:lnTo>
                    <a:pt x="51" y="168"/>
                  </a:lnTo>
                  <a:lnTo>
                    <a:pt x="126" y="162"/>
                  </a:lnTo>
                  <a:lnTo>
                    <a:pt x="125" y="161"/>
                  </a:lnTo>
                  <a:lnTo>
                    <a:pt x="121" y="156"/>
                  </a:lnTo>
                  <a:lnTo>
                    <a:pt x="120" y="153"/>
                  </a:lnTo>
                  <a:lnTo>
                    <a:pt x="118" y="150"/>
                  </a:lnTo>
                  <a:lnTo>
                    <a:pt x="119" y="148"/>
                  </a:lnTo>
                  <a:lnTo>
                    <a:pt x="121" y="146"/>
                  </a:lnTo>
                  <a:lnTo>
                    <a:pt x="120" y="141"/>
                  </a:lnTo>
                  <a:lnTo>
                    <a:pt x="118" y="138"/>
                  </a:lnTo>
                  <a:lnTo>
                    <a:pt x="116" y="130"/>
                  </a:lnTo>
                  <a:lnTo>
                    <a:pt x="116" y="125"/>
                  </a:lnTo>
                  <a:lnTo>
                    <a:pt x="119" y="123"/>
                  </a:lnTo>
                  <a:lnTo>
                    <a:pt x="120" y="119"/>
                  </a:lnTo>
                  <a:lnTo>
                    <a:pt x="116" y="117"/>
                  </a:lnTo>
                  <a:lnTo>
                    <a:pt x="121" y="114"/>
                  </a:lnTo>
                  <a:lnTo>
                    <a:pt x="122" y="110"/>
                  </a:lnTo>
                  <a:lnTo>
                    <a:pt x="120" y="108"/>
                  </a:lnTo>
                  <a:lnTo>
                    <a:pt x="119" y="104"/>
                  </a:lnTo>
                  <a:lnTo>
                    <a:pt x="119" y="100"/>
                  </a:lnTo>
                  <a:lnTo>
                    <a:pt x="115" y="95"/>
                  </a:lnTo>
                  <a:lnTo>
                    <a:pt x="108" y="83"/>
                  </a:lnTo>
                  <a:lnTo>
                    <a:pt x="106" y="75"/>
                  </a:lnTo>
                  <a:lnTo>
                    <a:pt x="96" y="41"/>
                  </a:lnTo>
                  <a:lnTo>
                    <a:pt x="89" y="12"/>
                  </a:lnTo>
                  <a:lnTo>
                    <a:pt x="87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1" y="7"/>
                  </a:lnTo>
                  <a:lnTo>
                    <a:pt x="1" y="14"/>
                  </a:lnTo>
                  <a:lnTo>
                    <a:pt x="0" y="106"/>
                  </a:lnTo>
                  <a:lnTo>
                    <a:pt x="0" y="155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11" y="197"/>
                  </a:lnTo>
                  <a:lnTo>
                    <a:pt x="15" y="198"/>
                  </a:lnTo>
                  <a:lnTo>
                    <a:pt x="16" y="195"/>
                  </a:lnTo>
                  <a:lnTo>
                    <a:pt x="15" y="191"/>
                  </a:lnTo>
                  <a:lnTo>
                    <a:pt x="16" y="187"/>
                  </a:lnTo>
                  <a:lnTo>
                    <a:pt x="18" y="185"/>
                  </a:lnTo>
                  <a:lnTo>
                    <a:pt x="21" y="184"/>
                  </a:lnTo>
                  <a:lnTo>
                    <a:pt x="22" y="186"/>
                  </a:lnTo>
                  <a:lnTo>
                    <a:pt x="22" y="189"/>
                  </a:lnTo>
                  <a:lnTo>
                    <a:pt x="21" y="191"/>
                  </a:lnTo>
                  <a:lnTo>
                    <a:pt x="22" y="193"/>
                  </a:lnTo>
                  <a:lnTo>
                    <a:pt x="23" y="194"/>
                  </a:lnTo>
                  <a:lnTo>
                    <a:pt x="25" y="195"/>
                  </a:lnTo>
                  <a:lnTo>
                    <a:pt x="27" y="197"/>
                  </a:lnTo>
                  <a:lnTo>
                    <a:pt x="27" y="199"/>
                  </a:lnTo>
                  <a:lnTo>
                    <a:pt x="27" y="200"/>
                  </a:lnTo>
                  <a:lnTo>
                    <a:pt x="25" y="202"/>
                  </a:lnTo>
                  <a:lnTo>
                    <a:pt x="27" y="201"/>
                  </a:lnTo>
                  <a:lnTo>
                    <a:pt x="31" y="200"/>
                  </a:lnTo>
                  <a:lnTo>
                    <a:pt x="36" y="199"/>
                  </a:lnTo>
                  <a:lnTo>
                    <a:pt x="38" y="197"/>
                  </a:lnTo>
                  <a:lnTo>
                    <a:pt x="39" y="197"/>
                  </a:lnTo>
                  <a:lnTo>
                    <a:pt x="43" y="196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0" y="18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93B4216D-C95A-BC49-9C3B-45CA0A613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2520" y="2800606"/>
              <a:ext cx="195628" cy="342348"/>
            </a:xfrm>
            <a:custGeom>
              <a:avLst/>
              <a:gdLst>
                <a:gd name="T0" fmla="*/ 110 w 116"/>
                <a:gd name="T1" fmla="*/ 99 h 203"/>
                <a:gd name="T2" fmla="*/ 111 w 116"/>
                <a:gd name="T3" fmla="*/ 0 h 203"/>
                <a:gd name="T4" fmla="*/ 41 w 116"/>
                <a:gd name="T5" fmla="*/ 5 h 203"/>
                <a:gd name="T6" fmla="*/ 38 w 116"/>
                <a:gd name="T7" fmla="*/ 10 h 203"/>
                <a:gd name="T8" fmla="*/ 35 w 116"/>
                <a:gd name="T9" fmla="*/ 15 h 203"/>
                <a:gd name="T10" fmla="*/ 32 w 116"/>
                <a:gd name="T11" fmla="*/ 17 h 203"/>
                <a:gd name="T12" fmla="*/ 30 w 116"/>
                <a:gd name="T13" fmla="*/ 26 h 203"/>
                <a:gd name="T14" fmla="*/ 22 w 116"/>
                <a:gd name="T15" fmla="*/ 37 h 203"/>
                <a:gd name="T16" fmla="*/ 18 w 116"/>
                <a:gd name="T17" fmla="*/ 44 h 203"/>
                <a:gd name="T18" fmla="*/ 18 w 116"/>
                <a:gd name="T19" fmla="*/ 48 h 203"/>
                <a:gd name="T20" fmla="*/ 17 w 116"/>
                <a:gd name="T21" fmla="*/ 54 h 203"/>
                <a:gd name="T22" fmla="*/ 13 w 116"/>
                <a:gd name="T23" fmla="*/ 58 h 203"/>
                <a:gd name="T24" fmla="*/ 12 w 116"/>
                <a:gd name="T25" fmla="*/ 62 h 203"/>
                <a:gd name="T26" fmla="*/ 11 w 116"/>
                <a:gd name="T27" fmla="*/ 66 h 203"/>
                <a:gd name="T28" fmla="*/ 14 w 116"/>
                <a:gd name="T29" fmla="*/ 70 h 203"/>
                <a:gd name="T30" fmla="*/ 14 w 116"/>
                <a:gd name="T31" fmla="*/ 78 h 203"/>
                <a:gd name="T32" fmla="*/ 14 w 116"/>
                <a:gd name="T33" fmla="*/ 84 h 203"/>
                <a:gd name="T34" fmla="*/ 11 w 116"/>
                <a:gd name="T35" fmla="*/ 89 h 203"/>
                <a:gd name="T36" fmla="*/ 15 w 116"/>
                <a:gd name="T37" fmla="*/ 94 h 203"/>
                <a:gd name="T38" fmla="*/ 11 w 116"/>
                <a:gd name="T39" fmla="*/ 98 h 203"/>
                <a:gd name="T40" fmla="*/ 15 w 116"/>
                <a:gd name="T41" fmla="*/ 102 h 203"/>
                <a:gd name="T42" fmla="*/ 16 w 116"/>
                <a:gd name="T43" fmla="*/ 108 h 203"/>
                <a:gd name="T44" fmla="*/ 19 w 116"/>
                <a:gd name="T45" fmla="*/ 112 h 203"/>
                <a:gd name="T46" fmla="*/ 19 w 116"/>
                <a:gd name="T47" fmla="*/ 123 h 203"/>
                <a:gd name="T48" fmla="*/ 15 w 116"/>
                <a:gd name="T49" fmla="*/ 126 h 203"/>
                <a:gd name="T50" fmla="*/ 14 w 116"/>
                <a:gd name="T51" fmla="*/ 132 h 203"/>
                <a:gd name="T52" fmla="*/ 8 w 116"/>
                <a:gd name="T53" fmla="*/ 140 h 203"/>
                <a:gd name="T54" fmla="*/ 6 w 116"/>
                <a:gd name="T55" fmla="*/ 149 h 203"/>
                <a:gd name="T56" fmla="*/ 4 w 116"/>
                <a:gd name="T57" fmla="*/ 153 h 203"/>
                <a:gd name="T58" fmla="*/ 4 w 116"/>
                <a:gd name="T59" fmla="*/ 160 h 203"/>
                <a:gd name="T60" fmla="*/ 0 w 116"/>
                <a:gd name="T61" fmla="*/ 164 h 203"/>
                <a:gd name="T62" fmla="*/ 1 w 116"/>
                <a:gd name="T63" fmla="*/ 171 h 203"/>
                <a:gd name="T64" fmla="*/ 65 w 116"/>
                <a:gd name="T65" fmla="*/ 184 h 203"/>
                <a:gd name="T66" fmla="*/ 70 w 116"/>
                <a:gd name="T67" fmla="*/ 192 h 203"/>
                <a:gd name="T68" fmla="*/ 71 w 116"/>
                <a:gd name="T69" fmla="*/ 203 h 203"/>
                <a:gd name="T70" fmla="*/ 72 w 116"/>
                <a:gd name="T71" fmla="*/ 203 h 203"/>
                <a:gd name="T72" fmla="*/ 79 w 116"/>
                <a:gd name="T73" fmla="*/ 199 h 203"/>
                <a:gd name="T74" fmla="*/ 82 w 116"/>
                <a:gd name="T75" fmla="*/ 193 h 203"/>
                <a:gd name="T76" fmla="*/ 89 w 116"/>
                <a:gd name="T77" fmla="*/ 193 h 203"/>
                <a:gd name="T78" fmla="*/ 98 w 116"/>
                <a:gd name="T79" fmla="*/ 190 h 203"/>
                <a:gd name="T80" fmla="*/ 104 w 116"/>
                <a:gd name="T81" fmla="*/ 190 h 203"/>
                <a:gd name="T82" fmla="*/ 109 w 116"/>
                <a:gd name="T83" fmla="*/ 190 h 203"/>
                <a:gd name="T84" fmla="*/ 115 w 116"/>
                <a:gd name="T85" fmla="*/ 190 h 203"/>
                <a:gd name="T86" fmla="*/ 116 w 116"/>
                <a:gd name="T87" fmla="*/ 189 h 203"/>
                <a:gd name="T88" fmla="*/ 110 w 116"/>
                <a:gd name="T89" fmla="*/ 14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6" h="203">
                  <a:moveTo>
                    <a:pt x="110" y="148"/>
                  </a:moveTo>
                  <a:lnTo>
                    <a:pt x="110" y="99"/>
                  </a:lnTo>
                  <a:lnTo>
                    <a:pt x="111" y="7"/>
                  </a:lnTo>
                  <a:lnTo>
                    <a:pt x="111" y="0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2" y="8"/>
                  </a:lnTo>
                  <a:lnTo>
                    <a:pt x="38" y="10"/>
                  </a:lnTo>
                  <a:lnTo>
                    <a:pt x="36" y="12"/>
                  </a:lnTo>
                  <a:lnTo>
                    <a:pt x="35" y="15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0" y="22"/>
                  </a:lnTo>
                  <a:lnTo>
                    <a:pt x="30" y="26"/>
                  </a:lnTo>
                  <a:lnTo>
                    <a:pt x="27" y="31"/>
                  </a:lnTo>
                  <a:lnTo>
                    <a:pt x="22" y="37"/>
                  </a:lnTo>
                  <a:lnTo>
                    <a:pt x="19" y="40"/>
                  </a:lnTo>
                  <a:lnTo>
                    <a:pt x="18" y="44"/>
                  </a:lnTo>
                  <a:lnTo>
                    <a:pt x="20" y="45"/>
                  </a:lnTo>
                  <a:lnTo>
                    <a:pt x="18" y="48"/>
                  </a:lnTo>
                  <a:lnTo>
                    <a:pt x="16" y="52"/>
                  </a:lnTo>
                  <a:lnTo>
                    <a:pt x="17" y="54"/>
                  </a:lnTo>
                  <a:lnTo>
                    <a:pt x="16" y="54"/>
                  </a:lnTo>
                  <a:lnTo>
                    <a:pt x="13" y="58"/>
                  </a:lnTo>
                  <a:lnTo>
                    <a:pt x="11" y="61"/>
                  </a:lnTo>
                  <a:lnTo>
                    <a:pt x="12" y="62"/>
                  </a:lnTo>
                  <a:lnTo>
                    <a:pt x="11" y="64"/>
                  </a:lnTo>
                  <a:lnTo>
                    <a:pt x="11" y="66"/>
                  </a:lnTo>
                  <a:lnTo>
                    <a:pt x="12" y="67"/>
                  </a:lnTo>
                  <a:lnTo>
                    <a:pt x="14" y="70"/>
                  </a:lnTo>
                  <a:lnTo>
                    <a:pt x="14" y="72"/>
                  </a:lnTo>
                  <a:lnTo>
                    <a:pt x="14" y="78"/>
                  </a:lnTo>
                  <a:lnTo>
                    <a:pt x="15" y="81"/>
                  </a:lnTo>
                  <a:lnTo>
                    <a:pt x="14" y="84"/>
                  </a:lnTo>
                  <a:lnTo>
                    <a:pt x="12" y="89"/>
                  </a:lnTo>
                  <a:lnTo>
                    <a:pt x="11" y="89"/>
                  </a:lnTo>
                  <a:lnTo>
                    <a:pt x="14" y="91"/>
                  </a:lnTo>
                  <a:lnTo>
                    <a:pt x="15" y="94"/>
                  </a:lnTo>
                  <a:lnTo>
                    <a:pt x="15" y="96"/>
                  </a:lnTo>
                  <a:lnTo>
                    <a:pt x="11" y="98"/>
                  </a:lnTo>
                  <a:lnTo>
                    <a:pt x="14" y="100"/>
                  </a:lnTo>
                  <a:lnTo>
                    <a:pt x="15" y="102"/>
                  </a:lnTo>
                  <a:lnTo>
                    <a:pt x="15" y="103"/>
                  </a:lnTo>
                  <a:lnTo>
                    <a:pt x="16" y="108"/>
                  </a:lnTo>
                  <a:lnTo>
                    <a:pt x="16" y="110"/>
                  </a:lnTo>
                  <a:lnTo>
                    <a:pt x="19" y="112"/>
                  </a:lnTo>
                  <a:lnTo>
                    <a:pt x="20" y="115"/>
                  </a:lnTo>
                  <a:lnTo>
                    <a:pt x="19" y="123"/>
                  </a:lnTo>
                  <a:lnTo>
                    <a:pt x="16" y="126"/>
                  </a:lnTo>
                  <a:lnTo>
                    <a:pt x="15" y="126"/>
                  </a:lnTo>
                  <a:lnTo>
                    <a:pt x="15" y="130"/>
                  </a:lnTo>
                  <a:lnTo>
                    <a:pt x="14" y="132"/>
                  </a:lnTo>
                  <a:lnTo>
                    <a:pt x="10" y="138"/>
                  </a:lnTo>
                  <a:lnTo>
                    <a:pt x="8" y="140"/>
                  </a:lnTo>
                  <a:lnTo>
                    <a:pt x="7" y="147"/>
                  </a:lnTo>
                  <a:lnTo>
                    <a:pt x="6" y="149"/>
                  </a:lnTo>
                  <a:lnTo>
                    <a:pt x="5" y="150"/>
                  </a:lnTo>
                  <a:lnTo>
                    <a:pt x="4" y="153"/>
                  </a:lnTo>
                  <a:lnTo>
                    <a:pt x="4" y="155"/>
                  </a:lnTo>
                  <a:lnTo>
                    <a:pt x="4" y="160"/>
                  </a:lnTo>
                  <a:lnTo>
                    <a:pt x="1" y="162"/>
                  </a:lnTo>
                  <a:lnTo>
                    <a:pt x="0" y="164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66" y="168"/>
                  </a:lnTo>
                  <a:lnTo>
                    <a:pt x="65" y="184"/>
                  </a:lnTo>
                  <a:lnTo>
                    <a:pt x="67" y="188"/>
                  </a:lnTo>
                  <a:lnTo>
                    <a:pt x="70" y="192"/>
                  </a:lnTo>
                  <a:lnTo>
                    <a:pt x="71" y="199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7" y="200"/>
                  </a:lnTo>
                  <a:lnTo>
                    <a:pt x="79" y="199"/>
                  </a:lnTo>
                  <a:lnTo>
                    <a:pt x="82" y="197"/>
                  </a:lnTo>
                  <a:lnTo>
                    <a:pt x="82" y="193"/>
                  </a:lnTo>
                  <a:lnTo>
                    <a:pt x="86" y="193"/>
                  </a:lnTo>
                  <a:lnTo>
                    <a:pt x="89" y="193"/>
                  </a:lnTo>
                  <a:lnTo>
                    <a:pt x="93" y="192"/>
                  </a:lnTo>
                  <a:lnTo>
                    <a:pt x="98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7" y="190"/>
                  </a:lnTo>
                  <a:lnTo>
                    <a:pt x="109" y="190"/>
                  </a:lnTo>
                  <a:lnTo>
                    <a:pt x="113" y="192"/>
                  </a:lnTo>
                  <a:lnTo>
                    <a:pt x="115" y="190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0" y="14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AB627CBA-2739-2746-9264-37B8CC6E5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9760" y="2387428"/>
              <a:ext cx="242848" cy="177077"/>
            </a:xfrm>
            <a:custGeom>
              <a:avLst/>
              <a:gdLst>
                <a:gd name="T0" fmla="*/ 0 w 170"/>
                <a:gd name="T1" fmla="*/ 24 h 123"/>
                <a:gd name="T2" fmla="*/ 3 w 170"/>
                <a:gd name="T3" fmla="*/ 44 h 123"/>
                <a:gd name="T4" fmla="*/ 16 w 170"/>
                <a:gd name="T5" fmla="*/ 33 h 123"/>
                <a:gd name="T6" fmla="*/ 28 w 170"/>
                <a:gd name="T7" fmla="*/ 25 h 123"/>
                <a:gd name="T8" fmla="*/ 31 w 170"/>
                <a:gd name="T9" fmla="*/ 27 h 123"/>
                <a:gd name="T10" fmla="*/ 41 w 170"/>
                <a:gd name="T11" fmla="*/ 22 h 123"/>
                <a:gd name="T12" fmla="*/ 63 w 170"/>
                <a:gd name="T13" fmla="*/ 22 h 123"/>
                <a:gd name="T14" fmla="*/ 70 w 170"/>
                <a:gd name="T15" fmla="*/ 36 h 123"/>
                <a:gd name="T16" fmla="*/ 83 w 170"/>
                <a:gd name="T17" fmla="*/ 43 h 123"/>
                <a:gd name="T18" fmla="*/ 93 w 170"/>
                <a:gd name="T19" fmla="*/ 51 h 123"/>
                <a:gd name="T20" fmla="*/ 92 w 170"/>
                <a:gd name="T21" fmla="*/ 60 h 123"/>
                <a:gd name="T22" fmla="*/ 89 w 170"/>
                <a:gd name="T23" fmla="*/ 74 h 123"/>
                <a:gd name="T24" fmla="*/ 94 w 170"/>
                <a:gd name="T25" fmla="*/ 75 h 123"/>
                <a:gd name="T26" fmla="*/ 101 w 170"/>
                <a:gd name="T27" fmla="*/ 75 h 123"/>
                <a:gd name="T28" fmla="*/ 106 w 170"/>
                <a:gd name="T29" fmla="*/ 75 h 123"/>
                <a:gd name="T30" fmla="*/ 122 w 170"/>
                <a:gd name="T31" fmla="*/ 78 h 123"/>
                <a:gd name="T32" fmla="*/ 129 w 170"/>
                <a:gd name="T33" fmla="*/ 79 h 123"/>
                <a:gd name="T34" fmla="*/ 124 w 170"/>
                <a:gd name="T35" fmla="*/ 72 h 123"/>
                <a:gd name="T36" fmla="*/ 124 w 170"/>
                <a:gd name="T37" fmla="*/ 68 h 123"/>
                <a:gd name="T38" fmla="*/ 116 w 170"/>
                <a:gd name="T39" fmla="*/ 57 h 123"/>
                <a:gd name="T40" fmla="*/ 115 w 170"/>
                <a:gd name="T41" fmla="*/ 43 h 123"/>
                <a:gd name="T42" fmla="*/ 113 w 170"/>
                <a:gd name="T43" fmla="*/ 31 h 123"/>
                <a:gd name="T44" fmla="*/ 115 w 170"/>
                <a:gd name="T45" fmla="*/ 28 h 123"/>
                <a:gd name="T46" fmla="*/ 124 w 170"/>
                <a:gd name="T47" fmla="*/ 18 h 123"/>
                <a:gd name="T48" fmla="*/ 129 w 170"/>
                <a:gd name="T49" fmla="*/ 13 h 123"/>
                <a:gd name="T50" fmla="*/ 125 w 170"/>
                <a:gd name="T51" fmla="*/ 21 h 123"/>
                <a:gd name="T52" fmla="*/ 123 w 170"/>
                <a:gd name="T53" fmla="*/ 31 h 123"/>
                <a:gd name="T54" fmla="*/ 122 w 170"/>
                <a:gd name="T55" fmla="*/ 36 h 123"/>
                <a:gd name="T56" fmla="*/ 126 w 170"/>
                <a:gd name="T57" fmla="*/ 41 h 123"/>
                <a:gd name="T58" fmla="*/ 131 w 170"/>
                <a:gd name="T59" fmla="*/ 46 h 123"/>
                <a:gd name="T60" fmla="*/ 134 w 170"/>
                <a:gd name="T61" fmla="*/ 51 h 123"/>
                <a:gd name="T62" fmla="*/ 130 w 170"/>
                <a:gd name="T63" fmla="*/ 57 h 123"/>
                <a:gd name="T64" fmla="*/ 128 w 170"/>
                <a:gd name="T65" fmla="*/ 61 h 123"/>
                <a:gd name="T66" fmla="*/ 129 w 170"/>
                <a:gd name="T67" fmla="*/ 65 h 123"/>
                <a:gd name="T68" fmla="*/ 139 w 170"/>
                <a:gd name="T69" fmla="*/ 66 h 123"/>
                <a:gd name="T70" fmla="*/ 146 w 170"/>
                <a:gd name="T71" fmla="*/ 75 h 123"/>
                <a:gd name="T72" fmla="*/ 147 w 170"/>
                <a:gd name="T73" fmla="*/ 81 h 123"/>
                <a:gd name="T74" fmla="*/ 152 w 170"/>
                <a:gd name="T75" fmla="*/ 89 h 123"/>
                <a:gd name="T76" fmla="*/ 148 w 170"/>
                <a:gd name="T77" fmla="*/ 104 h 123"/>
                <a:gd name="T78" fmla="*/ 149 w 170"/>
                <a:gd name="T79" fmla="*/ 120 h 123"/>
                <a:gd name="T80" fmla="*/ 153 w 170"/>
                <a:gd name="T81" fmla="*/ 116 h 123"/>
                <a:gd name="T82" fmla="*/ 157 w 170"/>
                <a:gd name="T83" fmla="*/ 102 h 123"/>
                <a:gd name="T84" fmla="*/ 157 w 170"/>
                <a:gd name="T85" fmla="*/ 97 h 123"/>
                <a:gd name="T86" fmla="*/ 163 w 170"/>
                <a:gd name="T87" fmla="*/ 91 h 123"/>
                <a:gd name="T88" fmla="*/ 163 w 170"/>
                <a:gd name="T89" fmla="*/ 79 h 123"/>
                <a:gd name="T90" fmla="*/ 167 w 170"/>
                <a:gd name="T91" fmla="*/ 71 h 123"/>
                <a:gd name="T92" fmla="*/ 167 w 170"/>
                <a:gd name="T93" fmla="*/ 77 h 123"/>
                <a:gd name="T94" fmla="*/ 168 w 170"/>
                <a:gd name="T95" fmla="*/ 82 h 123"/>
                <a:gd name="T96" fmla="*/ 170 w 170"/>
                <a:gd name="T97" fmla="*/ 68 h 123"/>
                <a:gd name="T98" fmla="*/ 169 w 170"/>
                <a:gd name="T99" fmla="*/ 54 h 123"/>
                <a:gd name="T100" fmla="*/ 134 w 170"/>
                <a:gd name="T10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0" h="123">
                  <a:moveTo>
                    <a:pt x="134" y="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74"/>
                    <a:pt x="89" y="74"/>
                    <a:pt x="89" y="74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9" y="79"/>
                    <a:pt x="129" y="79"/>
                    <a:pt x="129" y="79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4" y="72"/>
                    <a:pt x="124" y="72"/>
                    <a:pt x="124" y="72"/>
                  </a:cubicBezTo>
                  <a:cubicBezTo>
                    <a:pt x="124" y="69"/>
                    <a:pt x="124" y="69"/>
                    <a:pt x="124" y="69"/>
                  </a:cubicBezTo>
                  <a:cubicBezTo>
                    <a:pt x="124" y="68"/>
                    <a:pt x="124" y="68"/>
                    <a:pt x="124" y="68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5" y="28"/>
                    <a:pt x="115" y="28"/>
                    <a:pt x="115" y="28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24" y="18"/>
                    <a:pt x="124" y="18"/>
                    <a:pt x="124" y="18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9" y="13"/>
                    <a:pt x="129" y="13"/>
                    <a:pt x="129" y="13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3" y="27"/>
                    <a:pt x="123" y="27"/>
                    <a:pt x="123" y="27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7" y="31"/>
                    <a:pt x="127" y="31"/>
                    <a:pt x="127" y="31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31" y="46"/>
                    <a:pt x="131" y="46"/>
                    <a:pt x="131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4" y="51"/>
                    <a:pt x="134" y="51"/>
                    <a:pt x="134" y="51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0" y="57"/>
                    <a:pt x="130" y="57"/>
                    <a:pt x="130" y="57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9" y="66"/>
                    <a:pt x="139" y="66"/>
                    <a:pt x="139" y="66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8" y="80"/>
                    <a:pt x="148" y="80"/>
                    <a:pt x="148" y="80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50" y="84"/>
                    <a:pt x="150" y="84"/>
                    <a:pt x="150" y="84"/>
                  </a:cubicBezTo>
                  <a:cubicBezTo>
                    <a:pt x="152" y="89"/>
                    <a:pt x="152" y="89"/>
                    <a:pt x="152" y="89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8" y="104"/>
                    <a:pt x="148" y="104"/>
                    <a:pt x="148" y="104"/>
                  </a:cubicBezTo>
                  <a:cubicBezTo>
                    <a:pt x="148" y="114"/>
                    <a:pt x="148" y="114"/>
                    <a:pt x="148" y="114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1" y="123"/>
                    <a:pt x="151" y="123"/>
                    <a:pt x="151" y="123"/>
                  </a:cubicBezTo>
                  <a:cubicBezTo>
                    <a:pt x="153" y="116"/>
                    <a:pt x="153" y="116"/>
                    <a:pt x="153" y="116"/>
                  </a:cubicBezTo>
                  <a:cubicBezTo>
                    <a:pt x="154" y="105"/>
                    <a:pt x="154" y="105"/>
                    <a:pt x="154" y="105"/>
                  </a:cubicBezTo>
                  <a:cubicBezTo>
                    <a:pt x="157" y="102"/>
                    <a:pt x="157" y="102"/>
                    <a:pt x="157" y="102"/>
                  </a:cubicBezTo>
                  <a:cubicBezTo>
                    <a:pt x="157" y="99"/>
                    <a:pt x="157" y="99"/>
                    <a:pt x="157" y="99"/>
                  </a:cubicBezTo>
                  <a:cubicBezTo>
                    <a:pt x="157" y="97"/>
                    <a:pt x="157" y="97"/>
                    <a:pt x="157" y="97"/>
                  </a:cubicBezTo>
                  <a:cubicBezTo>
                    <a:pt x="160" y="95"/>
                    <a:pt x="160" y="95"/>
                    <a:pt x="160" y="95"/>
                  </a:cubicBezTo>
                  <a:cubicBezTo>
                    <a:pt x="163" y="91"/>
                    <a:pt x="163" y="91"/>
                    <a:pt x="163" y="91"/>
                  </a:cubicBezTo>
                  <a:cubicBezTo>
                    <a:pt x="163" y="82"/>
                    <a:pt x="163" y="82"/>
                    <a:pt x="163" y="82"/>
                  </a:cubicBezTo>
                  <a:cubicBezTo>
                    <a:pt x="163" y="79"/>
                    <a:pt x="163" y="79"/>
                    <a:pt x="163" y="79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67" y="71"/>
                    <a:pt x="167" y="71"/>
                    <a:pt x="167" y="71"/>
                  </a:cubicBezTo>
                  <a:cubicBezTo>
                    <a:pt x="168" y="74"/>
                    <a:pt x="168" y="74"/>
                    <a:pt x="168" y="74"/>
                  </a:cubicBezTo>
                  <a:cubicBezTo>
                    <a:pt x="167" y="77"/>
                    <a:pt x="167" y="77"/>
                    <a:pt x="167" y="77"/>
                  </a:cubicBezTo>
                  <a:cubicBezTo>
                    <a:pt x="167" y="77"/>
                    <a:pt x="165" y="80"/>
                    <a:pt x="165" y="80"/>
                  </a:cubicBezTo>
                  <a:cubicBezTo>
                    <a:pt x="166" y="81"/>
                    <a:pt x="168" y="82"/>
                    <a:pt x="168" y="82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68"/>
                    <a:pt x="170" y="68"/>
                    <a:pt x="170" y="68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48" y="57"/>
                    <a:pt x="148" y="57"/>
                    <a:pt x="148" y="57"/>
                  </a:cubicBezTo>
                  <a:lnTo>
                    <a:pt x="13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7ADAD762-5977-C248-A653-797C00F6E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1352" y="2367191"/>
              <a:ext cx="249594" cy="246221"/>
            </a:xfrm>
            <a:custGeom>
              <a:avLst/>
              <a:gdLst>
                <a:gd name="T0" fmla="*/ 24 w 148"/>
                <a:gd name="T1" fmla="*/ 136 h 146"/>
                <a:gd name="T2" fmla="*/ 31 w 148"/>
                <a:gd name="T3" fmla="*/ 144 h 146"/>
                <a:gd name="T4" fmla="*/ 38 w 148"/>
                <a:gd name="T5" fmla="*/ 146 h 146"/>
                <a:gd name="T6" fmla="*/ 48 w 148"/>
                <a:gd name="T7" fmla="*/ 142 h 146"/>
                <a:gd name="T8" fmla="*/ 64 w 148"/>
                <a:gd name="T9" fmla="*/ 134 h 146"/>
                <a:gd name="T10" fmla="*/ 79 w 148"/>
                <a:gd name="T11" fmla="*/ 125 h 146"/>
                <a:gd name="T12" fmla="*/ 79 w 148"/>
                <a:gd name="T13" fmla="*/ 112 h 146"/>
                <a:gd name="T14" fmla="*/ 87 w 148"/>
                <a:gd name="T15" fmla="*/ 99 h 146"/>
                <a:gd name="T16" fmla="*/ 91 w 148"/>
                <a:gd name="T17" fmla="*/ 80 h 146"/>
                <a:gd name="T18" fmla="*/ 100 w 148"/>
                <a:gd name="T19" fmla="*/ 84 h 146"/>
                <a:gd name="T20" fmla="*/ 103 w 148"/>
                <a:gd name="T21" fmla="*/ 83 h 146"/>
                <a:gd name="T22" fmla="*/ 108 w 148"/>
                <a:gd name="T23" fmla="*/ 71 h 146"/>
                <a:gd name="T24" fmla="*/ 110 w 148"/>
                <a:gd name="T25" fmla="*/ 67 h 146"/>
                <a:gd name="T26" fmla="*/ 114 w 148"/>
                <a:gd name="T27" fmla="*/ 69 h 146"/>
                <a:gd name="T28" fmla="*/ 122 w 148"/>
                <a:gd name="T29" fmla="*/ 57 h 146"/>
                <a:gd name="T30" fmla="*/ 126 w 148"/>
                <a:gd name="T31" fmla="*/ 47 h 146"/>
                <a:gd name="T32" fmla="*/ 135 w 148"/>
                <a:gd name="T33" fmla="*/ 44 h 146"/>
                <a:gd name="T34" fmla="*/ 143 w 148"/>
                <a:gd name="T35" fmla="*/ 47 h 146"/>
                <a:gd name="T36" fmla="*/ 148 w 148"/>
                <a:gd name="T37" fmla="*/ 43 h 146"/>
                <a:gd name="T38" fmla="*/ 145 w 148"/>
                <a:gd name="T39" fmla="*/ 36 h 146"/>
                <a:gd name="T40" fmla="*/ 130 w 148"/>
                <a:gd name="T41" fmla="*/ 28 h 146"/>
                <a:gd name="T42" fmla="*/ 120 w 148"/>
                <a:gd name="T43" fmla="*/ 31 h 146"/>
                <a:gd name="T44" fmla="*/ 113 w 148"/>
                <a:gd name="T45" fmla="*/ 34 h 146"/>
                <a:gd name="T46" fmla="*/ 107 w 148"/>
                <a:gd name="T47" fmla="*/ 40 h 146"/>
                <a:gd name="T48" fmla="*/ 94 w 148"/>
                <a:gd name="T49" fmla="*/ 50 h 146"/>
                <a:gd name="T50" fmla="*/ 88 w 148"/>
                <a:gd name="T51" fmla="*/ 33 h 146"/>
                <a:gd name="T52" fmla="*/ 51 w 148"/>
                <a:gd name="T53" fmla="*/ 0 h 146"/>
                <a:gd name="T54" fmla="*/ 47 w 148"/>
                <a:gd name="T55" fmla="*/ 3 h 146"/>
                <a:gd name="T56" fmla="*/ 48 w 148"/>
                <a:gd name="T57" fmla="*/ 7 h 146"/>
                <a:gd name="T58" fmla="*/ 48 w 148"/>
                <a:gd name="T59" fmla="*/ 19 h 146"/>
                <a:gd name="T60" fmla="*/ 47 w 148"/>
                <a:gd name="T61" fmla="*/ 28 h 146"/>
                <a:gd name="T62" fmla="*/ 46 w 148"/>
                <a:gd name="T63" fmla="*/ 39 h 146"/>
                <a:gd name="T64" fmla="*/ 36 w 148"/>
                <a:gd name="T65" fmla="*/ 51 h 146"/>
                <a:gd name="T66" fmla="*/ 28 w 148"/>
                <a:gd name="T67" fmla="*/ 55 h 146"/>
                <a:gd name="T68" fmla="*/ 21 w 148"/>
                <a:gd name="T69" fmla="*/ 65 h 146"/>
                <a:gd name="T70" fmla="*/ 19 w 148"/>
                <a:gd name="T71" fmla="*/ 76 h 146"/>
                <a:gd name="T72" fmla="*/ 12 w 148"/>
                <a:gd name="T73" fmla="*/ 76 h 146"/>
                <a:gd name="T74" fmla="*/ 9 w 148"/>
                <a:gd name="T75" fmla="*/ 91 h 146"/>
                <a:gd name="T76" fmla="*/ 3 w 148"/>
                <a:gd name="T77" fmla="*/ 98 h 146"/>
                <a:gd name="T78" fmla="*/ 3 w 148"/>
                <a:gd name="T79" fmla="*/ 114 h 146"/>
                <a:gd name="T80" fmla="*/ 10 w 148"/>
                <a:gd name="T81" fmla="*/ 127 h 146"/>
                <a:gd name="T82" fmla="*/ 19 w 148"/>
                <a:gd name="T83" fmla="*/ 138 h 146"/>
                <a:gd name="T84" fmla="*/ 21 w 148"/>
                <a:gd name="T85" fmla="*/ 1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8" h="146">
                  <a:moveTo>
                    <a:pt x="21" y="136"/>
                  </a:moveTo>
                  <a:lnTo>
                    <a:pt x="24" y="136"/>
                  </a:lnTo>
                  <a:lnTo>
                    <a:pt x="25" y="139"/>
                  </a:lnTo>
                  <a:lnTo>
                    <a:pt x="31" y="144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44" y="139"/>
                  </a:lnTo>
                  <a:lnTo>
                    <a:pt x="48" y="142"/>
                  </a:lnTo>
                  <a:lnTo>
                    <a:pt x="57" y="140"/>
                  </a:lnTo>
                  <a:lnTo>
                    <a:pt x="64" y="134"/>
                  </a:lnTo>
                  <a:lnTo>
                    <a:pt x="75" y="128"/>
                  </a:lnTo>
                  <a:lnTo>
                    <a:pt x="79" y="125"/>
                  </a:lnTo>
                  <a:lnTo>
                    <a:pt x="78" y="117"/>
                  </a:lnTo>
                  <a:lnTo>
                    <a:pt x="79" y="112"/>
                  </a:lnTo>
                  <a:lnTo>
                    <a:pt x="84" y="107"/>
                  </a:lnTo>
                  <a:lnTo>
                    <a:pt x="87" y="99"/>
                  </a:lnTo>
                  <a:lnTo>
                    <a:pt x="90" y="87"/>
                  </a:lnTo>
                  <a:lnTo>
                    <a:pt x="91" y="80"/>
                  </a:lnTo>
                  <a:lnTo>
                    <a:pt x="95" y="82"/>
                  </a:lnTo>
                  <a:lnTo>
                    <a:pt x="100" y="84"/>
                  </a:lnTo>
                  <a:lnTo>
                    <a:pt x="102" y="85"/>
                  </a:lnTo>
                  <a:lnTo>
                    <a:pt x="103" y="83"/>
                  </a:lnTo>
                  <a:lnTo>
                    <a:pt x="106" y="75"/>
                  </a:lnTo>
                  <a:lnTo>
                    <a:pt x="108" y="71"/>
                  </a:lnTo>
                  <a:lnTo>
                    <a:pt x="109" y="67"/>
                  </a:lnTo>
                  <a:lnTo>
                    <a:pt x="110" y="67"/>
                  </a:lnTo>
                  <a:lnTo>
                    <a:pt x="113" y="67"/>
                  </a:lnTo>
                  <a:lnTo>
                    <a:pt x="114" y="69"/>
                  </a:lnTo>
                  <a:lnTo>
                    <a:pt x="119" y="60"/>
                  </a:lnTo>
                  <a:lnTo>
                    <a:pt x="122" y="57"/>
                  </a:lnTo>
                  <a:lnTo>
                    <a:pt x="124" y="54"/>
                  </a:lnTo>
                  <a:lnTo>
                    <a:pt x="126" y="47"/>
                  </a:lnTo>
                  <a:lnTo>
                    <a:pt x="126" y="39"/>
                  </a:lnTo>
                  <a:lnTo>
                    <a:pt x="135" y="44"/>
                  </a:lnTo>
                  <a:lnTo>
                    <a:pt x="141" y="47"/>
                  </a:lnTo>
                  <a:lnTo>
                    <a:pt x="143" y="47"/>
                  </a:lnTo>
                  <a:lnTo>
                    <a:pt x="146" y="44"/>
                  </a:lnTo>
                  <a:lnTo>
                    <a:pt x="148" y="43"/>
                  </a:lnTo>
                  <a:lnTo>
                    <a:pt x="147" y="43"/>
                  </a:lnTo>
                  <a:lnTo>
                    <a:pt x="145" y="36"/>
                  </a:lnTo>
                  <a:lnTo>
                    <a:pt x="141" y="31"/>
                  </a:lnTo>
                  <a:lnTo>
                    <a:pt x="130" y="28"/>
                  </a:lnTo>
                  <a:lnTo>
                    <a:pt x="123" y="31"/>
                  </a:lnTo>
                  <a:lnTo>
                    <a:pt x="120" y="31"/>
                  </a:lnTo>
                  <a:lnTo>
                    <a:pt x="114" y="35"/>
                  </a:lnTo>
                  <a:lnTo>
                    <a:pt x="113" y="34"/>
                  </a:lnTo>
                  <a:lnTo>
                    <a:pt x="112" y="34"/>
                  </a:lnTo>
                  <a:lnTo>
                    <a:pt x="107" y="40"/>
                  </a:lnTo>
                  <a:lnTo>
                    <a:pt x="102" y="40"/>
                  </a:lnTo>
                  <a:lnTo>
                    <a:pt x="94" y="50"/>
                  </a:lnTo>
                  <a:lnTo>
                    <a:pt x="91" y="50"/>
                  </a:lnTo>
                  <a:lnTo>
                    <a:pt x="88" y="33"/>
                  </a:lnTo>
                  <a:lnTo>
                    <a:pt x="57" y="39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8" y="15"/>
                  </a:lnTo>
                  <a:lnTo>
                    <a:pt x="48" y="19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6" y="36"/>
                  </a:lnTo>
                  <a:lnTo>
                    <a:pt x="46" y="39"/>
                  </a:lnTo>
                  <a:lnTo>
                    <a:pt x="44" y="44"/>
                  </a:lnTo>
                  <a:lnTo>
                    <a:pt x="36" y="51"/>
                  </a:lnTo>
                  <a:lnTo>
                    <a:pt x="33" y="55"/>
                  </a:lnTo>
                  <a:lnTo>
                    <a:pt x="28" y="55"/>
                  </a:lnTo>
                  <a:lnTo>
                    <a:pt x="24" y="61"/>
                  </a:lnTo>
                  <a:lnTo>
                    <a:pt x="21" y="65"/>
                  </a:lnTo>
                  <a:lnTo>
                    <a:pt x="20" y="75"/>
                  </a:lnTo>
                  <a:lnTo>
                    <a:pt x="19" y="76"/>
                  </a:lnTo>
                  <a:lnTo>
                    <a:pt x="15" y="73"/>
                  </a:lnTo>
                  <a:lnTo>
                    <a:pt x="12" y="76"/>
                  </a:lnTo>
                  <a:lnTo>
                    <a:pt x="9" y="87"/>
                  </a:lnTo>
                  <a:lnTo>
                    <a:pt x="9" y="91"/>
                  </a:lnTo>
                  <a:lnTo>
                    <a:pt x="7" y="94"/>
                  </a:lnTo>
                  <a:lnTo>
                    <a:pt x="3" y="98"/>
                  </a:lnTo>
                  <a:lnTo>
                    <a:pt x="0" y="101"/>
                  </a:lnTo>
                  <a:lnTo>
                    <a:pt x="3" y="114"/>
                  </a:lnTo>
                  <a:lnTo>
                    <a:pt x="5" y="120"/>
                  </a:lnTo>
                  <a:lnTo>
                    <a:pt x="10" y="127"/>
                  </a:lnTo>
                  <a:lnTo>
                    <a:pt x="15" y="132"/>
                  </a:lnTo>
                  <a:lnTo>
                    <a:pt x="19" y="138"/>
                  </a:lnTo>
                  <a:lnTo>
                    <a:pt x="20" y="138"/>
                  </a:lnTo>
                  <a:lnTo>
                    <a:pt x="21" y="136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CEA55AAC-A0C6-D144-AAA0-1AED63B49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5395" y="2498733"/>
              <a:ext cx="398000" cy="205746"/>
            </a:xfrm>
            <a:custGeom>
              <a:avLst/>
              <a:gdLst>
                <a:gd name="T0" fmla="*/ 207 w 236"/>
                <a:gd name="T1" fmla="*/ 91 h 122"/>
                <a:gd name="T2" fmla="*/ 214 w 236"/>
                <a:gd name="T3" fmla="*/ 88 h 122"/>
                <a:gd name="T4" fmla="*/ 220 w 236"/>
                <a:gd name="T5" fmla="*/ 74 h 122"/>
                <a:gd name="T6" fmla="*/ 235 w 236"/>
                <a:gd name="T7" fmla="*/ 64 h 122"/>
                <a:gd name="T8" fmla="*/ 232 w 236"/>
                <a:gd name="T9" fmla="*/ 54 h 122"/>
                <a:gd name="T10" fmla="*/ 222 w 236"/>
                <a:gd name="T11" fmla="*/ 42 h 122"/>
                <a:gd name="T12" fmla="*/ 217 w 236"/>
                <a:gd name="T13" fmla="*/ 23 h 122"/>
                <a:gd name="T14" fmla="*/ 215 w 236"/>
                <a:gd name="T15" fmla="*/ 22 h 122"/>
                <a:gd name="T16" fmla="*/ 207 w 236"/>
                <a:gd name="T17" fmla="*/ 13 h 122"/>
                <a:gd name="T18" fmla="*/ 203 w 236"/>
                <a:gd name="T19" fmla="*/ 11 h 122"/>
                <a:gd name="T20" fmla="*/ 199 w 236"/>
                <a:gd name="T21" fmla="*/ 15 h 122"/>
                <a:gd name="T22" fmla="*/ 192 w 236"/>
                <a:gd name="T23" fmla="*/ 17 h 122"/>
                <a:gd name="T24" fmla="*/ 184 w 236"/>
                <a:gd name="T25" fmla="*/ 13 h 122"/>
                <a:gd name="T26" fmla="*/ 181 w 236"/>
                <a:gd name="T27" fmla="*/ 16 h 122"/>
                <a:gd name="T28" fmla="*/ 178 w 236"/>
                <a:gd name="T29" fmla="*/ 18 h 122"/>
                <a:gd name="T30" fmla="*/ 174 w 236"/>
                <a:gd name="T31" fmla="*/ 15 h 122"/>
                <a:gd name="T32" fmla="*/ 166 w 236"/>
                <a:gd name="T33" fmla="*/ 13 h 122"/>
                <a:gd name="T34" fmla="*/ 163 w 236"/>
                <a:gd name="T35" fmla="*/ 7 h 122"/>
                <a:gd name="T36" fmla="*/ 154 w 236"/>
                <a:gd name="T37" fmla="*/ 0 h 122"/>
                <a:gd name="T38" fmla="*/ 148 w 236"/>
                <a:gd name="T39" fmla="*/ 3 h 122"/>
                <a:gd name="T40" fmla="*/ 141 w 236"/>
                <a:gd name="T41" fmla="*/ 2 h 122"/>
                <a:gd name="T42" fmla="*/ 144 w 236"/>
                <a:gd name="T43" fmla="*/ 7 h 122"/>
                <a:gd name="T44" fmla="*/ 144 w 236"/>
                <a:gd name="T45" fmla="*/ 15 h 122"/>
                <a:gd name="T46" fmla="*/ 138 w 236"/>
                <a:gd name="T47" fmla="*/ 17 h 122"/>
                <a:gd name="T48" fmla="*/ 126 w 236"/>
                <a:gd name="T49" fmla="*/ 20 h 122"/>
                <a:gd name="T50" fmla="*/ 125 w 236"/>
                <a:gd name="T51" fmla="*/ 23 h 122"/>
                <a:gd name="T52" fmla="*/ 124 w 236"/>
                <a:gd name="T53" fmla="*/ 29 h 122"/>
                <a:gd name="T54" fmla="*/ 120 w 236"/>
                <a:gd name="T55" fmla="*/ 37 h 122"/>
                <a:gd name="T56" fmla="*/ 115 w 236"/>
                <a:gd name="T57" fmla="*/ 39 h 122"/>
                <a:gd name="T58" fmla="*/ 112 w 236"/>
                <a:gd name="T59" fmla="*/ 47 h 122"/>
                <a:gd name="T60" fmla="*/ 104 w 236"/>
                <a:gd name="T61" fmla="*/ 52 h 122"/>
                <a:gd name="T62" fmla="*/ 100 w 236"/>
                <a:gd name="T63" fmla="*/ 48 h 122"/>
                <a:gd name="T64" fmla="*/ 97 w 236"/>
                <a:gd name="T65" fmla="*/ 44 h 122"/>
                <a:gd name="T66" fmla="*/ 93 w 236"/>
                <a:gd name="T67" fmla="*/ 51 h 122"/>
                <a:gd name="T68" fmla="*/ 92 w 236"/>
                <a:gd name="T69" fmla="*/ 58 h 122"/>
                <a:gd name="T70" fmla="*/ 86 w 236"/>
                <a:gd name="T71" fmla="*/ 55 h 122"/>
                <a:gd name="T72" fmla="*/ 80 w 236"/>
                <a:gd name="T73" fmla="*/ 56 h 122"/>
                <a:gd name="T74" fmla="*/ 76 w 236"/>
                <a:gd name="T75" fmla="*/ 61 h 122"/>
                <a:gd name="T76" fmla="*/ 71 w 236"/>
                <a:gd name="T77" fmla="*/ 60 h 122"/>
                <a:gd name="T78" fmla="*/ 63 w 236"/>
                <a:gd name="T79" fmla="*/ 57 h 122"/>
                <a:gd name="T80" fmla="*/ 57 w 236"/>
                <a:gd name="T81" fmla="*/ 61 h 122"/>
                <a:gd name="T82" fmla="*/ 49 w 236"/>
                <a:gd name="T83" fmla="*/ 66 h 122"/>
                <a:gd name="T84" fmla="*/ 43 w 236"/>
                <a:gd name="T85" fmla="*/ 67 h 122"/>
                <a:gd name="T86" fmla="*/ 43 w 236"/>
                <a:gd name="T87" fmla="*/ 72 h 122"/>
                <a:gd name="T88" fmla="*/ 44 w 236"/>
                <a:gd name="T89" fmla="*/ 78 h 122"/>
                <a:gd name="T90" fmla="*/ 36 w 236"/>
                <a:gd name="T91" fmla="*/ 81 h 122"/>
                <a:gd name="T92" fmla="*/ 33 w 236"/>
                <a:gd name="T93" fmla="*/ 88 h 122"/>
                <a:gd name="T94" fmla="*/ 33 w 236"/>
                <a:gd name="T95" fmla="*/ 94 h 122"/>
                <a:gd name="T96" fmla="*/ 27 w 236"/>
                <a:gd name="T97" fmla="*/ 94 h 122"/>
                <a:gd name="T98" fmla="*/ 19 w 236"/>
                <a:gd name="T99" fmla="*/ 89 h 122"/>
                <a:gd name="T100" fmla="*/ 14 w 236"/>
                <a:gd name="T101" fmla="*/ 93 h 122"/>
                <a:gd name="T102" fmla="*/ 10 w 236"/>
                <a:gd name="T103" fmla="*/ 97 h 122"/>
                <a:gd name="T104" fmla="*/ 14 w 236"/>
                <a:gd name="T105" fmla="*/ 102 h 122"/>
                <a:gd name="T106" fmla="*/ 14 w 236"/>
                <a:gd name="T107" fmla="*/ 107 h 122"/>
                <a:gd name="T108" fmla="*/ 12 w 236"/>
                <a:gd name="T109" fmla="*/ 115 h 122"/>
                <a:gd name="T110" fmla="*/ 7 w 236"/>
                <a:gd name="T111" fmla="*/ 116 h 122"/>
                <a:gd name="T112" fmla="*/ 5 w 236"/>
                <a:gd name="T113" fmla="*/ 117 h 122"/>
                <a:gd name="T114" fmla="*/ 0 w 236"/>
                <a:gd name="T115" fmla="*/ 117 h 122"/>
                <a:gd name="T116" fmla="*/ 0 w 236"/>
                <a:gd name="T117" fmla="*/ 121 h 122"/>
                <a:gd name="T118" fmla="*/ 2 w 236"/>
                <a:gd name="T119" fmla="*/ 121 h 122"/>
                <a:gd name="T120" fmla="*/ 50 w 236"/>
                <a:gd name="T121" fmla="*/ 111 h 122"/>
                <a:gd name="T122" fmla="*/ 192 w 236"/>
                <a:gd name="T123" fmla="*/ 100 h 122"/>
                <a:gd name="T124" fmla="*/ 202 w 236"/>
                <a:gd name="T125" fmla="*/ 9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122">
                  <a:moveTo>
                    <a:pt x="202" y="94"/>
                  </a:moveTo>
                  <a:lnTo>
                    <a:pt x="207" y="91"/>
                  </a:lnTo>
                  <a:lnTo>
                    <a:pt x="210" y="89"/>
                  </a:lnTo>
                  <a:lnTo>
                    <a:pt x="214" y="88"/>
                  </a:lnTo>
                  <a:lnTo>
                    <a:pt x="217" y="79"/>
                  </a:lnTo>
                  <a:lnTo>
                    <a:pt x="220" y="74"/>
                  </a:lnTo>
                  <a:lnTo>
                    <a:pt x="231" y="70"/>
                  </a:lnTo>
                  <a:lnTo>
                    <a:pt x="235" y="64"/>
                  </a:lnTo>
                  <a:lnTo>
                    <a:pt x="236" y="60"/>
                  </a:lnTo>
                  <a:lnTo>
                    <a:pt x="232" y="54"/>
                  </a:lnTo>
                  <a:lnTo>
                    <a:pt x="227" y="49"/>
                  </a:lnTo>
                  <a:lnTo>
                    <a:pt x="222" y="42"/>
                  </a:lnTo>
                  <a:lnTo>
                    <a:pt x="220" y="36"/>
                  </a:lnTo>
                  <a:lnTo>
                    <a:pt x="217" y="23"/>
                  </a:lnTo>
                  <a:lnTo>
                    <a:pt x="218" y="22"/>
                  </a:lnTo>
                  <a:lnTo>
                    <a:pt x="215" y="22"/>
                  </a:lnTo>
                  <a:lnTo>
                    <a:pt x="211" y="18"/>
                  </a:lnTo>
                  <a:lnTo>
                    <a:pt x="207" y="13"/>
                  </a:lnTo>
                  <a:lnTo>
                    <a:pt x="204" y="10"/>
                  </a:lnTo>
                  <a:lnTo>
                    <a:pt x="203" y="11"/>
                  </a:lnTo>
                  <a:lnTo>
                    <a:pt x="201" y="12"/>
                  </a:lnTo>
                  <a:lnTo>
                    <a:pt x="199" y="15"/>
                  </a:lnTo>
                  <a:lnTo>
                    <a:pt x="198" y="16"/>
                  </a:lnTo>
                  <a:lnTo>
                    <a:pt x="192" y="17"/>
                  </a:lnTo>
                  <a:lnTo>
                    <a:pt x="187" y="15"/>
                  </a:lnTo>
                  <a:lnTo>
                    <a:pt x="184" y="13"/>
                  </a:lnTo>
                  <a:lnTo>
                    <a:pt x="183" y="14"/>
                  </a:lnTo>
                  <a:lnTo>
                    <a:pt x="181" y="16"/>
                  </a:lnTo>
                  <a:lnTo>
                    <a:pt x="181" y="17"/>
                  </a:lnTo>
                  <a:lnTo>
                    <a:pt x="178" y="18"/>
                  </a:lnTo>
                  <a:lnTo>
                    <a:pt x="176" y="16"/>
                  </a:lnTo>
                  <a:lnTo>
                    <a:pt x="174" y="15"/>
                  </a:lnTo>
                  <a:lnTo>
                    <a:pt x="171" y="14"/>
                  </a:lnTo>
                  <a:lnTo>
                    <a:pt x="166" y="13"/>
                  </a:lnTo>
                  <a:lnTo>
                    <a:pt x="165" y="11"/>
                  </a:lnTo>
                  <a:lnTo>
                    <a:pt x="163" y="7"/>
                  </a:lnTo>
                  <a:lnTo>
                    <a:pt x="159" y="4"/>
                  </a:lnTo>
                  <a:lnTo>
                    <a:pt x="154" y="0"/>
                  </a:lnTo>
                  <a:lnTo>
                    <a:pt x="153" y="1"/>
                  </a:lnTo>
                  <a:lnTo>
                    <a:pt x="148" y="3"/>
                  </a:lnTo>
                  <a:lnTo>
                    <a:pt x="143" y="1"/>
                  </a:lnTo>
                  <a:lnTo>
                    <a:pt x="141" y="2"/>
                  </a:lnTo>
                  <a:lnTo>
                    <a:pt x="142" y="6"/>
                  </a:lnTo>
                  <a:lnTo>
                    <a:pt x="144" y="7"/>
                  </a:lnTo>
                  <a:lnTo>
                    <a:pt x="143" y="9"/>
                  </a:lnTo>
                  <a:lnTo>
                    <a:pt x="144" y="15"/>
                  </a:lnTo>
                  <a:lnTo>
                    <a:pt x="142" y="17"/>
                  </a:lnTo>
                  <a:lnTo>
                    <a:pt x="138" y="17"/>
                  </a:lnTo>
                  <a:lnTo>
                    <a:pt x="134" y="19"/>
                  </a:lnTo>
                  <a:lnTo>
                    <a:pt x="126" y="20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4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20" y="37"/>
                  </a:lnTo>
                  <a:lnTo>
                    <a:pt x="118" y="39"/>
                  </a:lnTo>
                  <a:lnTo>
                    <a:pt x="115" y="39"/>
                  </a:lnTo>
                  <a:lnTo>
                    <a:pt x="112" y="44"/>
                  </a:lnTo>
                  <a:lnTo>
                    <a:pt x="112" y="47"/>
                  </a:lnTo>
                  <a:lnTo>
                    <a:pt x="110" y="51"/>
                  </a:lnTo>
                  <a:lnTo>
                    <a:pt x="104" y="52"/>
                  </a:lnTo>
                  <a:lnTo>
                    <a:pt x="103" y="51"/>
                  </a:lnTo>
                  <a:lnTo>
                    <a:pt x="100" y="48"/>
                  </a:lnTo>
                  <a:lnTo>
                    <a:pt x="99" y="44"/>
                  </a:lnTo>
                  <a:lnTo>
                    <a:pt x="97" y="44"/>
                  </a:lnTo>
                  <a:lnTo>
                    <a:pt x="96" y="48"/>
                  </a:lnTo>
                  <a:lnTo>
                    <a:pt x="93" y="51"/>
                  </a:lnTo>
                  <a:lnTo>
                    <a:pt x="93" y="55"/>
                  </a:lnTo>
                  <a:lnTo>
                    <a:pt x="92" y="58"/>
                  </a:lnTo>
                  <a:lnTo>
                    <a:pt x="88" y="57"/>
                  </a:lnTo>
                  <a:lnTo>
                    <a:pt x="86" y="55"/>
                  </a:lnTo>
                  <a:lnTo>
                    <a:pt x="82" y="55"/>
                  </a:lnTo>
                  <a:lnTo>
                    <a:pt x="80" y="56"/>
                  </a:lnTo>
                  <a:lnTo>
                    <a:pt x="76" y="57"/>
                  </a:lnTo>
                  <a:lnTo>
                    <a:pt x="76" y="61"/>
                  </a:lnTo>
                  <a:lnTo>
                    <a:pt x="75" y="62"/>
                  </a:lnTo>
                  <a:lnTo>
                    <a:pt x="71" y="60"/>
                  </a:lnTo>
                  <a:lnTo>
                    <a:pt x="68" y="57"/>
                  </a:lnTo>
                  <a:lnTo>
                    <a:pt x="63" y="57"/>
                  </a:lnTo>
                  <a:lnTo>
                    <a:pt x="60" y="57"/>
                  </a:lnTo>
                  <a:lnTo>
                    <a:pt x="57" y="61"/>
                  </a:lnTo>
                  <a:lnTo>
                    <a:pt x="49" y="61"/>
                  </a:lnTo>
                  <a:lnTo>
                    <a:pt x="49" y="66"/>
                  </a:lnTo>
                  <a:lnTo>
                    <a:pt x="46" y="66"/>
                  </a:lnTo>
                  <a:lnTo>
                    <a:pt x="43" y="67"/>
                  </a:lnTo>
                  <a:lnTo>
                    <a:pt x="43" y="71"/>
                  </a:lnTo>
                  <a:lnTo>
                    <a:pt x="43" y="72"/>
                  </a:lnTo>
                  <a:lnTo>
                    <a:pt x="43" y="75"/>
                  </a:lnTo>
                  <a:lnTo>
                    <a:pt x="44" y="78"/>
                  </a:lnTo>
                  <a:lnTo>
                    <a:pt x="42" y="79"/>
                  </a:lnTo>
                  <a:lnTo>
                    <a:pt x="36" y="81"/>
                  </a:lnTo>
                  <a:lnTo>
                    <a:pt x="33" y="83"/>
                  </a:lnTo>
                  <a:lnTo>
                    <a:pt x="33" y="88"/>
                  </a:lnTo>
                  <a:lnTo>
                    <a:pt x="35" y="93"/>
                  </a:lnTo>
                  <a:lnTo>
                    <a:pt x="33" y="94"/>
                  </a:lnTo>
                  <a:lnTo>
                    <a:pt x="30" y="94"/>
                  </a:lnTo>
                  <a:lnTo>
                    <a:pt x="27" y="94"/>
                  </a:lnTo>
                  <a:lnTo>
                    <a:pt x="23" y="91"/>
                  </a:lnTo>
                  <a:lnTo>
                    <a:pt x="19" y="89"/>
                  </a:lnTo>
                  <a:lnTo>
                    <a:pt x="17" y="90"/>
                  </a:lnTo>
                  <a:lnTo>
                    <a:pt x="14" y="93"/>
                  </a:lnTo>
                  <a:lnTo>
                    <a:pt x="11" y="94"/>
                  </a:lnTo>
                  <a:lnTo>
                    <a:pt x="10" y="97"/>
                  </a:lnTo>
                  <a:lnTo>
                    <a:pt x="10" y="100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4" y="107"/>
                  </a:lnTo>
                  <a:lnTo>
                    <a:pt x="14" y="112"/>
                  </a:lnTo>
                  <a:lnTo>
                    <a:pt x="12" y="115"/>
                  </a:lnTo>
                  <a:lnTo>
                    <a:pt x="10" y="116"/>
                  </a:lnTo>
                  <a:lnTo>
                    <a:pt x="7" y="116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4" y="117"/>
                  </a:lnTo>
                  <a:lnTo>
                    <a:pt x="0" y="117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2"/>
                  </a:lnTo>
                  <a:lnTo>
                    <a:pt x="2" y="121"/>
                  </a:lnTo>
                  <a:lnTo>
                    <a:pt x="52" y="120"/>
                  </a:lnTo>
                  <a:lnTo>
                    <a:pt x="50" y="111"/>
                  </a:lnTo>
                  <a:lnTo>
                    <a:pt x="143" y="105"/>
                  </a:lnTo>
                  <a:lnTo>
                    <a:pt x="192" y="100"/>
                  </a:lnTo>
                  <a:lnTo>
                    <a:pt x="198" y="97"/>
                  </a:lnTo>
                  <a:lnTo>
                    <a:pt x="202" y="9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4B852A0E-6F6E-F247-9083-30E3A12FC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6419" y="2426216"/>
              <a:ext cx="362585" cy="315365"/>
            </a:xfrm>
            <a:custGeom>
              <a:avLst/>
              <a:gdLst>
                <a:gd name="T0" fmla="*/ 238 w 254"/>
                <a:gd name="T1" fmla="*/ 190 h 221"/>
                <a:gd name="T2" fmla="*/ 242 w 254"/>
                <a:gd name="T3" fmla="*/ 189 h 221"/>
                <a:gd name="T4" fmla="*/ 244 w 254"/>
                <a:gd name="T5" fmla="*/ 188 h 221"/>
                <a:gd name="T6" fmla="*/ 249 w 254"/>
                <a:gd name="T7" fmla="*/ 187 h 221"/>
                <a:gd name="T8" fmla="*/ 254 w 254"/>
                <a:gd name="T9" fmla="*/ 183 h 221"/>
                <a:gd name="T10" fmla="*/ 254 w 254"/>
                <a:gd name="T11" fmla="*/ 173 h 221"/>
                <a:gd name="T12" fmla="*/ 250 w 254"/>
                <a:gd name="T13" fmla="*/ 168 h 221"/>
                <a:gd name="T14" fmla="*/ 251 w 254"/>
                <a:gd name="T15" fmla="*/ 161 h 221"/>
                <a:gd name="T16" fmla="*/ 243 w 254"/>
                <a:gd name="T17" fmla="*/ 166 h 221"/>
                <a:gd name="T18" fmla="*/ 238 w 254"/>
                <a:gd name="T19" fmla="*/ 156 h 221"/>
                <a:gd name="T20" fmla="*/ 240 w 254"/>
                <a:gd name="T21" fmla="*/ 146 h 221"/>
                <a:gd name="T22" fmla="*/ 232 w 254"/>
                <a:gd name="T23" fmla="*/ 131 h 221"/>
                <a:gd name="T24" fmla="*/ 216 w 254"/>
                <a:gd name="T25" fmla="*/ 124 h 221"/>
                <a:gd name="T26" fmla="*/ 202 w 254"/>
                <a:gd name="T27" fmla="*/ 112 h 221"/>
                <a:gd name="T28" fmla="*/ 204 w 254"/>
                <a:gd name="T29" fmla="*/ 100 h 221"/>
                <a:gd name="T30" fmla="*/ 206 w 254"/>
                <a:gd name="T31" fmla="*/ 91 h 221"/>
                <a:gd name="T32" fmla="*/ 206 w 254"/>
                <a:gd name="T33" fmla="*/ 80 h 221"/>
                <a:gd name="T34" fmla="*/ 196 w 254"/>
                <a:gd name="T35" fmla="*/ 76 h 221"/>
                <a:gd name="T36" fmla="*/ 191 w 254"/>
                <a:gd name="T37" fmla="*/ 81 h 221"/>
                <a:gd name="T38" fmla="*/ 186 w 254"/>
                <a:gd name="T39" fmla="*/ 67 h 221"/>
                <a:gd name="T40" fmla="*/ 163 w 254"/>
                <a:gd name="T41" fmla="*/ 45 h 221"/>
                <a:gd name="T42" fmla="*/ 156 w 254"/>
                <a:gd name="T43" fmla="*/ 22 h 221"/>
                <a:gd name="T44" fmla="*/ 158 w 254"/>
                <a:gd name="T45" fmla="*/ 10 h 221"/>
                <a:gd name="T46" fmla="*/ 0 w 254"/>
                <a:gd name="T47" fmla="*/ 2 h 221"/>
                <a:gd name="T48" fmla="*/ 4 w 254"/>
                <a:gd name="T49" fmla="*/ 6 h 221"/>
                <a:gd name="T50" fmla="*/ 3 w 254"/>
                <a:gd name="T51" fmla="*/ 13 h 221"/>
                <a:gd name="T52" fmla="*/ 5 w 254"/>
                <a:gd name="T53" fmla="*/ 17 h 221"/>
                <a:gd name="T54" fmla="*/ 12 w 254"/>
                <a:gd name="T55" fmla="*/ 25 h 221"/>
                <a:gd name="T56" fmla="*/ 14 w 254"/>
                <a:gd name="T57" fmla="*/ 29 h 221"/>
                <a:gd name="T58" fmla="*/ 20 w 254"/>
                <a:gd name="T59" fmla="*/ 39 h 221"/>
                <a:gd name="T60" fmla="*/ 31 w 254"/>
                <a:gd name="T61" fmla="*/ 39 h 221"/>
                <a:gd name="T62" fmla="*/ 28 w 254"/>
                <a:gd name="T63" fmla="*/ 50 h 221"/>
                <a:gd name="T64" fmla="*/ 31 w 254"/>
                <a:gd name="T65" fmla="*/ 61 h 221"/>
                <a:gd name="T66" fmla="*/ 36 w 254"/>
                <a:gd name="T67" fmla="*/ 69 h 221"/>
                <a:gd name="T68" fmla="*/ 42 w 254"/>
                <a:gd name="T69" fmla="*/ 176 h 221"/>
                <a:gd name="T70" fmla="*/ 215 w 254"/>
                <a:gd name="T71" fmla="*/ 197 h 221"/>
                <a:gd name="T72" fmla="*/ 205 w 254"/>
                <a:gd name="T73" fmla="*/ 221 h 221"/>
                <a:gd name="T74" fmla="*/ 234 w 254"/>
                <a:gd name="T75" fmla="*/ 216 h 221"/>
                <a:gd name="T76" fmla="*/ 237 w 254"/>
                <a:gd name="T77" fmla="*/ 211 h 221"/>
                <a:gd name="T78" fmla="*/ 234 w 254"/>
                <a:gd name="T79" fmla="*/ 206 h 221"/>
                <a:gd name="T80" fmla="*/ 237 w 254"/>
                <a:gd name="T81" fmla="*/ 203 h 221"/>
                <a:gd name="T82" fmla="*/ 238 w 254"/>
                <a:gd name="T83" fmla="*/ 197 h 221"/>
                <a:gd name="T84" fmla="*/ 238 w 254"/>
                <a:gd name="T85" fmla="*/ 19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4" h="221">
                  <a:moveTo>
                    <a:pt x="238" y="193"/>
                  </a:moveTo>
                  <a:cubicBezTo>
                    <a:pt x="238" y="190"/>
                    <a:pt x="238" y="190"/>
                    <a:pt x="238" y="190"/>
                  </a:cubicBezTo>
                  <a:cubicBezTo>
                    <a:pt x="238" y="189"/>
                    <a:pt x="238" y="189"/>
                    <a:pt x="238" y="189"/>
                  </a:cubicBezTo>
                  <a:cubicBezTo>
                    <a:pt x="242" y="189"/>
                    <a:pt x="242" y="189"/>
                    <a:pt x="242" y="189"/>
                  </a:cubicBezTo>
                  <a:cubicBezTo>
                    <a:pt x="243" y="189"/>
                    <a:pt x="243" y="189"/>
                    <a:pt x="243" y="189"/>
                  </a:cubicBezTo>
                  <a:cubicBezTo>
                    <a:pt x="244" y="188"/>
                    <a:pt x="244" y="188"/>
                    <a:pt x="244" y="188"/>
                  </a:cubicBezTo>
                  <a:cubicBezTo>
                    <a:pt x="246" y="187"/>
                    <a:pt x="246" y="187"/>
                    <a:pt x="246" y="187"/>
                  </a:cubicBezTo>
                  <a:cubicBezTo>
                    <a:pt x="249" y="187"/>
                    <a:pt x="249" y="187"/>
                    <a:pt x="249" y="187"/>
                  </a:cubicBezTo>
                  <a:cubicBezTo>
                    <a:pt x="252" y="186"/>
                    <a:pt x="252" y="186"/>
                    <a:pt x="252" y="186"/>
                  </a:cubicBezTo>
                  <a:cubicBezTo>
                    <a:pt x="254" y="183"/>
                    <a:pt x="254" y="183"/>
                    <a:pt x="254" y="183"/>
                  </a:cubicBezTo>
                  <a:cubicBezTo>
                    <a:pt x="254" y="177"/>
                    <a:pt x="254" y="177"/>
                    <a:pt x="254" y="177"/>
                  </a:cubicBezTo>
                  <a:cubicBezTo>
                    <a:pt x="254" y="173"/>
                    <a:pt x="254" y="173"/>
                    <a:pt x="254" y="173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50" y="168"/>
                    <a:pt x="250" y="168"/>
                    <a:pt x="250" y="168"/>
                  </a:cubicBezTo>
                  <a:cubicBezTo>
                    <a:pt x="250" y="165"/>
                    <a:pt x="250" y="165"/>
                    <a:pt x="250" y="165"/>
                  </a:cubicBezTo>
                  <a:cubicBezTo>
                    <a:pt x="251" y="161"/>
                    <a:pt x="251" y="161"/>
                    <a:pt x="251" y="161"/>
                  </a:cubicBezTo>
                  <a:cubicBezTo>
                    <a:pt x="246" y="161"/>
                    <a:pt x="246" y="161"/>
                    <a:pt x="246" y="161"/>
                  </a:cubicBezTo>
                  <a:cubicBezTo>
                    <a:pt x="243" y="166"/>
                    <a:pt x="243" y="166"/>
                    <a:pt x="243" y="166"/>
                  </a:cubicBezTo>
                  <a:cubicBezTo>
                    <a:pt x="243" y="161"/>
                    <a:pt x="243" y="161"/>
                    <a:pt x="243" y="161"/>
                  </a:cubicBezTo>
                  <a:cubicBezTo>
                    <a:pt x="238" y="156"/>
                    <a:pt x="238" y="156"/>
                    <a:pt x="238" y="156"/>
                  </a:cubicBezTo>
                  <a:cubicBezTo>
                    <a:pt x="239" y="152"/>
                    <a:pt x="239" y="152"/>
                    <a:pt x="239" y="152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6" y="135"/>
                    <a:pt x="236" y="135"/>
                    <a:pt x="236" y="135"/>
                  </a:cubicBezTo>
                  <a:cubicBezTo>
                    <a:pt x="232" y="131"/>
                    <a:pt x="232" y="131"/>
                    <a:pt x="232" y="131"/>
                  </a:cubicBezTo>
                  <a:cubicBezTo>
                    <a:pt x="219" y="122"/>
                    <a:pt x="219" y="122"/>
                    <a:pt x="219" y="122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08" y="118"/>
                    <a:pt x="208" y="118"/>
                    <a:pt x="208" y="118"/>
                  </a:cubicBezTo>
                  <a:cubicBezTo>
                    <a:pt x="202" y="112"/>
                    <a:pt x="202" y="112"/>
                    <a:pt x="202" y="112"/>
                  </a:cubicBezTo>
                  <a:cubicBezTo>
                    <a:pt x="202" y="106"/>
                    <a:pt x="202" y="106"/>
                    <a:pt x="202" y="106"/>
                  </a:cubicBezTo>
                  <a:cubicBezTo>
                    <a:pt x="204" y="100"/>
                    <a:pt x="204" y="100"/>
                    <a:pt x="204" y="100"/>
                  </a:cubicBezTo>
                  <a:cubicBezTo>
                    <a:pt x="205" y="96"/>
                    <a:pt x="205" y="96"/>
                    <a:pt x="205" y="96"/>
                  </a:cubicBezTo>
                  <a:cubicBezTo>
                    <a:pt x="206" y="91"/>
                    <a:pt x="206" y="91"/>
                    <a:pt x="206" y="91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06" y="80"/>
                    <a:pt x="206" y="80"/>
                    <a:pt x="206" y="80"/>
                  </a:cubicBezTo>
                  <a:cubicBezTo>
                    <a:pt x="202" y="76"/>
                    <a:pt x="202" y="76"/>
                    <a:pt x="202" y="76"/>
                  </a:cubicBezTo>
                  <a:cubicBezTo>
                    <a:pt x="196" y="76"/>
                    <a:pt x="196" y="76"/>
                    <a:pt x="196" y="76"/>
                  </a:cubicBezTo>
                  <a:cubicBezTo>
                    <a:pt x="193" y="78"/>
                    <a:pt x="193" y="78"/>
                    <a:pt x="193" y="78"/>
                  </a:cubicBezTo>
                  <a:cubicBezTo>
                    <a:pt x="191" y="81"/>
                    <a:pt x="191" y="81"/>
                    <a:pt x="191" y="81"/>
                  </a:cubicBezTo>
                  <a:cubicBezTo>
                    <a:pt x="186" y="76"/>
                    <a:pt x="186" y="76"/>
                    <a:pt x="186" y="76"/>
                  </a:cubicBezTo>
                  <a:cubicBezTo>
                    <a:pt x="186" y="67"/>
                    <a:pt x="186" y="67"/>
                    <a:pt x="186" y="67"/>
                  </a:cubicBezTo>
                  <a:cubicBezTo>
                    <a:pt x="181" y="60"/>
                    <a:pt x="181" y="60"/>
                    <a:pt x="181" y="60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56" y="33"/>
                    <a:pt x="156" y="33"/>
                    <a:pt x="156" y="33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56" y="11"/>
                    <a:pt x="156" y="11"/>
                    <a:pt x="156" y="11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4" y="16"/>
                    <a:pt x="5" y="17"/>
                  </a:cubicBezTo>
                  <a:cubicBezTo>
                    <a:pt x="6" y="18"/>
                    <a:pt x="11" y="19"/>
                    <a:pt x="11" y="19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176"/>
                    <a:pt x="42" y="176"/>
                    <a:pt x="42" y="176"/>
                  </a:cubicBezTo>
                  <a:cubicBezTo>
                    <a:pt x="42" y="201"/>
                    <a:pt x="42" y="201"/>
                    <a:pt x="42" y="201"/>
                  </a:cubicBezTo>
                  <a:cubicBezTo>
                    <a:pt x="215" y="197"/>
                    <a:pt x="215" y="197"/>
                    <a:pt x="215" y="197"/>
                  </a:cubicBezTo>
                  <a:cubicBezTo>
                    <a:pt x="216" y="203"/>
                    <a:pt x="216" y="203"/>
                    <a:pt x="216" y="20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33" y="219"/>
                    <a:pt x="233" y="219"/>
                    <a:pt x="233" y="219"/>
                  </a:cubicBezTo>
                  <a:cubicBezTo>
                    <a:pt x="234" y="216"/>
                    <a:pt x="234" y="216"/>
                    <a:pt x="234" y="216"/>
                  </a:cubicBezTo>
                  <a:cubicBezTo>
                    <a:pt x="236" y="213"/>
                    <a:pt x="236" y="213"/>
                    <a:pt x="236" y="213"/>
                  </a:cubicBezTo>
                  <a:cubicBezTo>
                    <a:pt x="236" y="213"/>
                    <a:pt x="238" y="212"/>
                    <a:pt x="237" y="211"/>
                  </a:cubicBezTo>
                  <a:cubicBezTo>
                    <a:pt x="237" y="210"/>
                    <a:pt x="235" y="207"/>
                    <a:pt x="235" y="207"/>
                  </a:cubicBezTo>
                  <a:cubicBezTo>
                    <a:pt x="234" y="206"/>
                    <a:pt x="234" y="206"/>
                    <a:pt x="234" y="206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37" y="203"/>
                    <a:pt x="237" y="203"/>
                    <a:pt x="237" y="203"/>
                  </a:cubicBezTo>
                  <a:cubicBezTo>
                    <a:pt x="238" y="200"/>
                    <a:pt x="238" y="200"/>
                    <a:pt x="238" y="200"/>
                  </a:cubicBezTo>
                  <a:cubicBezTo>
                    <a:pt x="238" y="197"/>
                    <a:pt x="238" y="197"/>
                    <a:pt x="238" y="197"/>
                  </a:cubicBezTo>
                  <a:cubicBezTo>
                    <a:pt x="238" y="194"/>
                    <a:pt x="238" y="194"/>
                    <a:pt x="238" y="194"/>
                  </a:cubicBezTo>
                  <a:lnTo>
                    <a:pt x="238" y="19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4F35B27C-7CB6-AC47-AEA4-1376518E8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333" y="1820782"/>
              <a:ext cx="350780" cy="408119"/>
            </a:xfrm>
            <a:custGeom>
              <a:avLst/>
              <a:gdLst>
                <a:gd name="T0" fmla="*/ 139 w 208"/>
                <a:gd name="T1" fmla="*/ 135 h 242"/>
                <a:gd name="T2" fmla="*/ 144 w 208"/>
                <a:gd name="T3" fmla="*/ 107 h 242"/>
                <a:gd name="T4" fmla="*/ 169 w 208"/>
                <a:gd name="T5" fmla="*/ 80 h 242"/>
                <a:gd name="T6" fmla="*/ 208 w 208"/>
                <a:gd name="T7" fmla="*/ 55 h 242"/>
                <a:gd name="T8" fmla="*/ 183 w 208"/>
                <a:gd name="T9" fmla="*/ 52 h 242"/>
                <a:gd name="T10" fmla="*/ 166 w 208"/>
                <a:gd name="T11" fmla="*/ 52 h 242"/>
                <a:gd name="T12" fmla="*/ 154 w 208"/>
                <a:gd name="T13" fmla="*/ 55 h 242"/>
                <a:gd name="T14" fmla="*/ 147 w 208"/>
                <a:gd name="T15" fmla="*/ 48 h 242"/>
                <a:gd name="T16" fmla="*/ 133 w 208"/>
                <a:gd name="T17" fmla="*/ 45 h 242"/>
                <a:gd name="T18" fmla="*/ 128 w 208"/>
                <a:gd name="T19" fmla="*/ 42 h 242"/>
                <a:gd name="T20" fmla="*/ 114 w 208"/>
                <a:gd name="T21" fmla="*/ 36 h 242"/>
                <a:gd name="T22" fmla="*/ 123 w 208"/>
                <a:gd name="T23" fmla="*/ 36 h 242"/>
                <a:gd name="T24" fmla="*/ 114 w 208"/>
                <a:gd name="T25" fmla="*/ 35 h 242"/>
                <a:gd name="T26" fmla="*/ 105 w 208"/>
                <a:gd name="T27" fmla="*/ 35 h 242"/>
                <a:gd name="T28" fmla="*/ 97 w 208"/>
                <a:gd name="T29" fmla="*/ 39 h 242"/>
                <a:gd name="T30" fmla="*/ 87 w 208"/>
                <a:gd name="T31" fmla="*/ 34 h 242"/>
                <a:gd name="T32" fmla="*/ 80 w 208"/>
                <a:gd name="T33" fmla="*/ 34 h 242"/>
                <a:gd name="T34" fmla="*/ 68 w 208"/>
                <a:gd name="T35" fmla="*/ 24 h 242"/>
                <a:gd name="T36" fmla="*/ 66 w 208"/>
                <a:gd name="T37" fmla="*/ 20 h 242"/>
                <a:gd name="T38" fmla="*/ 58 w 208"/>
                <a:gd name="T39" fmla="*/ 20 h 242"/>
                <a:gd name="T40" fmla="*/ 54 w 208"/>
                <a:gd name="T41" fmla="*/ 16 h 242"/>
                <a:gd name="T42" fmla="*/ 58 w 208"/>
                <a:gd name="T43" fmla="*/ 8 h 242"/>
                <a:gd name="T44" fmla="*/ 60 w 208"/>
                <a:gd name="T45" fmla="*/ 2 h 242"/>
                <a:gd name="T46" fmla="*/ 56 w 208"/>
                <a:gd name="T47" fmla="*/ 0 h 242"/>
                <a:gd name="T48" fmla="*/ 54 w 208"/>
                <a:gd name="T49" fmla="*/ 12 h 242"/>
                <a:gd name="T50" fmla="*/ 0 w 208"/>
                <a:gd name="T51" fmla="*/ 16 h 242"/>
                <a:gd name="T52" fmla="*/ 1 w 208"/>
                <a:gd name="T53" fmla="*/ 23 h 242"/>
                <a:gd name="T54" fmla="*/ 4 w 208"/>
                <a:gd name="T55" fmla="*/ 26 h 242"/>
                <a:gd name="T56" fmla="*/ 3 w 208"/>
                <a:gd name="T57" fmla="*/ 31 h 242"/>
                <a:gd name="T58" fmla="*/ 1 w 208"/>
                <a:gd name="T59" fmla="*/ 34 h 242"/>
                <a:gd name="T60" fmla="*/ 2 w 208"/>
                <a:gd name="T61" fmla="*/ 40 h 242"/>
                <a:gd name="T62" fmla="*/ 1 w 208"/>
                <a:gd name="T63" fmla="*/ 51 h 242"/>
                <a:gd name="T64" fmla="*/ 6 w 208"/>
                <a:gd name="T65" fmla="*/ 64 h 242"/>
                <a:gd name="T66" fmla="*/ 9 w 208"/>
                <a:gd name="T67" fmla="*/ 78 h 242"/>
                <a:gd name="T68" fmla="*/ 10 w 208"/>
                <a:gd name="T69" fmla="*/ 104 h 242"/>
                <a:gd name="T70" fmla="*/ 12 w 208"/>
                <a:gd name="T71" fmla="*/ 114 h 242"/>
                <a:gd name="T72" fmla="*/ 12 w 208"/>
                <a:gd name="T73" fmla="*/ 122 h 242"/>
                <a:gd name="T74" fmla="*/ 17 w 208"/>
                <a:gd name="T75" fmla="*/ 127 h 242"/>
                <a:gd name="T76" fmla="*/ 18 w 208"/>
                <a:gd name="T77" fmla="*/ 136 h 242"/>
                <a:gd name="T78" fmla="*/ 16 w 208"/>
                <a:gd name="T79" fmla="*/ 142 h 242"/>
                <a:gd name="T80" fmla="*/ 17 w 208"/>
                <a:gd name="T81" fmla="*/ 144 h 242"/>
                <a:gd name="T82" fmla="*/ 11 w 208"/>
                <a:gd name="T83" fmla="*/ 150 h 242"/>
                <a:gd name="T84" fmla="*/ 8 w 208"/>
                <a:gd name="T85" fmla="*/ 154 h 242"/>
                <a:gd name="T86" fmla="*/ 9 w 208"/>
                <a:gd name="T87" fmla="*/ 158 h 242"/>
                <a:gd name="T88" fmla="*/ 12 w 208"/>
                <a:gd name="T89" fmla="*/ 163 h 242"/>
                <a:gd name="T90" fmla="*/ 18 w 208"/>
                <a:gd name="T91" fmla="*/ 167 h 242"/>
                <a:gd name="T92" fmla="*/ 18 w 208"/>
                <a:gd name="T93" fmla="*/ 242 h 242"/>
                <a:gd name="T94" fmla="*/ 173 w 208"/>
                <a:gd name="T95" fmla="*/ 233 h 242"/>
                <a:gd name="T96" fmla="*/ 166 w 208"/>
                <a:gd name="T97" fmla="*/ 220 h 242"/>
                <a:gd name="T98" fmla="*/ 157 w 208"/>
                <a:gd name="T99" fmla="*/ 213 h 242"/>
                <a:gd name="T100" fmla="*/ 138 w 208"/>
                <a:gd name="T101" fmla="*/ 197 h 242"/>
                <a:gd name="T102" fmla="*/ 125 w 208"/>
                <a:gd name="T103" fmla="*/ 189 h 242"/>
                <a:gd name="T104" fmla="*/ 128 w 208"/>
                <a:gd name="T105" fmla="*/ 159 h 242"/>
                <a:gd name="T106" fmla="*/ 122 w 208"/>
                <a:gd name="T107" fmla="*/ 154 h 242"/>
                <a:gd name="T108" fmla="*/ 128 w 208"/>
                <a:gd name="T109" fmla="*/ 1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8" h="242">
                  <a:moveTo>
                    <a:pt x="128" y="141"/>
                  </a:moveTo>
                  <a:lnTo>
                    <a:pt x="139" y="135"/>
                  </a:lnTo>
                  <a:lnTo>
                    <a:pt x="139" y="111"/>
                  </a:lnTo>
                  <a:lnTo>
                    <a:pt x="144" y="107"/>
                  </a:lnTo>
                  <a:lnTo>
                    <a:pt x="161" y="91"/>
                  </a:lnTo>
                  <a:lnTo>
                    <a:pt x="169" y="80"/>
                  </a:lnTo>
                  <a:lnTo>
                    <a:pt x="185" y="69"/>
                  </a:lnTo>
                  <a:lnTo>
                    <a:pt x="208" y="55"/>
                  </a:lnTo>
                  <a:lnTo>
                    <a:pt x="200" y="53"/>
                  </a:lnTo>
                  <a:lnTo>
                    <a:pt x="183" y="52"/>
                  </a:lnTo>
                  <a:lnTo>
                    <a:pt x="169" y="49"/>
                  </a:lnTo>
                  <a:lnTo>
                    <a:pt x="166" y="52"/>
                  </a:lnTo>
                  <a:lnTo>
                    <a:pt x="162" y="55"/>
                  </a:lnTo>
                  <a:lnTo>
                    <a:pt x="154" y="55"/>
                  </a:lnTo>
                  <a:lnTo>
                    <a:pt x="151" y="51"/>
                  </a:lnTo>
                  <a:lnTo>
                    <a:pt x="147" y="48"/>
                  </a:lnTo>
                  <a:lnTo>
                    <a:pt x="136" y="45"/>
                  </a:lnTo>
                  <a:lnTo>
                    <a:pt x="133" y="45"/>
                  </a:lnTo>
                  <a:lnTo>
                    <a:pt x="129" y="43"/>
                  </a:lnTo>
                  <a:lnTo>
                    <a:pt x="128" y="42"/>
                  </a:lnTo>
                  <a:lnTo>
                    <a:pt x="119" y="41"/>
                  </a:lnTo>
                  <a:lnTo>
                    <a:pt x="114" y="36"/>
                  </a:lnTo>
                  <a:lnTo>
                    <a:pt x="120" y="39"/>
                  </a:lnTo>
                  <a:lnTo>
                    <a:pt x="123" y="36"/>
                  </a:lnTo>
                  <a:lnTo>
                    <a:pt x="119" y="35"/>
                  </a:lnTo>
                  <a:lnTo>
                    <a:pt x="114" y="35"/>
                  </a:lnTo>
                  <a:lnTo>
                    <a:pt x="109" y="35"/>
                  </a:lnTo>
                  <a:lnTo>
                    <a:pt x="105" y="35"/>
                  </a:lnTo>
                  <a:lnTo>
                    <a:pt x="100" y="35"/>
                  </a:lnTo>
                  <a:lnTo>
                    <a:pt x="97" y="39"/>
                  </a:lnTo>
                  <a:lnTo>
                    <a:pt x="93" y="39"/>
                  </a:lnTo>
                  <a:lnTo>
                    <a:pt x="87" y="34"/>
                  </a:lnTo>
                  <a:lnTo>
                    <a:pt x="84" y="34"/>
                  </a:lnTo>
                  <a:lnTo>
                    <a:pt x="80" y="34"/>
                  </a:lnTo>
                  <a:lnTo>
                    <a:pt x="73" y="32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20"/>
                  </a:lnTo>
                  <a:lnTo>
                    <a:pt x="55" y="20"/>
                  </a:lnTo>
                  <a:lnTo>
                    <a:pt x="54" y="16"/>
                  </a:lnTo>
                  <a:lnTo>
                    <a:pt x="57" y="12"/>
                  </a:lnTo>
                  <a:lnTo>
                    <a:pt x="58" y="8"/>
                  </a:lnTo>
                  <a:lnTo>
                    <a:pt x="62" y="5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10"/>
                  </a:lnTo>
                  <a:lnTo>
                    <a:pt x="54" y="12"/>
                  </a:lnTo>
                  <a:lnTo>
                    <a:pt x="52" y="16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1" y="23"/>
                  </a:lnTo>
                  <a:lnTo>
                    <a:pt x="1" y="24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8"/>
                  </a:lnTo>
                  <a:lnTo>
                    <a:pt x="2" y="40"/>
                  </a:lnTo>
                  <a:lnTo>
                    <a:pt x="3" y="45"/>
                  </a:lnTo>
                  <a:lnTo>
                    <a:pt x="1" y="51"/>
                  </a:lnTo>
                  <a:lnTo>
                    <a:pt x="3" y="56"/>
                  </a:lnTo>
                  <a:lnTo>
                    <a:pt x="6" y="64"/>
                  </a:lnTo>
                  <a:lnTo>
                    <a:pt x="9" y="70"/>
                  </a:lnTo>
                  <a:lnTo>
                    <a:pt x="9" y="78"/>
                  </a:lnTo>
                  <a:lnTo>
                    <a:pt x="10" y="92"/>
                  </a:lnTo>
                  <a:lnTo>
                    <a:pt x="10" y="104"/>
                  </a:lnTo>
                  <a:lnTo>
                    <a:pt x="10" y="112"/>
                  </a:lnTo>
                  <a:lnTo>
                    <a:pt x="12" y="114"/>
                  </a:lnTo>
                  <a:lnTo>
                    <a:pt x="12" y="116"/>
                  </a:lnTo>
                  <a:lnTo>
                    <a:pt x="12" y="122"/>
                  </a:lnTo>
                  <a:lnTo>
                    <a:pt x="15" y="124"/>
                  </a:lnTo>
                  <a:lnTo>
                    <a:pt x="17" y="127"/>
                  </a:lnTo>
                  <a:lnTo>
                    <a:pt x="18" y="132"/>
                  </a:lnTo>
                  <a:lnTo>
                    <a:pt x="18" y="136"/>
                  </a:lnTo>
                  <a:lnTo>
                    <a:pt x="18" y="141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7" y="144"/>
                  </a:lnTo>
                  <a:lnTo>
                    <a:pt x="13" y="147"/>
                  </a:lnTo>
                  <a:lnTo>
                    <a:pt x="11" y="150"/>
                  </a:lnTo>
                  <a:lnTo>
                    <a:pt x="8" y="152"/>
                  </a:lnTo>
                  <a:lnTo>
                    <a:pt x="8" y="154"/>
                  </a:lnTo>
                  <a:lnTo>
                    <a:pt x="8" y="156"/>
                  </a:lnTo>
                  <a:lnTo>
                    <a:pt x="9" y="158"/>
                  </a:lnTo>
                  <a:lnTo>
                    <a:pt x="12" y="160"/>
                  </a:lnTo>
                  <a:lnTo>
                    <a:pt x="12" y="163"/>
                  </a:lnTo>
                  <a:lnTo>
                    <a:pt x="17" y="164"/>
                  </a:lnTo>
                  <a:lnTo>
                    <a:pt x="18" y="167"/>
                  </a:lnTo>
                  <a:lnTo>
                    <a:pt x="21" y="169"/>
                  </a:lnTo>
                  <a:lnTo>
                    <a:pt x="18" y="242"/>
                  </a:lnTo>
                  <a:lnTo>
                    <a:pt x="172" y="239"/>
                  </a:lnTo>
                  <a:lnTo>
                    <a:pt x="173" y="233"/>
                  </a:lnTo>
                  <a:lnTo>
                    <a:pt x="172" y="227"/>
                  </a:lnTo>
                  <a:lnTo>
                    <a:pt x="166" y="220"/>
                  </a:lnTo>
                  <a:lnTo>
                    <a:pt x="160" y="216"/>
                  </a:lnTo>
                  <a:lnTo>
                    <a:pt x="157" y="213"/>
                  </a:lnTo>
                  <a:lnTo>
                    <a:pt x="150" y="204"/>
                  </a:lnTo>
                  <a:lnTo>
                    <a:pt x="138" y="197"/>
                  </a:lnTo>
                  <a:lnTo>
                    <a:pt x="130" y="193"/>
                  </a:lnTo>
                  <a:lnTo>
                    <a:pt x="125" y="189"/>
                  </a:lnTo>
                  <a:lnTo>
                    <a:pt x="126" y="174"/>
                  </a:lnTo>
                  <a:lnTo>
                    <a:pt x="128" y="159"/>
                  </a:lnTo>
                  <a:lnTo>
                    <a:pt x="126" y="159"/>
                  </a:lnTo>
                  <a:lnTo>
                    <a:pt x="122" y="154"/>
                  </a:lnTo>
                  <a:lnTo>
                    <a:pt x="126" y="145"/>
                  </a:lnTo>
                  <a:lnTo>
                    <a:pt x="128" y="14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49" name="Line 48">
              <a:extLst>
                <a:ext uri="{FF2B5EF4-FFF2-40B4-BE49-F238E27FC236}">
                  <a16:creationId xmlns:a16="http://schemas.microsoft.com/office/drawing/2014/main" id="{D68663C9-804A-BE4C-AF0B-62FC96BF75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81810" y="2014724"/>
              <a:ext cx="0" cy="0"/>
            </a:xfrm>
            <a:prstGeom prst="line">
              <a:avLst/>
            </a:pr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50" name="Line 49">
              <a:extLst>
                <a:ext uri="{FF2B5EF4-FFF2-40B4-BE49-F238E27FC236}">
                  <a16:creationId xmlns:a16="http://schemas.microsoft.com/office/drawing/2014/main" id="{05AED66D-3299-8449-A352-0739989233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81810" y="2014724"/>
              <a:ext cx="0" cy="0"/>
            </a:xfrm>
            <a:prstGeom prst="line">
              <a:avLst/>
            </a:pr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847554DE-18CA-694A-BE59-730D7A081F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446" y="1940520"/>
              <a:ext cx="409805" cy="386196"/>
            </a:xfrm>
            <a:custGeom>
              <a:avLst/>
              <a:gdLst>
                <a:gd name="T0" fmla="*/ 12 w 287"/>
                <a:gd name="T1" fmla="*/ 44 h 270"/>
                <a:gd name="T2" fmla="*/ 29 w 287"/>
                <a:gd name="T3" fmla="*/ 36 h 270"/>
                <a:gd name="T4" fmla="*/ 52 w 287"/>
                <a:gd name="T5" fmla="*/ 17 h 270"/>
                <a:gd name="T6" fmla="*/ 77 w 287"/>
                <a:gd name="T7" fmla="*/ 0 h 270"/>
                <a:gd name="T8" fmla="*/ 75 w 287"/>
                <a:gd name="T9" fmla="*/ 6 h 270"/>
                <a:gd name="T10" fmla="*/ 65 w 287"/>
                <a:gd name="T11" fmla="*/ 19 h 270"/>
                <a:gd name="T12" fmla="*/ 67 w 287"/>
                <a:gd name="T13" fmla="*/ 29 h 270"/>
                <a:gd name="T14" fmla="*/ 77 w 287"/>
                <a:gd name="T15" fmla="*/ 28 h 270"/>
                <a:gd name="T16" fmla="*/ 111 w 287"/>
                <a:gd name="T17" fmla="*/ 45 h 270"/>
                <a:gd name="T18" fmla="*/ 135 w 287"/>
                <a:gd name="T19" fmla="*/ 39 h 270"/>
                <a:gd name="T20" fmla="*/ 169 w 287"/>
                <a:gd name="T21" fmla="*/ 28 h 270"/>
                <a:gd name="T22" fmla="*/ 198 w 287"/>
                <a:gd name="T23" fmla="*/ 38 h 270"/>
                <a:gd name="T24" fmla="*/ 217 w 287"/>
                <a:gd name="T25" fmla="*/ 55 h 270"/>
                <a:gd name="T26" fmla="*/ 232 w 287"/>
                <a:gd name="T27" fmla="*/ 56 h 270"/>
                <a:gd name="T28" fmla="*/ 219 w 287"/>
                <a:gd name="T29" fmla="*/ 62 h 270"/>
                <a:gd name="T30" fmla="*/ 193 w 287"/>
                <a:gd name="T31" fmla="*/ 64 h 270"/>
                <a:gd name="T32" fmla="*/ 201 w 287"/>
                <a:gd name="T33" fmla="*/ 74 h 270"/>
                <a:gd name="T34" fmla="*/ 204 w 287"/>
                <a:gd name="T35" fmla="*/ 75 h 270"/>
                <a:gd name="T36" fmla="*/ 234 w 287"/>
                <a:gd name="T37" fmla="*/ 88 h 270"/>
                <a:gd name="T38" fmla="*/ 246 w 287"/>
                <a:gd name="T39" fmla="*/ 109 h 270"/>
                <a:gd name="T40" fmla="*/ 245 w 287"/>
                <a:gd name="T41" fmla="*/ 141 h 270"/>
                <a:gd name="T42" fmla="*/ 233 w 287"/>
                <a:gd name="T43" fmla="*/ 168 h 270"/>
                <a:gd name="T44" fmla="*/ 246 w 287"/>
                <a:gd name="T45" fmla="*/ 166 h 270"/>
                <a:gd name="T46" fmla="*/ 255 w 287"/>
                <a:gd name="T47" fmla="*/ 153 h 270"/>
                <a:gd name="T48" fmla="*/ 275 w 287"/>
                <a:gd name="T49" fmla="*/ 154 h 270"/>
                <a:gd name="T50" fmla="*/ 287 w 287"/>
                <a:gd name="T51" fmla="*/ 197 h 270"/>
                <a:gd name="T52" fmla="*/ 275 w 287"/>
                <a:gd name="T53" fmla="*/ 220 h 270"/>
                <a:gd name="T54" fmla="*/ 266 w 287"/>
                <a:gd name="T55" fmla="*/ 249 h 270"/>
                <a:gd name="T56" fmla="*/ 141 w 287"/>
                <a:gd name="T57" fmla="*/ 270 h 270"/>
                <a:gd name="T58" fmla="*/ 158 w 287"/>
                <a:gd name="T59" fmla="*/ 235 h 270"/>
                <a:gd name="T60" fmla="*/ 145 w 287"/>
                <a:gd name="T61" fmla="*/ 191 h 270"/>
                <a:gd name="T62" fmla="*/ 144 w 287"/>
                <a:gd name="T63" fmla="*/ 165 h 270"/>
                <a:gd name="T64" fmla="*/ 148 w 287"/>
                <a:gd name="T65" fmla="*/ 147 h 270"/>
                <a:gd name="T66" fmla="*/ 153 w 287"/>
                <a:gd name="T67" fmla="*/ 122 h 270"/>
                <a:gd name="T68" fmla="*/ 166 w 287"/>
                <a:gd name="T69" fmla="*/ 106 h 270"/>
                <a:gd name="T70" fmla="*/ 169 w 287"/>
                <a:gd name="T71" fmla="*/ 122 h 270"/>
                <a:gd name="T72" fmla="*/ 175 w 287"/>
                <a:gd name="T73" fmla="*/ 111 h 270"/>
                <a:gd name="T74" fmla="*/ 180 w 287"/>
                <a:gd name="T75" fmla="*/ 94 h 270"/>
                <a:gd name="T76" fmla="*/ 184 w 287"/>
                <a:gd name="T77" fmla="*/ 81 h 270"/>
                <a:gd name="T78" fmla="*/ 189 w 287"/>
                <a:gd name="T79" fmla="*/ 74 h 270"/>
                <a:gd name="T80" fmla="*/ 187 w 287"/>
                <a:gd name="T81" fmla="*/ 65 h 270"/>
                <a:gd name="T82" fmla="*/ 159 w 287"/>
                <a:gd name="T83" fmla="*/ 68 h 270"/>
                <a:gd name="T84" fmla="*/ 129 w 287"/>
                <a:gd name="T85" fmla="*/ 85 h 270"/>
                <a:gd name="T86" fmla="*/ 127 w 287"/>
                <a:gd name="T87" fmla="*/ 76 h 270"/>
                <a:gd name="T88" fmla="*/ 118 w 287"/>
                <a:gd name="T89" fmla="*/ 75 h 270"/>
                <a:gd name="T90" fmla="*/ 107 w 287"/>
                <a:gd name="T91" fmla="*/ 101 h 270"/>
                <a:gd name="T92" fmla="*/ 95 w 287"/>
                <a:gd name="T93" fmla="*/ 100 h 270"/>
                <a:gd name="T94" fmla="*/ 84 w 287"/>
                <a:gd name="T95" fmla="*/ 81 h 270"/>
                <a:gd name="T96" fmla="*/ 58 w 287"/>
                <a:gd name="T97" fmla="*/ 74 h 270"/>
                <a:gd name="T98" fmla="*/ 29 w 287"/>
                <a:gd name="T99" fmla="*/ 65 h 270"/>
                <a:gd name="T100" fmla="*/ 9 w 287"/>
                <a:gd name="T101" fmla="*/ 57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" h="270">
                  <a:moveTo>
                    <a:pt x="0" y="51"/>
                  </a:moveTo>
                  <a:cubicBezTo>
                    <a:pt x="2" y="49"/>
                    <a:pt x="2" y="49"/>
                    <a:pt x="2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4"/>
                    <a:pt x="68" y="14"/>
                    <a:pt x="68" y="15"/>
                  </a:cubicBezTo>
                  <a:cubicBezTo>
                    <a:pt x="68" y="16"/>
                    <a:pt x="65" y="23"/>
                    <a:pt x="65" y="23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7" y="48"/>
                    <a:pt x="127" y="48"/>
                    <a:pt x="127" y="48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39" y="35"/>
                    <a:pt x="139" y="35"/>
                    <a:pt x="139" y="35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60" y="31"/>
                    <a:pt x="160" y="31"/>
                    <a:pt x="160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8" y="38"/>
                    <a:pt x="198" y="38"/>
                    <a:pt x="198" y="38"/>
                  </a:cubicBezTo>
                  <a:cubicBezTo>
                    <a:pt x="203" y="39"/>
                    <a:pt x="203" y="39"/>
                    <a:pt x="203" y="39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51"/>
                    <a:pt x="213" y="51"/>
                    <a:pt x="213" y="51"/>
                  </a:cubicBezTo>
                  <a:cubicBezTo>
                    <a:pt x="215" y="53"/>
                    <a:pt x="215" y="53"/>
                    <a:pt x="215" y="53"/>
                  </a:cubicBezTo>
                  <a:cubicBezTo>
                    <a:pt x="215" y="53"/>
                    <a:pt x="216" y="54"/>
                    <a:pt x="217" y="55"/>
                  </a:cubicBezTo>
                  <a:cubicBezTo>
                    <a:pt x="218" y="56"/>
                    <a:pt x="219" y="58"/>
                    <a:pt x="219" y="58"/>
                  </a:cubicBezTo>
                  <a:cubicBezTo>
                    <a:pt x="224" y="59"/>
                    <a:pt x="224" y="59"/>
                    <a:pt x="224" y="59"/>
                  </a:cubicBezTo>
                  <a:cubicBezTo>
                    <a:pt x="224" y="59"/>
                    <a:pt x="226" y="57"/>
                    <a:pt x="226" y="57"/>
                  </a:cubicBezTo>
                  <a:cubicBezTo>
                    <a:pt x="226" y="56"/>
                    <a:pt x="230" y="54"/>
                    <a:pt x="230" y="54"/>
                  </a:cubicBezTo>
                  <a:cubicBezTo>
                    <a:pt x="232" y="56"/>
                    <a:pt x="232" y="56"/>
                    <a:pt x="232" y="56"/>
                  </a:cubicBezTo>
                  <a:cubicBezTo>
                    <a:pt x="232" y="56"/>
                    <a:pt x="234" y="57"/>
                    <a:pt x="232" y="58"/>
                  </a:cubicBezTo>
                  <a:cubicBezTo>
                    <a:pt x="231" y="58"/>
                    <a:pt x="230" y="60"/>
                    <a:pt x="229" y="60"/>
                  </a:cubicBezTo>
                  <a:cubicBezTo>
                    <a:pt x="227" y="60"/>
                    <a:pt x="225" y="60"/>
                    <a:pt x="225" y="60"/>
                  </a:cubicBezTo>
                  <a:cubicBezTo>
                    <a:pt x="221" y="60"/>
                    <a:pt x="221" y="60"/>
                    <a:pt x="221" y="60"/>
                  </a:cubicBezTo>
                  <a:cubicBezTo>
                    <a:pt x="219" y="62"/>
                    <a:pt x="219" y="62"/>
                    <a:pt x="219" y="62"/>
                  </a:cubicBezTo>
                  <a:cubicBezTo>
                    <a:pt x="208" y="62"/>
                    <a:pt x="208" y="62"/>
                    <a:pt x="208" y="62"/>
                  </a:cubicBezTo>
                  <a:cubicBezTo>
                    <a:pt x="205" y="63"/>
                    <a:pt x="205" y="63"/>
                    <a:pt x="205" y="63"/>
                  </a:cubicBezTo>
                  <a:cubicBezTo>
                    <a:pt x="201" y="61"/>
                    <a:pt x="201" y="61"/>
                    <a:pt x="201" y="61"/>
                  </a:cubicBezTo>
                  <a:cubicBezTo>
                    <a:pt x="197" y="59"/>
                    <a:pt x="197" y="59"/>
                    <a:pt x="197" y="59"/>
                  </a:cubicBezTo>
                  <a:cubicBezTo>
                    <a:pt x="193" y="64"/>
                    <a:pt x="193" y="64"/>
                    <a:pt x="193" y="64"/>
                  </a:cubicBezTo>
                  <a:cubicBezTo>
                    <a:pt x="194" y="67"/>
                    <a:pt x="194" y="67"/>
                    <a:pt x="194" y="67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69"/>
                    <a:pt x="194" y="71"/>
                    <a:pt x="195" y="71"/>
                  </a:cubicBezTo>
                  <a:cubicBezTo>
                    <a:pt x="195" y="71"/>
                    <a:pt x="196" y="72"/>
                    <a:pt x="196" y="72"/>
                  </a:cubicBezTo>
                  <a:cubicBezTo>
                    <a:pt x="201" y="74"/>
                    <a:pt x="201" y="74"/>
                    <a:pt x="201" y="74"/>
                  </a:cubicBezTo>
                  <a:cubicBezTo>
                    <a:pt x="203" y="72"/>
                    <a:pt x="203" y="72"/>
                    <a:pt x="203" y="72"/>
                  </a:cubicBezTo>
                  <a:cubicBezTo>
                    <a:pt x="203" y="72"/>
                    <a:pt x="200" y="70"/>
                    <a:pt x="201" y="70"/>
                  </a:cubicBezTo>
                  <a:cubicBezTo>
                    <a:pt x="202" y="70"/>
                    <a:pt x="206" y="72"/>
                    <a:pt x="206" y="72"/>
                  </a:cubicBezTo>
                  <a:cubicBezTo>
                    <a:pt x="206" y="72"/>
                    <a:pt x="205" y="74"/>
                    <a:pt x="205" y="74"/>
                  </a:cubicBezTo>
                  <a:cubicBezTo>
                    <a:pt x="204" y="75"/>
                    <a:pt x="204" y="75"/>
                    <a:pt x="204" y="75"/>
                  </a:cubicBezTo>
                  <a:cubicBezTo>
                    <a:pt x="205" y="76"/>
                    <a:pt x="210" y="77"/>
                    <a:pt x="210" y="77"/>
                  </a:cubicBezTo>
                  <a:cubicBezTo>
                    <a:pt x="211" y="77"/>
                    <a:pt x="214" y="79"/>
                    <a:pt x="214" y="79"/>
                  </a:cubicBezTo>
                  <a:cubicBezTo>
                    <a:pt x="219" y="82"/>
                    <a:pt x="219" y="82"/>
                    <a:pt x="219" y="82"/>
                  </a:cubicBezTo>
                  <a:cubicBezTo>
                    <a:pt x="226" y="85"/>
                    <a:pt x="226" y="85"/>
                    <a:pt x="226" y="85"/>
                  </a:cubicBezTo>
                  <a:cubicBezTo>
                    <a:pt x="234" y="88"/>
                    <a:pt x="234" y="88"/>
                    <a:pt x="234" y="88"/>
                  </a:cubicBezTo>
                  <a:cubicBezTo>
                    <a:pt x="242" y="96"/>
                    <a:pt x="242" y="96"/>
                    <a:pt x="242" y="96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4" y="103"/>
                    <a:pt x="244" y="103"/>
                    <a:pt x="244" y="103"/>
                  </a:cubicBezTo>
                  <a:cubicBezTo>
                    <a:pt x="244" y="103"/>
                    <a:pt x="243" y="103"/>
                    <a:pt x="243" y="104"/>
                  </a:cubicBezTo>
                  <a:cubicBezTo>
                    <a:pt x="244" y="105"/>
                    <a:pt x="246" y="109"/>
                    <a:pt x="246" y="109"/>
                  </a:cubicBezTo>
                  <a:cubicBezTo>
                    <a:pt x="245" y="110"/>
                    <a:pt x="247" y="113"/>
                    <a:pt x="247" y="113"/>
                  </a:cubicBezTo>
                  <a:cubicBezTo>
                    <a:pt x="249" y="124"/>
                    <a:pt x="249" y="124"/>
                    <a:pt x="249" y="124"/>
                  </a:cubicBezTo>
                  <a:cubicBezTo>
                    <a:pt x="250" y="130"/>
                    <a:pt x="250" y="130"/>
                    <a:pt x="250" y="130"/>
                  </a:cubicBezTo>
                  <a:cubicBezTo>
                    <a:pt x="249" y="136"/>
                    <a:pt x="249" y="136"/>
                    <a:pt x="249" y="136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2" y="147"/>
                    <a:pt x="242" y="147"/>
                    <a:pt x="242" y="147"/>
                  </a:cubicBezTo>
                  <a:cubicBezTo>
                    <a:pt x="242" y="147"/>
                    <a:pt x="240" y="151"/>
                    <a:pt x="239" y="152"/>
                  </a:cubicBezTo>
                  <a:cubicBezTo>
                    <a:pt x="239" y="152"/>
                    <a:pt x="235" y="155"/>
                    <a:pt x="235" y="156"/>
                  </a:cubicBezTo>
                  <a:cubicBezTo>
                    <a:pt x="235" y="156"/>
                    <a:pt x="233" y="160"/>
                    <a:pt x="233" y="160"/>
                  </a:cubicBezTo>
                  <a:cubicBezTo>
                    <a:pt x="233" y="168"/>
                    <a:pt x="233" y="168"/>
                    <a:pt x="233" y="168"/>
                  </a:cubicBezTo>
                  <a:cubicBezTo>
                    <a:pt x="235" y="170"/>
                    <a:pt x="235" y="170"/>
                    <a:pt x="235" y="170"/>
                  </a:cubicBezTo>
                  <a:cubicBezTo>
                    <a:pt x="240" y="172"/>
                    <a:pt x="240" y="172"/>
                    <a:pt x="240" y="172"/>
                  </a:cubicBezTo>
                  <a:cubicBezTo>
                    <a:pt x="242" y="170"/>
                    <a:pt x="242" y="170"/>
                    <a:pt x="242" y="170"/>
                  </a:cubicBezTo>
                  <a:cubicBezTo>
                    <a:pt x="242" y="170"/>
                    <a:pt x="244" y="169"/>
                    <a:pt x="244" y="168"/>
                  </a:cubicBezTo>
                  <a:cubicBezTo>
                    <a:pt x="245" y="168"/>
                    <a:pt x="246" y="166"/>
                    <a:pt x="246" y="166"/>
                  </a:cubicBezTo>
                  <a:cubicBezTo>
                    <a:pt x="246" y="166"/>
                    <a:pt x="249" y="164"/>
                    <a:pt x="249" y="164"/>
                  </a:cubicBezTo>
                  <a:cubicBezTo>
                    <a:pt x="249" y="164"/>
                    <a:pt x="249" y="161"/>
                    <a:pt x="249" y="161"/>
                  </a:cubicBezTo>
                  <a:cubicBezTo>
                    <a:pt x="249" y="161"/>
                    <a:pt x="250" y="157"/>
                    <a:pt x="250" y="157"/>
                  </a:cubicBezTo>
                  <a:cubicBezTo>
                    <a:pt x="250" y="157"/>
                    <a:pt x="252" y="156"/>
                    <a:pt x="252" y="156"/>
                  </a:cubicBezTo>
                  <a:cubicBezTo>
                    <a:pt x="252" y="155"/>
                    <a:pt x="255" y="153"/>
                    <a:pt x="255" y="153"/>
                  </a:cubicBezTo>
                  <a:cubicBezTo>
                    <a:pt x="255" y="153"/>
                    <a:pt x="259" y="150"/>
                    <a:pt x="259" y="150"/>
                  </a:cubicBezTo>
                  <a:cubicBezTo>
                    <a:pt x="260" y="150"/>
                    <a:pt x="262" y="147"/>
                    <a:pt x="262" y="147"/>
                  </a:cubicBezTo>
                  <a:cubicBezTo>
                    <a:pt x="265" y="147"/>
                    <a:pt x="265" y="147"/>
                    <a:pt x="265" y="147"/>
                  </a:cubicBezTo>
                  <a:cubicBezTo>
                    <a:pt x="269" y="148"/>
                    <a:pt x="269" y="148"/>
                    <a:pt x="269" y="148"/>
                  </a:cubicBezTo>
                  <a:cubicBezTo>
                    <a:pt x="275" y="154"/>
                    <a:pt x="275" y="154"/>
                    <a:pt x="275" y="154"/>
                  </a:cubicBezTo>
                  <a:cubicBezTo>
                    <a:pt x="279" y="162"/>
                    <a:pt x="279" y="162"/>
                    <a:pt x="279" y="162"/>
                  </a:cubicBezTo>
                  <a:cubicBezTo>
                    <a:pt x="283" y="184"/>
                    <a:pt x="283" y="184"/>
                    <a:pt x="283" y="184"/>
                  </a:cubicBezTo>
                  <a:cubicBezTo>
                    <a:pt x="286" y="189"/>
                    <a:pt x="286" y="189"/>
                    <a:pt x="286" y="189"/>
                  </a:cubicBezTo>
                  <a:cubicBezTo>
                    <a:pt x="286" y="193"/>
                    <a:pt x="286" y="193"/>
                    <a:pt x="286" y="193"/>
                  </a:cubicBezTo>
                  <a:cubicBezTo>
                    <a:pt x="286" y="193"/>
                    <a:pt x="287" y="196"/>
                    <a:pt x="287" y="197"/>
                  </a:cubicBezTo>
                  <a:cubicBezTo>
                    <a:pt x="287" y="198"/>
                    <a:pt x="287" y="213"/>
                    <a:pt x="287" y="213"/>
                  </a:cubicBezTo>
                  <a:cubicBezTo>
                    <a:pt x="280" y="213"/>
                    <a:pt x="280" y="213"/>
                    <a:pt x="280" y="213"/>
                  </a:cubicBezTo>
                  <a:cubicBezTo>
                    <a:pt x="278" y="213"/>
                    <a:pt x="278" y="213"/>
                    <a:pt x="278" y="213"/>
                  </a:cubicBezTo>
                  <a:cubicBezTo>
                    <a:pt x="278" y="216"/>
                    <a:pt x="278" y="216"/>
                    <a:pt x="278" y="216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4" y="225"/>
                    <a:pt x="274" y="225"/>
                    <a:pt x="274" y="225"/>
                  </a:cubicBezTo>
                  <a:cubicBezTo>
                    <a:pt x="272" y="229"/>
                    <a:pt x="272" y="229"/>
                    <a:pt x="272" y="229"/>
                  </a:cubicBezTo>
                  <a:cubicBezTo>
                    <a:pt x="269" y="233"/>
                    <a:pt x="269" y="233"/>
                    <a:pt x="269" y="233"/>
                  </a:cubicBezTo>
                  <a:cubicBezTo>
                    <a:pt x="266" y="243"/>
                    <a:pt x="266" y="243"/>
                    <a:pt x="266" y="243"/>
                  </a:cubicBezTo>
                  <a:cubicBezTo>
                    <a:pt x="266" y="249"/>
                    <a:pt x="266" y="249"/>
                    <a:pt x="266" y="249"/>
                  </a:cubicBezTo>
                  <a:cubicBezTo>
                    <a:pt x="262" y="254"/>
                    <a:pt x="262" y="254"/>
                    <a:pt x="262" y="254"/>
                  </a:cubicBezTo>
                  <a:cubicBezTo>
                    <a:pt x="259" y="259"/>
                    <a:pt x="259" y="259"/>
                    <a:pt x="259" y="259"/>
                  </a:cubicBezTo>
                  <a:cubicBezTo>
                    <a:pt x="213" y="267"/>
                    <a:pt x="213" y="267"/>
                    <a:pt x="213" y="267"/>
                  </a:cubicBezTo>
                  <a:cubicBezTo>
                    <a:pt x="212" y="265"/>
                    <a:pt x="212" y="265"/>
                    <a:pt x="212" y="265"/>
                  </a:cubicBezTo>
                  <a:cubicBezTo>
                    <a:pt x="141" y="270"/>
                    <a:pt x="141" y="270"/>
                    <a:pt x="141" y="270"/>
                  </a:cubicBezTo>
                  <a:cubicBezTo>
                    <a:pt x="146" y="265"/>
                    <a:pt x="146" y="265"/>
                    <a:pt x="146" y="265"/>
                  </a:cubicBezTo>
                  <a:cubicBezTo>
                    <a:pt x="148" y="261"/>
                    <a:pt x="148" y="261"/>
                    <a:pt x="148" y="261"/>
                  </a:cubicBezTo>
                  <a:cubicBezTo>
                    <a:pt x="152" y="254"/>
                    <a:pt x="152" y="254"/>
                    <a:pt x="152" y="254"/>
                  </a:cubicBezTo>
                  <a:cubicBezTo>
                    <a:pt x="156" y="245"/>
                    <a:pt x="156" y="245"/>
                    <a:pt x="156" y="24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57" y="217"/>
                    <a:pt x="157" y="217"/>
                    <a:pt x="157" y="217"/>
                  </a:cubicBezTo>
                  <a:cubicBezTo>
                    <a:pt x="157" y="209"/>
                    <a:pt x="157" y="209"/>
                    <a:pt x="157" y="209"/>
                  </a:cubicBezTo>
                  <a:cubicBezTo>
                    <a:pt x="153" y="203"/>
                    <a:pt x="153" y="203"/>
                    <a:pt x="153" y="203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45" y="191"/>
                    <a:pt x="145" y="191"/>
                    <a:pt x="145" y="191"/>
                  </a:cubicBezTo>
                  <a:cubicBezTo>
                    <a:pt x="142" y="184"/>
                    <a:pt x="142" y="184"/>
                    <a:pt x="142" y="18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6" y="177"/>
                    <a:pt x="146" y="177"/>
                    <a:pt x="146" y="177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4" y="165"/>
                    <a:pt x="144" y="165"/>
                    <a:pt x="144" y="165"/>
                  </a:cubicBezTo>
                  <a:cubicBezTo>
                    <a:pt x="141" y="162"/>
                    <a:pt x="141" y="162"/>
                    <a:pt x="141" y="162"/>
                  </a:cubicBezTo>
                  <a:cubicBezTo>
                    <a:pt x="144" y="160"/>
                    <a:pt x="144" y="160"/>
                    <a:pt x="144" y="160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39"/>
                    <a:pt x="148" y="139"/>
                    <a:pt x="148" y="139"/>
                  </a:cubicBezTo>
                  <a:cubicBezTo>
                    <a:pt x="147" y="135"/>
                    <a:pt x="147" y="135"/>
                    <a:pt x="147" y="135"/>
                  </a:cubicBezTo>
                  <a:cubicBezTo>
                    <a:pt x="148" y="130"/>
                    <a:pt x="148" y="130"/>
                    <a:pt x="148" y="13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3" y="122"/>
                    <a:pt x="153" y="122"/>
                    <a:pt x="153" y="122"/>
                  </a:cubicBezTo>
                  <a:cubicBezTo>
                    <a:pt x="153" y="117"/>
                    <a:pt x="153" y="117"/>
                    <a:pt x="153" y="117"/>
                  </a:cubicBezTo>
                  <a:cubicBezTo>
                    <a:pt x="157" y="116"/>
                    <a:pt x="157" y="116"/>
                    <a:pt x="157" y="116"/>
                  </a:cubicBezTo>
                  <a:cubicBezTo>
                    <a:pt x="163" y="116"/>
                    <a:pt x="163" y="116"/>
                    <a:pt x="163" y="116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6" y="106"/>
                    <a:pt x="166" y="106"/>
                    <a:pt x="166" y="106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71" y="114"/>
                    <a:pt x="171" y="114"/>
                    <a:pt x="171" y="114"/>
                  </a:cubicBezTo>
                  <a:cubicBezTo>
                    <a:pt x="167" y="119"/>
                    <a:pt x="167" y="119"/>
                    <a:pt x="167" y="119"/>
                  </a:cubicBezTo>
                  <a:cubicBezTo>
                    <a:pt x="167" y="121"/>
                    <a:pt x="167" y="121"/>
                    <a:pt x="167" y="121"/>
                  </a:cubicBezTo>
                  <a:cubicBezTo>
                    <a:pt x="167" y="121"/>
                    <a:pt x="168" y="122"/>
                    <a:pt x="169" y="122"/>
                  </a:cubicBezTo>
                  <a:cubicBezTo>
                    <a:pt x="170" y="122"/>
                    <a:pt x="170" y="122"/>
                    <a:pt x="170" y="122"/>
                  </a:cubicBezTo>
                  <a:cubicBezTo>
                    <a:pt x="170" y="122"/>
                    <a:pt x="172" y="121"/>
                    <a:pt x="172" y="121"/>
                  </a:cubicBezTo>
                  <a:cubicBezTo>
                    <a:pt x="172" y="120"/>
                    <a:pt x="173" y="117"/>
                    <a:pt x="173" y="117"/>
                  </a:cubicBezTo>
                  <a:cubicBezTo>
                    <a:pt x="174" y="116"/>
                    <a:pt x="174" y="116"/>
                    <a:pt x="174" y="116"/>
                  </a:cubicBezTo>
                  <a:cubicBezTo>
                    <a:pt x="175" y="111"/>
                    <a:pt x="175" y="111"/>
                    <a:pt x="175" y="111"/>
                  </a:cubicBezTo>
                  <a:cubicBezTo>
                    <a:pt x="175" y="108"/>
                    <a:pt x="175" y="108"/>
                    <a:pt x="175" y="108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0"/>
                    <a:pt x="175" y="100"/>
                    <a:pt x="175" y="100"/>
                  </a:cubicBezTo>
                  <a:cubicBezTo>
                    <a:pt x="178" y="96"/>
                    <a:pt x="178" y="96"/>
                    <a:pt x="178" y="96"/>
                  </a:cubicBezTo>
                  <a:cubicBezTo>
                    <a:pt x="180" y="94"/>
                    <a:pt x="180" y="94"/>
                    <a:pt x="180" y="94"/>
                  </a:cubicBezTo>
                  <a:cubicBezTo>
                    <a:pt x="185" y="93"/>
                    <a:pt x="185" y="93"/>
                    <a:pt x="185" y="93"/>
                  </a:cubicBezTo>
                  <a:cubicBezTo>
                    <a:pt x="187" y="91"/>
                    <a:pt x="187" y="91"/>
                    <a:pt x="187" y="91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84"/>
                    <a:pt x="182" y="84"/>
                    <a:pt x="182" y="84"/>
                  </a:cubicBezTo>
                  <a:cubicBezTo>
                    <a:pt x="184" y="81"/>
                    <a:pt x="184" y="81"/>
                    <a:pt x="184" y="81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7" y="77"/>
                    <a:pt x="187" y="77"/>
                    <a:pt x="187" y="77"/>
                  </a:cubicBezTo>
                  <a:cubicBezTo>
                    <a:pt x="187" y="75"/>
                    <a:pt x="187" y="75"/>
                    <a:pt x="187" y="75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8" y="74"/>
                    <a:pt x="188" y="74"/>
                    <a:pt x="189" y="74"/>
                  </a:cubicBezTo>
                  <a:cubicBezTo>
                    <a:pt x="189" y="74"/>
                    <a:pt x="193" y="73"/>
                    <a:pt x="193" y="73"/>
                  </a:cubicBezTo>
                  <a:cubicBezTo>
                    <a:pt x="195" y="73"/>
                    <a:pt x="195" y="73"/>
                    <a:pt x="195" y="73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89" y="67"/>
                    <a:pt x="189" y="67"/>
                    <a:pt x="189" y="67"/>
                  </a:cubicBezTo>
                  <a:cubicBezTo>
                    <a:pt x="187" y="65"/>
                    <a:pt x="187" y="65"/>
                    <a:pt x="187" y="65"/>
                  </a:cubicBezTo>
                  <a:cubicBezTo>
                    <a:pt x="184" y="63"/>
                    <a:pt x="184" y="63"/>
                    <a:pt x="184" y="63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70" y="60"/>
                    <a:pt x="170" y="60"/>
                    <a:pt x="170" y="60"/>
                  </a:cubicBezTo>
                  <a:cubicBezTo>
                    <a:pt x="163" y="64"/>
                    <a:pt x="163" y="64"/>
                    <a:pt x="163" y="64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2" y="69"/>
                    <a:pt x="152" y="69"/>
                    <a:pt x="152" y="69"/>
                  </a:cubicBezTo>
                  <a:cubicBezTo>
                    <a:pt x="144" y="69"/>
                    <a:pt x="144" y="69"/>
                    <a:pt x="144" y="69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35" y="81"/>
                    <a:pt x="135" y="81"/>
                    <a:pt x="135" y="81"/>
                  </a:cubicBezTo>
                  <a:cubicBezTo>
                    <a:pt x="129" y="85"/>
                    <a:pt x="129" y="85"/>
                    <a:pt x="129" y="85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1" y="74"/>
                    <a:pt x="131" y="74"/>
                    <a:pt x="131" y="74"/>
                  </a:cubicBezTo>
                  <a:cubicBezTo>
                    <a:pt x="127" y="76"/>
                    <a:pt x="127" y="76"/>
                    <a:pt x="127" y="76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23" y="81"/>
                    <a:pt x="123" y="81"/>
                    <a:pt x="123" y="81"/>
                  </a:cubicBezTo>
                  <a:cubicBezTo>
                    <a:pt x="121" y="82"/>
                    <a:pt x="121" y="82"/>
                    <a:pt x="121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18" y="75"/>
                    <a:pt x="118" y="75"/>
                    <a:pt x="118" y="75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4" y="85"/>
                    <a:pt x="114" y="85"/>
                    <a:pt x="114" y="85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5" y="107"/>
                    <a:pt x="105" y="107"/>
                    <a:pt x="105" y="107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97" y="108"/>
                    <a:pt x="97" y="108"/>
                    <a:pt x="97" y="108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3" y="97"/>
                    <a:pt x="93" y="97"/>
                    <a:pt x="93" y="97"/>
                  </a:cubicBezTo>
                  <a:cubicBezTo>
                    <a:pt x="94" y="94"/>
                    <a:pt x="94" y="94"/>
                    <a:pt x="94" y="94"/>
                  </a:cubicBezTo>
                  <a:cubicBezTo>
                    <a:pt x="93" y="88"/>
                    <a:pt x="93" y="88"/>
                    <a:pt x="93" y="88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84" y="81"/>
                    <a:pt x="84" y="81"/>
                    <a:pt x="84" y="81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2"/>
                    <a:pt x="0" y="52"/>
                    <a:pt x="0" y="52"/>
                  </a:cubicBezTo>
                  <a:lnTo>
                    <a:pt x="0" y="5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A345EFE6-C83E-3F46-9853-22633508D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8081" y="1986054"/>
              <a:ext cx="286695" cy="305247"/>
            </a:xfrm>
            <a:custGeom>
              <a:avLst/>
              <a:gdLst>
                <a:gd name="T0" fmla="*/ 175 w 201"/>
                <a:gd name="T1" fmla="*/ 65 h 213"/>
                <a:gd name="T2" fmla="*/ 172 w 201"/>
                <a:gd name="T3" fmla="*/ 53 h 213"/>
                <a:gd name="T4" fmla="*/ 157 w 201"/>
                <a:gd name="T5" fmla="*/ 44 h 213"/>
                <a:gd name="T6" fmla="*/ 140 w 201"/>
                <a:gd name="T7" fmla="*/ 42 h 213"/>
                <a:gd name="T8" fmla="*/ 125 w 201"/>
                <a:gd name="T9" fmla="*/ 36 h 213"/>
                <a:gd name="T10" fmla="*/ 103 w 201"/>
                <a:gd name="T11" fmla="*/ 30 h 213"/>
                <a:gd name="T12" fmla="*/ 93 w 201"/>
                <a:gd name="T13" fmla="*/ 27 h 213"/>
                <a:gd name="T14" fmla="*/ 82 w 201"/>
                <a:gd name="T15" fmla="*/ 20 h 213"/>
                <a:gd name="T16" fmla="*/ 78 w 201"/>
                <a:gd name="T17" fmla="*/ 18 h 213"/>
                <a:gd name="T18" fmla="*/ 70 w 201"/>
                <a:gd name="T19" fmla="*/ 17 h 213"/>
                <a:gd name="T20" fmla="*/ 67 w 201"/>
                <a:gd name="T21" fmla="*/ 15 h 213"/>
                <a:gd name="T22" fmla="*/ 70 w 201"/>
                <a:gd name="T23" fmla="*/ 2 h 213"/>
                <a:gd name="T24" fmla="*/ 61 w 201"/>
                <a:gd name="T25" fmla="*/ 3 h 213"/>
                <a:gd name="T26" fmla="*/ 47 w 201"/>
                <a:gd name="T27" fmla="*/ 9 h 213"/>
                <a:gd name="T28" fmla="*/ 33 w 201"/>
                <a:gd name="T29" fmla="*/ 16 h 213"/>
                <a:gd name="T30" fmla="*/ 21 w 201"/>
                <a:gd name="T31" fmla="*/ 15 h 213"/>
                <a:gd name="T32" fmla="*/ 5 w 201"/>
                <a:gd name="T33" fmla="*/ 55 h 213"/>
                <a:gd name="T34" fmla="*/ 7 w 201"/>
                <a:gd name="T35" fmla="*/ 72 h 213"/>
                <a:gd name="T36" fmla="*/ 10 w 201"/>
                <a:gd name="T37" fmla="*/ 112 h 213"/>
                <a:gd name="T38" fmla="*/ 42 w 201"/>
                <a:gd name="T39" fmla="*/ 135 h 213"/>
                <a:gd name="T40" fmla="*/ 60 w 201"/>
                <a:gd name="T41" fmla="*/ 152 h 213"/>
                <a:gd name="T42" fmla="*/ 63 w 201"/>
                <a:gd name="T43" fmla="*/ 173 h 213"/>
                <a:gd name="T44" fmla="*/ 65 w 201"/>
                <a:gd name="T45" fmla="*/ 187 h 213"/>
                <a:gd name="T46" fmla="*/ 67 w 201"/>
                <a:gd name="T47" fmla="*/ 203 h 213"/>
                <a:gd name="T48" fmla="*/ 82 w 201"/>
                <a:gd name="T49" fmla="*/ 209 h 213"/>
                <a:gd name="T50" fmla="*/ 184 w 201"/>
                <a:gd name="T51" fmla="*/ 195 h 213"/>
                <a:gd name="T52" fmla="*/ 178 w 201"/>
                <a:gd name="T53" fmla="*/ 172 h 213"/>
                <a:gd name="T54" fmla="*/ 182 w 201"/>
                <a:gd name="T55" fmla="*/ 155 h 213"/>
                <a:gd name="T56" fmla="*/ 182 w 201"/>
                <a:gd name="T57" fmla="*/ 140 h 213"/>
                <a:gd name="T58" fmla="*/ 184 w 201"/>
                <a:gd name="T59" fmla="*/ 131 h 213"/>
                <a:gd name="T60" fmla="*/ 186 w 201"/>
                <a:gd name="T61" fmla="*/ 121 h 213"/>
                <a:gd name="T62" fmla="*/ 188 w 201"/>
                <a:gd name="T63" fmla="*/ 105 h 213"/>
                <a:gd name="T64" fmla="*/ 197 w 201"/>
                <a:gd name="T65" fmla="*/ 85 h 213"/>
                <a:gd name="T66" fmla="*/ 201 w 201"/>
                <a:gd name="T67" fmla="*/ 79 h 213"/>
                <a:gd name="T68" fmla="*/ 201 w 201"/>
                <a:gd name="T69" fmla="*/ 73 h 213"/>
                <a:gd name="T70" fmla="*/ 194 w 201"/>
                <a:gd name="T71" fmla="*/ 79 h 213"/>
                <a:gd name="T72" fmla="*/ 187 w 201"/>
                <a:gd name="T73" fmla="*/ 92 h 213"/>
                <a:gd name="T74" fmla="*/ 177 w 201"/>
                <a:gd name="T75" fmla="*/ 101 h 213"/>
                <a:gd name="T76" fmla="*/ 168 w 201"/>
                <a:gd name="T77" fmla="*/ 107 h 213"/>
                <a:gd name="T78" fmla="*/ 174 w 201"/>
                <a:gd name="T79" fmla="*/ 93 h 213"/>
                <a:gd name="T80" fmla="*/ 179 w 201"/>
                <a:gd name="T81" fmla="*/ 87 h 213"/>
                <a:gd name="T82" fmla="*/ 180 w 201"/>
                <a:gd name="T83" fmla="*/ 7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213">
                  <a:moveTo>
                    <a:pt x="178" y="69"/>
                  </a:moveTo>
                  <a:cubicBezTo>
                    <a:pt x="177" y="68"/>
                    <a:pt x="177" y="68"/>
                    <a:pt x="177" y="68"/>
                  </a:cubicBezTo>
                  <a:cubicBezTo>
                    <a:pt x="175" y="65"/>
                    <a:pt x="175" y="65"/>
                    <a:pt x="175" y="65"/>
                  </a:cubicBezTo>
                  <a:cubicBezTo>
                    <a:pt x="176" y="62"/>
                    <a:pt x="176" y="62"/>
                    <a:pt x="176" y="62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48" y="44"/>
                    <a:pt x="148" y="44"/>
                    <a:pt x="148" y="44"/>
                  </a:cubicBezTo>
                  <a:cubicBezTo>
                    <a:pt x="146" y="42"/>
                    <a:pt x="146" y="42"/>
                    <a:pt x="146" y="42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89" y="22"/>
                    <a:pt x="89" y="22"/>
                    <a:pt x="89" y="22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42" y="135"/>
                    <a:pt x="42" y="135"/>
                    <a:pt x="42" y="135"/>
                  </a:cubicBezTo>
                  <a:cubicBezTo>
                    <a:pt x="45" y="139"/>
                    <a:pt x="45" y="139"/>
                    <a:pt x="45" y="139"/>
                  </a:cubicBezTo>
                  <a:cubicBezTo>
                    <a:pt x="52" y="144"/>
                    <a:pt x="52" y="144"/>
                    <a:pt x="52" y="144"/>
                  </a:cubicBezTo>
                  <a:cubicBezTo>
                    <a:pt x="60" y="152"/>
                    <a:pt x="60" y="152"/>
                    <a:pt x="60" y="152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60" y="166"/>
                    <a:pt x="60" y="166"/>
                    <a:pt x="60" y="166"/>
                  </a:cubicBezTo>
                  <a:cubicBezTo>
                    <a:pt x="63" y="173"/>
                    <a:pt x="63" y="173"/>
                    <a:pt x="63" y="173"/>
                  </a:cubicBezTo>
                  <a:cubicBezTo>
                    <a:pt x="65" y="176"/>
                    <a:pt x="65" y="176"/>
                    <a:pt x="65" y="176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5" y="187"/>
                    <a:pt x="65" y="187"/>
                    <a:pt x="65" y="187"/>
                  </a:cubicBezTo>
                  <a:cubicBezTo>
                    <a:pt x="65" y="193"/>
                    <a:pt x="65" y="193"/>
                    <a:pt x="65" y="193"/>
                  </a:cubicBezTo>
                  <a:cubicBezTo>
                    <a:pt x="67" y="198"/>
                    <a:pt x="67" y="198"/>
                    <a:pt x="67" y="198"/>
                  </a:cubicBezTo>
                  <a:cubicBezTo>
                    <a:pt x="67" y="203"/>
                    <a:pt x="67" y="203"/>
                    <a:pt x="67" y="203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3"/>
                    <a:pt x="76" y="207"/>
                    <a:pt x="77" y="207"/>
                  </a:cubicBezTo>
                  <a:cubicBezTo>
                    <a:pt x="78" y="207"/>
                    <a:pt x="82" y="209"/>
                    <a:pt x="82" y="209"/>
                  </a:cubicBezTo>
                  <a:cubicBezTo>
                    <a:pt x="85" y="213"/>
                    <a:pt x="85" y="213"/>
                    <a:pt x="85" y="213"/>
                  </a:cubicBezTo>
                  <a:cubicBezTo>
                    <a:pt x="184" y="207"/>
                    <a:pt x="184" y="207"/>
                    <a:pt x="184" y="207"/>
                  </a:cubicBezTo>
                  <a:cubicBezTo>
                    <a:pt x="184" y="195"/>
                    <a:pt x="184" y="195"/>
                    <a:pt x="184" y="195"/>
                  </a:cubicBezTo>
                  <a:cubicBezTo>
                    <a:pt x="184" y="191"/>
                    <a:pt x="184" y="191"/>
                    <a:pt x="184" y="191"/>
                  </a:cubicBezTo>
                  <a:cubicBezTo>
                    <a:pt x="179" y="179"/>
                    <a:pt x="179" y="179"/>
                    <a:pt x="179" y="179"/>
                  </a:cubicBezTo>
                  <a:cubicBezTo>
                    <a:pt x="178" y="172"/>
                    <a:pt x="178" y="172"/>
                    <a:pt x="178" y="172"/>
                  </a:cubicBezTo>
                  <a:cubicBezTo>
                    <a:pt x="179" y="164"/>
                    <a:pt x="179" y="164"/>
                    <a:pt x="179" y="164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82" y="155"/>
                    <a:pt x="182" y="155"/>
                    <a:pt x="182" y="155"/>
                  </a:cubicBezTo>
                  <a:cubicBezTo>
                    <a:pt x="184" y="152"/>
                    <a:pt x="184" y="152"/>
                    <a:pt x="184" y="152"/>
                  </a:cubicBezTo>
                  <a:cubicBezTo>
                    <a:pt x="182" y="147"/>
                    <a:pt x="182" y="147"/>
                    <a:pt x="182" y="147"/>
                  </a:cubicBezTo>
                  <a:cubicBezTo>
                    <a:pt x="182" y="140"/>
                    <a:pt x="182" y="140"/>
                    <a:pt x="182" y="140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4" y="131"/>
                    <a:pt x="184" y="131"/>
                    <a:pt x="184" y="131"/>
                  </a:cubicBezTo>
                  <a:cubicBezTo>
                    <a:pt x="188" y="127"/>
                    <a:pt x="188" y="127"/>
                    <a:pt x="188" y="127"/>
                  </a:cubicBezTo>
                  <a:cubicBezTo>
                    <a:pt x="188" y="125"/>
                    <a:pt x="188" y="125"/>
                    <a:pt x="188" y="125"/>
                  </a:cubicBezTo>
                  <a:cubicBezTo>
                    <a:pt x="186" y="121"/>
                    <a:pt x="186" y="121"/>
                    <a:pt x="186" y="121"/>
                  </a:cubicBezTo>
                  <a:cubicBezTo>
                    <a:pt x="186" y="118"/>
                    <a:pt x="186" y="118"/>
                    <a:pt x="186" y="118"/>
                  </a:cubicBezTo>
                  <a:cubicBezTo>
                    <a:pt x="187" y="110"/>
                    <a:pt x="187" y="110"/>
                    <a:pt x="187" y="110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1" y="99"/>
                    <a:pt x="191" y="99"/>
                    <a:pt x="191" y="99"/>
                  </a:cubicBezTo>
                  <a:cubicBezTo>
                    <a:pt x="196" y="89"/>
                    <a:pt x="196" y="89"/>
                    <a:pt x="196" y="89"/>
                  </a:cubicBezTo>
                  <a:cubicBezTo>
                    <a:pt x="197" y="85"/>
                    <a:pt x="197" y="85"/>
                    <a:pt x="197" y="85"/>
                  </a:cubicBezTo>
                  <a:cubicBezTo>
                    <a:pt x="197" y="82"/>
                    <a:pt x="197" y="82"/>
                    <a:pt x="197" y="82"/>
                  </a:cubicBezTo>
                  <a:cubicBezTo>
                    <a:pt x="201" y="81"/>
                    <a:pt x="201" y="81"/>
                    <a:pt x="201" y="81"/>
                  </a:cubicBezTo>
                  <a:cubicBezTo>
                    <a:pt x="201" y="79"/>
                    <a:pt x="201" y="79"/>
                    <a:pt x="201" y="79"/>
                  </a:cubicBezTo>
                  <a:cubicBezTo>
                    <a:pt x="201" y="77"/>
                    <a:pt x="201" y="77"/>
                    <a:pt x="201" y="77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3"/>
                    <a:pt x="201" y="73"/>
                    <a:pt x="201" y="73"/>
                  </a:cubicBezTo>
                  <a:cubicBezTo>
                    <a:pt x="201" y="71"/>
                    <a:pt x="201" y="71"/>
                    <a:pt x="201" y="71"/>
                  </a:cubicBezTo>
                  <a:cubicBezTo>
                    <a:pt x="197" y="75"/>
                    <a:pt x="197" y="75"/>
                    <a:pt x="197" y="75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0" y="90"/>
                    <a:pt x="190" y="90"/>
                    <a:pt x="190" y="90"/>
                  </a:cubicBezTo>
                  <a:cubicBezTo>
                    <a:pt x="187" y="92"/>
                    <a:pt x="187" y="92"/>
                    <a:pt x="187" y="92"/>
                  </a:cubicBezTo>
                  <a:cubicBezTo>
                    <a:pt x="181" y="95"/>
                    <a:pt x="181" y="95"/>
                    <a:pt x="181" y="95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7" y="101"/>
                    <a:pt x="177" y="101"/>
                    <a:pt x="177" y="101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1" y="110"/>
                    <a:pt x="171" y="110"/>
                    <a:pt x="171" y="110"/>
                  </a:cubicBezTo>
                  <a:cubicBezTo>
                    <a:pt x="168" y="107"/>
                    <a:pt x="168" y="107"/>
                    <a:pt x="168" y="107"/>
                  </a:cubicBezTo>
                  <a:cubicBezTo>
                    <a:pt x="171" y="103"/>
                    <a:pt x="171" y="103"/>
                    <a:pt x="171" y="103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75" y="91"/>
                    <a:pt x="175" y="91"/>
                    <a:pt x="175" y="91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9" y="87"/>
                    <a:pt x="179" y="87"/>
                    <a:pt x="179" y="87"/>
                  </a:cubicBezTo>
                  <a:cubicBezTo>
                    <a:pt x="180" y="85"/>
                    <a:pt x="180" y="85"/>
                    <a:pt x="180" y="85"/>
                  </a:cubicBezTo>
                  <a:cubicBezTo>
                    <a:pt x="179" y="80"/>
                    <a:pt x="179" y="80"/>
                    <a:pt x="179" y="80"/>
                  </a:cubicBezTo>
                  <a:cubicBezTo>
                    <a:pt x="180" y="78"/>
                    <a:pt x="180" y="78"/>
                    <a:pt x="180" y="78"/>
                  </a:cubicBezTo>
                  <a:cubicBezTo>
                    <a:pt x="179" y="76"/>
                    <a:pt x="179" y="76"/>
                    <a:pt x="179" y="76"/>
                  </a:cubicBezTo>
                  <a:lnTo>
                    <a:pt x="178" y="6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DE608A2B-B79B-E744-9FD0-1E7CCF38A8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8005" y="2274435"/>
              <a:ext cx="229357" cy="263085"/>
            </a:xfrm>
            <a:custGeom>
              <a:avLst/>
              <a:gdLst>
                <a:gd name="T0" fmla="*/ 114 w 136"/>
                <a:gd name="T1" fmla="*/ 8 h 156"/>
                <a:gd name="T2" fmla="*/ 101 w 136"/>
                <a:gd name="T3" fmla="*/ 17 h 156"/>
                <a:gd name="T4" fmla="*/ 93 w 136"/>
                <a:gd name="T5" fmla="*/ 22 h 156"/>
                <a:gd name="T6" fmla="*/ 88 w 136"/>
                <a:gd name="T7" fmla="*/ 27 h 156"/>
                <a:gd name="T8" fmla="*/ 82 w 136"/>
                <a:gd name="T9" fmla="*/ 27 h 156"/>
                <a:gd name="T10" fmla="*/ 74 w 136"/>
                <a:gd name="T11" fmla="*/ 33 h 156"/>
                <a:gd name="T12" fmla="*/ 69 w 136"/>
                <a:gd name="T13" fmla="*/ 33 h 156"/>
                <a:gd name="T14" fmla="*/ 65 w 136"/>
                <a:gd name="T15" fmla="*/ 31 h 156"/>
                <a:gd name="T16" fmla="*/ 60 w 136"/>
                <a:gd name="T17" fmla="*/ 29 h 156"/>
                <a:gd name="T18" fmla="*/ 55 w 136"/>
                <a:gd name="T19" fmla="*/ 27 h 156"/>
                <a:gd name="T20" fmla="*/ 47 w 136"/>
                <a:gd name="T21" fmla="*/ 23 h 156"/>
                <a:gd name="T22" fmla="*/ 0 w 136"/>
                <a:gd name="T23" fmla="*/ 28 h 156"/>
                <a:gd name="T24" fmla="*/ 16 w 136"/>
                <a:gd name="T25" fmla="*/ 136 h 156"/>
                <a:gd name="T26" fmla="*/ 22 w 136"/>
                <a:gd name="T27" fmla="*/ 133 h 156"/>
                <a:gd name="T28" fmla="*/ 31 w 136"/>
                <a:gd name="T29" fmla="*/ 140 h 156"/>
                <a:gd name="T30" fmla="*/ 34 w 136"/>
                <a:gd name="T31" fmla="*/ 146 h 156"/>
                <a:gd name="T32" fmla="*/ 42 w 136"/>
                <a:gd name="T33" fmla="*/ 148 h 156"/>
                <a:gd name="T34" fmla="*/ 46 w 136"/>
                <a:gd name="T35" fmla="*/ 151 h 156"/>
                <a:gd name="T36" fmla="*/ 49 w 136"/>
                <a:gd name="T37" fmla="*/ 149 h 156"/>
                <a:gd name="T38" fmla="*/ 52 w 136"/>
                <a:gd name="T39" fmla="*/ 146 h 156"/>
                <a:gd name="T40" fmla="*/ 60 w 136"/>
                <a:gd name="T41" fmla="*/ 150 h 156"/>
                <a:gd name="T42" fmla="*/ 67 w 136"/>
                <a:gd name="T43" fmla="*/ 148 h 156"/>
                <a:gd name="T44" fmla="*/ 71 w 136"/>
                <a:gd name="T45" fmla="*/ 144 h 156"/>
                <a:gd name="T46" fmla="*/ 75 w 136"/>
                <a:gd name="T47" fmla="*/ 146 h 156"/>
                <a:gd name="T48" fmla="*/ 83 w 136"/>
                <a:gd name="T49" fmla="*/ 155 h 156"/>
                <a:gd name="T50" fmla="*/ 85 w 136"/>
                <a:gd name="T51" fmla="*/ 156 h 156"/>
                <a:gd name="T52" fmla="*/ 92 w 136"/>
                <a:gd name="T53" fmla="*/ 149 h 156"/>
                <a:gd name="T54" fmla="*/ 94 w 136"/>
                <a:gd name="T55" fmla="*/ 142 h 156"/>
                <a:gd name="T56" fmla="*/ 100 w 136"/>
                <a:gd name="T57" fmla="*/ 128 h 156"/>
                <a:gd name="T58" fmla="*/ 105 w 136"/>
                <a:gd name="T59" fmla="*/ 130 h 156"/>
                <a:gd name="T60" fmla="*/ 109 w 136"/>
                <a:gd name="T61" fmla="*/ 116 h 156"/>
                <a:gd name="T62" fmla="*/ 118 w 136"/>
                <a:gd name="T63" fmla="*/ 110 h 156"/>
                <a:gd name="T64" fmla="*/ 129 w 136"/>
                <a:gd name="T65" fmla="*/ 99 h 156"/>
                <a:gd name="T66" fmla="*/ 131 w 136"/>
                <a:gd name="T67" fmla="*/ 91 h 156"/>
                <a:gd name="T68" fmla="*/ 132 w 136"/>
                <a:gd name="T69" fmla="*/ 77 h 156"/>
                <a:gd name="T70" fmla="*/ 133 w 136"/>
                <a:gd name="T71" fmla="*/ 70 h 156"/>
                <a:gd name="T72" fmla="*/ 133 w 136"/>
                <a:gd name="T73" fmla="*/ 61 h 156"/>
                <a:gd name="T74" fmla="*/ 133 w 136"/>
                <a:gd name="T75" fmla="*/ 55 h 156"/>
                <a:gd name="T76" fmla="*/ 126 w 136"/>
                <a:gd name="T7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6" h="156">
                  <a:moveTo>
                    <a:pt x="121" y="5"/>
                  </a:moveTo>
                  <a:lnTo>
                    <a:pt x="114" y="8"/>
                  </a:lnTo>
                  <a:lnTo>
                    <a:pt x="108" y="13"/>
                  </a:lnTo>
                  <a:lnTo>
                    <a:pt x="101" y="17"/>
                  </a:lnTo>
                  <a:lnTo>
                    <a:pt x="96" y="21"/>
                  </a:lnTo>
                  <a:lnTo>
                    <a:pt x="93" y="22"/>
                  </a:lnTo>
                  <a:lnTo>
                    <a:pt x="91" y="24"/>
                  </a:lnTo>
                  <a:lnTo>
                    <a:pt x="88" y="27"/>
                  </a:lnTo>
                  <a:lnTo>
                    <a:pt x="85" y="27"/>
                  </a:lnTo>
                  <a:lnTo>
                    <a:pt x="82" y="27"/>
                  </a:lnTo>
                  <a:lnTo>
                    <a:pt x="78" y="29"/>
                  </a:lnTo>
                  <a:lnTo>
                    <a:pt x="74" y="33"/>
                  </a:lnTo>
                  <a:lnTo>
                    <a:pt x="71" y="33"/>
                  </a:lnTo>
                  <a:lnTo>
                    <a:pt x="69" y="33"/>
                  </a:lnTo>
                  <a:lnTo>
                    <a:pt x="68" y="33"/>
                  </a:lnTo>
                  <a:lnTo>
                    <a:pt x="65" y="31"/>
                  </a:lnTo>
                  <a:lnTo>
                    <a:pt x="62" y="28"/>
                  </a:lnTo>
                  <a:lnTo>
                    <a:pt x="60" y="29"/>
                  </a:lnTo>
                  <a:lnTo>
                    <a:pt x="56" y="28"/>
                  </a:lnTo>
                  <a:lnTo>
                    <a:pt x="55" y="27"/>
                  </a:lnTo>
                  <a:lnTo>
                    <a:pt x="51" y="24"/>
                  </a:lnTo>
                  <a:lnTo>
                    <a:pt x="47" y="23"/>
                  </a:lnTo>
                  <a:lnTo>
                    <a:pt x="39" y="22"/>
                  </a:lnTo>
                  <a:lnTo>
                    <a:pt x="0" y="28"/>
                  </a:lnTo>
                  <a:lnTo>
                    <a:pt x="11" y="134"/>
                  </a:lnTo>
                  <a:lnTo>
                    <a:pt x="16" y="136"/>
                  </a:lnTo>
                  <a:lnTo>
                    <a:pt x="21" y="134"/>
                  </a:lnTo>
                  <a:lnTo>
                    <a:pt x="22" y="133"/>
                  </a:lnTo>
                  <a:lnTo>
                    <a:pt x="27" y="137"/>
                  </a:lnTo>
                  <a:lnTo>
                    <a:pt x="31" y="140"/>
                  </a:lnTo>
                  <a:lnTo>
                    <a:pt x="33" y="144"/>
                  </a:lnTo>
                  <a:lnTo>
                    <a:pt x="34" y="146"/>
                  </a:lnTo>
                  <a:lnTo>
                    <a:pt x="39" y="147"/>
                  </a:lnTo>
                  <a:lnTo>
                    <a:pt x="42" y="148"/>
                  </a:lnTo>
                  <a:lnTo>
                    <a:pt x="44" y="149"/>
                  </a:lnTo>
                  <a:lnTo>
                    <a:pt x="46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1" y="147"/>
                  </a:lnTo>
                  <a:lnTo>
                    <a:pt x="52" y="146"/>
                  </a:lnTo>
                  <a:lnTo>
                    <a:pt x="55" y="148"/>
                  </a:lnTo>
                  <a:lnTo>
                    <a:pt x="60" y="150"/>
                  </a:lnTo>
                  <a:lnTo>
                    <a:pt x="66" y="149"/>
                  </a:lnTo>
                  <a:lnTo>
                    <a:pt x="67" y="148"/>
                  </a:lnTo>
                  <a:lnTo>
                    <a:pt x="69" y="145"/>
                  </a:lnTo>
                  <a:lnTo>
                    <a:pt x="71" y="144"/>
                  </a:lnTo>
                  <a:lnTo>
                    <a:pt x="72" y="143"/>
                  </a:lnTo>
                  <a:lnTo>
                    <a:pt x="75" y="146"/>
                  </a:lnTo>
                  <a:lnTo>
                    <a:pt x="79" y="151"/>
                  </a:lnTo>
                  <a:lnTo>
                    <a:pt x="83" y="155"/>
                  </a:lnTo>
                  <a:lnTo>
                    <a:pt x="86" y="155"/>
                  </a:lnTo>
                  <a:lnTo>
                    <a:pt x="85" y="156"/>
                  </a:lnTo>
                  <a:lnTo>
                    <a:pt x="88" y="153"/>
                  </a:lnTo>
                  <a:lnTo>
                    <a:pt x="92" y="149"/>
                  </a:lnTo>
                  <a:lnTo>
                    <a:pt x="94" y="146"/>
                  </a:lnTo>
                  <a:lnTo>
                    <a:pt x="94" y="142"/>
                  </a:lnTo>
                  <a:lnTo>
                    <a:pt x="97" y="131"/>
                  </a:lnTo>
                  <a:lnTo>
                    <a:pt x="100" y="128"/>
                  </a:lnTo>
                  <a:lnTo>
                    <a:pt x="104" y="131"/>
                  </a:lnTo>
                  <a:lnTo>
                    <a:pt x="105" y="130"/>
                  </a:lnTo>
                  <a:lnTo>
                    <a:pt x="106" y="120"/>
                  </a:lnTo>
                  <a:lnTo>
                    <a:pt x="109" y="116"/>
                  </a:lnTo>
                  <a:lnTo>
                    <a:pt x="113" y="110"/>
                  </a:lnTo>
                  <a:lnTo>
                    <a:pt x="118" y="110"/>
                  </a:lnTo>
                  <a:lnTo>
                    <a:pt x="121" y="106"/>
                  </a:lnTo>
                  <a:lnTo>
                    <a:pt x="129" y="99"/>
                  </a:lnTo>
                  <a:lnTo>
                    <a:pt x="131" y="94"/>
                  </a:lnTo>
                  <a:lnTo>
                    <a:pt x="131" y="91"/>
                  </a:lnTo>
                  <a:lnTo>
                    <a:pt x="132" y="83"/>
                  </a:lnTo>
                  <a:lnTo>
                    <a:pt x="132" y="77"/>
                  </a:lnTo>
                  <a:lnTo>
                    <a:pt x="133" y="74"/>
                  </a:lnTo>
                  <a:lnTo>
                    <a:pt x="133" y="70"/>
                  </a:lnTo>
                  <a:lnTo>
                    <a:pt x="133" y="62"/>
                  </a:lnTo>
                  <a:lnTo>
                    <a:pt x="133" y="61"/>
                  </a:lnTo>
                  <a:lnTo>
                    <a:pt x="132" y="58"/>
                  </a:lnTo>
                  <a:lnTo>
                    <a:pt x="133" y="55"/>
                  </a:lnTo>
                  <a:lnTo>
                    <a:pt x="136" y="55"/>
                  </a:lnTo>
                  <a:lnTo>
                    <a:pt x="126" y="0"/>
                  </a:lnTo>
                  <a:lnTo>
                    <a:pt x="121" y="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3F0E4182-03BE-C749-A706-BE4E305CF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9598" y="2319970"/>
              <a:ext cx="168644" cy="290068"/>
            </a:xfrm>
            <a:custGeom>
              <a:avLst/>
              <a:gdLst>
                <a:gd name="T0" fmla="*/ 5 w 100"/>
                <a:gd name="T1" fmla="*/ 167 h 172"/>
                <a:gd name="T2" fmla="*/ 16 w 100"/>
                <a:gd name="T3" fmla="*/ 163 h 172"/>
                <a:gd name="T4" fmla="*/ 24 w 100"/>
                <a:gd name="T5" fmla="*/ 163 h 172"/>
                <a:gd name="T6" fmla="*/ 31 w 100"/>
                <a:gd name="T7" fmla="*/ 168 h 172"/>
                <a:gd name="T8" fmla="*/ 32 w 100"/>
                <a:gd name="T9" fmla="*/ 163 h 172"/>
                <a:gd name="T10" fmla="*/ 38 w 100"/>
                <a:gd name="T11" fmla="*/ 161 h 172"/>
                <a:gd name="T12" fmla="*/ 44 w 100"/>
                <a:gd name="T13" fmla="*/ 163 h 172"/>
                <a:gd name="T14" fmla="*/ 49 w 100"/>
                <a:gd name="T15" fmla="*/ 161 h 172"/>
                <a:gd name="T16" fmla="*/ 52 w 100"/>
                <a:gd name="T17" fmla="*/ 154 h 172"/>
                <a:gd name="T18" fmla="*/ 55 w 100"/>
                <a:gd name="T19" fmla="*/ 150 h 172"/>
                <a:gd name="T20" fmla="*/ 59 w 100"/>
                <a:gd name="T21" fmla="*/ 157 h 172"/>
                <a:gd name="T22" fmla="*/ 66 w 100"/>
                <a:gd name="T23" fmla="*/ 157 h 172"/>
                <a:gd name="T24" fmla="*/ 68 w 100"/>
                <a:gd name="T25" fmla="*/ 150 h 172"/>
                <a:gd name="T26" fmla="*/ 74 w 100"/>
                <a:gd name="T27" fmla="*/ 145 h 172"/>
                <a:gd name="T28" fmla="*/ 78 w 100"/>
                <a:gd name="T29" fmla="*/ 139 h 172"/>
                <a:gd name="T30" fmla="*/ 80 w 100"/>
                <a:gd name="T31" fmla="*/ 131 h 172"/>
                <a:gd name="T32" fmla="*/ 81 w 100"/>
                <a:gd name="T33" fmla="*/ 127 h 172"/>
                <a:gd name="T34" fmla="*/ 90 w 100"/>
                <a:gd name="T35" fmla="*/ 125 h 172"/>
                <a:gd name="T36" fmla="*/ 98 w 100"/>
                <a:gd name="T37" fmla="*/ 123 h 172"/>
                <a:gd name="T38" fmla="*/ 99 w 100"/>
                <a:gd name="T39" fmla="*/ 115 h 172"/>
                <a:gd name="T40" fmla="*/ 98 w 100"/>
                <a:gd name="T41" fmla="*/ 112 h 172"/>
                <a:gd name="T42" fmla="*/ 99 w 100"/>
                <a:gd name="T43" fmla="*/ 107 h 172"/>
                <a:gd name="T44" fmla="*/ 88 w 100"/>
                <a:gd name="T45" fmla="*/ 0 h 172"/>
                <a:gd name="T46" fmla="*/ 27 w 100"/>
                <a:gd name="T47" fmla="*/ 5 h 172"/>
                <a:gd name="T48" fmla="*/ 16 w 100"/>
                <a:gd name="T49" fmla="*/ 12 h 172"/>
                <a:gd name="T50" fmla="*/ 8 w 100"/>
                <a:gd name="T51" fmla="*/ 12 h 172"/>
                <a:gd name="T52" fmla="*/ 10 w 100"/>
                <a:gd name="T53" fmla="*/ 106 h 172"/>
                <a:gd name="T54" fmla="*/ 10 w 100"/>
                <a:gd name="T55" fmla="*/ 113 h 172"/>
                <a:gd name="T56" fmla="*/ 15 w 100"/>
                <a:gd name="T57" fmla="*/ 124 h 172"/>
                <a:gd name="T58" fmla="*/ 16 w 100"/>
                <a:gd name="T59" fmla="*/ 134 h 172"/>
                <a:gd name="T60" fmla="*/ 11 w 100"/>
                <a:gd name="T61" fmla="*/ 140 h 172"/>
                <a:gd name="T62" fmla="*/ 8 w 100"/>
                <a:gd name="T63" fmla="*/ 147 h 172"/>
                <a:gd name="T64" fmla="*/ 4 w 100"/>
                <a:gd name="T65" fmla="*/ 156 h 172"/>
                <a:gd name="T66" fmla="*/ 0 w 100"/>
                <a:gd name="T67" fmla="*/ 161 h 172"/>
                <a:gd name="T68" fmla="*/ 1 w 100"/>
                <a:gd name="T69" fmla="*/ 171 h 172"/>
                <a:gd name="T70" fmla="*/ 2 w 100"/>
                <a:gd name="T7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172">
                  <a:moveTo>
                    <a:pt x="5" y="172"/>
                  </a:moveTo>
                  <a:lnTo>
                    <a:pt x="5" y="167"/>
                  </a:lnTo>
                  <a:lnTo>
                    <a:pt x="13" y="167"/>
                  </a:lnTo>
                  <a:lnTo>
                    <a:pt x="16" y="163"/>
                  </a:lnTo>
                  <a:lnTo>
                    <a:pt x="19" y="163"/>
                  </a:lnTo>
                  <a:lnTo>
                    <a:pt x="24" y="163"/>
                  </a:lnTo>
                  <a:lnTo>
                    <a:pt x="27" y="166"/>
                  </a:lnTo>
                  <a:lnTo>
                    <a:pt x="31" y="168"/>
                  </a:lnTo>
                  <a:lnTo>
                    <a:pt x="32" y="167"/>
                  </a:lnTo>
                  <a:lnTo>
                    <a:pt x="32" y="163"/>
                  </a:lnTo>
                  <a:lnTo>
                    <a:pt x="36" y="162"/>
                  </a:lnTo>
                  <a:lnTo>
                    <a:pt x="38" y="161"/>
                  </a:lnTo>
                  <a:lnTo>
                    <a:pt x="42" y="161"/>
                  </a:lnTo>
                  <a:lnTo>
                    <a:pt x="44" y="163"/>
                  </a:lnTo>
                  <a:lnTo>
                    <a:pt x="48" y="164"/>
                  </a:lnTo>
                  <a:lnTo>
                    <a:pt x="49" y="161"/>
                  </a:lnTo>
                  <a:lnTo>
                    <a:pt x="49" y="157"/>
                  </a:lnTo>
                  <a:lnTo>
                    <a:pt x="52" y="154"/>
                  </a:lnTo>
                  <a:lnTo>
                    <a:pt x="53" y="150"/>
                  </a:lnTo>
                  <a:lnTo>
                    <a:pt x="55" y="150"/>
                  </a:lnTo>
                  <a:lnTo>
                    <a:pt x="56" y="154"/>
                  </a:lnTo>
                  <a:lnTo>
                    <a:pt x="59" y="157"/>
                  </a:lnTo>
                  <a:lnTo>
                    <a:pt x="60" y="158"/>
                  </a:lnTo>
                  <a:lnTo>
                    <a:pt x="66" y="157"/>
                  </a:lnTo>
                  <a:lnTo>
                    <a:pt x="68" y="153"/>
                  </a:lnTo>
                  <a:lnTo>
                    <a:pt x="68" y="150"/>
                  </a:lnTo>
                  <a:lnTo>
                    <a:pt x="71" y="145"/>
                  </a:lnTo>
                  <a:lnTo>
                    <a:pt x="74" y="145"/>
                  </a:lnTo>
                  <a:lnTo>
                    <a:pt x="76" y="143"/>
                  </a:lnTo>
                  <a:lnTo>
                    <a:pt x="78" y="139"/>
                  </a:lnTo>
                  <a:lnTo>
                    <a:pt x="80" y="135"/>
                  </a:lnTo>
                  <a:lnTo>
                    <a:pt x="80" y="131"/>
                  </a:lnTo>
                  <a:lnTo>
                    <a:pt x="81" y="129"/>
                  </a:lnTo>
                  <a:lnTo>
                    <a:pt x="81" y="127"/>
                  </a:lnTo>
                  <a:lnTo>
                    <a:pt x="82" y="126"/>
                  </a:lnTo>
                  <a:lnTo>
                    <a:pt x="90" y="125"/>
                  </a:lnTo>
                  <a:lnTo>
                    <a:pt x="94" y="123"/>
                  </a:lnTo>
                  <a:lnTo>
                    <a:pt x="98" y="123"/>
                  </a:lnTo>
                  <a:lnTo>
                    <a:pt x="100" y="121"/>
                  </a:lnTo>
                  <a:lnTo>
                    <a:pt x="99" y="115"/>
                  </a:lnTo>
                  <a:lnTo>
                    <a:pt x="100" y="113"/>
                  </a:lnTo>
                  <a:lnTo>
                    <a:pt x="98" y="112"/>
                  </a:lnTo>
                  <a:lnTo>
                    <a:pt x="97" y="108"/>
                  </a:lnTo>
                  <a:lnTo>
                    <a:pt x="99" y="107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27" y="4"/>
                  </a:lnTo>
                  <a:lnTo>
                    <a:pt x="27" y="5"/>
                  </a:lnTo>
                  <a:lnTo>
                    <a:pt x="20" y="9"/>
                  </a:lnTo>
                  <a:lnTo>
                    <a:pt x="16" y="12"/>
                  </a:lnTo>
                  <a:lnTo>
                    <a:pt x="13" y="13"/>
                  </a:lnTo>
                  <a:lnTo>
                    <a:pt x="8" y="12"/>
                  </a:lnTo>
                  <a:lnTo>
                    <a:pt x="11" y="103"/>
                  </a:lnTo>
                  <a:lnTo>
                    <a:pt x="10" y="106"/>
                  </a:lnTo>
                  <a:lnTo>
                    <a:pt x="10" y="109"/>
                  </a:lnTo>
                  <a:lnTo>
                    <a:pt x="10" y="113"/>
                  </a:lnTo>
                  <a:lnTo>
                    <a:pt x="11" y="117"/>
                  </a:lnTo>
                  <a:lnTo>
                    <a:pt x="15" y="124"/>
                  </a:lnTo>
                  <a:lnTo>
                    <a:pt x="16" y="130"/>
                  </a:lnTo>
                  <a:lnTo>
                    <a:pt x="16" y="134"/>
                  </a:lnTo>
                  <a:lnTo>
                    <a:pt x="13" y="136"/>
                  </a:lnTo>
                  <a:lnTo>
                    <a:pt x="11" y="140"/>
                  </a:lnTo>
                  <a:lnTo>
                    <a:pt x="10" y="145"/>
                  </a:lnTo>
                  <a:lnTo>
                    <a:pt x="8" y="147"/>
                  </a:lnTo>
                  <a:lnTo>
                    <a:pt x="5" y="150"/>
                  </a:lnTo>
                  <a:lnTo>
                    <a:pt x="4" y="156"/>
                  </a:lnTo>
                  <a:lnTo>
                    <a:pt x="2" y="157"/>
                  </a:lnTo>
                  <a:lnTo>
                    <a:pt x="0" y="161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5" y="172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4298CC84-24C7-4E48-8F3E-C00B22C83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9030" y="2282869"/>
              <a:ext cx="217551" cy="381136"/>
            </a:xfrm>
            <a:custGeom>
              <a:avLst/>
              <a:gdLst>
                <a:gd name="T0" fmla="*/ 88 w 129"/>
                <a:gd name="T1" fmla="*/ 217 h 226"/>
                <a:gd name="T2" fmla="*/ 96 w 129"/>
                <a:gd name="T3" fmla="*/ 222 h 226"/>
                <a:gd name="T4" fmla="*/ 102 w 129"/>
                <a:gd name="T5" fmla="*/ 222 h 226"/>
                <a:gd name="T6" fmla="*/ 102 w 129"/>
                <a:gd name="T7" fmla="*/ 216 h 226"/>
                <a:gd name="T8" fmla="*/ 105 w 129"/>
                <a:gd name="T9" fmla="*/ 209 h 226"/>
                <a:gd name="T10" fmla="*/ 113 w 129"/>
                <a:gd name="T11" fmla="*/ 206 h 226"/>
                <a:gd name="T12" fmla="*/ 112 w 129"/>
                <a:gd name="T13" fmla="*/ 200 h 226"/>
                <a:gd name="T14" fmla="*/ 112 w 129"/>
                <a:gd name="T15" fmla="*/ 195 h 226"/>
                <a:gd name="T16" fmla="*/ 115 w 129"/>
                <a:gd name="T17" fmla="*/ 194 h 226"/>
                <a:gd name="T18" fmla="*/ 113 w 129"/>
                <a:gd name="T19" fmla="*/ 189 h 226"/>
                <a:gd name="T20" fmla="*/ 115 w 129"/>
                <a:gd name="T21" fmla="*/ 179 h 226"/>
                <a:gd name="T22" fmla="*/ 118 w 129"/>
                <a:gd name="T23" fmla="*/ 172 h 226"/>
                <a:gd name="T24" fmla="*/ 123 w 129"/>
                <a:gd name="T25" fmla="*/ 167 h 226"/>
                <a:gd name="T26" fmla="*/ 126 w 129"/>
                <a:gd name="T27" fmla="*/ 158 h 226"/>
                <a:gd name="T28" fmla="*/ 129 w 129"/>
                <a:gd name="T29" fmla="*/ 152 h 226"/>
                <a:gd name="T30" fmla="*/ 124 w 129"/>
                <a:gd name="T31" fmla="*/ 139 h 226"/>
                <a:gd name="T32" fmla="*/ 123 w 129"/>
                <a:gd name="T33" fmla="*/ 131 h 226"/>
                <a:gd name="T34" fmla="*/ 124 w 129"/>
                <a:gd name="T35" fmla="*/ 125 h 226"/>
                <a:gd name="T36" fmla="*/ 122 w 129"/>
                <a:gd name="T37" fmla="*/ 34 h 226"/>
                <a:gd name="T38" fmla="*/ 116 w 129"/>
                <a:gd name="T39" fmla="*/ 26 h 226"/>
                <a:gd name="T40" fmla="*/ 113 w 129"/>
                <a:gd name="T41" fmla="*/ 17 h 226"/>
                <a:gd name="T42" fmla="*/ 107 w 129"/>
                <a:gd name="T43" fmla="*/ 3 h 226"/>
                <a:gd name="T44" fmla="*/ 24 w 129"/>
                <a:gd name="T45" fmla="*/ 5 h 226"/>
                <a:gd name="T46" fmla="*/ 22 w 129"/>
                <a:gd name="T47" fmla="*/ 3 h 226"/>
                <a:gd name="T48" fmla="*/ 21 w 129"/>
                <a:gd name="T49" fmla="*/ 8 h 226"/>
                <a:gd name="T50" fmla="*/ 28 w 129"/>
                <a:gd name="T51" fmla="*/ 14 h 226"/>
                <a:gd name="T52" fmla="*/ 38 w 129"/>
                <a:gd name="T53" fmla="*/ 23 h 226"/>
                <a:gd name="T54" fmla="*/ 36 w 129"/>
                <a:gd name="T55" fmla="*/ 32 h 226"/>
                <a:gd name="T56" fmla="*/ 31 w 129"/>
                <a:gd name="T57" fmla="*/ 43 h 226"/>
                <a:gd name="T58" fmla="*/ 27 w 129"/>
                <a:gd name="T59" fmla="*/ 47 h 226"/>
                <a:gd name="T60" fmla="*/ 15 w 129"/>
                <a:gd name="T61" fmla="*/ 50 h 226"/>
                <a:gd name="T62" fmla="*/ 12 w 129"/>
                <a:gd name="T63" fmla="*/ 55 h 226"/>
                <a:gd name="T64" fmla="*/ 15 w 129"/>
                <a:gd name="T65" fmla="*/ 65 h 226"/>
                <a:gd name="T66" fmla="*/ 13 w 129"/>
                <a:gd name="T67" fmla="*/ 70 h 226"/>
                <a:gd name="T68" fmla="*/ 11 w 129"/>
                <a:gd name="T69" fmla="*/ 77 h 226"/>
                <a:gd name="T70" fmla="*/ 2 w 129"/>
                <a:gd name="T71" fmla="*/ 86 h 226"/>
                <a:gd name="T72" fmla="*/ 0 w 129"/>
                <a:gd name="T73" fmla="*/ 95 h 226"/>
                <a:gd name="T74" fmla="*/ 0 w 129"/>
                <a:gd name="T75" fmla="*/ 113 h 226"/>
                <a:gd name="T76" fmla="*/ 21 w 129"/>
                <a:gd name="T77" fmla="*/ 136 h 226"/>
                <a:gd name="T78" fmla="*/ 25 w 129"/>
                <a:gd name="T79" fmla="*/ 150 h 226"/>
                <a:gd name="T80" fmla="*/ 31 w 129"/>
                <a:gd name="T81" fmla="*/ 151 h 226"/>
                <a:gd name="T82" fmla="*/ 39 w 129"/>
                <a:gd name="T83" fmla="*/ 150 h 226"/>
                <a:gd name="T84" fmla="*/ 45 w 129"/>
                <a:gd name="T85" fmla="*/ 156 h 226"/>
                <a:gd name="T86" fmla="*/ 41 w 129"/>
                <a:gd name="T87" fmla="*/ 167 h 226"/>
                <a:gd name="T88" fmla="*/ 39 w 129"/>
                <a:gd name="T89" fmla="*/ 175 h 226"/>
                <a:gd name="T90" fmla="*/ 44 w 129"/>
                <a:gd name="T91" fmla="*/ 185 h 226"/>
                <a:gd name="T92" fmla="*/ 53 w 129"/>
                <a:gd name="T93" fmla="*/ 189 h 226"/>
                <a:gd name="T94" fmla="*/ 68 w 129"/>
                <a:gd name="T95" fmla="*/ 200 h 226"/>
                <a:gd name="T96" fmla="*/ 70 w 129"/>
                <a:gd name="T97" fmla="*/ 214 h 226"/>
                <a:gd name="T98" fmla="*/ 74 w 129"/>
                <a:gd name="T99" fmla="*/ 222 h 226"/>
                <a:gd name="T100" fmla="*/ 76 w 129"/>
                <a:gd name="T101" fmla="*/ 222 h 226"/>
                <a:gd name="T102" fmla="*/ 83 w 129"/>
                <a:gd name="T103" fmla="*/ 22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9" h="226">
                  <a:moveTo>
                    <a:pt x="86" y="218"/>
                  </a:moveTo>
                  <a:lnTo>
                    <a:pt x="88" y="217"/>
                  </a:lnTo>
                  <a:lnTo>
                    <a:pt x="92" y="219"/>
                  </a:lnTo>
                  <a:lnTo>
                    <a:pt x="96" y="222"/>
                  </a:lnTo>
                  <a:lnTo>
                    <a:pt x="99" y="222"/>
                  </a:lnTo>
                  <a:lnTo>
                    <a:pt x="102" y="222"/>
                  </a:lnTo>
                  <a:lnTo>
                    <a:pt x="104" y="221"/>
                  </a:lnTo>
                  <a:lnTo>
                    <a:pt x="102" y="216"/>
                  </a:lnTo>
                  <a:lnTo>
                    <a:pt x="102" y="211"/>
                  </a:lnTo>
                  <a:lnTo>
                    <a:pt x="105" y="209"/>
                  </a:lnTo>
                  <a:lnTo>
                    <a:pt x="111" y="207"/>
                  </a:lnTo>
                  <a:lnTo>
                    <a:pt x="113" y="206"/>
                  </a:lnTo>
                  <a:lnTo>
                    <a:pt x="112" y="203"/>
                  </a:lnTo>
                  <a:lnTo>
                    <a:pt x="112" y="200"/>
                  </a:lnTo>
                  <a:lnTo>
                    <a:pt x="112" y="199"/>
                  </a:lnTo>
                  <a:lnTo>
                    <a:pt x="112" y="195"/>
                  </a:lnTo>
                  <a:lnTo>
                    <a:pt x="115" y="194"/>
                  </a:lnTo>
                  <a:lnTo>
                    <a:pt x="115" y="194"/>
                  </a:lnTo>
                  <a:lnTo>
                    <a:pt x="114" y="193"/>
                  </a:lnTo>
                  <a:lnTo>
                    <a:pt x="113" y="189"/>
                  </a:lnTo>
                  <a:lnTo>
                    <a:pt x="113" y="183"/>
                  </a:lnTo>
                  <a:lnTo>
                    <a:pt x="115" y="179"/>
                  </a:lnTo>
                  <a:lnTo>
                    <a:pt x="117" y="178"/>
                  </a:lnTo>
                  <a:lnTo>
                    <a:pt x="118" y="172"/>
                  </a:lnTo>
                  <a:lnTo>
                    <a:pt x="121" y="169"/>
                  </a:lnTo>
                  <a:lnTo>
                    <a:pt x="123" y="167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9" y="156"/>
                  </a:lnTo>
                  <a:lnTo>
                    <a:pt x="129" y="152"/>
                  </a:lnTo>
                  <a:lnTo>
                    <a:pt x="128" y="146"/>
                  </a:lnTo>
                  <a:lnTo>
                    <a:pt x="124" y="139"/>
                  </a:lnTo>
                  <a:lnTo>
                    <a:pt x="123" y="135"/>
                  </a:lnTo>
                  <a:lnTo>
                    <a:pt x="123" y="131"/>
                  </a:lnTo>
                  <a:lnTo>
                    <a:pt x="123" y="128"/>
                  </a:lnTo>
                  <a:lnTo>
                    <a:pt x="124" y="125"/>
                  </a:lnTo>
                  <a:lnTo>
                    <a:pt x="121" y="34"/>
                  </a:lnTo>
                  <a:lnTo>
                    <a:pt x="122" y="34"/>
                  </a:lnTo>
                  <a:lnTo>
                    <a:pt x="118" y="31"/>
                  </a:lnTo>
                  <a:lnTo>
                    <a:pt x="116" y="26"/>
                  </a:lnTo>
                  <a:lnTo>
                    <a:pt x="114" y="23"/>
                  </a:lnTo>
                  <a:lnTo>
                    <a:pt x="113" y="17"/>
                  </a:lnTo>
                  <a:lnTo>
                    <a:pt x="109" y="13"/>
                  </a:lnTo>
                  <a:lnTo>
                    <a:pt x="107" y="3"/>
                  </a:lnTo>
                  <a:lnTo>
                    <a:pt x="107" y="0"/>
                  </a:lnTo>
                  <a:lnTo>
                    <a:pt x="24" y="5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1" y="6"/>
                  </a:lnTo>
                  <a:lnTo>
                    <a:pt x="21" y="8"/>
                  </a:lnTo>
                  <a:lnTo>
                    <a:pt x="24" y="11"/>
                  </a:lnTo>
                  <a:lnTo>
                    <a:pt x="28" y="14"/>
                  </a:lnTo>
                  <a:lnTo>
                    <a:pt x="33" y="18"/>
                  </a:lnTo>
                  <a:lnTo>
                    <a:pt x="38" y="23"/>
                  </a:lnTo>
                  <a:lnTo>
                    <a:pt x="38" y="26"/>
                  </a:lnTo>
                  <a:lnTo>
                    <a:pt x="36" y="32"/>
                  </a:lnTo>
                  <a:lnTo>
                    <a:pt x="34" y="35"/>
                  </a:lnTo>
                  <a:lnTo>
                    <a:pt x="31" y="43"/>
                  </a:lnTo>
                  <a:lnTo>
                    <a:pt x="29" y="45"/>
                  </a:lnTo>
                  <a:lnTo>
                    <a:pt x="27" y="47"/>
                  </a:lnTo>
                  <a:lnTo>
                    <a:pt x="21" y="50"/>
                  </a:lnTo>
                  <a:lnTo>
                    <a:pt x="15" y="50"/>
                  </a:lnTo>
                  <a:lnTo>
                    <a:pt x="12" y="51"/>
                  </a:lnTo>
                  <a:lnTo>
                    <a:pt x="12" y="55"/>
                  </a:lnTo>
                  <a:lnTo>
                    <a:pt x="12" y="58"/>
                  </a:lnTo>
                  <a:lnTo>
                    <a:pt x="15" y="65"/>
                  </a:lnTo>
                  <a:lnTo>
                    <a:pt x="17" y="67"/>
                  </a:lnTo>
                  <a:lnTo>
                    <a:pt x="13" y="70"/>
                  </a:lnTo>
                  <a:lnTo>
                    <a:pt x="13" y="77"/>
                  </a:lnTo>
                  <a:lnTo>
                    <a:pt x="11" y="77"/>
                  </a:lnTo>
                  <a:lnTo>
                    <a:pt x="8" y="80"/>
                  </a:lnTo>
                  <a:lnTo>
                    <a:pt x="2" y="86"/>
                  </a:lnTo>
                  <a:lnTo>
                    <a:pt x="3" y="92"/>
                  </a:lnTo>
                  <a:lnTo>
                    <a:pt x="0" y="95"/>
                  </a:lnTo>
                  <a:lnTo>
                    <a:pt x="0" y="104"/>
                  </a:lnTo>
                  <a:lnTo>
                    <a:pt x="0" y="113"/>
                  </a:lnTo>
                  <a:lnTo>
                    <a:pt x="6" y="123"/>
                  </a:lnTo>
                  <a:lnTo>
                    <a:pt x="21" y="136"/>
                  </a:lnTo>
                  <a:lnTo>
                    <a:pt x="25" y="142"/>
                  </a:lnTo>
                  <a:lnTo>
                    <a:pt x="25" y="150"/>
                  </a:lnTo>
                  <a:lnTo>
                    <a:pt x="30" y="154"/>
                  </a:lnTo>
                  <a:lnTo>
                    <a:pt x="31" y="151"/>
                  </a:lnTo>
                  <a:lnTo>
                    <a:pt x="34" y="150"/>
                  </a:lnTo>
                  <a:lnTo>
                    <a:pt x="39" y="150"/>
                  </a:lnTo>
                  <a:lnTo>
                    <a:pt x="42" y="153"/>
                  </a:lnTo>
                  <a:lnTo>
                    <a:pt x="45" y="156"/>
                  </a:lnTo>
                  <a:lnTo>
                    <a:pt x="42" y="162"/>
                  </a:lnTo>
                  <a:lnTo>
                    <a:pt x="41" y="167"/>
                  </a:lnTo>
                  <a:lnTo>
                    <a:pt x="41" y="170"/>
                  </a:lnTo>
                  <a:lnTo>
                    <a:pt x="39" y="175"/>
                  </a:lnTo>
                  <a:lnTo>
                    <a:pt x="39" y="180"/>
                  </a:lnTo>
                  <a:lnTo>
                    <a:pt x="44" y="185"/>
                  </a:lnTo>
                  <a:lnTo>
                    <a:pt x="51" y="190"/>
                  </a:lnTo>
                  <a:lnTo>
                    <a:pt x="53" y="189"/>
                  </a:lnTo>
                  <a:lnTo>
                    <a:pt x="64" y="196"/>
                  </a:lnTo>
                  <a:lnTo>
                    <a:pt x="68" y="200"/>
                  </a:lnTo>
                  <a:lnTo>
                    <a:pt x="71" y="209"/>
                  </a:lnTo>
                  <a:lnTo>
                    <a:pt x="70" y="214"/>
                  </a:lnTo>
                  <a:lnTo>
                    <a:pt x="69" y="217"/>
                  </a:lnTo>
                  <a:lnTo>
                    <a:pt x="74" y="222"/>
                  </a:lnTo>
                  <a:lnTo>
                    <a:pt x="74" y="226"/>
                  </a:lnTo>
                  <a:lnTo>
                    <a:pt x="76" y="222"/>
                  </a:lnTo>
                  <a:lnTo>
                    <a:pt x="80" y="222"/>
                  </a:lnTo>
                  <a:lnTo>
                    <a:pt x="83" y="221"/>
                  </a:lnTo>
                  <a:lnTo>
                    <a:pt x="86" y="21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7B507C5C-3F61-4B4C-8E91-36AF5BFB0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2572" y="2198545"/>
              <a:ext cx="330543" cy="242848"/>
            </a:xfrm>
            <a:custGeom>
              <a:avLst/>
              <a:gdLst>
                <a:gd name="T0" fmla="*/ 196 w 231"/>
                <a:gd name="T1" fmla="*/ 154 h 170"/>
                <a:gd name="T2" fmla="*/ 201 w 231"/>
                <a:gd name="T3" fmla="*/ 150 h 170"/>
                <a:gd name="T4" fmla="*/ 206 w 231"/>
                <a:gd name="T5" fmla="*/ 139 h 170"/>
                <a:gd name="T6" fmla="*/ 200 w 231"/>
                <a:gd name="T7" fmla="*/ 128 h 170"/>
                <a:gd name="T8" fmla="*/ 200 w 231"/>
                <a:gd name="T9" fmla="*/ 120 h 170"/>
                <a:gd name="T10" fmla="*/ 211 w 231"/>
                <a:gd name="T11" fmla="*/ 118 h 170"/>
                <a:gd name="T12" fmla="*/ 220 w 231"/>
                <a:gd name="T13" fmla="*/ 113 h 170"/>
                <a:gd name="T14" fmla="*/ 226 w 231"/>
                <a:gd name="T15" fmla="*/ 101 h 170"/>
                <a:gd name="T16" fmla="*/ 231 w 231"/>
                <a:gd name="T17" fmla="*/ 90 h 170"/>
                <a:gd name="T18" fmla="*/ 225 w 231"/>
                <a:gd name="T19" fmla="*/ 81 h 170"/>
                <a:gd name="T20" fmla="*/ 215 w 231"/>
                <a:gd name="T21" fmla="*/ 72 h 170"/>
                <a:gd name="T22" fmla="*/ 211 w 231"/>
                <a:gd name="T23" fmla="*/ 66 h 170"/>
                <a:gd name="T24" fmla="*/ 214 w 231"/>
                <a:gd name="T25" fmla="*/ 65 h 170"/>
                <a:gd name="T26" fmla="*/ 206 w 231"/>
                <a:gd name="T27" fmla="*/ 59 h 170"/>
                <a:gd name="T28" fmla="*/ 196 w 231"/>
                <a:gd name="T29" fmla="*/ 55 h 170"/>
                <a:gd name="T30" fmla="*/ 194 w 231"/>
                <a:gd name="T31" fmla="*/ 45 h 170"/>
                <a:gd name="T32" fmla="*/ 194 w 231"/>
                <a:gd name="T33" fmla="*/ 35 h 170"/>
                <a:gd name="T34" fmla="*/ 192 w 231"/>
                <a:gd name="T35" fmla="*/ 25 h 170"/>
                <a:gd name="T36" fmla="*/ 7 w 231"/>
                <a:gd name="T37" fmla="*/ 22 h 170"/>
                <a:gd name="T38" fmla="*/ 8 w 231"/>
                <a:gd name="T39" fmla="*/ 0 h 170"/>
                <a:gd name="T40" fmla="*/ 4 w 231"/>
                <a:gd name="T41" fmla="*/ 23 h 170"/>
                <a:gd name="T42" fmla="*/ 3 w 231"/>
                <a:gd name="T43" fmla="*/ 31 h 170"/>
                <a:gd name="T44" fmla="*/ 7 w 231"/>
                <a:gd name="T45" fmla="*/ 37 h 170"/>
                <a:gd name="T46" fmla="*/ 5 w 231"/>
                <a:gd name="T47" fmla="*/ 42 h 170"/>
                <a:gd name="T48" fmla="*/ 4 w 231"/>
                <a:gd name="T49" fmla="*/ 52 h 170"/>
                <a:gd name="T50" fmla="*/ 0 w 231"/>
                <a:gd name="T51" fmla="*/ 56 h 170"/>
                <a:gd name="T52" fmla="*/ 4 w 231"/>
                <a:gd name="T53" fmla="*/ 62 h 170"/>
                <a:gd name="T54" fmla="*/ 4 w 231"/>
                <a:gd name="T55" fmla="*/ 69 h 170"/>
                <a:gd name="T56" fmla="*/ 6 w 231"/>
                <a:gd name="T57" fmla="*/ 71 h 170"/>
                <a:gd name="T58" fmla="*/ 12 w 231"/>
                <a:gd name="T59" fmla="*/ 85 h 170"/>
                <a:gd name="T60" fmla="*/ 16 w 231"/>
                <a:gd name="T61" fmla="*/ 96 h 170"/>
                <a:gd name="T62" fmla="*/ 19 w 231"/>
                <a:gd name="T63" fmla="*/ 102 h 170"/>
                <a:gd name="T64" fmla="*/ 20 w 231"/>
                <a:gd name="T65" fmla="*/ 104 h 170"/>
                <a:gd name="T66" fmla="*/ 18 w 231"/>
                <a:gd name="T67" fmla="*/ 109 h 170"/>
                <a:gd name="T68" fmla="*/ 20 w 231"/>
                <a:gd name="T69" fmla="*/ 116 h 170"/>
                <a:gd name="T70" fmla="*/ 24 w 231"/>
                <a:gd name="T71" fmla="*/ 118 h 170"/>
                <a:gd name="T72" fmla="*/ 26 w 231"/>
                <a:gd name="T73" fmla="*/ 135 h 170"/>
                <a:gd name="T74" fmla="*/ 27 w 231"/>
                <a:gd name="T75" fmla="*/ 142 h 170"/>
                <a:gd name="T76" fmla="*/ 28 w 231"/>
                <a:gd name="T77" fmla="*/ 154 h 170"/>
                <a:gd name="T78" fmla="*/ 30 w 231"/>
                <a:gd name="T79" fmla="*/ 162 h 170"/>
                <a:gd name="T80" fmla="*/ 188 w 231"/>
                <a:gd name="T81" fmla="*/ 170 h 170"/>
                <a:gd name="T82" fmla="*/ 189 w 231"/>
                <a:gd name="T83" fmla="*/ 16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1" h="170">
                  <a:moveTo>
                    <a:pt x="189" y="161"/>
                  </a:moveTo>
                  <a:cubicBezTo>
                    <a:pt x="196" y="154"/>
                    <a:pt x="196" y="154"/>
                    <a:pt x="196" y="154"/>
                  </a:cubicBezTo>
                  <a:cubicBezTo>
                    <a:pt x="199" y="150"/>
                    <a:pt x="199" y="150"/>
                    <a:pt x="199" y="150"/>
                  </a:cubicBezTo>
                  <a:cubicBezTo>
                    <a:pt x="201" y="150"/>
                    <a:pt x="201" y="150"/>
                    <a:pt x="201" y="150"/>
                  </a:cubicBezTo>
                  <a:cubicBezTo>
                    <a:pt x="202" y="142"/>
                    <a:pt x="202" y="142"/>
                    <a:pt x="202" y="142"/>
                  </a:cubicBezTo>
                  <a:cubicBezTo>
                    <a:pt x="206" y="139"/>
                    <a:pt x="206" y="139"/>
                    <a:pt x="206" y="139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0"/>
                    <a:pt x="200" y="120"/>
                    <a:pt x="200" y="120"/>
                  </a:cubicBezTo>
                  <a:cubicBezTo>
                    <a:pt x="204" y="118"/>
                    <a:pt x="204" y="118"/>
                    <a:pt x="204" y="118"/>
                  </a:cubicBezTo>
                  <a:cubicBezTo>
                    <a:pt x="211" y="118"/>
                    <a:pt x="211" y="118"/>
                    <a:pt x="211" y="118"/>
                  </a:cubicBezTo>
                  <a:cubicBezTo>
                    <a:pt x="218" y="115"/>
                    <a:pt x="218" y="115"/>
                    <a:pt x="218" y="115"/>
                  </a:cubicBezTo>
                  <a:cubicBezTo>
                    <a:pt x="220" y="113"/>
                    <a:pt x="220" y="113"/>
                    <a:pt x="220" y="113"/>
                  </a:cubicBezTo>
                  <a:cubicBezTo>
                    <a:pt x="223" y="110"/>
                    <a:pt x="223" y="110"/>
                    <a:pt x="223" y="110"/>
                  </a:cubicBezTo>
                  <a:cubicBezTo>
                    <a:pt x="226" y="101"/>
                    <a:pt x="226" y="101"/>
                    <a:pt x="226" y="101"/>
                  </a:cubicBezTo>
                  <a:cubicBezTo>
                    <a:pt x="229" y="97"/>
                    <a:pt x="229" y="97"/>
                    <a:pt x="229" y="97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25" y="81"/>
                    <a:pt x="225" y="81"/>
                    <a:pt x="225" y="81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15" y="72"/>
                    <a:pt x="215" y="72"/>
                    <a:pt x="215" y="72"/>
                  </a:cubicBezTo>
                  <a:cubicBezTo>
                    <a:pt x="211" y="69"/>
                    <a:pt x="211" y="69"/>
                    <a:pt x="211" y="69"/>
                  </a:cubicBezTo>
                  <a:cubicBezTo>
                    <a:pt x="211" y="66"/>
                    <a:pt x="211" y="66"/>
                    <a:pt x="211" y="66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1" y="61"/>
                    <a:pt x="211" y="61"/>
                    <a:pt x="211" y="61"/>
                  </a:cubicBezTo>
                  <a:cubicBezTo>
                    <a:pt x="211" y="61"/>
                    <a:pt x="207" y="59"/>
                    <a:pt x="206" y="59"/>
                  </a:cubicBezTo>
                  <a:cubicBezTo>
                    <a:pt x="205" y="59"/>
                    <a:pt x="201" y="55"/>
                    <a:pt x="201" y="55"/>
                  </a:cubicBezTo>
                  <a:cubicBezTo>
                    <a:pt x="196" y="55"/>
                    <a:pt x="196" y="55"/>
                    <a:pt x="196" y="55"/>
                  </a:cubicBezTo>
                  <a:cubicBezTo>
                    <a:pt x="196" y="50"/>
                    <a:pt x="196" y="50"/>
                    <a:pt x="196" y="50"/>
                  </a:cubicBezTo>
                  <a:cubicBezTo>
                    <a:pt x="194" y="45"/>
                    <a:pt x="194" y="45"/>
                    <a:pt x="194" y="45"/>
                  </a:cubicBezTo>
                  <a:cubicBezTo>
                    <a:pt x="194" y="39"/>
                    <a:pt x="194" y="39"/>
                    <a:pt x="194" y="39"/>
                  </a:cubicBezTo>
                  <a:cubicBezTo>
                    <a:pt x="194" y="35"/>
                    <a:pt x="194" y="35"/>
                    <a:pt x="194" y="35"/>
                  </a:cubicBezTo>
                  <a:cubicBezTo>
                    <a:pt x="194" y="28"/>
                    <a:pt x="194" y="28"/>
                    <a:pt x="194" y="28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89" y="18"/>
                    <a:pt x="189" y="18"/>
                    <a:pt x="189" y="18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9" y="102"/>
                    <a:pt x="19" y="102"/>
                    <a:pt x="19" y="102"/>
                  </a:cubicBezTo>
                  <a:cubicBezTo>
                    <a:pt x="20" y="103"/>
                    <a:pt x="20" y="103"/>
                    <a:pt x="20" y="103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6" y="125"/>
                    <a:pt x="26" y="125"/>
                    <a:pt x="26" y="125"/>
                  </a:cubicBezTo>
                  <a:cubicBezTo>
                    <a:pt x="26" y="135"/>
                    <a:pt x="26" y="135"/>
                    <a:pt x="26" y="135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27" y="142"/>
                    <a:pt x="27" y="142"/>
                    <a:pt x="27" y="142"/>
                  </a:cubicBezTo>
                  <a:cubicBezTo>
                    <a:pt x="28" y="144"/>
                    <a:pt x="28" y="144"/>
                    <a:pt x="28" y="144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0" y="162"/>
                    <a:pt x="30" y="162"/>
                    <a:pt x="30" y="162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88" y="170"/>
                    <a:pt x="188" y="170"/>
                    <a:pt x="188" y="170"/>
                  </a:cubicBezTo>
                  <a:cubicBezTo>
                    <a:pt x="190" y="168"/>
                    <a:pt x="190" y="168"/>
                    <a:pt x="190" y="168"/>
                  </a:cubicBezTo>
                  <a:lnTo>
                    <a:pt x="189" y="16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93D6ABAE-4DC5-FD46-82B3-357BCA1E60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7993" y="3013097"/>
              <a:ext cx="735560" cy="571704"/>
            </a:xfrm>
            <a:custGeom>
              <a:avLst/>
              <a:gdLst>
                <a:gd name="connsiteX0" fmla="*/ 302516 w 770887"/>
                <a:gd name="connsiteY0" fmla="*/ 482511 h 599162"/>
                <a:gd name="connsiteX1" fmla="*/ 307819 w 770887"/>
                <a:gd name="connsiteY1" fmla="*/ 487813 h 599162"/>
                <a:gd name="connsiteX2" fmla="*/ 318423 w 770887"/>
                <a:gd name="connsiteY2" fmla="*/ 494883 h 599162"/>
                <a:gd name="connsiteX3" fmla="*/ 311354 w 770887"/>
                <a:gd name="connsiteY3" fmla="*/ 496651 h 599162"/>
                <a:gd name="connsiteX4" fmla="*/ 307819 w 770887"/>
                <a:gd name="connsiteY4" fmla="*/ 496651 h 599162"/>
                <a:gd name="connsiteX5" fmla="*/ 300749 w 770887"/>
                <a:gd name="connsiteY5" fmla="*/ 501953 h 599162"/>
                <a:gd name="connsiteX6" fmla="*/ 300749 w 770887"/>
                <a:gd name="connsiteY6" fmla="*/ 503720 h 599162"/>
                <a:gd name="connsiteX7" fmla="*/ 300749 w 770887"/>
                <a:gd name="connsiteY7" fmla="*/ 509023 h 599162"/>
                <a:gd name="connsiteX8" fmla="*/ 304284 w 770887"/>
                <a:gd name="connsiteY8" fmla="*/ 509023 h 599162"/>
                <a:gd name="connsiteX9" fmla="*/ 311354 w 770887"/>
                <a:gd name="connsiteY9" fmla="*/ 517860 h 599162"/>
                <a:gd name="connsiteX10" fmla="*/ 311354 w 770887"/>
                <a:gd name="connsiteY10" fmla="*/ 521395 h 599162"/>
                <a:gd name="connsiteX11" fmla="*/ 306051 w 770887"/>
                <a:gd name="connsiteY11" fmla="*/ 523162 h 599162"/>
                <a:gd name="connsiteX12" fmla="*/ 302516 w 770887"/>
                <a:gd name="connsiteY12" fmla="*/ 523162 h 599162"/>
                <a:gd name="connsiteX13" fmla="*/ 298982 w 770887"/>
                <a:gd name="connsiteY13" fmla="*/ 524930 h 599162"/>
                <a:gd name="connsiteX14" fmla="*/ 297214 w 770887"/>
                <a:gd name="connsiteY14" fmla="*/ 524930 h 599162"/>
                <a:gd name="connsiteX15" fmla="*/ 291912 w 770887"/>
                <a:gd name="connsiteY15" fmla="*/ 528465 h 599162"/>
                <a:gd name="connsiteX16" fmla="*/ 291912 w 770887"/>
                <a:gd name="connsiteY16" fmla="*/ 533767 h 599162"/>
                <a:gd name="connsiteX17" fmla="*/ 291912 w 770887"/>
                <a:gd name="connsiteY17" fmla="*/ 535534 h 599162"/>
                <a:gd name="connsiteX18" fmla="*/ 288377 w 770887"/>
                <a:gd name="connsiteY18" fmla="*/ 540837 h 599162"/>
                <a:gd name="connsiteX19" fmla="*/ 283075 w 770887"/>
                <a:gd name="connsiteY19" fmla="*/ 531999 h 599162"/>
                <a:gd name="connsiteX20" fmla="*/ 283075 w 770887"/>
                <a:gd name="connsiteY20" fmla="*/ 533767 h 599162"/>
                <a:gd name="connsiteX21" fmla="*/ 281307 w 770887"/>
                <a:gd name="connsiteY21" fmla="*/ 537302 h 599162"/>
                <a:gd name="connsiteX22" fmla="*/ 276005 w 770887"/>
                <a:gd name="connsiteY22" fmla="*/ 542604 h 599162"/>
                <a:gd name="connsiteX23" fmla="*/ 272470 w 770887"/>
                <a:gd name="connsiteY23" fmla="*/ 549674 h 599162"/>
                <a:gd name="connsiteX24" fmla="*/ 272470 w 770887"/>
                <a:gd name="connsiteY24" fmla="*/ 551441 h 599162"/>
                <a:gd name="connsiteX25" fmla="*/ 272470 w 770887"/>
                <a:gd name="connsiteY25" fmla="*/ 558511 h 599162"/>
                <a:gd name="connsiteX26" fmla="*/ 256563 w 770887"/>
                <a:gd name="connsiteY26" fmla="*/ 558511 h 599162"/>
                <a:gd name="connsiteX27" fmla="*/ 268935 w 770887"/>
                <a:gd name="connsiteY27" fmla="*/ 554976 h 599162"/>
                <a:gd name="connsiteX28" fmla="*/ 270703 w 770887"/>
                <a:gd name="connsiteY28" fmla="*/ 551441 h 599162"/>
                <a:gd name="connsiteX29" fmla="*/ 272470 w 770887"/>
                <a:gd name="connsiteY29" fmla="*/ 547906 h 599162"/>
                <a:gd name="connsiteX30" fmla="*/ 270703 w 770887"/>
                <a:gd name="connsiteY30" fmla="*/ 542604 h 599162"/>
                <a:gd name="connsiteX31" fmla="*/ 267168 w 770887"/>
                <a:gd name="connsiteY31" fmla="*/ 540837 h 599162"/>
                <a:gd name="connsiteX32" fmla="*/ 265400 w 770887"/>
                <a:gd name="connsiteY32" fmla="*/ 540837 h 599162"/>
                <a:gd name="connsiteX33" fmla="*/ 261866 w 770887"/>
                <a:gd name="connsiteY33" fmla="*/ 537302 h 599162"/>
                <a:gd name="connsiteX34" fmla="*/ 261866 w 770887"/>
                <a:gd name="connsiteY34" fmla="*/ 535534 h 599162"/>
                <a:gd name="connsiteX35" fmla="*/ 260098 w 770887"/>
                <a:gd name="connsiteY35" fmla="*/ 524930 h 599162"/>
                <a:gd name="connsiteX36" fmla="*/ 263633 w 770887"/>
                <a:gd name="connsiteY36" fmla="*/ 521395 h 599162"/>
                <a:gd name="connsiteX37" fmla="*/ 265400 w 770887"/>
                <a:gd name="connsiteY37" fmla="*/ 517860 h 599162"/>
                <a:gd name="connsiteX38" fmla="*/ 270703 w 770887"/>
                <a:gd name="connsiteY38" fmla="*/ 514325 h 599162"/>
                <a:gd name="connsiteX39" fmla="*/ 272470 w 770887"/>
                <a:gd name="connsiteY39" fmla="*/ 516093 h 599162"/>
                <a:gd name="connsiteX40" fmla="*/ 277772 w 770887"/>
                <a:gd name="connsiteY40" fmla="*/ 521395 h 599162"/>
                <a:gd name="connsiteX41" fmla="*/ 281307 w 770887"/>
                <a:gd name="connsiteY41" fmla="*/ 528465 h 599162"/>
                <a:gd name="connsiteX42" fmla="*/ 281307 w 770887"/>
                <a:gd name="connsiteY42" fmla="*/ 521395 h 599162"/>
                <a:gd name="connsiteX43" fmla="*/ 279540 w 770887"/>
                <a:gd name="connsiteY43" fmla="*/ 514325 h 599162"/>
                <a:gd name="connsiteX44" fmla="*/ 276005 w 770887"/>
                <a:gd name="connsiteY44" fmla="*/ 509023 h 599162"/>
                <a:gd name="connsiteX45" fmla="*/ 281307 w 770887"/>
                <a:gd name="connsiteY45" fmla="*/ 507255 h 599162"/>
                <a:gd name="connsiteX46" fmla="*/ 288377 w 770887"/>
                <a:gd name="connsiteY46" fmla="*/ 510790 h 599162"/>
                <a:gd name="connsiteX47" fmla="*/ 291912 w 770887"/>
                <a:gd name="connsiteY47" fmla="*/ 510790 h 599162"/>
                <a:gd name="connsiteX48" fmla="*/ 291912 w 770887"/>
                <a:gd name="connsiteY48" fmla="*/ 507255 h 599162"/>
                <a:gd name="connsiteX49" fmla="*/ 291912 w 770887"/>
                <a:gd name="connsiteY49" fmla="*/ 505488 h 599162"/>
                <a:gd name="connsiteX50" fmla="*/ 291912 w 770887"/>
                <a:gd name="connsiteY50" fmla="*/ 501953 h 599162"/>
                <a:gd name="connsiteX51" fmla="*/ 291912 w 770887"/>
                <a:gd name="connsiteY51" fmla="*/ 496651 h 599162"/>
                <a:gd name="connsiteX52" fmla="*/ 290144 w 770887"/>
                <a:gd name="connsiteY52" fmla="*/ 493116 h 599162"/>
                <a:gd name="connsiteX53" fmla="*/ 297214 w 770887"/>
                <a:gd name="connsiteY53" fmla="*/ 487813 h 599162"/>
                <a:gd name="connsiteX54" fmla="*/ 55075 w 770887"/>
                <a:gd name="connsiteY54" fmla="*/ 374697 h 599162"/>
                <a:gd name="connsiteX55" fmla="*/ 58610 w 770887"/>
                <a:gd name="connsiteY55" fmla="*/ 374697 h 599162"/>
                <a:gd name="connsiteX56" fmla="*/ 63912 w 770887"/>
                <a:gd name="connsiteY56" fmla="*/ 385302 h 599162"/>
                <a:gd name="connsiteX57" fmla="*/ 63912 w 770887"/>
                <a:gd name="connsiteY57" fmla="*/ 390604 h 599162"/>
                <a:gd name="connsiteX58" fmla="*/ 60377 w 770887"/>
                <a:gd name="connsiteY58" fmla="*/ 395906 h 599162"/>
                <a:gd name="connsiteX59" fmla="*/ 56842 w 770887"/>
                <a:gd name="connsiteY59" fmla="*/ 395906 h 599162"/>
                <a:gd name="connsiteX60" fmla="*/ 51540 w 770887"/>
                <a:gd name="connsiteY60" fmla="*/ 395906 h 599162"/>
                <a:gd name="connsiteX61" fmla="*/ 44470 w 770887"/>
                <a:gd name="connsiteY61" fmla="*/ 390604 h 599162"/>
                <a:gd name="connsiteX62" fmla="*/ 35633 w 770887"/>
                <a:gd name="connsiteY62" fmla="*/ 383534 h 599162"/>
                <a:gd name="connsiteX63" fmla="*/ 44470 w 770887"/>
                <a:gd name="connsiteY63" fmla="*/ 378232 h 599162"/>
                <a:gd name="connsiteX64" fmla="*/ 49773 w 770887"/>
                <a:gd name="connsiteY64" fmla="*/ 378232 h 599162"/>
                <a:gd name="connsiteX65" fmla="*/ 4447 w 770887"/>
                <a:gd name="connsiteY65" fmla="*/ 224465 h 599162"/>
                <a:gd name="connsiteX66" fmla="*/ 5929 w 770887"/>
                <a:gd name="connsiteY66" fmla="*/ 230488 h 599162"/>
                <a:gd name="connsiteX67" fmla="*/ 8894 w 770887"/>
                <a:gd name="connsiteY67" fmla="*/ 233499 h 599162"/>
                <a:gd name="connsiteX68" fmla="*/ 16306 w 770887"/>
                <a:gd name="connsiteY68" fmla="*/ 235005 h 599162"/>
                <a:gd name="connsiteX69" fmla="*/ 23717 w 770887"/>
                <a:gd name="connsiteY69" fmla="*/ 235005 h 599162"/>
                <a:gd name="connsiteX70" fmla="*/ 28164 w 770887"/>
                <a:gd name="connsiteY70" fmla="*/ 238016 h 599162"/>
                <a:gd name="connsiteX71" fmla="*/ 28164 w 770887"/>
                <a:gd name="connsiteY71" fmla="*/ 242533 h 599162"/>
                <a:gd name="connsiteX72" fmla="*/ 31129 w 770887"/>
                <a:gd name="connsiteY72" fmla="*/ 245544 h 599162"/>
                <a:gd name="connsiteX73" fmla="*/ 37058 w 770887"/>
                <a:gd name="connsiteY73" fmla="*/ 251566 h 599162"/>
                <a:gd name="connsiteX74" fmla="*/ 44470 w 770887"/>
                <a:gd name="connsiteY74" fmla="*/ 262106 h 599162"/>
                <a:gd name="connsiteX75" fmla="*/ 40023 w 770887"/>
                <a:gd name="connsiteY75" fmla="*/ 262106 h 599162"/>
                <a:gd name="connsiteX76" fmla="*/ 31129 w 770887"/>
                <a:gd name="connsiteY76" fmla="*/ 262106 h 599162"/>
                <a:gd name="connsiteX77" fmla="*/ 29647 w 770887"/>
                <a:gd name="connsiteY77" fmla="*/ 265117 h 599162"/>
                <a:gd name="connsiteX78" fmla="*/ 23717 w 770887"/>
                <a:gd name="connsiteY78" fmla="*/ 259095 h 599162"/>
                <a:gd name="connsiteX79" fmla="*/ 20753 w 770887"/>
                <a:gd name="connsiteY79" fmla="*/ 250061 h 599162"/>
                <a:gd name="connsiteX80" fmla="*/ 19270 w 770887"/>
                <a:gd name="connsiteY80" fmla="*/ 247050 h 599162"/>
                <a:gd name="connsiteX81" fmla="*/ 16306 w 770887"/>
                <a:gd name="connsiteY81" fmla="*/ 244038 h 599162"/>
                <a:gd name="connsiteX82" fmla="*/ 14823 w 770887"/>
                <a:gd name="connsiteY82" fmla="*/ 244038 h 599162"/>
                <a:gd name="connsiteX83" fmla="*/ 13341 w 770887"/>
                <a:gd name="connsiteY83" fmla="*/ 244038 h 599162"/>
                <a:gd name="connsiteX84" fmla="*/ 10376 w 770887"/>
                <a:gd name="connsiteY84" fmla="*/ 244038 h 599162"/>
                <a:gd name="connsiteX85" fmla="*/ 8894 w 770887"/>
                <a:gd name="connsiteY85" fmla="*/ 244038 h 599162"/>
                <a:gd name="connsiteX86" fmla="*/ 4447 w 770887"/>
                <a:gd name="connsiteY86" fmla="*/ 244038 h 599162"/>
                <a:gd name="connsiteX87" fmla="*/ 2964 w 770887"/>
                <a:gd name="connsiteY87" fmla="*/ 242533 h 599162"/>
                <a:gd name="connsiteX88" fmla="*/ 1482 w 770887"/>
                <a:gd name="connsiteY88" fmla="*/ 239521 h 599162"/>
                <a:gd name="connsiteX89" fmla="*/ 0 w 770887"/>
                <a:gd name="connsiteY89" fmla="*/ 235005 h 599162"/>
                <a:gd name="connsiteX90" fmla="*/ 0 w 770887"/>
                <a:gd name="connsiteY90" fmla="*/ 230488 h 599162"/>
                <a:gd name="connsiteX91" fmla="*/ 4447 w 770887"/>
                <a:gd name="connsiteY91" fmla="*/ 224465 h 599162"/>
                <a:gd name="connsiteX92" fmla="*/ 277183 w 770887"/>
                <a:gd name="connsiteY92" fmla="*/ 0 h 599162"/>
                <a:gd name="connsiteX93" fmla="*/ 283168 w 770887"/>
                <a:gd name="connsiteY93" fmla="*/ 5977 h 599162"/>
                <a:gd name="connsiteX94" fmla="*/ 286160 w 770887"/>
                <a:gd name="connsiteY94" fmla="*/ 10459 h 599162"/>
                <a:gd name="connsiteX95" fmla="*/ 283168 w 770887"/>
                <a:gd name="connsiteY95" fmla="*/ 10459 h 599162"/>
                <a:gd name="connsiteX96" fmla="*/ 283168 w 770887"/>
                <a:gd name="connsiteY96" fmla="*/ 14942 h 599162"/>
                <a:gd name="connsiteX97" fmla="*/ 287656 w 770887"/>
                <a:gd name="connsiteY97" fmla="*/ 17930 h 599162"/>
                <a:gd name="connsiteX98" fmla="*/ 293640 w 770887"/>
                <a:gd name="connsiteY98" fmla="*/ 17930 h 599162"/>
                <a:gd name="connsiteX99" fmla="*/ 293640 w 770887"/>
                <a:gd name="connsiteY99" fmla="*/ 13447 h 599162"/>
                <a:gd name="connsiteX100" fmla="*/ 296632 w 770887"/>
                <a:gd name="connsiteY100" fmla="*/ 10459 h 599162"/>
                <a:gd name="connsiteX101" fmla="*/ 299624 w 770887"/>
                <a:gd name="connsiteY101" fmla="*/ 13447 h 599162"/>
                <a:gd name="connsiteX102" fmla="*/ 304113 w 770887"/>
                <a:gd name="connsiteY102" fmla="*/ 19424 h 599162"/>
                <a:gd name="connsiteX103" fmla="*/ 313089 w 770887"/>
                <a:gd name="connsiteY103" fmla="*/ 17930 h 599162"/>
                <a:gd name="connsiteX104" fmla="*/ 325058 w 770887"/>
                <a:gd name="connsiteY104" fmla="*/ 20918 h 599162"/>
                <a:gd name="connsiteX105" fmla="*/ 325058 w 770887"/>
                <a:gd name="connsiteY105" fmla="*/ 25401 h 599162"/>
                <a:gd name="connsiteX106" fmla="*/ 328050 w 770887"/>
                <a:gd name="connsiteY106" fmla="*/ 31377 h 599162"/>
                <a:gd name="connsiteX107" fmla="*/ 335530 w 770887"/>
                <a:gd name="connsiteY107" fmla="*/ 37354 h 599162"/>
                <a:gd name="connsiteX108" fmla="*/ 351987 w 770887"/>
                <a:gd name="connsiteY108" fmla="*/ 37354 h 599162"/>
                <a:gd name="connsiteX109" fmla="*/ 356475 w 770887"/>
                <a:gd name="connsiteY109" fmla="*/ 37354 h 599162"/>
                <a:gd name="connsiteX110" fmla="*/ 360963 w 770887"/>
                <a:gd name="connsiteY110" fmla="*/ 34366 h 599162"/>
                <a:gd name="connsiteX111" fmla="*/ 366948 w 770887"/>
                <a:gd name="connsiteY111" fmla="*/ 34366 h 599162"/>
                <a:gd name="connsiteX112" fmla="*/ 374428 w 770887"/>
                <a:gd name="connsiteY112" fmla="*/ 38848 h 599162"/>
                <a:gd name="connsiteX113" fmla="*/ 375924 w 770887"/>
                <a:gd name="connsiteY113" fmla="*/ 43331 h 599162"/>
                <a:gd name="connsiteX114" fmla="*/ 375924 w 770887"/>
                <a:gd name="connsiteY114" fmla="*/ 47813 h 599162"/>
                <a:gd name="connsiteX115" fmla="*/ 375924 w 770887"/>
                <a:gd name="connsiteY115" fmla="*/ 48560 h 599162"/>
                <a:gd name="connsiteX116" fmla="*/ 375924 w 770887"/>
                <a:gd name="connsiteY116" fmla="*/ 50802 h 599162"/>
                <a:gd name="connsiteX117" fmla="*/ 383404 w 770887"/>
                <a:gd name="connsiteY117" fmla="*/ 46319 h 599162"/>
                <a:gd name="connsiteX118" fmla="*/ 392381 w 770887"/>
                <a:gd name="connsiteY118" fmla="*/ 43331 h 599162"/>
                <a:gd name="connsiteX119" fmla="*/ 398365 w 770887"/>
                <a:gd name="connsiteY119" fmla="*/ 43331 h 599162"/>
                <a:gd name="connsiteX120" fmla="*/ 410334 w 770887"/>
                <a:gd name="connsiteY120" fmla="*/ 47813 h 599162"/>
                <a:gd name="connsiteX121" fmla="*/ 420806 w 770887"/>
                <a:gd name="connsiteY121" fmla="*/ 50802 h 599162"/>
                <a:gd name="connsiteX122" fmla="*/ 432775 w 770887"/>
                <a:gd name="connsiteY122" fmla="*/ 47813 h 599162"/>
                <a:gd name="connsiteX123" fmla="*/ 438759 w 770887"/>
                <a:gd name="connsiteY123" fmla="*/ 43331 h 599162"/>
                <a:gd name="connsiteX124" fmla="*/ 444743 w 770887"/>
                <a:gd name="connsiteY124" fmla="*/ 43331 h 599162"/>
                <a:gd name="connsiteX125" fmla="*/ 447736 w 770887"/>
                <a:gd name="connsiteY125" fmla="*/ 43331 h 599162"/>
                <a:gd name="connsiteX126" fmla="*/ 455216 w 770887"/>
                <a:gd name="connsiteY126" fmla="*/ 50802 h 599162"/>
                <a:gd name="connsiteX127" fmla="*/ 462696 w 770887"/>
                <a:gd name="connsiteY127" fmla="*/ 56778 h 599162"/>
                <a:gd name="connsiteX128" fmla="*/ 476161 w 770887"/>
                <a:gd name="connsiteY128" fmla="*/ 58272 h 599162"/>
                <a:gd name="connsiteX129" fmla="*/ 482145 w 770887"/>
                <a:gd name="connsiteY129" fmla="*/ 110568 h 599162"/>
                <a:gd name="connsiteX130" fmla="*/ 500098 w 770887"/>
                <a:gd name="connsiteY130" fmla="*/ 242056 h 599162"/>
                <a:gd name="connsiteX131" fmla="*/ 521043 w 770887"/>
                <a:gd name="connsiteY131" fmla="*/ 400438 h 599162"/>
                <a:gd name="connsiteX132" fmla="*/ 525531 w 770887"/>
                <a:gd name="connsiteY132" fmla="*/ 409403 h 599162"/>
                <a:gd name="connsiteX133" fmla="*/ 540492 w 770887"/>
                <a:gd name="connsiteY133" fmla="*/ 409403 h 599162"/>
                <a:gd name="connsiteX134" fmla="*/ 543484 w 770887"/>
                <a:gd name="connsiteY134" fmla="*/ 400438 h 599162"/>
                <a:gd name="connsiteX135" fmla="*/ 555453 w 770887"/>
                <a:gd name="connsiteY135" fmla="*/ 400438 h 599162"/>
                <a:gd name="connsiteX136" fmla="*/ 555453 w 770887"/>
                <a:gd name="connsiteY136" fmla="*/ 404920 h 599162"/>
                <a:gd name="connsiteX137" fmla="*/ 559941 w 770887"/>
                <a:gd name="connsiteY137" fmla="*/ 410897 h 599162"/>
                <a:gd name="connsiteX138" fmla="*/ 579390 w 770887"/>
                <a:gd name="connsiteY138" fmla="*/ 424344 h 599162"/>
                <a:gd name="connsiteX139" fmla="*/ 595847 w 770887"/>
                <a:gd name="connsiteY139" fmla="*/ 442274 h 599162"/>
                <a:gd name="connsiteX140" fmla="*/ 604823 w 770887"/>
                <a:gd name="connsiteY140" fmla="*/ 434803 h 599162"/>
                <a:gd name="connsiteX141" fmla="*/ 610807 w 770887"/>
                <a:gd name="connsiteY141" fmla="*/ 419862 h 599162"/>
                <a:gd name="connsiteX142" fmla="*/ 618288 w 770887"/>
                <a:gd name="connsiteY142" fmla="*/ 412391 h 599162"/>
                <a:gd name="connsiteX143" fmla="*/ 625768 w 770887"/>
                <a:gd name="connsiteY143" fmla="*/ 407908 h 599162"/>
                <a:gd name="connsiteX144" fmla="*/ 639233 w 770887"/>
                <a:gd name="connsiteY144" fmla="*/ 413885 h 599162"/>
                <a:gd name="connsiteX145" fmla="*/ 655690 w 770887"/>
                <a:gd name="connsiteY145" fmla="*/ 425838 h 599162"/>
                <a:gd name="connsiteX146" fmla="*/ 672146 w 770887"/>
                <a:gd name="connsiteY146" fmla="*/ 442274 h 599162"/>
                <a:gd name="connsiteX147" fmla="*/ 684115 w 770887"/>
                <a:gd name="connsiteY147" fmla="*/ 455722 h 599162"/>
                <a:gd name="connsiteX148" fmla="*/ 708052 w 770887"/>
                <a:gd name="connsiteY148" fmla="*/ 479629 h 599162"/>
                <a:gd name="connsiteX149" fmla="*/ 723013 w 770887"/>
                <a:gd name="connsiteY149" fmla="*/ 500547 h 599162"/>
                <a:gd name="connsiteX150" fmla="*/ 731989 w 770887"/>
                <a:gd name="connsiteY150" fmla="*/ 502041 h 599162"/>
                <a:gd name="connsiteX151" fmla="*/ 742462 w 770887"/>
                <a:gd name="connsiteY151" fmla="*/ 503535 h 599162"/>
                <a:gd name="connsiteX152" fmla="*/ 760415 w 770887"/>
                <a:gd name="connsiteY152" fmla="*/ 509512 h 599162"/>
                <a:gd name="connsiteX153" fmla="*/ 767895 w 770887"/>
                <a:gd name="connsiteY153" fmla="*/ 513994 h 599162"/>
                <a:gd name="connsiteX154" fmla="*/ 767895 w 770887"/>
                <a:gd name="connsiteY154" fmla="*/ 519971 h 599162"/>
                <a:gd name="connsiteX155" fmla="*/ 770887 w 770887"/>
                <a:gd name="connsiteY155" fmla="*/ 533419 h 599162"/>
                <a:gd name="connsiteX156" fmla="*/ 770887 w 770887"/>
                <a:gd name="connsiteY156" fmla="*/ 539395 h 599162"/>
                <a:gd name="connsiteX157" fmla="*/ 770887 w 770887"/>
                <a:gd name="connsiteY157" fmla="*/ 545372 h 599162"/>
                <a:gd name="connsiteX158" fmla="*/ 770887 w 770887"/>
                <a:gd name="connsiteY158" fmla="*/ 558820 h 599162"/>
                <a:gd name="connsiteX159" fmla="*/ 764903 w 770887"/>
                <a:gd name="connsiteY159" fmla="*/ 563302 h 599162"/>
                <a:gd name="connsiteX160" fmla="*/ 760415 w 770887"/>
                <a:gd name="connsiteY160" fmla="*/ 557325 h 599162"/>
                <a:gd name="connsiteX161" fmla="*/ 755926 w 770887"/>
                <a:gd name="connsiteY161" fmla="*/ 549855 h 599162"/>
                <a:gd name="connsiteX162" fmla="*/ 751438 w 770887"/>
                <a:gd name="connsiteY162" fmla="*/ 552843 h 599162"/>
                <a:gd name="connsiteX163" fmla="*/ 755926 w 770887"/>
                <a:gd name="connsiteY163" fmla="*/ 560314 h 599162"/>
                <a:gd name="connsiteX164" fmla="*/ 752934 w 770887"/>
                <a:gd name="connsiteY164" fmla="*/ 561808 h 599162"/>
                <a:gd name="connsiteX165" fmla="*/ 748446 w 770887"/>
                <a:gd name="connsiteY165" fmla="*/ 558820 h 599162"/>
                <a:gd name="connsiteX166" fmla="*/ 739470 w 770887"/>
                <a:gd name="connsiteY166" fmla="*/ 555831 h 599162"/>
                <a:gd name="connsiteX167" fmla="*/ 739470 w 770887"/>
                <a:gd name="connsiteY167" fmla="*/ 549855 h 599162"/>
                <a:gd name="connsiteX168" fmla="*/ 736478 w 770887"/>
                <a:gd name="connsiteY168" fmla="*/ 542384 h 599162"/>
                <a:gd name="connsiteX169" fmla="*/ 731989 w 770887"/>
                <a:gd name="connsiteY169" fmla="*/ 539395 h 599162"/>
                <a:gd name="connsiteX170" fmla="*/ 728997 w 770887"/>
                <a:gd name="connsiteY170" fmla="*/ 533419 h 599162"/>
                <a:gd name="connsiteX171" fmla="*/ 717029 w 770887"/>
                <a:gd name="connsiteY171" fmla="*/ 524454 h 599162"/>
                <a:gd name="connsiteX172" fmla="*/ 706556 w 770887"/>
                <a:gd name="connsiteY172" fmla="*/ 525948 h 599162"/>
                <a:gd name="connsiteX173" fmla="*/ 709548 w 770887"/>
                <a:gd name="connsiteY173" fmla="*/ 530430 h 599162"/>
                <a:gd name="connsiteX174" fmla="*/ 712540 w 770887"/>
                <a:gd name="connsiteY174" fmla="*/ 533419 h 599162"/>
                <a:gd name="connsiteX175" fmla="*/ 723013 w 770887"/>
                <a:gd name="connsiteY175" fmla="*/ 539395 h 599162"/>
                <a:gd name="connsiteX176" fmla="*/ 728997 w 770887"/>
                <a:gd name="connsiteY176" fmla="*/ 545372 h 599162"/>
                <a:gd name="connsiteX177" fmla="*/ 728997 w 770887"/>
                <a:gd name="connsiteY177" fmla="*/ 549855 h 599162"/>
                <a:gd name="connsiteX178" fmla="*/ 733485 w 770887"/>
                <a:gd name="connsiteY178" fmla="*/ 554337 h 599162"/>
                <a:gd name="connsiteX179" fmla="*/ 736478 w 770887"/>
                <a:gd name="connsiteY179" fmla="*/ 558820 h 599162"/>
                <a:gd name="connsiteX180" fmla="*/ 739470 w 770887"/>
                <a:gd name="connsiteY180" fmla="*/ 569279 h 599162"/>
                <a:gd name="connsiteX181" fmla="*/ 739470 w 770887"/>
                <a:gd name="connsiteY181" fmla="*/ 572267 h 599162"/>
                <a:gd name="connsiteX182" fmla="*/ 734981 w 770887"/>
                <a:gd name="connsiteY182" fmla="*/ 573761 h 599162"/>
                <a:gd name="connsiteX183" fmla="*/ 731989 w 770887"/>
                <a:gd name="connsiteY183" fmla="*/ 566290 h 599162"/>
                <a:gd name="connsiteX184" fmla="*/ 731989 w 770887"/>
                <a:gd name="connsiteY184" fmla="*/ 573761 h 599162"/>
                <a:gd name="connsiteX185" fmla="*/ 728997 w 770887"/>
                <a:gd name="connsiteY185" fmla="*/ 579738 h 599162"/>
                <a:gd name="connsiteX186" fmla="*/ 724509 w 770887"/>
                <a:gd name="connsiteY186" fmla="*/ 578244 h 599162"/>
                <a:gd name="connsiteX187" fmla="*/ 717029 w 770887"/>
                <a:gd name="connsiteY187" fmla="*/ 570773 h 599162"/>
                <a:gd name="connsiteX188" fmla="*/ 709548 w 770887"/>
                <a:gd name="connsiteY188" fmla="*/ 561808 h 599162"/>
                <a:gd name="connsiteX189" fmla="*/ 703564 w 770887"/>
                <a:gd name="connsiteY189" fmla="*/ 564796 h 599162"/>
                <a:gd name="connsiteX190" fmla="*/ 699076 w 770887"/>
                <a:gd name="connsiteY190" fmla="*/ 564796 h 599162"/>
                <a:gd name="connsiteX191" fmla="*/ 702068 w 770887"/>
                <a:gd name="connsiteY191" fmla="*/ 555831 h 599162"/>
                <a:gd name="connsiteX192" fmla="*/ 709548 w 770887"/>
                <a:gd name="connsiteY192" fmla="*/ 554337 h 599162"/>
                <a:gd name="connsiteX193" fmla="*/ 706556 w 770887"/>
                <a:gd name="connsiteY193" fmla="*/ 545372 h 599162"/>
                <a:gd name="connsiteX194" fmla="*/ 697580 w 770887"/>
                <a:gd name="connsiteY194" fmla="*/ 549855 h 599162"/>
                <a:gd name="connsiteX195" fmla="*/ 700572 w 770887"/>
                <a:gd name="connsiteY195" fmla="*/ 540890 h 599162"/>
                <a:gd name="connsiteX196" fmla="*/ 696084 w 770887"/>
                <a:gd name="connsiteY196" fmla="*/ 534913 h 599162"/>
                <a:gd name="connsiteX197" fmla="*/ 694588 w 770887"/>
                <a:gd name="connsiteY197" fmla="*/ 530430 h 599162"/>
                <a:gd name="connsiteX198" fmla="*/ 694588 w 770887"/>
                <a:gd name="connsiteY198" fmla="*/ 525948 h 599162"/>
                <a:gd name="connsiteX199" fmla="*/ 700572 w 770887"/>
                <a:gd name="connsiteY199" fmla="*/ 516983 h 599162"/>
                <a:gd name="connsiteX200" fmla="*/ 693091 w 770887"/>
                <a:gd name="connsiteY200" fmla="*/ 516983 h 599162"/>
                <a:gd name="connsiteX201" fmla="*/ 690099 w 770887"/>
                <a:gd name="connsiteY201" fmla="*/ 519971 h 599162"/>
                <a:gd name="connsiteX202" fmla="*/ 690099 w 770887"/>
                <a:gd name="connsiteY202" fmla="*/ 522959 h 599162"/>
                <a:gd name="connsiteX203" fmla="*/ 690099 w 770887"/>
                <a:gd name="connsiteY203" fmla="*/ 531925 h 599162"/>
                <a:gd name="connsiteX204" fmla="*/ 685611 w 770887"/>
                <a:gd name="connsiteY204" fmla="*/ 534913 h 599162"/>
                <a:gd name="connsiteX205" fmla="*/ 682619 w 770887"/>
                <a:gd name="connsiteY205" fmla="*/ 537901 h 599162"/>
                <a:gd name="connsiteX206" fmla="*/ 682619 w 770887"/>
                <a:gd name="connsiteY206" fmla="*/ 533419 h 599162"/>
                <a:gd name="connsiteX207" fmla="*/ 681123 w 770887"/>
                <a:gd name="connsiteY207" fmla="*/ 527442 h 599162"/>
                <a:gd name="connsiteX208" fmla="*/ 679627 w 770887"/>
                <a:gd name="connsiteY208" fmla="*/ 519971 h 599162"/>
                <a:gd name="connsiteX209" fmla="*/ 678131 w 770887"/>
                <a:gd name="connsiteY209" fmla="*/ 515489 h 599162"/>
                <a:gd name="connsiteX210" fmla="*/ 676635 w 770887"/>
                <a:gd name="connsiteY210" fmla="*/ 511006 h 599162"/>
                <a:gd name="connsiteX211" fmla="*/ 676635 w 770887"/>
                <a:gd name="connsiteY211" fmla="*/ 506524 h 599162"/>
                <a:gd name="connsiteX212" fmla="*/ 681123 w 770887"/>
                <a:gd name="connsiteY212" fmla="*/ 503535 h 599162"/>
                <a:gd name="connsiteX213" fmla="*/ 684115 w 770887"/>
                <a:gd name="connsiteY213" fmla="*/ 499053 h 599162"/>
                <a:gd name="connsiteX214" fmla="*/ 690099 w 770887"/>
                <a:gd name="connsiteY214" fmla="*/ 493076 h 599162"/>
                <a:gd name="connsiteX215" fmla="*/ 684115 w 770887"/>
                <a:gd name="connsiteY215" fmla="*/ 482617 h 599162"/>
                <a:gd name="connsiteX216" fmla="*/ 681123 w 770887"/>
                <a:gd name="connsiteY216" fmla="*/ 484111 h 599162"/>
                <a:gd name="connsiteX217" fmla="*/ 678131 w 770887"/>
                <a:gd name="connsiteY217" fmla="*/ 491582 h 599162"/>
                <a:gd name="connsiteX218" fmla="*/ 672146 w 770887"/>
                <a:gd name="connsiteY218" fmla="*/ 499053 h 599162"/>
                <a:gd name="connsiteX219" fmla="*/ 667658 w 770887"/>
                <a:gd name="connsiteY219" fmla="*/ 502041 h 599162"/>
                <a:gd name="connsiteX220" fmla="*/ 666162 w 770887"/>
                <a:gd name="connsiteY220" fmla="*/ 505029 h 599162"/>
                <a:gd name="connsiteX221" fmla="*/ 669154 w 770887"/>
                <a:gd name="connsiteY221" fmla="*/ 516983 h 599162"/>
                <a:gd name="connsiteX222" fmla="*/ 675139 w 770887"/>
                <a:gd name="connsiteY222" fmla="*/ 533419 h 599162"/>
                <a:gd name="connsiteX223" fmla="*/ 669154 w 770887"/>
                <a:gd name="connsiteY223" fmla="*/ 531925 h 599162"/>
                <a:gd name="connsiteX224" fmla="*/ 660178 w 770887"/>
                <a:gd name="connsiteY224" fmla="*/ 513994 h 599162"/>
                <a:gd name="connsiteX225" fmla="*/ 649705 w 770887"/>
                <a:gd name="connsiteY225" fmla="*/ 499053 h 599162"/>
                <a:gd name="connsiteX226" fmla="*/ 646713 w 770887"/>
                <a:gd name="connsiteY226" fmla="*/ 508018 h 599162"/>
                <a:gd name="connsiteX227" fmla="*/ 643721 w 770887"/>
                <a:gd name="connsiteY227" fmla="*/ 506524 h 599162"/>
                <a:gd name="connsiteX228" fmla="*/ 639233 w 770887"/>
                <a:gd name="connsiteY228" fmla="*/ 496064 h 599162"/>
                <a:gd name="connsiteX229" fmla="*/ 633249 w 770887"/>
                <a:gd name="connsiteY229" fmla="*/ 491582 h 599162"/>
                <a:gd name="connsiteX230" fmla="*/ 618288 w 770887"/>
                <a:gd name="connsiteY230" fmla="*/ 475146 h 599162"/>
                <a:gd name="connsiteX231" fmla="*/ 618288 w 770887"/>
                <a:gd name="connsiteY231" fmla="*/ 464687 h 599162"/>
                <a:gd name="connsiteX232" fmla="*/ 615296 w 770887"/>
                <a:gd name="connsiteY232" fmla="*/ 470664 h 599162"/>
                <a:gd name="connsiteX233" fmla="*/ 607815 w 770887"/>
                <a:gd name="connsiteY233" fmla="*/ 467675 h 599162"/>
                <a:gd name="connsiteX234" fmla="*/ 591358 w 770887"/>
                <a:gd name="connsiteY234" fmla="*/ 452734 h 599162"/>
                <a:gd name="connsiteX235" fmla="*/ 580886 w 770887"/>
                <a:gd name="connsiteY235" fmla="*/ 440780 h 599162"/>
                <a:gd name="connsiteX236" fmla="*/ 574902 w 770887"/>
                <a:gd name="connsiteY236" fmla="*/ 442274 h 599162"/>
                <a:gd name="connsiteX237" fmla="*/ 561437 w 770887"/>
                <a:gd name="connsiteY237" fmla="*/ 439286 h 599162"/>
                <a:gd name="connsiteX238" fmla="*/ 552461 w 770887"/>
                <a:gd name="connsiteY238" fmla="*/ 430321 h 599162"/>
                <a:gd name="connsiteX239" fmla="*/ 552461 w 770887"/>
                <a:gd name="connsiteY239" fmla="*/ 419862 h 599162"/>
                <a:gd name="connsiteX240" fmla="*/ 547972 w 770887"/>
                <a:gd name="connsiteY240" fmla="*/ 422850 h 599162"/>
                <a:gd name="connsiteX241" fmla="*/ 530020 w 770887"/>
                <a:gd name="connsiteY241" fmla="*/ 422850 h 599162"/>
                <a:gd name="connsiteX242" fmla="*/ 521043 w 770887"/>
                <a:gd name="connsiteY242" fmla="*/ 421356 h 599162"/>
                <a:gd name="connsiteX243" fmla="*/ 510571 w 770887"/>
                <a:gd name="connsiteY243" fmla="*/ 418368 h 599162"/>
                <a:gd name="connsiteX244" fmla="*/ 491122 w 770887"/>
                <a:gd name="connsiteY244" fmla="*/ 416873 h 599162"/>
                <a:gd name="connsiteX245" fmla="*/ 471673 w 770887"/>
                <a:gd name="connsiteY245" fmla="*/ 421356 h 599162"/>
                <a:gd name="connsiteX246" fmla="*/ 458208 w 770887"/>
                <a:gd name="connsiteY246" fmla="*/ 424344 h 599162"/>
                <a:gd name="connsiteX247" fmla="*/ 461200 w 770887"/>
                <a:gd name="connsiteY247" fmla="*/ 412391 h 599162"/>
                <a:gd name="connsiteX248" fmla="*/ 456712 w 770887"/>
                <a:gd name="connsiteY248" fmla="*/ 415379 h 599162"/>
                <a:gd name="connsiteX249" fmla="*/ 449232 w 770887"/>
                <a:gd name="connsiteY249" fmla="*/ 410897 h 599162"/>
                <a:gd name="connsiteX250" fmla="*/ 443247 w 770887"/>
                <a:gd name="connsiteY250" fmla="*/ 407908 h 599162"/>
                <a:gd name="connsiteX251" fmla="*/ 437263 w 770887"/>
                <a:gd name="connsiteY251" fmla="*/ 407908 h 599162"/>
                <a:gd name="connsiteX252" fmla="*/ 432775 w 770887"/>
                <a:gd name="connsiteY252" fmla="*/ 407908 h 599162"/>
                <a:gd name="connsiteX253" fmla="*/ 425294 w 770887"/>
                <a:gd name="connsiteY253" fmla="*/ 412391 h 599162"/>
                <a:gd name="connsiteX254" fmla="*/ 419310 w 770887"/>
                <a:gd name="connsiteY254" fmla="*/ 415379 h 599162"/>
                <a:gd name="connsiteX255" fmla="*/ 413326 w 770887"/>
                <a:gd name="connsiteY255" fmla="*/ 422850 h 599162"/>
                <a:gd name="connsiteX256" fmla="*/ 410334 w 770887"/>
                <a:gd name="connsiteY256" fmla="*/ 425838 h 599162"/>
                <a:gd name="connsiteX257" fmla="*/ 402853 w 770887"/>
                <a:gd name="connsiteY257" fmla="*/ 424344 h 599162"/>
                <a:gd name="connsiteX258" fmla="*/ 410334 w 770887"/>
                <a:gd name="connsiteY258" fmla="*/ 418368 h 599162"/>
                <a:gd name="connsiteX259" fmla="*/ 419310 w 770887"/>
                <a:gd name="connsiteY259" fmla="*/ 409403 h 599162"/>
                <a:gd name="connsiteX260" fmla="*/ 425294 w 770887"/>
                <a:gd name="connsiteY260" fmla="*/ 403426 h 599162"/>
                <a:gd name="connsiteX261" fmla="*/ 429783 w 770887"/>
                <a:gd name="connsiteY261" fmla="*/ 397449 h 599162"/>
                <a:gd name="connsiteX262" fmla="*/ 426791 w 770887"/>
                <a:gd name="connsiteY262" fmla="*/ 397449 h 599162"/>
                <a:gd name="connsiteX263" fmla="*/ 420806 w 770887"/>
                <a:gd name="connsiteY263" fmla="*/ 394461 h 599162"/>
                <a:gd name="connsiteX264" fmla="*/ 420806 w 770887"/>
                <a:gd name="connsiteY264" fmla="*/ 384002 h 599162"/>
                <a:gd name="connsiteX265" fmla="*/ 414822 w 770887"/>
                <a:gd name="connsiteY265" fmla="*/ 388484 h 599162"/>
                <a:gd name="connsiteX266" fmla="*/ 413326 w 770887"/>
                <a:gd name="connsiteY266" fmla="*/ 389978 h 599162"/>
                <a:gd name="connsiteX267" fmla="*/ 402853 w 770887"/>
                <a:gd name="connsiteY267" fmla="*/ 389978 h 599162"/>
                <a:gd name="connsiteX268" fmla="*/ 393877 w 770887"/>
                <a:gd name="connsiteY268" fmla="*/ 388484 h 599162"/>
                <a:gd name="connsiteX269" fmla="*/ 389389 w 770887"/>
                <a:gd name="connsiteY269" fmla="*/ 392967 h 599162"/>
                <a:gd name="connsiteX270" fmla="*/ 386397 w 770887"/>
                <a:gd name="connsiteY270" fmla="*/ 401932 h 599162"/>
                <a:gd name="connsiteX271" fmla="*/ 392381 w 770887"/>
                <a:gd name="connsiteY271" fmla="*/ 409403 h 599162"/>
                <a:gd name="connsiteX272" fmla="*/ 389389 w 770887"/>
                <a:gd name="connsiteY272" fmla="*/ 421356 h 599162"/>
                <a:gd name="connsiteX273" fmla="*/ 381908 w 770887"/>
                <a:gd name="connsiteY273" fmla="*/ 428827 h 599162"/>
                <a:gd name="connsiteX274" fmla="*/ 374428 w 770887"/>
                <a:gd name="connsiteY274" fmla="*/ 428827 h 599162"/>
                <a:gd name="connsiteX275" fmla="*/ 365452 w 770887"/>
                <a:gd name="connsiteY275" fmla="*/ 428827 h 599162"/>
                <a:gd name="connsiteX276" fmla="*/ 362459 w 770887"/>
                <a:gd name="connsiteY276" fmla="*/ 439286 h 599162"/>
                <a:gd name="connsiteX277" fmla="*/ 350491 w 770887"/>
                <a:gd name="connsiteY277" fmla="*/ 443769 h 599162"/>
                <a:gd name="connsiteX278" fmla="*/ 348995 w 770887"/>
                <a:gd name="connsiteY278" fmla="*/ 446757 h 599162"/>
                <a:gd name="connsiteX279" fmla="*/ 338522 w 770887"/>
                <a:gd name="connsiteY279" fmla="*/ 454228 h 599162"/>
                <a:gd name="connsiteX280" fmla="*/ 328050 w 770887"/>
                <a:gd name="connsiteY280" fmla="*/ 457216 h 599162"/>
                <a:gd name="connsiteX281" fmla="*/ 322065 w 770887"/>
                <a:gd name="connsiteY281" fmla="*/ 458710 h 599162"/>
                <a:gd name="connsiteX282" fmla="*/ 319073 w 770887"/>
                <a:gd name="connsiteY282" fmla="*/ 454228 h 599162"/>
                <a:gd name="connsiteX283" fmla="*/ 317577 w 770887"/>
                <a:gd name="connsiteY283" fmla="*/ 451239 h 599162"/>
                <a:gd name="connsiteX284" fmla="*/ 325058 w 770887"/>
                <a:gd name="connsiteY284" fmla="*/ 448251 h 599162"/>
                <a:gd name="connsiteX285" fmla="*/ 331042 w 770887"/>
                <a:gd name="connsiteY285" fmla="*/ 440780 h 599162"/>
                <a:gd name="connsiteX286" fmla="*/ 323561 w 770887"/>
                <a:gd name="connsiteY286" fmla="*/ 440780 h 599162"/>
                <a:gd name="connsiteX287" fmla="*/ 320569 w 770887"/>
                <a:gd name="connsiteY287" fmla="*/ 436298 h 599162"/>
                <a:gd name="connsiteX288" fmla="*/ 328050 w 770887"/>
                <a:gd name="connsiteY288" fmla="*/ 425838 h 599162"/>
                <a:gd name="connsiteX289" fmla="*/ 331042 w 770887"/>
                <a:gd name="connsiteY289" fmla="*/ 415379 h 599162"/>
                <a:gd name="connsiteX290" fmla="*/ 335530 w 770887"/>
                <a:gd name="connsiteY290" fmla="*/ 400438 h 599162"/>
                <a:gd name="connsiteX291" fmla="*/ 343010 w 770887"/>
                <a:gd name="connsiteY291" fmla="*/ 391473 h 599162"/>
                <a:gd name="connsiteX292" fmla="*/ 369940 w 770887"/>
                <a:gd name="connsiteY292" fmla="*/ 394461 h 599162"/>
                <a:gd name="connsiteX293" fmla="*/ 365452 w 770887"/>
                <a:gd name="connsiteY293" fmla="*/ 388484 h 599162"/>
                <a:gd name="connsiteX294" fmla="*/ 357971 w 770887"/>
                <a:gd name="connsiteY294" fmla="*/ 386990 h 599162"/>
                <a:gd name="connsiteX295" fmla="*/ 344507 w 770887"/>
                <a:gd name="connsiteY295" fmla="*/ 381013 h 599162"/>
                <a:gd name="connsiteX296" fmla="*/ 334034 w 770887"/>
                <a:gd name="connsiteY296" fmla="*/ 385496 h 599162"/>
                <a:gd name="connsiteX297" fmla="*/ 325058 w 770887"/>
                <a:gd name="connsiteY297" fmla="*/ 392967 h 599162"/>
                <a:gd name="connsiteX298" fmla="*/ 316081 w 770887"/>
                <a:gd name="connsiteY298" fmla="*/ 400438 h 599162"/>
                <a:gd name="connsiteX299" fmla="*/ 311593 w 770887"/>
                <a:gd name="connsiteY299" fmla="*/ 409403 h 599162"/>
                <a:gd name="connsiteX300" fmla="*/ 310097 w 770887"/>
                <a:gd name="connsiteY300" fmla="*/ 416873 h 599162"/>
                <a:gd name="connsiteX301" fmla="*/ 304113 w 770887"/>
                <a:gd name="connsiteY301" fmla="*/ 416873 h 599162"/>
                <a:gd name="connsiteX302" fmla="*/ 304113 w 770887"/>
                <a:gd name="connsiteY302" fmla="*/ 419862 h 599162"/>
                <a:gd name="connsiteX303" fmla="*/ 307105 w 770887"/>
                <a:gd name="connsiteY303" fmla="*/ 425838 h 599162"/>
                <a:gd name="connsiteX304" fmla="*/ 305609 w 770887"/>
                <a:gd name="connsiteY304" fmla="*/ 430321 h 599162"/>
                <a:gd name="connsiteX305" fmla="*/ 301120 w 770887"/>
                <a:gd name="connsiteY305" fmla="*/ 434803 h 599162"/>
                <a:gd name="connsiteX306" fmla="*/ 290648 w 770887"/>
                <a:gd name="connsiteY306" fmla="*/ 440780 h 599162"/>
                <a:gd name="connsiteX307" fmla="*/ 284664 w 770887"/>
                <a:gd name="connsiteY307" fmla="*/ 445263 h 599162"/>
                <a:gd name="connsiteX308" fmla="*/ 277183 w 770887"/>
                <a:gd name="connsiteY308" fmla="*/ 452734 h 599162"/>
                <a:gd name="connsiteX309" fmla="*/ 275687 w 770887"/>
                <a:gd name="connsiteY309" fmla="*/ 460204 h 599162"/>
                <a:gd name="connsiteX310" fmla="*/ 286160 w 770887"/>
                <a:gd name="connsiteY310" fmla="*/ 463193 h 599162"/>
                <a:gd name="connsiteX311" fmla="*/ 287656 w 770887"/>
                <a:gd name="connsiteY311" fmla="*/ 473652 h 599162"/>
                <a:gd name="connsiteX312" fmla="*/ 283168 w 770887"/>
                <a:gd name="connsiteY312" fmla="*/ 479629 h 599162"/>
                <a:gd name="connsiteX313" fmla="*/ 275687 w 770887"/>
                <a:gd name="connsiteY313" fmla="*/ 484111 h 599162"/>
                <a:gd name="connsiteX314" fmla="*/ 266711 w 770887"/>
                <a:gd name="connsiteY314" fmla="*/ 496064 h 599162"/>
                <a:gd name="connsiteX315" fmla="*/ 253246 w 770887"/>
                <a:gd name="connsiteY315" fmla="*/ 505029 h 599162"/>
                <a:gd name="connsiteX316" fmla="*/ 226317 w 770887"/>
                <a:gd name="connsiteY316" fmla="*/ 518477 h 599162"/>
                <a:gd name="connsiteX317" fmla="*/ 224821 w 770887"/>
                <a:gd name="connsiteY317" fmla="*/ 530430 h 599162"/>
                <a:gd name="connsiteX318" fmla="*/ 214348 w 770887"/>
                <a:gd name="connsiteY318" fmla="*/ 534913 h 599162"/>
                <a:gd name="connsiteX319" fmla="*/ 203876 w 770887"/>
                <a:gd name="connsiteY319" fmla="*/ 540890 h 599162"/>
                <a:gd name="connsiteX320" fmla="*/ 190411 w 770887"/>
                <a:gd name="connsiteY320" fmla="*/ 545372 h 599162"/>
                <a:gd name="connsiteX321" fmla="*/ 185923 w 770887"/>
                <a:gd name="connsiteY321" fmla="*/ 548360 h 599162"/>
                <a:gd name="connsiteX322" fmla="*/ 179939 w 770887"/>
                <a:gd name="connsiteY322" fmla="*/ 552843 h 599162"/>
                <a:gd name="connsiteX323" fmla="*/ 175450 w 770887"/>
                <a:gd name="connsiteY323" fmla="*/ 557325 h 599162"/>
                <a:gd name="connsiteX324" fmla="*/ 172458 w 770887"/>
                <a:gd name="connsiteY324" fmla="*/ 566290 h 599162"/>
                <a:gd name="connsiteX325" fmla="*/ 164978 w 770887"/>
                <a:gd name="connsiteY325" fmla="*/ 567785 h 599162"/>
                <a:gd name="connsiteX326" fmla="*/ 154505 w 770887"/>
                <a:gd name="connsiteY326" fmla="*/ 570773 h 599162"/>
                <a:gd name="connsiteX327" fmla="*/ 147025 w 770887"/>
                <a:gd name="connsiteY327" fmla="*/ 570773 h 599162"/>
                <a:gd name="connsiteX328" fmla="*/ 139545 w 770887"/>
                <a:gd name="connsiteY328" fmla="*/ 573761 h 599162"/>
                <a:gd name="connsiteX329" fmla="*/ 129072 w 770887"/>
                <a:gd name="connsiteY329" fmla="*/ 579738 h 599162"/>
                <a:gd name="connsiteX330" fmla="*/ 132064 w 770887"/>
                <a:gd name="connsiteY330" fmla="*/ 587209 h 599162"/>
                <a:gd name="connsiteX331" fmla="*/ 129072 w 770887"/>
                <a:gd name="connsiteY331" fmla="*/ 588703 h 599162"/>
                <a:gd name="connsiteX332" fmla="*/ 121592 w 770887"/>
                <a:gd name="connsiteY332" fmla="*/ 584220 h 599162"/>
                <a:gd name="connsiteX333" fmla="*/ 114111 w 770887"/>
                <a:gd name="connsiteY333" fmla="*/ 581232 h 599162"/>
                <a:gd name="connsiteX334" fmla="*/ 108127 w 770887"/>
                <a:gd name="connsiteY334" fmla="*/ 572267 h 599162"/>
                <a:gd name="connsiteX335" fmla="*/ 106631 w 770887"/>
                <a:gd name="connsiteY335" fmla="*/ 575255 h 599162"/>
                <a:gd name="connsiteX336" fmla="*/ 106631 w 770887"/>
                <a:gd name="connsiteY336" fmla="*/ 587209 h 599162"/>
                <a:gd name="connsiteX337" fmla="*/ 97655 w 770887"/>
                <a:gd name="connsiteY337" fmla="*/ 587209 h 599162"/>
                <a:gd name="connsiteX338" fmla="*/ 97655 w 770887"/>
                <a:gd name="connsiteY338" fmla="*/ 591691 h 599162"/>
                <a:gd name="connsiteX339" fmla="*/ 88678 w 770887"/>
                <a:gd name="connsiteY339" fmla="*/ 591691 h 599162"/>
                <a:gd name="connsiteX340" fmla="*/ 88678 w 770887"/>
                <a:gd name="connsiteY340" fmla="*/ 590197 h 599162"/>
                <a:gd name="connsiteX341" fmla="*/ 84190 w 770887"/>
                <a:gd name="connsiteY341" fmla="*/ 588703 h 599162"/>
                <a:gd name="connsiteX342" fmla="*/ 78206 w 770887"/>
                <a:gd name="connsiteY342" fmla="*/ 588703 h 599162"/>
                <a:gd name="connsiteX343" fmla="*/ 70725 w 770887"/>
                <a:gd name="connsiteY343" fmla="*/ 590197 h 599162"/>
                <a:gd name="connsiteX344" fmla="*/ 61749 w 770887"/>
                <a:gd name="connsiteY344" fmla="*/ 599162 h 599162"/>
                <a:gd name="connsiteX345" fmla="*/ 45292 w 770887"/>
                <a:gd name="connsiteY345" fmla="*/ 599162 h 599162"/>
                <a:gd name="connsiteX346" fmla="*/ 30331 w 770887"/>
                <a:gd name="connsiteY346" fmla="*/ 599162 h 599162"/>
                <a:gd name="connsiteX347" fmla="*/ 30331 w 770887"/>
                <a:gd name="connsiteY347" fmla="*/ 593185 h 599162"/>
                <a:gd name="connsiteX348" fmla="*/ 40804 w 770887"/>
                <a:gd name="connsiteY348" fmla="*/ 581232 h 599162"/>
                <a:gd name="connsiteX349" fmla="*/ 58757 w 770887"/>
                <a:gd name="connsiteY349" fmla="*/ 581232 h 599162"/>
                <a:gd name="connsiteX350" fmla="*/ 66237 w 770887"/>
                <a:gd name="connsiteY350" fmla="*/ 581232 h 599162"/>
                <a:gd name="connsiteX351" fmla="*/ 73717 w 770887"/>
                <a:gd name="connsiteY351" fmla="*/ 576750 h 599162"/>
                <a:gd name="connsiteX352" fmla="*/ 84190 w 770887"/>
                <a:gd name="connsiteY352" fmla="*/ 573761 h 599162"/>
                <a:gd name="connsiteX353" fmla="*/ 88678 w 770887"/>
                <a:gd name="connsiteY353" fmla="*/ 570773 h 599162"/>
                <a:gd name="connsiteX354" fmla="*/ 93166 w 770887"/>
                <a:gd name="connsiteY354" fmla="*/ 563302 h 599162"/>
                <a:gd name="connsiteX355" fmla="*/ 102143 w 770887"/>
                <a:gd name="connsiteY355" fmla="*/ 558820 h 599162"/>
                <a:gd name="connsiteX356" fmla="*/ 115607 w 770887"/>
                <a:gd name="connsiteY356" fmla="*/ 557325 h 599162"/>
                <a:gd name="connsiteX357" fmla="*/ 123088 w 770887"/>
                <a:gd name="connsiteY357" fmla="*/ 557325 h 599162"/>
                <a:gd name="connsiteX358" fmla="*/ 129072 w 770887"/>
                <a:gd name="connsiteY358" fmla="*/ 563302 h 599162"/>
                <a:gd name="connsiteX359" fmla="*/ 135056 w 770887"/>
                <a:gd name="connsiteY359" fmla="*/ 558820 h 599162"/>
                <a:gd name="connsiteX360" fmla="*/ 141041 w 770887"/>
                <a:gd name="connsiteY360" fmla="*/ 549855 h 599162"/>
                <a:gd name="connsiteX361" fmla="*/ 148521 w 770887"/>
                <a:gd name="connsiteY361" fmla="*/ 542384 h 599162"/>
                <a:gd name="connsiteX362" fmla="*/ 156001 w 770887"/>
                <a:gd name="connsiteY362" fmla="*/ 537901 h 599162"/>
                <a:gd name="connsiteX363" fmla="*/ 170962 w 770887"/>
                <a:gd name="connsiteY363" fmla="*/ 534913 h 599162"/>
                <a:gd name="connsiteX364" fmla="*/ 176946 w 770887"/>
                <a:gd name="connsiteY364" fmla="*/ 528936 h 599162"/>
                <a:gd name="connsiteX365" fmla="*/ 184427 w 770887"/>
                <a:gd name="connsiteY365" fmla="*/ 521465 h 599162"/>
                <a:gd name="connsiteX366" fmla="*/ 193403 w 770887"/>
                <a:gd name="connsiteY366" fmla="*/ 513994 h 599162"/>
                <a:gd name="connsiteX367" fmla="*/ 200884 w 770887"/>
                <a:gd name="connsiteY367" fmla="*/ 509512 h 599162"/>
                <a:gd name="connsiteX368" fmla="*/ 203876 w 770887"/>
                <a:gd name="connsiteY368" fmla="*/ 500547 h 599162"/>
                <a:gd name="connsiteX369" fmla="*/ 205372 w 770887"/>
                <a:gd name="connsiteY369" fmla="*/ 487099 h 599162"/>
                <a:gd name="connsiteX370" fmla="*/ 208364 w 770887"/>
                <a:gd name="connsiteY370" fmla="*/ 478134 h 599162"/>
                <a:gd name="connsiteX371" fmla="*/ 209860 w 770887"/>
                <a:gd name="connsiteY371" fmla="*/ 475146 h 599162"/>
                <a:gd name="connsiteX372" fmla="*/ 217340 w 770887"/>
                <a:gd name="connsiteY372" fmla="*/ 464687 h 599162"/>
                <a:gd name="connsiteX373" fmla="*/ 212852 w 770887"/>
                <a:gd name="connsiteY373" fmla="*/ 464687 h 599162"/>
                <a:gd name="connsiteX374" fmla="*/ 205372 w 770887"/>
                <a:gd name="connsiteY374" fmla="*/ 466181 h 599162"/>
                <a:gd name="connsiteX375" fmla="*/ 200884 w 770887"/>
                <a:gd name="connsiteY375" fmla="*/ 466181 h 599162"/>
                <a:gd name="connsiteX376" fmla="*/ 193403 w 770887"/>
                <a:gd name="connsiteY376" fmla="*/ 464687 h 599162"/>
                <a:gd name="connsiteX377" fmla="*/ 190411 w 770887"/>
                <a:gd name="connsiteY377" fmla="*/ 461699 h 599162"/>
                <a:gd name="connsiteX378" fmla="*/ 197891 w 770887"/>
                <a:gd name="connsiteY378" fmla="*/ 454228 h 599162"/>
                <a:gd name="connsiteX379" fmla="*/ 190411 w 770887"/>
                <a:gd name="connsiteY379" fmla="*/ 455722 h 599162"/>
                <a:gd name="connsiteX380" fmla="*/ 185923 w 770887"/>
                <a:gd name="connsiteY380" fmla="*/ 460204 h 599162"/>
                <a:gd name="connsiteX381" fmla="*/ 182931 w 770887"/>
                <a:gd name="connsiteY381" fmla="*/ 470664 h 599162"/>
                <a:gd name="connsiteX382" fmla="*/ 178442 w 770887"/>
                <a:gd name="connsiteY382" fmla="*/ 475146 h 599162"/>
                <a:gd name="connsiteX383" fmla="*/ 176946 w 770887"/>
                <a:gd name="connsiteY383" fmla="*/ 470664 h 599162"/>
                <a:gd name="connsiteX384" fmla="*/ 172458 w 770887"/>
                <a:gd name="connsiteY384" fmla="*/ 464687 h 599162"/>
                <a:gd name="connsiteX385" fmla="*/ 164978 w 770887"/>
                <a:gd name="connsiteY385" fmla="*/ 457216 h 599162"/>
                <a:gd name="connsiteX386" fmla="*/ 153009 w 770887"/>
                <a:gd name="connsiteY386" fmla="*/ 449745 h 599162"/>
                <a:gd name="connsiteX387" fmla="*/ 150017 w 770887"/>
                <a:gd name="connsiteY387" fmla="*/ 449745 h 599162"/>
                <a:gd name="connsiteX388" fmla="*/ 139545 w 770887"/>
                <a:gd name="connsiteY388" fmla="*/ 457216 h 599162"/>
                <a:gd name="connsiteX389" fmla="*/ 133560 w 770887"/>
                <a:gd name="connsiteY389" fmla="*/ 457216 h 599162"/>
                <a:gd name="connsiteX390" fmla="*/ 124584 w 770887"/>
                <a:gd name="connsiteY390" fmla="*/ 457216 h 599162"/>
                <a:gd name="connsiteX391" fmla="*/ 126080 w 770887"/>
                <a:gd name="connsiteY391" fmla="*/ 437792 h 599162"/>
                <a:gd name="connsiteX392" fmla="*/ 127576 w 770887"/>
                <a:gd name="connsiteY392" fmla="*/ 431815 h 599162"/>
                <a:gd name="connsiteX393" fmla="*/ 132064 w 770887"/>
                <a:gd name="connsiteY393" fmla="*/ 425838 h 599162"/>
                <a:gd name="connsiteX394" fmla="*/ 132064 w 770887"/>
                <a:gd name="connsiteY394" fmla="*/ 418368 h 599162"/>
                <a:gd name="connsiteX395" fmla="*/ 130568 w 770887"/>
                <a:gd name="connsiteY395" fmla="*/ 406414 h 599162"/>
                <a:gd name="connsiteX396" fmla="*/ 127576 w 770887"/>
                <a:gd name="connsiteY396" fmla="*/ 394461 h 599162"/>
                <a:gd name="connsiteX397" fmla="*/ 124584 w 770887"/>
                <a:gd name="connsiteY397" fmla="*/ 397449 h 599162"/>
                <a:gd name="connsiteX398" fmla="*/ 118600 w 770887"/>
                <a:gd name="connsiteY398" fmla="*/ 403426 h 599162"/>
                <a:gd name="connsiteX399" fmla="*/ 114111 w 770887"/>
                <a:gd name="connsiteY399" fmla="*/ 406414 h 599162"/>
                <a:gd name="connsiteX400" fmla="*/ 109623 w 770887"/>
                <a:gd name="connsiteY400" fmla="*/ 406414 h 599162"/>
                <a:gd name="connsiteX401" fmla="*/ 105135 w 770887"/>
                <a:gd name="connsiteY401" fmla="*/ 401932 h 599162"/>
                <a:gd name="connsiteX402" fmla="*/ 102143 w 770887"/>
                <a:gd name="connsiteY402" fmla="*/ 401932 h 599162"/>
                <a:gd name="connsiteX403" fmla="*/ 96158 w 770887"/>
                <a:gd name="connsiteY403" fmla="*/ 398943 h 599162"/>
                <a:gd name="connsiteX404" fmla="*/ 91670 w 770887"/>
                <a:gd name="connsiteY404" fmla="*/ 394461 h 599162"/>
                <a:gd name="connsiteX405" fmla="*/ 87182 w 770887"/>
                <a:gd name="connsiteY405" fmla="*/ 391473 h 599162"/>
                <a:gd name="connsiteX406" fmla="*/ 82694 w 770887"/>
                <a:gd name="connsiteY406" fmla="*/ 386990 h 599162"/>
                <a:gd name="connsiteX407" fmla="*/ 81198 w 770887"/>
                <a:gd name="connsiteY407" fmla="*/ 382508 h 599162"/>
                <a:gd name="connsiteX408" fmla="*/ 79702 w 770887"/>
                <a:gd name="connsiteY408" fmla="*/ 372048 h 599162"/>
                <a:gd name="connsiteX409" fmla="*/ 85686 w 770887"/>
                <a:gd name="connsiteY409" fmla="*/ 367566 h 599162"/>
                <a:gd name="connsiteX410" fmla="*/ 91670 w 770887"/>
                <a:gd name="connsiteY410" fmla="*/ 367566 h 599162"/>
                <a:gd name="connsiteX411" fmla="*/ 99151 w 770887"/>
                <a:gd name="connsiteY411" fmla="*/ 367566 h 599162"/>
                <a:gd name="connsiteX412" fmla="*/ 106631 w 770887"/>
                <a:gd name="connsiteY412" fmla="*/ 372048 h 599162"/>
                <a:gd name="connsiteX413" fmla="*/ 109623 w 770887"/>
                <a:gd name="connsiteY413" fmla="*/ 364578 h 599162"/>
                <a:gd name="connsiteX414" fmla="*/ 105135 w 770887"/>
                <a:gd name="connsiteY414" fmla="*/ 360095 h 599162"/>
                <a:gd name="connsiteX415" fmla="*/ 103639 w 770887"/>
                <a:gd name="connsiteY415" fmla="*/ 360095 h 599162"/>
                <a:gd name="connsiteX416" fmla="*/ 96158 w 770887"/>
                <a:gd name="connsiteY416" fmla="*/ 360095 h 599162"/>
                <a:gd name="connsiteX417" fmla="*/ 91670 w 770887"/>
                <a:gd name="connsiteY417" fmla="*/ 360095 h 599162"/>
                <a:gd name="connsiteX418" fmla="*/ 82694 w 770887"/>
                <a:gd name="connsiteY418" fmla="*/ 354118 h 599162"/>
                <a:gd name="connsiteX419" fmla="*/ 79702 w 770887"/>
                <a:gd name="connsiteY419" fmla="*/ 348142 h 599162"/>
                <a:gd name="connsiteX420" fmla="*/ 76710 w 770887"/>
                <a:gd name="connsiteY420" fmla="*/ 340671 h 599162"/>
                <a:gd name="connsiteX421" fmla="*/ 73717 w 770887"/>
                <a:gd name="connsiteY421" fmla="*/ 333200 h 599162"/>
                <a:gd name="connsiteX422" fmla="*/ 73717 w 770887"/>
                <a:gd name="connsiteY422" fmla="*/ 330212 h 599162"/>
                <a:gd name="connsiteX423" fmla="*/ 76710 w 770887"/>
                <a:gd name="connsiteY423" fmla="*/ 327223 h 599162"/>
                <a:gd name="connsiteX424" fmla="*/ 81198 w 770887"/>
                <a:gd name="connsiteY424" fmla="*/ 319752 h 599162"/>
                <a:gd name="connsiteX425" fmla="*/ 88678 w 770887"/>
                <a:gd name="connsiteY425" fmla="*/ 310787 h 599162"/>
                <a:gd name="connsiteX426" fmla="*/ 97655 w 770887"/>
                <a:gd name="connsiteY426" fmla="*/ 304811 h 599162"/>
                <a:gd name="connsiteX427" fmla="*/ 103639 w 770887"/>
                <a:gd name="connsiteY427" fmla="*/ 297340 h 599162"/>
                <a:gd name="connsiteX428" fmla="*/ 105135 w 770887"/>
                <a:gd name="connsiteY428" fmla="*/ 289869 h 599162"/>
                <a:gd name="connsiteX429" fmla="*/ 112615 w 770887"/>
                <a:gd name="connsiteY429" fmla="*/ 282398 h 599162"/>
                <a:gd name="connsiteX430" fmla="*/ 118600 w 770887"/>
                <a:gd name="connsiteY430" fmla="*/ 280904 h 599162"/>
                <a:gd name="connsiteX431" fmla="*/ 123088 w 770887"/>
                <a:gd name="connsiteY431" fmla="*/ 283892 h 599162"/>
                <a:gd name="connsiteX432" fmla="*/ 127576 w 770887"/>
                <a:gd name="connsiteY432" fmla="*/ 289869 h 599162"/>
                <a:gd name="connsiteX433" fmla="*/ 130568 w 770887"/>
                <a:gd name="connsiteY433" fmla="*/ 289869 h 599162"/>
                <a:gd name="connsiteX434" fmla="*/ 136552 w 770887"/>
                <a:gd name="connsiteY434" fmla="*/ 289869 h 599162"/>
                <a:gd name="connsiteX435" fmla="*/ 139545 w 770887"/>
                <a:gd name="connsiteY435" fmla="*/ 289869 h 599162"/>
                <a:gd name="connsiteX436" fmla="*/ 144033 w 770887"/>
                <a:gd name="connsiteY436" fmla="*/ 283892 h 599162"/>
                <a:gd name="connsiteX437" fmla="*/ 148521 w 770887"/>
                <a:gd name="connsiteY437" fmla="*/ 283892 h 599162"/>
                <a:gd name="connsiteX438" fmla="*/ 150017 w 770887"/>
                <a:gd name="connsiteY438" fmla="*/ 280904 h 599162"/>
                <a:gd name="connsiteX439" fmla="*/ 153009 w 770887"/>
                <a:gd name="connsiteY439" fmla="*/ 276422 h 599162"/>
                <a:gd name="connsiteX440" fmla="*/ 154505 w 770887"/>
                <a:gd name="connsiteY440" fmla="*/ 280904 h 599162"/>
                <a:gd name="connsiteX441" fmla="*/ 158994 w 770887"/>
                <a:gd name="connsiteY441" fmla="*/ 280904 h 599162"/>
                <a:gd name="connsiteX442" fmla="*/ 161986 w 770887"/>
                <a:gd name="connsiteY442" fmla="*/ 280904 h 599162"/>
                <a:gd name="connsiteX443" fmla="*/ 167970 w 770887"/>
                <a:gd name="connsiteY443" fmla="*/ 280904 h 599162"/>
                <a:gd name="connsiteX444" fmla="*/ 172458 w 770887"/>
                <a:gd name="connsiteY444" fmla="*/ 276422 h 599162"/>
                <a:gd name="connsiteX445" fmla="*/ 176946 w 770887"/>
                <a:gd name="connsiteY445" fmla="*/ 276422 h 599162"/>
                <a:gd name="connsiteX446" fmla="*/ 178442 w 770887"/>
                <a:gd name="connsiteY446" fmla="*/ 265962 h 599162"/>
                <a:gd name="connsiteX447" fmla="*/ 175450 w 770887"/>
                <a:gd name="connsiteY447" fmla="*/ 258491 h 599162"/>
                <a:gd name="connsiteX448" fmla="*/ 172458 w 770887"/>
                <a:gd name="connsiteY448" fmla="*/ 246538 h 599162"/>
                <a:gd name="connsiteX449" fmla="*/ 178442 w 770887"/>
                <a:gd name="connsiteY449" fmla="*/ 246538 h 599162"/>
                <a:gd name="connsiteX450" fmla="*/ 184427 w 770887"/>
                <a:gd name="connsiteY450" fmla="*/ 240561 h 599162"/>
                <a:gd name="connsiteX451" fmla="*/ 182931 w 770887"/>
                <a:gd name="connsiteY451" fmla="*/ 231596 h 599162"/>
                <a:gd name="connsiteX452" fmla="*/ 173954 w 770887"/>
                <a:gd name="connsiteY452" fmla="*/ 230102 h 599162"/>
                <a:gd name="connsiteX453" fmla="*/ 169466 w 770887"/>
                <a:gd name="connsiteY453" fmla="*/ 230102 h 599162"/>
                <a:gd name="connsiteX454" fmla="*/ 164978 w 770887"/>
                <a:gd name="connsiteY454" fmla="*/ 231596 h 599162"/>
                <a:gd name="connsiteX455" fmla="*/ 160490 w 770887"/>
                <a:gd name="connsiteY455" fmla="*/ 234585 h 599162"/>
                <a:gd name="connsiteX456" fmla="*/ 157497 w 770887"/>
                <a:gd name="connsiteY456" fmla="*/ 240561 h 599162"/>
                <a:gd name="connsiteX457" fmla="*/ 153009 w 770887"/>
                <a:gd name="connsiteY457" fmla="*/ 240561 h 599162"/>
                <a:gd name="connsiteX458" fmla="*/ 148521 w 770887"/>
                <a:gd name="connsiteY458" fmla="*/ 231596 h 599162"/>
                <a:gd name="connsiteX459" fmla="*/ 136552 w 770887"/>
                <a:gd name="connsiteY459" fmla="*/ 231596 h 599162"/>
                <a:gd name="connsiteX460" fmla="*/ 123088 w 770887"/>
                <a:gd name="connsiteY460" fmla="*/ 231596 h 599162"/>
                <a:gd name="connsiteX461" fmla="*/ 112615 w 770887"/>
                <a:gd name="connsiteY461" fmla="*/ 228608 h 599162"/>
                <a:gd name="connsiteX462" fmla="*/ 102143 w 770887"/>
                <a:gd name="connsiteY462" fmla="*/ 224125 h 599162"/>
                <a:gd name="connsiteX463" fmla="*/ 96158 w 770887"/>
                <a:gd name="connsiteY463" fmla="*/ 216654 h 599162"/>
                <a:gd name="connsiteX464" fmla="*/ 94662 w 770887"/>
                <a:gd name="connsiteY464" fmla="*/ 201713 h 599162"/>
                <a:gd name="connsiteX465" fmla="*/ 102143 w 770887"/>
                <a:gd name="connsiteY465" fmla="*/ 198724 h 599162"/>
                <a:gd name="connsiteX466" fmla="*/ 106631 w 770887"/>
                <a:gd name="connsiteY466" fmla="*/ 195736 h 599162"/>
                <a:gd name="connsiteX467" fmla="*/ 96158 w 770887"/>
                <a:gd name="connsiteY467" fmla="*/ 191254 h 599162"/>
                <a:gd name="connsiteX468" fmla="*/ 90174 w 770887"/>
                <a:gd name="connsiteY468" fmla="*/ 186771 h 599162"/>
                <a:gd name="connsiteX469" fmla="*/ 82694 w 770887"/>
                <a:gd name="connsiteY469" fmla="*/ 180794 h 599162"/>
                <a:gd name="connsiteX470" fmla="*/ 81198 w 770887"/>
                <a:gd name="connsiteY470" fmla="*/ 177806 h 599162"/>
                <a:gd name="connsiteX471" fmla="*/ 87182 w 770887"/>
                <a:gd name="connsiteY471" fmla="*/ 173324 h 599162"/>
                <a:gd name="connsiteX472" fmla="*/ 91670 w 770887"/>
                <a:gd name="connsiteY472" fmla="*/ 173324 h 599162"/>
                <a:gd name="connsiteX473" fmla="*/ 100647 w 770887"/>
                <a:gd name="connsiteY473" fmla="*/ 171829 h 599162"/>
                <a:gd name="connsiteX474" fmla="*/ 112615 w 770887"/>
                <a:gd name="connsiteY474" fmla="*/ 164359 h 599162"/>
                <a:gd name="connsiteX475" fmla="*/ 114111 w 770887"/>
                <a:gd name="connsiteY475" fmla="*/ 167347 h 599162"/>
                <a:gd name="connsiteX476" fmla="*/ 121592 w 770887"/>
                <a:gd name="connsiteY476" fmla="*/ 164359 h 599162"/>
                <a:gd name="connsiteX477" fmla="*/ 121592 w 770887"/>
                <a:gd name="connsiteY477" fmla="*/ 162864 h 599162"/>
                <a:gd name="connsiteX478" fmla="*/ 126080 w 770887"/>
                <a:gd name="connsiteY478" fmla="*/ 161370 h 599162"/>
                <a:gd name="connsiteX479" fmla="*/ 135056 w 770887"/>
                <a:gd name="connsiteY479" fmla="*/ 159876 h 599162"/>
                <a:gd name="connsiteX480" fmla="*/ 145529 w 770887"/>
                <a:gd name="connsiteY480" fmla="*/ 159876 h 599162"/>
                <a:gd name="connsiteX481" fmla="*/ 150017 w 770887"/>
                <a:gd name="connsiteY481" fmla="*/ 162864 h 599162"/>
                <a:gd name="connsiteX482" fmla="*/ 147025 w 770887"/>
                <a:gd name="connsiteY482" fmla="*/ 170335 h 599162"/>
                <a:gd name="connsiteX483" fmla="*/ 147025 w 770887"/>
                <a:gd name="connsiteY483" fmla="*/ 173324 h 599162"/>
                <a:gd name="connsiteX484" fmla="*/ 151513 w 770887"/>
                <a:gd name="connsiteY484" fmla="*/ 176312 h 599162"/>
                <a:gd name="connsiteX485" fmla="*/ 156001 w 770887"/>
                <a:gd name="connsiteY485" fmla="*/ 180794 h 599162"/>
                <a:gd name="connsiteX486" fmla="*/ 164978 w 770887"/>
                <a:gd name="connsiteY486" fmla="*/ 180794 h 599162"/>
                <a:gd name="connsiteX487" fmla="*/ 176946 w 770887"/>
                <a:gd name="connsiteY487" fmla="*/ 183783 h 599162"/>
                <a:gd name="connsiteX488" fmla="*/ 185923 w 770887"/>
                <a:gd name="connsiteY488" fmla="*/ 179300 h 599162"/>
                <a:gd name="connsiteX489" fmla="*/ 191907 w 770887"/>
                <a:gd name="connsiteY489" fmla="*/ 173324 h 599162"/>
                <a:gd name="connsiteX490" fmla="*/ 199387 w 770887"/>
                <a:gd name="connsiteY490" fmla="*/ 168841 h 599162"/>
                <a:gd name="connsiteX491" fmla="*/ 191907 w 770887"/>
                <a:gd name="connsiteY491" fmla="*/ 165853 h 599162"/>
                <a:gd name="connsiteX492" fmla="*/ 185923 w 770887"/>
                <a:gd name="connsiteY492" fmla="*/ 162864 h 599162"/>
                <a:gd name="connsiteX493" fmla="*/ 181435 w 770887"/>
                <a:gd name="connsiteY493" fmla="*/ 159876 h 599162"/>
                <a:gd name="connsiteX494" fmla="*/ 181435 w 770887"/>
                <a:gd name="connsiteY494" fmla="*/ 153899 h 599162"/>
                <a:gd name="connsiteX495" fmla="*/ 179939 w 770887"/>
                <a:gd name="connsiteY495" fmla="*/ 146428 h 599162"/>
                <a:gd name="connsiteX496" fmla="*/ 157497 w 770887"/>
                <a:gd name="connsiteY496" fmla="*/ 140452 h 599162"/>
                <a:gd name="connsiteX497" fmla="*/ 157497 w 770887"/>
                <a:gd name="connsiteY497" fmla="*/ 118039 h 599162"/>
                <a:gd name="connsiteX498" fmla="*/ 147025 w 770887"/>
                <a:gd name="connsiteY498" fmla="*/ 107580 h 599162"/>
                <a:gd name="connsiteX499" fmla="*/ 126080 w 770887"/>
                <a:gd name="connsiteY499" fmla="*/ 85168 h 599162"/>
                <a:gd name="connsiteX500" fmla="*/ 129072 w 770887"/>
                <a:gd name="connsiteY500" fmla="*/ 85168 h 599162"/>
                <a:gd name="connsiteX501" fmla="*/ 129072 w 770887"/>
                <a:gd name="connsiteY501" fmla="*/ 80685 h 599162"/>
                <a:gd name="connsiteX502" fmla="*/ 136552 w 770887"/>
                <a:gd name="connsiteY502" fmla="*/ 80685 h 599162"/>
                <a:gd name="connsiteX503" fmla="*/ 136552 w 770887"/>
                <a:gd name="connsiteY503" fmla="*/ 74708 h 599162"/>
                <a:gd name="connsiteX504" fmla="*/ 138048 w 770887"/>
                <a:gd name="connsiteY504" fmla="*/ 67238 h 599162"/>
                <a:gd name="connsiteX505" fmla="*/ 142537 w 770887"/>
                <a:gd name="connsiteY505" fmla="*/ 67238 h 599162"/>
                <a:gd name="connsiteX506" fmla="*/ 147025 w 770887"/>
                <a:gd name="connsiteY506" fmla="*/ 70226 h 599162"/>
                <a:gd name="connsiteX507" fmla="*/ 154505 w 770887"/>
                <a:gd name="connsiteY507" fmla="*/ 70226 h 599162"/>
                <a:gd name="connsiteX508" fmla="*/ 157497 w 770887"/>
                <a:gd name="connsiteY508" fmla="*/ 70226 h 599162"/>
                <a:gd name="connsiteX509" fmla="*/ 164978 w 770887"/>
                <a:gd name="connsiteY509" fmla="*/ 70226 h 599162"/>
                <a:gd name="connsiteX510" fmla="*/ 178442 w 770887"/>
                <a:gd name="connsiteY510" fmla="*/ 65743 h 599162"/>
                <a:gd name="connsiteX511" fmla="*/ 182931 w 770887"/>
                <a:gd name="connsiteY511" fmla="*/ 61261 h 599162"/>
                <a:gd name="connsiteX512" fmla="*/ 187419 w 770887"/>
                <a:gd name="connsiteY512" fmla="*/ 53790 h 599162"/>
                <a:gd name="connsiteX513" fmla="*/ 187419 w 770887"/>
                <a:gd name="connsiteY513" fmla="*/ 41837 h 599162"/>
                <a:gd name="connsiteX514" fmla="*/ 191907 w 770887"/>
                <a:gd name="connsiteY514" fmla="*/ 41837 h 599162"/>
                <a:gd name="connsiteX515" fmla="*/ 196395 w 770887"/>
                <a:gd name="connsiteY515" fmla="*/ 37354 h 599162"/>
                <a:gd name="connsiteX516" fmla="*/ 205372 w 770887"/>
                <a:gd name="connsiteY516" fmla="*/ 29883 h 599162"/>
                <a:gd name="connsiteX517" fmla="*/ 221829 w 770887"/>
                <a:gd name="connsiteY517" fmla="*/ 26895 h 599162"/>
                <a:gd name="connsiteX518" fmla="*/ 227813 w 770887"/>
                <a:gd name="connsiteY518" fmla="*/ 19424 h 599162"/>
                <a:gd name="connsiteX519" fmla="*/ 233797 w 770887"/>
                <a:gd name="connsiteY519" fmla="*/ 16436 h 599162"/>
                <a:gd name="connsiteX520" fmla="*/ 238285 w 770887"/>
                <a:gd name="connsiteY520" fmla="*/ 11953 h 599162"/>
                <a:gd name="connsiteX521" fmla="*/ 262223 w 770887"/>
                <a:gd name="connsiteY521" fmla="*/ 13447 h 599162"/>
                <a:gd name="connsiteX522" fmla="*/ 265215 w 770887"/>
                <a:gd name="connsiteY522" fmla="*/ 5977 h 599162"/>
                <a:gd name="connsiteX523" fmla="*/ 277183 w 770887"/>
                <a:gd name="connsiteY523" fmla="*/ 0 h 5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</a:cxnLst>
              <a:rect l="l" t="t" r="r" b="b"/>
              <a:pathLst>
                <a:path w="770887" h="599162">
                  <a:moveTo>
                    <a:pt x="302516" y="482511"/>
                  </a:moveTo>
                  <a:lnTo>
                    <a:pt x="307819" y="487813"/>
                  </a:lnTo>
                  <a:lnTo>
                    <a:pt x="318423" y="494883"/>
                  </a:lnTo>
                  <a:lnTo>
                    <a:pt x="311354" y="496651"/>
                  </a:lnTo>
                  <a:lnTo>
                    <a:pt x="307819" y="496651"/>
                  </a:lnTo>
                  <a:lnTo>
                    <a:pt x="300749" y="501953"/>
                  </a:lnTo>
                  <a:lnTo>
                    <a:pt x="300749" y="503720"/>
                  </a:lnTo>
                  <a:lnTo>
                    <a:pt x="300749" y="509023"/>
                  </a:lnTo>
                  <a:lnTo>
                    <a:pt x="304284" y="509023"/>
                  </a:lnTo>
                  <a:lnTo>
                    <a:pt x="311354" y="517860"/>
                  </a:lnTo>
                  <a:lnTo>
                    <a:pt x="311354" y="521395"/>
                  </a:lnTo>
                  <a:lnTo>
                    <a:pt x="306051" y="523162"/>
                  </a:lnTo>
                  <a:lnTo>
                    <a:pt x="302516" y="523162"/>
                  </a:lnTo>
                  <a:lnTo>
                    <a:pt x="298982" y="524930"/>
                  </a:lnTo>
                  <a:lnTo>
                    <a:pt x="297214" y="524930"/>
                  </a:lnTo>
                  <a:lnTo>
                    <a:pt x="291912" y="528465"/>
                  </a:lnTo>
                  <a:lnTo>
                    <a:pt x="291912" y="533767"/>
                  </a:lnTo>
                  <a:lnTo>
                    <a:pt x="291912" y="535534"/>
                  </a:lnTo>
                  <a:lnTo>
                    <a:pt x="288377" y="540837"/>
                  </a:lnTo>
                  <a:lnTo>
                    <a:pt x="283075" y="531999"/>
                  </a:lnTo>
                  <a:lnTo>
                    <a:pt x="283075" y="533767"/>
                  </a:lnTo>
                  <a:lnTo>
                    <a:pt x="281307" y="537302"/>
                  </a:lnTo>
                  <a:lnTo>
                    <a:pt x="276005" y="542604"/>
                  </a:lnTo>
                  <a:lnTo>
                    <a:pt x="272470" y="549674"/>
                  </a:lnTo>
                  <a:lnTo>
                    <a:pt x="272470" y="551441"/>
                  </a:lnTo>
                  <a:lnTo>
                    <a:pt x="272470" y="558511"/>
                  </a:lnTo>
                  <a:lnTo>
                    <a:pt x="256563" y="558511"/>
                  </a:lnTo>
                  <a:lnTo>
                    <a:pt x="268935" y="554976"/>
                  </a:lnTo>
                  <a:lnTo>
                    <a:pt x="270703" y="551441"/>
                  </a:lnTo>
                  <a:lnTo>
                    <a:pt x="272470" y="547906"/>
                  </a:lnTo>
                  <a:lnTo>
                    <a:pt x="270703" y="542604"/>
                  </a:lnTo>
                  <a:lnTo>
                    <a:pt x="267168" y="540837"/>
                  </a:lnTo>
                  <a:lnTo>
                    <a:pt x="265400" y="540837"/>
                  </a:lnTo>
                  <a:lnTo>
                    <a:pt x="261866" y="537302"/>
                  </a:lnTo>
                  <a:lnTo>
                    <a:pt x="261866" y="535534"/>
                  </a:lnTo>
                  <a:lnTo>
                    <a:pt x="260098" y="524930"/>
                  </a:lnTo>
                  <a:lnTo>
                    <a:pt x="263633" y="521395"/>
                  </a:lnTo>
                  <a:lnTo>
                    <a:pt x="265400" y="517860"/>
                  </a:lnTo>
                  <a:lnTo>
                    <a:pt x="270703" y="514325"/>
                  </a:lnTo>
                  <a:lnTo>
                    <a:pt x="272470" y="516093"/>
                  </a:lnTo>
                  <a:lnTo>
                    <a:pt x="277772" y="521395"/>
                  </a:lnTo>
                  <a:lnTo>
                    <a:pt x="281307" y="528465"/>
                  </a:lnTo>
                  <a:lnTo>
                    <a:pt x="281307" y="521395"/>
                  </a:lnTo>
                  <a:lnTo>
                    <a:pt x="279540" y="514325"/>
                  </a:lnTo>
                  <a:lnTo>
                    <a:pt x="276005" y="509023"/>
                  </a:lnTo>
                  <a:lnTo>
                    <a:pt x="281307" y="507255"/>
                  </a:lnTo>
                  <a:lnTo>
                    <a:pt x="288377" y="510790"/>
                  </a:lnTo>
                  <a:lnTo>
                    <a:pt x="291912" y="510790"/>
                  </a:lnTo>
                  <a:lnTo>
                    <a:pt x="291912" y="507255"/>
                  </a:lnTo>
                  <a:lnTo>
                    <a:pt x="291912" y="505488"/>
                  </a:lnTo>
                  <a:lnTo>
                    <a:pt x="291912" y="501953"/>
                  </a:lnTo>
                  <a:lnTo>
                    <a:pt x="291912" y="496651"/>
                  </a:lnTo>
                  <a:lnTo>
                    <a:pt x="290144" y="493116"/>
                  </a:lnTo>
                  <a:lnTo>
                    <a:pt x="297214" y="487813"/>
                  </a:lnTo>
                  <a:close/>
                  <a:moveTo>
                    <a:pt x="55075" y="374697"/>
                  </a:moveTo>
                  <a:lnTo>
                    <a:pt x="58610" y="374697"/>
                  </a:lnTo>
                  <a:lnTo>
                    <a:pt x="63912" y="385302"/>
                  </a:lnTo>
                  <a:lnTo>
                    <a:pt x="63912" y="390604"/>
                  </a:lnTo>
                  <a:lnTo>
                    <a:pt x="60377" y="395906"/>
                  </a:lnTo>
                  <a:lnTo>
                    <a:pt x="56842" y="395906"/>
                  </a:lnTo>
                  <a:lnTo>
                    <a:pt x="51540" y="395906"/>
                  </a:lnTo>
                  <a:lnTo>
                    <a:pt x="44470" y="390604"/>
                  </a:lnTo>
                  <a:lnTo>
                    <a:pt x="35633" y="383534"/>
                  </a:lnTo>
                  <a:lnTo>
                    <a:pt x="44470" y="378232"/>
                  </a:lnTo>
                  <a:lnTo>
                    <a:pt x="49773" y="378232"/>
                  </a:lnTo>
                  <a:close/>
                  <a:moveTo>
                    <a:pt x="4447" y="224465"/>
                  </a:moveTo>
                  <a:cubicBezTo>
                    <a:pt x="4447" y="224465"/>
                    <a:pt x="4447" y="224465"/>
                    <a:pt x="5929" y="230488"/>
                  </a:cubicBezTo>
                  <a:cubicBezTo>
                    <a:pt x="5929" y="230488"/>
                    <a:pt x="5929" y="230488"/>
                    <a:pt x="8894" y="233499"/>
                  </a:cubicBezTo>
                  <a:cubicBezTo>
                    <a:pt x="8894" y="233499"/>
                    <a:pt x="8894" y="233499"/>
                    <a:pt x="16306" y="235005"/>
                  </a:cubicBezTo>
                  <a:cubicBezTo>
                    <a:pt x="16306" y="235005"/>
                    <a:pt x="16306" y="235005"/>
                    <a:pt x="23717" y="235005"/>
                  </a:cubicBezTo>
                  <a:cubicBezTo>
                    <a:pt x="23717" y="235005"/>
                    <a:pt x="23717" y="235005"/>
                    <a:pt x="28164" y="238016"/>
                  </a:cubicBezTo>
                  <a:cubicBezTo>
                    <a:pt x="28164" y="238016"/>
                    <a:pt x="28164" y="238016"/>
                    <a:pt x="28164" y="242533"/>
                  </a:cubicBezTo>
                  <a:cubicBezTo>
                    <a:pt x="28164" y="242533"/>
                    <a:pt x="28164" y="242533"/>
                    <a:pt x="31129" y="245544"/>
                  </a:cubicBezTo>
                  <a:cubicBezTo>
                    <a:pt x="31129" y="245544"/>
                    <a:pt x="31129" y="245544"/>
                    <a:pt x="37058" y="251566"/>
                  </a:cubicBezTo>
                  <a:cubicBezTo>
                    <a:pt x="37058" y="251566"/>
                    <a:pt x="37058" y="251566"/>
                    <a:pt x="44470" y="262106"/>
                  </a:cubicBezTo>
                  <a:cubicBezTo>
                    <a:pt x="44470" y="262106"/>
                    <a:pt x="44470" y="262106"/>
                    <a:pt x="40023" y="262106"/>
                  </a:cubicBezTo>
                  <a:cubicBezTo>
                    <a:pt x="40023" y="262106"/>
                    <a:pt x="40023" y="262106"/>
                    <a:pt x="31129" y="262106"/>
                  </a:cubicBezTo>
                  <a:lnTo>
                    <a:pt x="29647" y="265117"/>
                  </a:lnTo>
                  <a:cubicBezTo>
                    <a:pt x="29647" y="265117"/>
                    <a:pt x="29647" y="265117"/>
                    <a:pt x="23717" y="259095"/>
                  </a:cubicBezTo>
                  <a:cubicBezTo>
                    <a:pt x="23717" y="259095"/>
                    <a:pt x="23717" y="259095"/>
                    <a:pt x="20753" y="250061"/>
                  </a:cubicBezTo>
                  <a:cubicBezTo>
                    <a:pt x="20753" y="250061"/>
                    <a:pt x="20753" y="250061"/>
                    <a:pt x="19270" y="247050"/>
                  </a:cubicBezTo>
                  <a:cubicBezTo>
                    <a:pt x="19270" y="247050"/>
                    <a:pt x="19270" y="247050"/>
                    <a:pt x="16306" y="244038"/>
                  </a:cubicBezTo>
                  <a:cubicBezTo>
                    <a:pt x="16306" y="244038"/>
                    <a:pt x="16306" y="244038"/>
                    <a:pt x="14823" y="244038"/>
                  </a:cubicBezTo>
                  <a:cubicBezTo>
                    <a:pt x="14823" y="244038"/>
                    <a:pt x="14823" y="244038"/>
                    <a:pt x="13341" y="244038"/>
                  </a:cubicBezTo>
                  <a:cubicBezTo>
                    <a:pt x="13341" y="244038"/>
                    <a:pt x="10376" y="244038"/>
                    <a:pt x="10376" y="244038"/>
                  </a:cubicBezTo>
                  <a:cubicBezTo>
                    <a:pt x="8894" y="242533"/>
                    <a:pt x="8894" y="244038"/>
                    <a:pt x="8894" y="244038"/>
                  </a:cubicBezTo>
                  <a:cubicBezTo>
                    <a:pt x="8894" y="244038"/>
                    <a:pt x="8894" y="244038"/>
                    <a:pt x="4447" y="244038"/>
                  </a:cubicBezTo>
                  <a:cubicBezTo>
                    <a:pt x="-1483" y="242533"/>
                    <a:pt x="2964" y="242533"/>
                    <a:pt x="2964" y="242533"/>
                  </a:cubicBezTo>
                  <a:cubicBezTo>
                    <a:pt x="1482" y="241027"/>
                    <a:pt x="1482" y="241027"/>
                    <a:pt x="1482" y="239521"/>
                  </a:cubicBezTo>
                  <a:cubicBezTo>
                    <a:pt x="1482" y="239521"/>
                    <a:pt x="0" y="236510"/>
                    <a:pt x="0" y="235005"/>
                  </a:cubicBezTo>
                  <a:cubicBezTo>
                    <a:pt x="0" y="235005"/>
                    <a:pt x="0" y="230488"/>
                    <a:pt x="0" y="230488"/>
                  </a:cubicBezTo>
                  <a:cubicBezTo>
                    <a:pt x="0" y="230488"/>
                    <a:pt x="0" y="230488"/>
                    <a:pt x="4447" y="224465"/>
                  </a:cubicBezTo>
                  <a:close/>
                  <a:moveTo>
                    <a:pt x="277183" y="0"/>
                  </a:moveTo>
                  <a:cubicBezTo>
                    <a:pt x="277183" y="0"/>
                    <a:pt x="277183" y="0"/>
                    <a:pt x="283168" y="5977"/>
                  </a:cubicBezTo>
                  <a:cubicBezTo>
                    <a:pt x="283168" y="5977"/>
                    <a:pt x="283168" y="5977"/>
                    <a:pt x="286160" y="10459"/>
                  </a:cubicBezTo>
                  <a:cubicBezTo>
                    <a:pt x="286160" y="10459"/>
                    <a:pt x="286160" y="10459"/>
                    <a:pt x="283168" y="10459"/>
                  </a:cubicBezTo>
                  <a:cubicBezTo>
                    <a:pt x="283168" y="10459"/>
                    <a:pt x="283168" y="10459"/>
                    <a:pt x="283168" y="14942"/>
                  </a:cubicBezTo>
                  <a:cubicBezTo>
                    <a:pt x="283168" y="14942"/>
                    <a:pt x="283168" y="14942"/>
                    <a:pt x="287656" y="17930"/>
                  </a:cubicBezTo>
                  <a:cubicBezTo>
                    <a:pt x="287656" y="17930"/>
                    <a:pt x="287656" y="17930"/>
                    <a:pt x="293640" y="17930"/>
                  </a:cubicBezTo>
                  <a:cubicBezTo>
                    <a:pt x="293640" y="17930"/>
                    <a:pt x="293640" y="17930"/>
                    <a:pt x="293640" y="13447"/>
                  </a:cubicBezTo>
                  <a:cubicBezTo>
                    <a:pt x="293640" y="13447"/>
                    <a:pt x="293640" y="13447"/>
                    <a:pt x="296632" y="10459"/>
                  </a:cubicBezTo>
                  <a:cubicBezTo>
                    <a:pt x="296632" y="10459"/>
                    <a:pt x="296632" y="10459"/>
                    <a:pt x="299624" y="13447"/>
                  </a:cubicBezTo>
                  <a:cubicBezTo>
                    <a:pt x="299624" y="13447"/>
                    <a:pt x="299624" y="13447"/>
                    <a:pt x="304113" y="19424"/>
                  </a:cubicBezTo>
                  <a:cubicBezTo>
                    <a:pt x="304113" y="19424"/>
                    <a:pt x="304113" y="19424"/>
                    <a:pt x="313089" y="17930"/>
                  </a:cubicBezTo>
                  <a:cubicBezTo>
                    <a:pt x="313089" y="17930"/>
                    <a:pt x="313089" y="17930"/>
                    <a:pt x="325058" y="20918"/>
                  </a:cubicBezTo>
                  <a:cubicBezTo>
                    <a:pt x="325058" y="20918"/>
                    <a:pt x="325058" y="20918"/>
                    <a:pt x="325058" y="25401"/>
                  </a:cubicBezTo>
                  <a:cubicBezTo>
                    <a:pt x="325058" y="25401"/>
                    <a:pt x="325058" y="25401"/>
                    <a:pt x="328050" y="31377"/>
                  </a:cubicBezTo>
                  <a:cubicBezTo>
                    <a:pt x="328050" y="31377"/>
                    <a:pt x="328050" y="31377"/>
                    <a:pt x="335530" y="37354"/>
                  </a:cubicBezTo>
                  <a:cubicBezTo>
                    <a:pt x="335530" y="37354"/>
                    <a:pt x="335530" y="37354"/>
                    <a:pt x="351987" y="37354"/>
                  </a:cubicBezTo>
                  <a:cubicBezTo>
                    <a:pt x="351987" y="37354"/>
                    <a:pt x="351987" y="37354"/>
                    <a:pt x="356475" y="37354"/>
                  </a:cubicBezTo>
                  <a:cubicBezTo>
                    <a:pt x="356475" y="37354"/>
                    <a:pt x="356475" y="37354"/>
                    <a:pt x="360963" y="34366"/>
                  </a:cubicBezTo>
                  <a:cubicBezTo>
                    <a:pt x="360963" y="34366"/>
                    <a:pt x="360963" y="34366"/>
                    <a:pt x="366948" y="34366"/>
                  </a:cubicBezTo>
                  <a:cubicBezTo>
                    <a:pt x="366948" y="34366"/>
                    <a:pt x="366948" y="34366"/>
                    <a:pt x="374428" y="38848"/>
                  </a:cubicBezTo>
                  <a:cubicBezTo>
                    <a:pt x="374428" y="38848"/>
                    <a:pt x="374428" y="38848"/>
                    <a:pt x="375924" y="43331"/>
                  </a:cubicBezTo>
                  <a:cubicBezTo>
                    <a:pt x="375924" y="43331"/>
                    <a:pt x="375924" y="43331"/>
                    <a:pt x="375924" y="47813"/>
                  </a:cubicBezTo>
                  <a:cubicBezTo>
                    <a:pt x="375924" y="47813"/>
                    <a:pt x="375924" y="47813"/>
                    <a:pt x="375924" y="48560"/>
                  </a:cubicBezTo>
                  <a:lnTo>
                    <a:pt x="375924" y="50802"/>
                  </a:lnTo>
                  <a:cubicBezTo>
                    <a:pt x="375924" y="50802"/>
                    <a:pt x="375924" y="50802"/>
                    <a:pt x="383404" y="46319"/>
                  </a:cubicBezTo>
                  <a:cubicBezTo>
                    <a:pt x="383404" y="46319"/>
                    <a:pt x="383404" y="46319"/>
                    <a:pt x="392381" y="43331"/>
                  </a:cubicBezTo>
                  <a:cubicBezTo>
                    <a:pt x="392381" y="43331"/>
                    <a:pt x="392381" y="43331"/>
                    <a:pt x="398365" y="43331"/>
                  </a:cubicBezTo>
                  <a:cubicBezTo>
                    <a:pt x="398365" y="43331"/>
                    <a:pt x="398365" y="43331"/>
                    <a:pt x="410334" y="47813"/>
                  </a:cubicBezTo>
                  <a:cubicBezTo>
                    <a:pt x="410334" y="47813"/>
                    <a:pt x="410334" y="47813"/>
                    <a:pt x="420806" y="50802"/>
                  </a:cubicBezTo>
                  <a:cubicBezTo>
                    <a:pt x="420806" y="50802"/>
                    <a:pt x="420806" y="50802"/>
                    <a:pt x="432775" y="47813"/>
                  </a:cubicBezTo>
                  <a:cubicBezTo>
                    <a:pt x="432775" y="47813"/>
                    <a:pt x="432775" y="47813"/>
                    <a:pt x="438759" y="43331"/>
                  </a:cubicBezTo>
                  <a:cubicBezTo>
                    <a:pt x="438759" y="43331"/>
                    <a:pt x="438759" y="43331"/>
                    <a:pt x="444743" y="43331"/>
                  </a:cubicBezTo>
                  <a:cubicBezTo>
                    <a:pt x="444743" y="43331"/>
                    <a:pt x="444743" y="43331"/>
                    <a:pt x="447736" y="43331"/>
                  </a:cubicBezTo>
                  <a:cubicBezTo>
                    <a:pt x="447736" y="43331"/>
                    <a:pt x="447736" y="43331"/>
                    <a:pt x="455216" y="50802"/>
                  </a:cubicBezTo>
                  <a:cubicBezTo>
                    <a:pt x="455216" y="50802"/>
                    <a:pt x="455216" y="50802"/>
                    <a:pt x="462696" y="56778"/>
                  </a:cubicBezTo>
                  <a:cubicBezTo>
                    <a:pt x="462696" y="56778"/>
                    <a:pt x="462696" y="56778"/>
                    <a:pt x="476161" y="58272"/>
                  </a:cubicBezTo>
                  <a:lnTo>
                    <a:pt x="482145" y="110568"/>
                  </a:lnTo>
                  <a:cubicBezTo>
                    <a:pt x="482145" y="110568"/>
                    <a:pt x="482145" y="110568"/>
                    <a:pt x="500098" y="242056"/>
                  </a:cubicBezTo>
                  <a:cubicBezTo>
                    <a:pt x="500098" y="242056"/>
                    <a:pt x="500098" y="242056"/>
                    <a:pt x="521043" y="400438"/>
                  </a:cubicBezTo>
                  <a:cubicBezTo>
                    <a:pt x="521043" y="400438"/>
                    <a:pt x="521043" y="400438"/>
                    <a:pt x="525531" y="409403"/>
                  </a:cubicBezTo>
                  <a:cubicBezTo>
                    <a:pt x="525531" y="409403"/>
                    <a:pt x="525531" y="409403"/>
                    <a:pt x="540492" y="409403"/>
                  </a:cubicBezTo>
                  <a:cubicBezTo>
                    <a:pt x="540492" y="409403"/>
                    <a:pt x="540492" y="409403"/>
                    <a:pt x="543484" y="400438"/>
                  </a:cubicBezTo>
                  <a:cubicBezTo>
                    <a:pt x="543484" y="400438"/>
                    <a:pt x="543484" y="400438"/>
                    <a:pt x="555453" y="400438"/>
                  </a:cubicBezTo>
                  <a:cubicBezTo>
                    <a:pt x="555453" y="400438"/>
                    <a:pt x="555453" y="400438"/>
                    <a:pt x="555453" y="404920"/>
                  </a:cubicBezTo>
                  <a:cubicBezTo>
                    <a:pt x="555453" y="404920"/>
                    <a:pt x="555453" y="404920"/>
                    <a:pt x="559941" y="410897"/>
                  </a:cubicBezTo>
                  <a:cubicBezTo>
                    <a:pt x="559941" y="410897"/>
                    <a:pt x="559941" y="410897"/>
                    <a:pt x="579390" y="424344"/>
                  </a:cubicBezTo>
                  <a:cubicBezTo>
                    <a:pt x="579390" y="424344"/>
                    <a:pt x="579390" y="424344"/>
                    <a:pt x="595847" y="442274"/>
                  </a:cubicBezTo>
                  <a:cubicBezTo>
                    <a:pt x="595847" y="442274"/>
                    <a:pt x="595847" y="442274"/>
                    <a:pt x="604823" y="434803"/>
                  </a:cubicBezTo>
                  <a:cubicBezTo>
                    <a:pt x="604823" y="434803"/>
                    <a:pt x="604823" y="434803"/>
                    <a:pt x="610807" y="419862"/>
                  </a:cubicBezTo>
                  <a:cubicBezTo>
                    <a:pt x="610807" y="419862"/>
                    <a:pt x="610807" y="419862"/>
                    <a:pt x="618288" y="412391"/>
                  </a:cubicBezTo>
                  <a:cubicBezTo>
                    <a:pt x="618288" y="412391"/>
                    <a:pt x="618288" y="412391"/>
                    <a:pt x="625768" y="407908"/>
                  </a:cubicBezTo>
                  <a:cubicBezTo>
                    <a:pt x="625768" y="407908"/>
                    <a:pt x="625768" y="407908"/>
                    <a:pt x="639233" y="413885"/>
                  </a:cubicBezTo>
                  <a:cubicBezTo>
                    <a:pt x="639233" y="413885"/>
                    <a:pt x="639233" y="413885"/>
                    <a:pt x="655690" y="425838"/>
                  </a:cubicBezTo>
                  <a:cubicBezTo>
                    <a:pt x="655690" y="425838"/>
                    <a:pt x="655690" y="425838"/>
                    <a:pt x="672146" y="442274"/>
                  </a:cubicBezTo>
                  <a:cubicBezTo>
                    <a:pt x="672146" y="442274"/>
                    <a:pt x="672146" y="442274"/>
                    <a:pt x="684115" y="455722"/>
                  </a:cubicBezTo>
                  <a:cubicBezTo>
                    <a:pt x="684115" y="455722"/>
                    <a:pt x="684115" y="455722"/>
                    <a:pt x="708052" y="479629"/>
                  </a:cubicBezTo>
                  <a:cubicBezTo>
                    <a:pt x="708052" y="479629"/>
                    <a:pt x="708052" y="479629"/>
                    <a:pt x="723013" y="500547"/>
                  </a:cubicBezTo>
                  <a:cubicBezTo>
                    <a:pt x="723013" y="500547"/>
                    <a:pt x="723013" y="500547"/>
                    <a:pt x="731989" y="502041"/>
                  </a:cubicBezTo>
                  <a:cubicBezTo>
                    <a:pt x="731989" y="502041"/>
                    <a:pt x="731989" y="502041"/>
                    <a:pt x="742462" y="503535"/>
                  </a:cubicBezTo>
                  <a:cubicBezTo>
                    <a:pt x="742462" y="503535"/>
                    <a:pt x="742462" y="503535"/>
                    <a:pt x="760415" y="509512"/>
                  </a:cubicBezTo>
                  <a:cubicBezTo>
                    <a:pt x="760415" y="509512"/>
                    <a:pt x="760415" y="509512"/>
                    <a:pt x="767895" y="513994"/>
                  </a:cubicBezTo>
                  <a:cubicBezTo>
                    <a:pt x="767895" y="513994"/>
                    <a:pt x="767895" y="513994"/>
                    <a:pt x="767895" y="519971"/>
                  </a:cubicBezTo>
                  <a:cubicBezTo>
                    <a:pt x="767895" y="519971"/>
                    <a:pt x="767895" y="519971"/>
                    <a:pt x="770887" y="533419"/>
                  </a:cubicBezTo>
                  <a:cubicBezTo>
                    <a:pt x="770887" y="533419"/>
                    <a:pt x="770887" y="533419"/>
                    <a:pt x="770887" y="539395"/>
                  </a:cubicBezTo>
                  <a:cubicBezTo>
                    <a:pt x="770887" y="539395"/>
                    <a:pt x="770887" y="539395"/>
                    <a:pt x="770887" y="545372"/>
                  </a:cubicBezTo>
                  <a:cubicBezTo>
                    <a:pt x="770887" y="545372"/>
                    <a:pt x="770887" y="545372"/>
                    <a:pt x="770887" y="558820"/>
                  </a:cubicBezTo>
                  <a:cubicBezTo>
                    <a:pt x="770887" y="558820"/>
                    <a:pt x="770887" y="558820"/>
                    <a:pt x="764903" y="563302"/>
                  </a:cubicBezTo>
                  <a:cubicBezTo>
                    <a:pt x="764903" y="563302"/>
                    <a:pt x="764903" y="563302"/>
                    <a:pt x="760415" y="557325"/>
                  </a:cubicBezTo>
                  <a:cubicBezTo>
                    <a:pt x="760415" y="557325"/>
                    <a:pt x="760415" y="557325"/>
                    <a:pt x="755926" y="549855"/>
                  </a:cubicBezTo>
                  <a:cubicBezTo>
                    <a:pt x="755926" y="549855"/>
                    <a:pt x="755926" y="549855"/>
                    <a:pt x="751438" y="552843"/>
                  </a:cubicBezTo>
                  <a:cubicBezTo>
                    <a:pt x="751438" y="552843"/>
                    <a:pt x="751438" y="552843"/>
                    <a:pt x="755926" y="560314"/>
                  </a:cubicBezTo>
                  <a:cubicBezTo>
                    <a:pt x="755926" y="560314"/>
                    <a:pt x="755926" y="560314"/>
                    <a:pt x="752934" y="561808"/>
                  </a:cubicBezTo>
                  <a:cubicBezTo>
                    <a:pt x="752934" y="561808"/>
                    <a:pt x="752934" y="561808"/>
                    <a:pt x="748446" y="558820"/>
                  </a:cubicBezTo>
                  <a:cubicBezTo>
                    <a:pt x="748446" y="558820"/>
                    <a:pt x="748446" y="558820"/>
                    <a:pt x="739470" y="555831"/>
                  </a:cubicBezTo>
                  <a:cubicBezTo>
                    <a:pt x="739470" y="555831"/>
                    <a:pt x="739470" y="555831"/>
                    <a:pt x="739470" y="549855"/>
                  </a:cubicBezTo>
                  <a:cubicBezTo>
                    <a:pt x="739470" y="549855"/>
                    <a:pt x="739470" y="549855"/>
                    <a:pt x="736478" y="542384"/>
                  </a:cubicBezTo>
                  <a:cubicBezTo>
                    <a:pt x="736478" y="542384"/>
                    <a:pt x="736478" y="542384"/>
                    <a:pt x="731989" y="539395"/>
                  </a:cubicBezTo>
                  <a:cubicBezTo>
                    <a:pt x="731989" y="539395"/>
                    <a:pt x="731989" y="539395"/>
                    <a:pt x="728997" y="533419"/>
                  </a:cubicBezTo>
                  <a:cubicBezTo>
                    <a:pt x="728997" y="533419"/>
                    <a:pt x="728997" y="533419"/>
                    <a:pt x="717029" y="524454"/>
                  </a:cubicBezTo>
                  <a:cubicBezTo>
                    <a:pt x="717029" y="524454"/>
                    <a:pt x="717029" y="524454"/>
                    <a:pt x="706556" y="525948"/>
                  </a:cubicBezTo>
                  <a:cubicBezTo>
                    <a:pt x="706556" y="525948"/>
                    <a:pt x="706556" y="525948"/>
                    <a:pt x="709548" y="530430"/>
                  </a:cubicBezTo>
                  <a:cubicBezTo>
                    <a:pt x="709548" y="530430"/>
                    <a:pt x="709548" y="530430"/>
                    <a:pt x="712540" y="533419"/>
                  </a:cubicBezTo>
                  <a:cubicBezTo>
                    <a:pt x="712540" y="533419"/>
                    <a:pt x="712540" y="533419"/>
                    <a:pt x="723013" y="539395"/>
                  </a:cubicBezTo>
                  <a:cubicBezTo>
                    <a:pt x="723013" y="539395"/>
                    <a:pt x="723013" y="539395"/>
                    <a:pt x="728997" y="545372"/>
                  </a:cubicBezTo>
                  <a:cubicBezTo>
                    <a:pt x="728997" y="545372"/>
                    <a:pt x="728997" y="545372"/>
                    <a:pt x="728997" y="549855"/>
                  </a:cubicBezTo>
                  <a:cubicBezTo>
                    <a:pt x="728997" y="549855"/>
                    <a:pt x="728997" y="549855"/>
                    <a:pt x="733485" y="554337"/>
                  </a:cubicBezTo>
                  <a:cubicBezTo>
                    <a:pt x="733485" y="554337"/>
                    <a:pt x="733485" y="554337"/>
                    <a:pt x="736478" y="558820"/>
                  </a:cubicBezTo>
                  <a:cubicBezTo>
                    <a:pt x="736478" y="558820"/>
                    <a:pt x="736478" y="558820"/>
                    <a:pt x="739470" y="569279"/>
                  </a:cubicBezTo>
                  <a:cubicBezTo>
                    <a:pt x="739470" y="569279"/>
                    <a:pt x="739470" y="569279"/>
                    <a:pt x="739470" y="572267"/>
                  </a:cubicBezTo>
                  <a:cubicBezTo>
                    <a:pt x="739470" y="572267"/>
                    <a:pt x="739470" y="572267"/>
                    <a:pt x="734981" y="573761"/>
                  </a:cubicBezTo>
                  <a:cubicBezTo>
                    <a:pt x="734981" y="573761"/>
                    <a:pt x="734981" y="573761"/>
                    <a:pt x="731989" y="566290"/>
                  </a:cubicBezTo>
                  <a:cubicBezTo>
                    <a:pt x="731989" y="566290"/>
                    <a:pt x="731989" y="566290"/>
                    <a:pt x="731989" y="573761"/>
                  </a:cubicBezTo>
                  <a:cubicBezTo>
                    <a:pt x="731989" y="573761"/>
                    <a:pt x="731989" y="573761"/>
                    <a:pt x="728997" y="579738"/>
                  </a:cubicBezTo>
                  <a:cubicBezTo>
                    <a:pt x="728997" y="579738"/>
                    <a:pt x="728997" y="579738"/>
                    <a:pt x="724509" y="578244"/>
                  </a:cubicBezTo>
                  <a:cubicBezTo>
                    <a:pt x="724509" y="578244"/>
                    <a:pt x="724509" y="578244"/>
                    <a:pt x="717029" y="570773"/>
                  </a:cubicBezTo>
                  <a:cubicBezTo>
                    <a:pt x="717029" y="570773"/>
                    <a:pt x="717029" y="570773"/>
                    <a:pt x="709548" y="561808"/>
                  </a:cubicBezTo>
                  <a:cubicBezTo>
                    <a:pt x="709548" y="561808"/>
                    <a:pt x="709548" y="561808"/>
                    <a:pt x="703564" y="564796"/>
                  </a:cubicBezTo>
                  <a:cubicBezTo>
                    <a:pt x="703564" y="564796"/>
                    <a:pt x="703564" y="564796"/>
                    <a:pt x="699076" y="564796"/>
                  </a:cubicBezTo>
                  <a:cubicBezTo>
                    <a:pt x="699076" y="564796"/>
                    <a:pt x="699076" y="564796"/>
                    <a:pt x="702068" y="555831"/>
                  </a:cubicBezTo>
                  <a:cubicBezTo>
                    <a:pt x="702068" y="555831"/>
                    <a:pt x="702068" y="555831"/>
                    <a:pt x="709548" y="554337"/>
                  </a:cubicBezTo>
                  <a:cubicBezTo>
                    <a:pt x="709548" y="554337"/>
                    <a:pt x="709548" y="554337"/>
                    <a:pt x="706556" y="545372"/>
                  </a:cubicBezTo>
                  <a:cubicBezTo>
                    <a:pt x="706556" y="545372"/>
                    <a:pt x="706556" y="545372"/>
                    <a:pt x="697580" y="549855"/>
                  </a:cubicBezTo>
                  <a:cubicBezTo>
                    <a:pt x="697580" y="549855"/>
                    <a:pt x="697580" y="549855"/>
                    <a:pt x="700572" y="540890"/>
                  </a:cubicBezTo>
                  <a:cubicBezTo>
                    <a:pt x="700572" y="540890"/>
                    <a:pt x="700572" y="540890"/>
                    <a:pt x="696084" y="534913"/>
                  </a:cubicBezTo>
                  <a:cubicBezTo>
                    <a:pt x="696084" y="534913"/>
                    <a:pt x="696084" y="534913"/>
                    <a:pt x="694588" y="530430"/>
                  </a:cubicBezTo>
                  <a:cubicBezTo>
                    <a:pt x="694588" y="530430"/>
                    <a:pt x="694588" y="530430"/>
                    <a:pt x="694588" y="525948"/>
                  </a:cubicBezTo>
                  <a:cubicBezTo>
                    <a:pt x="694588" y="525948"/>
                    <a:pt x="694588" y="525948"/>
                    <a:pt x="700572" y="516983"/>
                  </a:cubicBezTo>
                  <a:cubicBezTo>
                    <a:pt x="700572" y="516983"/>
                    <a:pt x="700572" y="516983"/>
                    <a:pt x="693091" y="516983"/>
                  </a:cubicBezTo>
                  <a:cubicBezTo>
                    <a:pt x="693091" y="516983"/>
                    <a:pt x="693091" y="516983"/>
                    <a:pt x="690099" y="519971"/>
                  </a:cubicBezTo>
                  <a:cubicBezTo>
                    <a:pt x="690099" y="519971"/>
                    <a:pt x="690099" y="519971"/>
                    <a:pt x="690099" y="522959"/>
                  </a:cubicBezTo>
                  <a:cubicBezTo>
                    <a:pt x="690099" y="522959"/>
                    <a:pt x="690099" y="522959"/>
                    <a:pt x="690099" y="531925"/>
                  </a:cubicBezTo>
                  <a:cubicBezTo>
                    <a:pt x="690099" y="531925"/>
                    <a:pt x="690099" y="531925"/>
                    <a:pt x="685611" y="534913"/>
                  </a:cubicBezTo>
                  <a:cubicBezTo>
                    <a:pt x="685611" y="534913"/>
                    <a:pt x="685611" y="534913"/>
                    <a:pt x="682619" y="537901"/>
                  </a:cubicBezTo>
                  <a:cubicBezTo>
                    <a:pt x="682619" y="537901"/>
                    <a:pt x="682619" y="534913"/>
                    <a:pt x="682619" y="533419"/>
                  </a:cubicBezTo>
                  <a:cubicBezTo>
                    <a:pt x="682619" y="531925"/>
                    <a:pt x="681123" y="527442"/>
                    <a:pt x="681123" y="527442"/>
                  </a:cubicBezTo>
                  <a:cubicBezTo>
                    <a:pt x="681123" y="527442"/>
                    <a:pt x="679627" y="522959"/>
                    <a:pt x="679627" y="519971"/>
                  </a:cubicBezTo>
                  <a:cubicBezTo>
                    <a:pt x="679627" y="518477"/>
                    <a:pt x="678131" y="515489"/>
                    <a:pt x="678131" y="515489"/>
                  </a:cubicBezTo>
                  <a:cubicBezTo>
                    <a:pt x="678131" y="515489"/>
                    <a:pt x="676635" y="512500"/>
                    <a:pt x="676635" y="511006"/>
                  </a:cubicBezTo>
                  <a:cubicBezTo>
                    <a:pt x="676635" y="508018"/>
                    <a:pt x="676635" y="506524"/>
                    <a:pt x="676635" y="506524"/>
                  </a:cubicBezTo>
                  <a:cubicBezTo>
                    <a:pt x="676635" y="506524"/>
                    <a:pt x="678131" y="503535"/>
                    <a:pt x="681123" y="503535"/>
                  </a:cubicBezTo>
                  <a:cubicBezTo>
                    <a:pt x="682619" y="502041"/>
                    <a:pt x="684115" y="499053"/>
                    <a:pt x="684115" y="499053"/>
                  </a:cubicBezTo>
                  <a:cubicBezTo>
                    <a:pt x="684115" y="499053"/>
                    <a:pt x="684115" y="499053"/>
                    <a:pt x="690099" y="493076"/>
                  </a:cubicBezTo>
                  <a:cubicBezTo>
                    <a:pt x="690099" y="493076"/>
                    <a:pt x="690099" y="493076"/>
                    <a:pt x="684115" y="482617"/>
                  </a:cubicBezTo>
                  <a:cubicBezTo>
                    <a:pt x="684115" y="482617"/>
                    <a:pt x="684115" y="482617"/>
                    <a:pt x="681123" y="484111"/>
                  </a:cubicBezTo>
                  <a:cubicBezTo>
                    <a:pt x="681123" y="484111"/>
                    <a:pt x="681123" y="484111"/>
                    <a:pt x="678131" y="491582"/>
                  </a:cubicBezTo>
                  <a:cubicBezTo>
                    <a:pt x="678131" y="491582"/>
                    <a:pt x="678131" y="491582"/>
                    <a:pt x="672146" y="499053"/>
                  </a:cubicBezTo>
                  <a:cubicBezTo>
                    <a:pt x="672146" y="499053"/>
                    <a:pt x="672146" y="499053"/>
                    <a:pt x="667658" y="502041"/>
                  </a:cubicBezTo>
                  <a:cubicBezTo>
                    <a:pt x="667658" y="502041"/>
                    <a:pt x="667658" y="502041"/>
                    <a:pt x="666162" y="505029"/>
                  </a:cubicBezTo>
                  <a:cubicBezTo>
                    <a:pt x="666162" y="505029"/>
                    <a:pt x="666162" y="505029"/>
                    <a:pt x="669154" y="516983"/>
                  </a:cubicBezTo>
                  <a:cubicBezTo>
                    <a:pt x="669154" y="516983"/>
                    <a:pt x="669154" y="516983"/>
                    <a:pt x="675139" y="533419"/>
                  </a:cubicBezTo>
                  <a:cubicBezTo>
                    <a:pt x="675139" y="533419"/>
                    <a:pt x="675139" y="533419"/>
                    <a:pt x="669154" y="531925"/>
                  </a:cubicBezTo>
                  <a:cubicBezTo>
                    <a:pt x="669154" y="531925"/>
                    <a:pt x="669154" y="531925"/>
                    <a:pt x="660178" y="513994"/>
                  </a:cubicBezTo>
                  <a:cubicBezTo>
                    <a:pt x="660178" y="513994"/>
                    <a:pt x="660178" y="513994"/>
                    <a:pt x="649705" y="499053"/>
                  </a:cubicBezTo>
                  <a:cubicBezTo>
                    <a:pt x="649705" y="499053"/>
                    <a:pt x="649705" y="499053"/>
                    <a:pt x="646713" y="508018"/>
                  </a:cubicBezTo>
                  <a:cubicBezTo>
                    <a:pt x="646713" y="508018"/>
                    <a:pt x="646713" y="508018"/>
                    <a:pt x="643721" y="506524"/>
                  </a:cubicBezTo>
                  <a:cubicBezTo>
                    <a:pt x="643721" y="506524"/>
                    <a:pt x="643721" y="506524"/>
                    <a:pt x="639233" y="496064"/>
                  </a:cubicBezTo>
                  <a:cubicBezTo>
                    <a:pt x="639233" y="496064"/>
                    <a:pt x="639233" y="496064"/>
                    <a:pt x="633249" y="491582"/>
                  </a:cubicBezTo>
                  <a:cubicBezTo>
                    <a:pt x="633249" y="491582"/>
                    <a:pt x="633249" y="491582"/>
                    <a:pt x="618288" y="475146"/>
                  </a:cubicBezTo>
                  <a:cubicBezTo>
                    <a:pt x="618288" y="475146"/>
                    <a:pt x="618288" y="475146"/>
                    <a:pt x="618288" y="464687"/>
                  </a:cubicBezTo>
                  <a:cubicBezTo>
                    <a:pt x="618288" y="464687"/>
                    <a:pt x="618288" y="464687"/>
                    <a:pt x="615296" y="470664"/>
                  </a:cubicBezTo>
                  <a:cubicBezTo>
                    <a:pt x="615296" y="470664"/>
                    <a:pt x="615296" y="470664"/>
                    <a:pt x="607815" y="467675"/>
                  </a:cubicBezTo>
                  <a:cubicBezTo>
                    <a:pt x="607815" y="467675"/>
                    <a:pt x="607815" y="467675"/>
                    <a:pt x="591358" y="452734"/>
                  </a:cubicBezTo>
                  <a:cubicBezTo>
                    <a:pt x="591358" y="452734"/>
                    <a:pt x="591358" y="452734"/>
                    <a:pt x="580886" y="440780"/>
                  </a:cubicBezTo>
                  <a:cubicBezTo>
                    <a:pt x="580886" y="440780"/>
                    <a:pt x="580886" y="440780"/>
                    <a:pt x="574902" y="442274"/>
                  </a:cubicBezTo>
                  <a:cubicBezTo>
                    <a:pt x="574902" y="442274"/>
                    <a:pt x="574902" y="442274"/>
                    <a:pt x="561437" y="439286"/>
                  </a:cubicBezTo>
                  <a:cubicBezTo>
                    <a:pt x="561437" y="439286"/>
                    <a:pt x="561437" y="439286"/>
                    <a:pt x="552461" y="430321"/>
                  </a:cubicBezTo>
                  <a:cubicBezTo>
                    <a:pt x="552461" y="430321"/>
                    <a:pt x="552461" y="430321"/>
                    <a:pt x="552461" y="419862"/>
                  </a:cubicBezTo>
                  <a:cubicBezTo>
                    <a:pt x="552461" y="419862"/>
                    <a:pt x="552461" y="419862"/>
                    <a:pt x="547972" y="422850"/>
                  </a:cubicBezTo>
                  <a:cubicBezTo>
                    <a:pt x="547972" y="422850"/>
                    <a:pt x="547972" y="422850"/>
                    <a:pt x="530020" y="422850"/>
                  </a:cubicBezTo>
                  <a:cubicBezTo>
                    <a:pt x="530020" y="422850"/>
                    <a:pt x="530020" y="422850"/>
                    <a:pt x="521043" y="421356"/>
                  </a:cubicBezTo>
                  <a:cubicBezTo>
                    <a:pt x="521043" y="421356"/>
                    <a:pt x="521043" y="421356"/>
                    <a:pt x="510571" y="418368"/>
                  </a:cubicBezTo>
                  <a:cubicBezTo>
                    <a:pt x="510571" y="418368"/>
                    <a:pt x="510571" y="418368"/>
                    <a:pt x="491122" y="416873"/>
                  </a:cubicBezTo>
                  <a:cubicBezTo>
                    <a:pt x="491122" y="416873"/>
                    <a:pt x="491122" y="416873"/>
                    <a:pt x="471673" y="421356"/>
                  </a:cubicBezTo>
                  <a:cubicBezTo>
                    <a:pt x="471673" y="421356"/>
                    <a:pt x="471673" y="421356"/>
                    <a:pt x="458208" y="424344"/>
                  </a:cubicBezTo>
                  <a:cubicBezTo>
                    <a:pt x="458208" y="424344"/>
                    <a:pt x="458208" y="424344"/>
                    <a:pt x="461200" y="412391"/>
                  </a:cubicBezTo>
                  <a:cubicBezTo>
                    <a:pt x="461200" y="412391"/>
                    <a:pt x="461200" y="412391"/>
                    <a:pt x="456712" y="415379"/>
                  </a:cubicBezTo>
                  <a:cubicBezTo>
                    <a:pt x="456712" y="415379"/>
                    <a:pt x="456712" y="415379"/>
                    <a:pt x="449232" y="410897"/>
                  </a:cubicBezTo>
                  <a:cubicBezTo>
                    <a:pt x="449232" y="410897"/>
                    <a:pt x="449232" y="410897"/>
                    <a:pt x="443247" y="407908"/>
                  </a:cubicBezTo>
                  <a:cubicBezTo>
                    <a:pt x="443247" y="407908"/>
                    <a:pt x="443247" y="407908"/>
                    <a:pt x="437263" y="407908"/>
                  </a:cubicBezTo>
                  <a:cubicBezTo>
                    <a:pt x="437263" y="407908"/>
                    <a:pt x="437263" y="407908"/>
                    <a:pt x="432775" y="407908"/>
                  </a:cubicBezTo>
                  <a:cubicBezTo>
                    <a:pt x="432775" y="407908"/>
                    <a:pt x="432775" y="407908"/>
                    <a:pt x="425294" y="412391"/>
                  </a:cubicBezTo>
                  <a:cubicBezTo>
                    <a:pt x="425294" y="412391"/>
                    <a:pt x="425294" y="412391"/>
                    <a:pt x="419310" y="415379"/>
                  </a:cubicBezTo>
                  <a:cubicBezTo>
                    <a:pt x="419310" y="415379"/>
                    <a:pt x="419310" y="415379"/>
                    <a:pt x="413326" y="422850"/>
                  </a:cubicBezTo>
                  <a:cubicBezTo>
                    <a:pt x="413326" y="422850"/>
                    <a:pt x="413326" y="422850"/>
                    <a:pt x="410334" y="425838"/>
                  </a:cubicBezTo>
                  <a:cubicBezTo>
                    <a:pt x="410334" y="425838"/>
                    <a:pt x="410334" y="425838"/>
                    <a:pt x="402853" y="424344"/>
                  </a:cubicBezTo>
                  <a:cubicBezTo>
                    <a:pt x="402853" y="424344"/>
                    <a:pt x="402853" y="424344"/>
                    <a:pt x="410334" y="418368"/>
                  </a:cubicBezTo>
                  <a:cubicBezTo>
                    <a:pt x="410334" y="418368"/>
                    <a:pt x="410334" y="418368"/>
                    <a:pt x="419310" y="409403"/>
                  </a:cubicBezTo>
                  <a:cubicBezTo>
                    <a:pt x="419310" y="409403"/>
                    <a:pt x="419310" y="409403"/>
                    <a:pt x="425294" y="403426"/>
                  </a:cubicBezTo>
                  <a:cubicBezTo>
                    <a:pt x="425294" y="403426"/>
                    <a:pt x="425294" y="403426"/>
                    <a:pt x="429783" y="397449"/>
                  </a:cubicBezTo>
                  <a:cubicBezTo>
                    <a:pt x="429783" y="397449"/>
                    <a:pt x="429783" y="397449"/>
                    <a:pt x="426791" y="397449"/>
                  </a:cubicBezTo>
                  <a:cubicBezTo>
                    <a:pt x="426791" y="397449"/>
                    <a:pt x="426791" y="397449"/>
                    <a:pt x="420806" y="394461"/>
                  </a:cubicBezTo>
                  <a:cubicBezTo>
                    <a:pt x="420806" y="394461"/>
                    <a:pt x="420806" y="394461"/>
                    <a:pt x="420806" y="384002"/>
                  </a:cubicBezTo>
                  <a:cubicBezTo>
                    <a:pt x="420806" y="384002"/>
                    <a:pt x="420806" y="384002"/>
                    <a:pt x="414822" y="388484"/>
                  </a:cubicBezTo>
                  <a:cubicBezTo>
                    <a:pt x="414822" y="388484"/>
                    <a:pt x="414822" y="388484"/>
                    <a:pt x="413326" y="389978"/>
                  </a:cubicBezTo>
                  <a:cubicBezTo>
                    <a:pt x="413326" y="389978"/>
                    <a:pt x="413326" y="389978"/>
                    <a:pt x="402853" y="389978"/>
                  </a:cubicBezTo>
                  <a:cubicBezTo>
                    <a:pt x="402853" y="389978"/>
                    <a:pt x="402853" y="389978"/>
                    <a:pt x="393877" y="388484"/>
                  </a:cubicBezTo>
                  <a:cubicBezTo>
                    <a:pt x="393877" y="388484"/>
                    <a:pt x="393877" y="388484"/>
                    <a:pt x="389389" y="392967"/>
                  </a:cubicBezTo>
                  <a:cubicBezTo>
                    <a:pt x="389389" y="392967"/>
                    <a:pt x="389389" y="392967"/>
                    <a:pt x="386397" y="401932"/>
                  </a:cubicBezTo>
                  <a:cubicBezTo>
                    <a:pt x="386397" y="401932"/>
                    <a:pt x="386397" y="401932"/>
                    <a:pt x="392381" y="409403"/>
                  </a:cubicBezTo>
                  <a:cubicBezTo>
                    <a:pt x="392381" y="409403"/>
                    <a:pt x="392381" y="409403"/>
                    <a:pt x="389389" y="421356"/>
                  </a:cubicBezTo>
                  <a:cubicBezTo>
                    <a:pt x="389389" y="421356"/>
                    <a:pt x="389389" y="421356"/>
                    <a:pt x="381908" y="428827"/>
                  </a:cubicBezTo>
                  <a:cubicBezTo>
                    <a:pt x="381908" y="428827"/>
                    <a:pt x="381908" y="428827"/>
                    <a:pt x="374428" y="428827"/>
                  </a:cubicBezTo>
                  <a:cubicBezTo>
                    <a:pt x="374428" y="428827"/>
                    <a:pt x="374428" y="428827"/>
                    <a:pt x="365452" y="428827"/>
                  </a:cubicBezTo>
                  <a:cubicBezTo>
                    <a:pt x="365452" y="428827"/>
                    <a:pt x="365452" y="428827"/>
                    <a:pt x="362459" y="439286"/>
                  </a:cubicBezTo>
                  <a:cubicBezTo>
                    <a:pt x="362459" y="439286"/>
                    <a:pt x="362459" y="439286"/>
                    <a:pt x="350491" y="443769"/>
                  </a:cubicBezTo>
                  <a:cubicBezTo>
                    <a:pt x="350491" y="443769"/>
                    <a:pt x="350491" y="443769"/>
                    <a:pt x="348995" y="446757"/>
                  </a:cubicBezTo>
                  <a:cubicBezTo>
                    <a:pt x="348995" y="446757"/>
                    <a:pt x="348995" y="446757"/>
                    <a:pt x="338522" y="454228"/>
                  </a:cubicBezTo>
                  <a:cubicBezTo>
                    <a:pt x="338522" y="454228"/>
                    <a:pt x="338522" y="454228"/>
                    <a:pt x="328050" y="457216"/>
                  </a:cubicBezTo>
                  <a:cubicBezTo>
                    <a:pt x="328050" y="457216"/>
                    <a:pt x="328050" y="457216"/>
                    <a:pt x="322065" y="458710"/>
                  </a:cubicBezTo>
                  <a:cubicBezTo>
                    <a:pt x="322065" y="458710"/>
                    <a:pt x="322065" y="458710"/>
                    <a:pt x="319073" y="454228"/>
                  </a:cubicBezTo>
                  <a:cubicBezTo>
                    <a:pt x="319073" y="454228"/>
                    <a:pt x="319073" y="454228"/>
                    <a:pt x="317577" y="451239"/>
                  </a:cubicBezTo>
                  <a:cubicBezTo>
                    <a:pt x="317577" y="451239"/>
                    <a:pt x="317577" y="451239"/>
                    <a:pt x="325058" y="448251"/>
                  </a:cubicBezTo>
                  <a:cubicBezTo>
                    <a:pt x="325058" y="448251"/>
                    <a:pt x="325058" y="448251"/>
                    <a:pt x="331042" y="440780"/>
                  </a:cubicBezTo>
                  <a:cubicBezTo>
                    <a:pt x="331042" y="440780"/>
                    <a:pt x="331042" y="440780"/>
                    <a:pt x="323561" y="440780"/>
                  </a:cubicBezTo>
                  <a:cubicBezTo>
                    <a:pt x="323561" y="440780"/>
                    <a:pt x="323561" y="440780"/>
                    <a:pt x="320569" y="436298"/>
                  </a:cubicBezTo>
                  <a:cubicBezTo>
                    <a:pt x="320569" y="436298"/>
                    <a:pt x="320569" y="436298"/>
                    <a:pt x="328050" y="425838"/>
                  </a:cubicBezTo>
                  <a:cubicBezTo>
                    <a:pt x="328050" y="425838"/>
                    <a:pt x="328050" y="425838"/>
                    <a:pt x="331042" y="415379"/>
                  </a:cubicBezTo>
                  <a:cubicBezTo>
                    <a:pt x="331042" y="415379"/>
                    <a:pt x="331042" y="415379"/>
                    <a:pt x="335530" y="400438"/>
                  </a:cubicBezTo>
                  <a:cubicBezTo>
                    <a:pt x="335530" y="400438"/>
                    <a:pt x="335530" y="400438"/>
                    <a:pt x="343010" y="391473"/>
                  </a:cubicBezTo>
                  <a:cubicBezTo>
                    <a:pt x="343010" y="391473"/>
                    <a:pt x="343010" y="391473"/>
                    <a:pt x="369940" y="394461"/>
                  </a:cubicBezTo>
                  <a:cubicBezTo>
                    <a:pt x="369940" y="394461"/>
                    <a:pt x="369940" y="394461"/>
                    <a:pt x="365452" y="388484"/>
                  </a:cubicBezTo>
                  <a:cubicBezTo>
                    <a:pt x="365452" y="388484"/>
                    <a:pt x="365452" y="388484"/>
                    <a:pt x="357971" y="386990"/>
                  </a:cubicBezTo>
                  <a:cubicBezTo>
                    <a:pt x="357971" y="386990"/>
                    <a:pt x="357971" y="386990"/>
                    <a:pt x="344507" y="381013"/>
                  </a:cubicBezTo>
                  <a:cubicBezTo>
                    <a:pt x="344507" y="381013"/>
                    <a:pt x="344507" y="381013"/>
                    <a:pt x="334034" y="385496"/>
                  </a:cubicBezTo>
                  <a:cubicBezTo>
                    <a:pt x="334034" y="385496"/>
                    <a:pt x="334034" y="385496"/>
                    <a:pt x="325058" y="392967"/>
                  </a:cubicBezTo>
                  <a:cubicBezTo>
                    <a:pt x="325058" y="392967"/>
                    <a:pt x="325058" y="392967"/>
                    <a:pt x="316081" y="400438"/>
                  </a:cubicBezTo>
                  <a:cubicBezTo>
                    <a:pt x="316081" y="400438"/>
                    <a:pt x="316081" y="400438"/>
                    <a:pt x="311593" y="409403"/>
                  </a:cubicBezTo>
                  <a:cubicBezTo>
                    <a:pt x="311593" y="409403"/>
                    <a:pt x="311593" y="409403"/>
                    <a:pt x="310097" y="416873"/>
                  </a:cubicBezTo>
                  <a:cubicBezTo>
                    <a:pt x="310097" y="416873"/>
                    <a:pt x="310097" y="416873"/>
                    <a:pt x="304113" y="416873"/>
                  </a:cubicBezTo>
                  <a:cubicBezTo>
                    <a:pt x="304113" y="416873"/>
                    <a:pt x="304113" y="416873"/>
                    <a:pt x="304113" y="419862"/>
                  </a:cubicBezTo>
                  <a:cubicBezTo>
                    <a:pt x="304113" y="419862"/>
                    <a:pt x="304113" y="419862"/>
                    <a:pt x="307105" y="425838"/>
                  </a:cubicBezTo>
                  <a:cubicBezTo>
                    <a:pt x="307105" y="425838"/>
                    <a:pt x="307105" y="425838"/>
                    <a:pt x="305609" y="430321"/>
                  </a:cubicBezTo>
                  <a:cubicBezTo>
                    <a:pt x="305609" y="430321"/>
                    <a:pt x="305609" y="430321"/>
                    <a:pt x="301120" y="434803"/>
                  </a:cubicBezTo>
                  <a:cubicBezTo>
                    <a:pt x="301120" y="434803"/>
                    <a:pt x="301120" y="434803"/>
                    <a:pt x="290648" y="440780"/>
                  </a:cubicBezTo>
                  <a:cubicBezTo>
                    <a:pt x="290648" y="440780"/>
                    <a:pt x="290648" y="440780"/>
                    <a:pt x="284664" y="445263"/>
                  </a:cubicBezTo>
                  <a:cubicBezTo>
                    <a:pt x="284664" y="445263"/>
                    <a:pt x="284664" y="445263"/>
                    <a:pt x="277183" y="452734"/>
                  </a:cubicBezTo>
                  <a:cubicBezTo>
                    <a:pt x="277183" y="452734"/>
                    <a:pt x="277183" y="452734"/>
                    <a:pt x="275687" y="460204"/>
                  </a:cubicBezTo>
                  <a:cubicBezTo>
                    <a:pt x="275687" y="460204"/>
                    <a:pt x="275687" y="460204"/>
                    <a:pt x="286160" y="463193"/>
                  </a:cubicBezTo>
                  <a:cubicBezTo>
                    <a:pt x="286160" y="463193"/>
                    <a:pt x="286160" y="463193"/>
                    <a:pt x="287656" y="473652"/>
                  </a:cubicBezTo>
                  <a:cubicBezTo>
                    <a:pt x="287656" y="473652"/>
                    <a:pt x="287656" y="473652"/>
                    <a:pt x="283168" y="479629"/>
                  </a:cubicBezTo>
                  <a:cubicBezTo>
                    <a:pt x="283168" y="479629"/>
                    <a:pt x="283168" y="479629"/>
                    <a:pt x="275687" y="484111"/>
                  </a:cubicBezTo>
                  <a:cubicBezTo>
                    <a:pt x="275687" y="484111"/>
                    <a:pt x="275687" y="484111"/>
                    <a:pt x="266711" y="496064"/>
                  </a:cubicBezTo>
                  <a:cubicBezTo>
                    <a:pt x="266711" y="496064"/>
                    <a:pt x="266711" y="496064"/>
                    <a:pt x="253246" y="505029"/>
                  </a:cubicBezTo>
                  <a:cubicBezTo>
                    <a:pt x="253246" y="505029"/>
                    <a:pt x="253246" y="505029"/>
                    <a:pt x="226317" y="518477"/>
                  </a:cubicBezTo>
                  <a:cubicBezTo>
                    <a:pt x="226317" y="518477"/>
                    <a:pt x="226317" y="518477"/>
                    <a:pt x="224821" y="530430"/>
                  </a:cubicBezTo>
                  <a:cubicBezTo>
                    <a:pt x="224821" y="530430"/>
                    <a:pt x="224821" y="530430"/>
                    <a:pt x="214348" y="534913"/>
                  </a:cubicBezTo>
                  <a:cubicBezTo>
                    <a:pt x="214348" y="534913"/>
                    <a:pt x="214348" y="534913"/>
                    <a:pt x="203876" y="540890"/>
                  </a:cubicBezTo>
                  <a:cubicBezTo>
                    <a:pt x="203876" y="540890"/>
                    <a:pt x="203876" y="540890"/>
                    <a:pt x="190411" y="545372"/>
                  </a:cubicBezTo>
                  <a:cubicBezTo>
                    <a:pt x="190411" y="545372"/>
                    <a:pt x="190411" y="545372"/>
                    <a:pt x="185923" y="548360"/>
                  </a:cubicBezTo>
                  <a:cubicBezTo>
                    <a:pt x="185923" y="548360"/>
                    <a:pt x="185923" y="548360"/>
                    <a:pt x="179939" y="552843"/>
                  </a:cubicBezTo>
                  <a:cubicBezTo>
                    <a:pt x="179939" y="552843"/>
                    <a:pt x="179939" y="552843"/>
                    <a:pt x="175450" y="557325"/>
                  </a:cubicBezTo>
                  <a:cubicBezTo>
                    <a:pt x="175450" y="557325"/>
                    <a:pt x="175450" y="557325"/>
                    <a:pt x="172458" y="566290"/>
                  </a:cubicBezTo>
                  <a:cubicBezTo>
                    <a:pt x="172458" y="566290"/>
                    <a:pt x="172458" y="566290"/>
                    <a:pt x="164978" y="567785"/>
                  </a:cubicBezTo>
                  <a:cubicBezTo>
                    <a:pt x="164978" y="567785"/>
                    <a:pt x="164978" y="567785"/>
                    <a:pt x="154505" y="570773"/>
                  </a:cubicBezTo>
                  <a:cubicBezTo>
                    <a:pt x="154505" y="570773"/>
                    <a:pt x="154505" y="570773"/>
                    <a:pt x="147025" y="570773"/>
                  </a:cubicBezTo>
                  <a:cubicBezTo>
                    <a:pt x="147025" y="570773"/>
                    <a:pt x="147025" y="570773"/>
                    <a:pt x="139545" y="573761"/>
                  </a:cubicBezTo>
                  <a:cubicBezTo>
                    <a:pt x="139545" y="573761"/>
                    <a:pt x="139545" y="573761"/>
                    <a:pt x="129072" y="579738"/>
                  </a:cubicBezTo>
                  <a:cubicBezTo>
                    <a:pt x="129072" y="579738"/>
                    <a:pt x="129072" y="579738"/>
                    <a:pt x="132064" y="587209"/>
                  </a:cubicBezTo>
                  <a:cubicBezTo>
                    <a:pt x="132064" y="587209"/>
                    <a:pt x="132064" y="587209"/>
                    <a:pt x="129072" y="588703"/>
                  </a:cubicBezTo>
                  <a:cubicBezTo>
                    <a:pt x="129072" y="588703"/>
                    <a:pt x="129072" y="588703"/>
                    <a:pt x="121592" y="584220"/>
                  </a:cubicBezTo>
                  <a:cubicBezTo>
                    <a:pt x="121592" y="584220"/>
                    <a:pt x="121592" y="584220"/>
                    <a:pt x="114111" y="581232"/>
                  </a:cubicBezTo>
                  <a:cubicBezTo>
                    <a:pt x="114111" y="581232"/>
                    <a:pt x="114111" y="581232"/>
                    <a:pt x="108127" y="572267"/>
                  </a:cubicBezTo>
                  <a:cubicBezTo>
                    <a:pt x="108127" y="572267"/>
                    <a:pt x="108127" y="572267"/>
                    <a:pt x="106631" y="575255"/>
                  </a:cubicBezTo>
                  <a:cubicBezTo>
                    <a:pt x="106631" y="575255"/>
                    <a:pt x="106631" y="575255"/>
                    <a:pt x="106631" y="587209"/>
                  </a:cubicBezTo>
                  <a:cubicBezTo>
                    <a:pt x="106631" y="587209"/>
                    <a:pt x="106631" y="587209"/>
                    <a:pt x="97655" y="587209"/>
                  </a:cubicBezTo>
                  <a:cubicBezTo>
                    <a:pt x="97655" y="587209"/>
                    <a:pt x="97655" y="587209"/>
                    <a:pt x="97655" y="591691"/>
                  </a:cubicBezTo>
                  <a:cubicBezTo>
                    <a:pt x="97655" y="591691"/>
                    <a:pt x="97655" y="591691"/>
                    <a:pt x="88678" y="591691"/>
                  </a:cubicBezTo>
                  <a:cubicBezTo>
                    <a:pt x="88678" y="591691"/>
                    <a:pt x="88678" y="591691"/>
                    <a:pt x="88678" y="590197"/>
                  </a:cubicBezTo>
                  <a:cubicBezTo>
                    <a:pt x="88678" y="588703"/>
                    <a:pt x="84190" y="588703"/>
                    <a:pt x="84190" y="588703"/>
                  </a:cubicBezTo>
                  <a:cubicBezTo>
                    <a:pt x="84190" y="588703"/>
                    <a:pt x="84190" y="588703"/>
                    <a:pt x="78206" y="588703"/>
                  </a:cubicBezTo>
                  <a:cubicBezTo>
                    <a:pt x="78206" y="588703"/>
                    <a:pt x="78206" y="588703"/>
                    <a:pt x="70725" y="590197"/>
                  </a:cubicBezTo>
                  <a:cubicBezTo>
                    <a:pt x="70725" y="590197"/>
                    <a:pt x="70725" y="590197"/>
                    <a:pt x="61749" y="599162"/>
                  </a:cubicBezTo>
                  <a:cubicBezTo>
                    <a:pt x="61749" y="599162"/>
                    <a:pt x="61749" y="599162"/>
                    <a:pt x="45292" y="599162"/>
                  </a:cubicBezTo>
                  <a:cubicBezTo>
                    <a:pt x="45292" y="599162"/>
                    <a:pt x="45292" y="599162"/>
                    <a:pt x="30331" y="599162"/>
                  </a:cubicBezTo>
                  <a:cubicBezTo>
                    <a:pt x="30331" y="599162"/>
                    <a:pt x="30331" y="599162"/>
                    <a:pt x="30331" y="593185"/>
                  </a:cubicBezTo>
                  <a:cubicBezTo>
                    <a:pt x="30331" y="593185"/>
                    <a:pt x="30331" y="593185"/>
                    <a:pt x="40804" y="581232"/>
                  </a:cubicBezTo>
                  <a:cubicBezTo>
                    <a:pt x="40804" y="581232"/>
                    <a:pt x="40804" y="581232"/>
                    <a:pt x="58757" y="581232"/>
                  </a:cubicBezTo>
                  <a:cubicBezTo>
                    <a:pt x="58757" y="581232"/>
                    <a:pt x="58757" y="581232"/>
                    <a:pt x="66237" y="581232"/>
                  </a:cubicBezTo>
                  <a:cubicBezTo>
                    <a:pt x="66237" y="581232"/>
                    <a:pt x="66237" y="581232"/>
                    <a:pt x="73717" y="576750"/>
                  </a:cubicBezTo>
                  <a:cubicBezTo>
                    <a:pt x="73717" y="576750"/>
                    <a:pt x="73717" y="576750"/>
                    <a:pt x="84190" y="573761"/>
                  </a:cubicBezTo>
                  <a:cubicBezTo>
                    <a:pt x="84190" y="573761"/>
                    <a:pt x="84190" y="573761"/>
                    <a:pt x="88678" y="570773"/>
                  </a:cubicBezTo>
                  <a:cubicBezTo>
                    <a:pt x="88678" y="570773"/>
                    <a:pt x="88678" y="570773"/>
                    <a:pt x="93166" y="563302"/>
                  </a:cubicBezTo>
                  <a:cubicBezTo>
                    <a:pt x="93166" y="563302"/>
                    <a:pt x="93166" y="563302"/>
                    <a:pt x="102143" y="558820"/>
                  </a:cubicBezTo>
                  <a:cubicBezTo>
                    <a:pt x="102143" y="558820"/>
                    <a:pt x="102143" y="558820"/>
                    <a:pt x="115607" y="557325"/>
                  </a:cubicBezTo>
                  <a:cubicBezTo>
                    <a:pt x="115607" y="557325"/>
                    <a:pt x="115607" y="557325"/>
                    <a:pt x="123088" y="557325"/>
                  </a:cubicBezTo>
                  <a:cubicBezTo>
                    <a:pt x="123088" y="557325"/>
                    <a:pt x="123088" y="557325"/>
                    <a:pt x="129072" y="563302"/>
                  </a:cubicBezTo>
                  <a:cubicBezTo>
                    <a:pt x="129072" y="563302"/>
                    <a:pt x="129072" y="563302"/>
                    <a:pt x="135056" y="558820"/>
                  </a:cubicBezTo>
                  <a:cubicBezTo>
                    <a:pt x="135056" y="558820"/>
                    <a:pt x="135056" y="558820"/>
                    <a:pt x="141041" y="549855"/>
                  </a:cubicBezTo>
                  <a:cubicBezTo>
                    <a:pt x="141041" y="549855"/>
                    <a:pt x="141041" y="549855"/>
                    <a:pt x="148521" y="542384"/>
                  </a:cubicBezTo>
                  <a:cubicBezTo>
                    <a:pt x="148521" y="542384"/>
                    <a:pt x="148521" y="542384"/>
                    <a:pt x="156001" y="537901"/>
                  </a:cubicBezTo>
                  <a:cubicBezTo>
                    <a:pt x="156001" y="537901"/>
                    <a:pt x="156001" y="537901"/>
                    <a:pt x="170962" y="534913"/>
                  </a:cubicBezTo>
                  <a:cubicBezTo>
                    <a:pt x="170962" y="534913"/>
                    <a:pt x="170962" y="534913"/>
                    <a:pt x="176946" y="528936"/>
                  </a:cubicBezTo>
                  <a:cubicBezTo>
                    <a:pt x="176946" y="528936"/>
                    <a:pt x="176946" y="528936"/>
                    <a:pt x="184427" y="521465"/>
                  </a:cubicBezTo>
                  <a:cubicBezTo>
                    <a:pt x="184427" y="521465"/>
                    <a:pt x="184427" y="521465"/>
                    <a:pt x="193403" y="513994"/>
                  </a:cubicBezTo>
                  <a:cubicBezTo>
                    <a:pt x="193403" y="513994"/>
                    <a:pt x="193403" y="513994"/>
                    <a:pt x="200884" y="509512"/>
                  </a:cubicBezTo>
                  <a:cubicBezTo>
                    <a:pt x="200884" y="509512"/>
                    <a:pt x="200884" y="509512"/>
                    <a:pt x="203876" y="500547"/>
                  </a:cubicBezTo>
                  <a:cubicBezTo>
                    <a:pt x="203876" y="500547"/>
                    <a:pt x="203876" y="500547"/>
                    <a:pt x="205372" y="487099"/>
                  </a:cubicBezTo>
                  <a:cubicBezTo>
                    <a:pt x="205372" y="487099"/>
                    <a:pt x="205372" y="487099"/>
                    <a:pt x="208364" y="478134"/>
                  </a:cubicBezTo>
                  <a:cubicBezTo>
                    <a:pt x="208364" y="478134"/>
                    <a:pt x="208364" y="478134"/>
                    <a:pt x="209860" y="475146"/>
                  </a:cubicBezTo>
                  <a:cubicBezTo>
                    <a:pt x="209860" y="475146"/>
                    <a:pt x="209860" y="475146"/>
                    <a:pt x="217340" y="464687"/>
                  </a:cubicBezTo>
                  <a:cubicBezTo>
                    <a:pt x="217340" y="464687"/>
                    <a:pt x="217340" y="464687"/>
                    <a:pt x="212852" y="464687"/>
                  </a:cubicBezTo>
                  <a:cubicBezTo>
                    <a:pt x="212852" y="464687"/>
                    <a:pt x="212852" y="464687"/>
                    <a:pt x="205372" y="466181"/>
                  </a:cubicBezTo>
                  <a:cubicBezTo>
                    <a:pt x="205372" y="466181"/>
                    <a:pt x="205372" y="466181"/>
                    <a:pt x="200884" y="466181"/>
                  </a:cubicBezTo>
                  <a:cubicBezTo>
                    <a:pt x="200884" y="466181"/>
                    <a:pt x="200884" y="466181"/>
                    <a:pt x="193403" y="464687"/>
                  </a:cubicBezTo>
                  <a:cubicBezTo>
                    <a:pt x="193403" y="464687"/>
                    <a:pt x="193403" y="464687"/>
                    <a:pt x="190411" y="461699"/>
                  </a:cubicBezTo>
                  <a:cubicBezTo>
                    <a:pt x="190411" y="461699"/>
                    <a:pt x="190411" y="461699"/>
                    <a:pt x="197891" y="454228"/>
                  </a:cubicBezTo>
                  <a:cubicBezTo>
                    <a:pt x="197891" y="454228"/>
                    <a:pt x="197891" y="454228"/>
                    <a:pt x="190411" y="455722"/>
                  </a:cubicBezTo>
                  <a:cubicBezTo>
                    <a:pt x="190411" y="455722"/>
                    <a:pt x="190411" y="455722"/>
                    <a:pt x="185923" y="460204"/>
                  </a:cubicBezTo>
                  <a:cubicBezTo>
                    <a:pt x="185923" y="460204"/>
                    <a:pt x="185923" y="460204"/>
                    <a:pt x="182931" y="470664"/>
                  </a:cubicBezTo>
                  <a:cubicBezTo>
                    <a:pt x="182931" y="470664"/>
                    <a:pt x="182931" y="470664"/>
                    <a:pt x="178442" y="475146"/>
                  </a:cubicBezTo>
                  <a:cubicBezTo>
                    <a:pt x="178442" y="475146"/>
                    <a:pt x="178442" y="475146"/>
                    <a:pt x="176946" y="470664"/>
                  </a:cubicBezTo>
                  <a:cubicBezTo>
                    <a:pt x="176946" y="470664"/>
                    <a:pt x="176946" y="470664"/>
                    <a:pt x="172458" y="464687"/>
                  </a:cubicBezTo>
                  <a:cubicBezTo>
                    <a:pt x="172458" y="464687"/>
                    <a:pt x="172458" y="464687"/>
                    <a:pt x="164978" y="457216"/>
                  </a:cubicBezTo>
                  <a:cubicBezTo>
                    <a:pt x="164978" y="457216"/>
                    <a:pt x="164978" y="457216"/>
                    <a:pt x="153009" y="449745"/>
                  </a:cubicBezTo>
                  <a:cubicBezTo>
                    <a:pt x="153009" y="449745"/>
                    <a:pt x="153009" y="449745"/>
                    <a:pt x="150017" y="449745"/>
                  </a:cubicBezTo>
                  <a:cubicBezTo>
                    <a:pt x="150017" y="449745"/>
                    <a:pt x="150017" y="449745"/>
                    <a:pt x="139545" y="457216"/>
                  </a:cubicBezTo>
                  <a:cubicBezTo>
                    <a:pt x="139545" y="457216"/>
                    <a:pt x="139545" y="457216"/>
                    <a:pt x="133560" y="457216"/>
                  </a:cubicBezTo>
                  <a:cubicBezTo>
                    <a:pt x="133560" y="457216"/>
                    <a:pt x="133560" y="457216"/>
                    <a:pt x="124584" y="457216"/>
                  </a:cubicBezTo>
                  <a:cubicBezTo>
                    <a:pt x="124584" y="457216"/>
                    <a:pt x="124584" y="457216"/>
                    <a:pt x="126080" y="437792"/>
                  </a:cubicBezTo>
                  <a:cubicBezTo>
                    <a:pt x="126080" y="437792"/>
                    <a:pt x="126080" y="437792"/>
                    <a:pt x="127576" y="431815"/>
                  </a:cubicBezTo>
                  <a:cubicBezTo>
                    <a:pt x="127576" y="431815"/>
                    <a:pt x="127576" y="431815"/>
                    <a:pt x="132064" y="425838"/>
                  </a:cubicBezTo>
                  <a:cubicBezTo>
                    <a:pt x="132064" y="425838"/>
                    <a:pt x="132064" y="425838"/>
                    <a:pt x="132064" y="418368"/>
                  </a:cubicBezTo>
                  <a:cubicBezTo>
                    <a:pt x="132064" y="418368"/>
                    <a:pt x="132064" y="418368"/>
                    <a:pt x="130568" y="406414"/>
                  </a:cubicBezTo>
                  <a:cubicBezTo>
                    <a:pt x="130568" y="406414"/>
                    <a:pt x="130568" y="406414"/>
                    <a:pt x="127576" y="394461"/>
                  </a:cubicBezTo>
                  <a:cubicBezTo>
                    <a:pt x="127576" y="394461"/>
                    <a:pt x="127576" y="394461"/>
                    <a:pt x="124584" y="397449"/>
                  </a:cubicBezTo>
                  <a:cubicBezTo>
                    <a:pt x="124584" y="397449"/>
                    <a:pt x="124584" y="397449"/>
                    <a:pt x="118600" y="403426"/>
                  </a:cubicBezTo>
                  <a:cubicBezTo>
                    <a:pt x="118600" y="403426"/>
                    <a:pt x="118600" y="403426"/>
                    <a:pt x="114111" y="406414"/>
                  </a:cubicBezTo>
                  <a:cubicBezTo>
                    <a:pt x="114111" y="406414"/>
                    <a:pt x="114111" y="406414"/>
                    <a:pt x="109623" y="406414"/>
                  </a:cubicBezTo>
                  <a:cubicBezTo>
                    <a:pt x="109623" y="406414"/>
                    <a:pt x="109623" y="406414"/>
                    <a:pt x="105135" y="401932"/>
                  </a:cubicBezTo>
                  <a:cubicBezTo>
                    <a:pt x="105135" y="401932"/>
                    <a:pt x="105135" y="401932"/>
                    <a:pt x="102143" y="401932"/>
                  </a:cubicBezTo>
                  <a:cubicBezTo>
                    <a:pt x="102143" y="401932"/>
                    <a:pt x="102143" y="401932"/>
                    <a:pt x="96158" y="398943"/>
                  </a:cubicBezTo>
                  <a:cubicBezTo>
                    <a:pt x="96158" y="398943"/>
                    <a:pt x="96158" y="398943"/>
                    <a:pt x="91670" y="394461"/>
                  </a:cubicBezTo>
                  <a:cubicBezTo>
                    <a:pt x="91670" y="394461"/>
                    <a:pt x="91670" y="394461"/>
                    <a:pt x="87182" y="391473"/>
                  </a:cubicBezTo>
                  <a:cubicBezTo>
                    <a:pt x="87182" y="391473"/>
                    <a:pt x="87182" y="391473"/>
                    <a:pt x="82694" y="386990"/>
                  </a:cubicBezTo>
                  <a:cubicBezTo>
                    <a:pt x="82694" y="386990"/>
                    <a:pt x="82694" y="386990"/>
                    <a:pt x="81198" y="382508"/>
                  </a:cubicBezTo>
                  <a:cubicBezTo>
                    <a:pt x="81198" y="382508"/>
                    <a:pt x="81198" y="382508"/>
                    <a:pt x="79702" y="372048"/>
                  </a:cubicBezTo>
                  <a:cubicBezTo>
                    <a:pt x="79702" y="372048"/>
                    <a:pt x="79702" y="372048"/>
                    <a:pt x="85686" y="367566"/>
                  </a:cubicBezTo>
                  <a:cubicBezTo>
                    <a:pt x="85686" y="367566"/>
                    <a:pt x="85686" y="367566"/>
                    <a:pt x="91670" y="367566"/>
                  </a:cubicBezTo>
                  <a:cubicBezTo>
                    <a:pt x="91670" y="367566"/>
                    <a:pt x="91670" y="367566"/>
                    <a:pt x="99151" y="367566"/>
                  </a:cubicBezTo>
                  <a:cubicBezTo>
                    <a:pt x="99151" y="367566"/>
                    <a:pt x="99151" y="367566"/>
                    <a:pt x="106631" y="372048"/>
                  </a:cubicBezTo>
                  <a:cubicBezTo>
                    <a:pt x="106631" y="372048"/>
                    <a:pt x="106631" y="372048"/>
                    <a:pt x="109623" y="364578"/>
                  </a:cubicBezTo>
                  <a:cubicBezTo>
                    <a:pt x="109623" y="364578"/>
                    <a:pt x="109623" y="364578"/>
                    <a:pt x="105135" y="360095"/>
                  </a:cubicBezTo>
                  <a:cubicBezTo>
                    <a:pt x="105135" y="360095"/>
                    <a:pt x="105135" y="360095"/>
                    <a:pt x="103639" y="360095"/>
                  </a:cubicBezTo>
                  <a:cubicBezTo>
                    <a:pt x="103639" y="360095"/>
                    <a:pt x="103639" y="360095"/>
                    <a:pt x="96158" y="360095"/>
                  </a:cubicBezTo>
                  <a:cubicBezTo>
                    <a:pt x="96158" y="360095"/>
                    <a:pt x="96158" y="360095"/>
                    <a:pt x="91670" y="360095"/>
                  </a:cubicBezTo>
                  <a:cubicBezTo>
                    <a:pt x="91670" y="360095"/>
                    <a:pt x="91670" y="360095"/>
                    <a:pt x="82694" y="354118"/>
                  </a:cubicBezTo>
                  <a:cubicBezTo>
                    <a:pt x="82694" y="354118"/>
                    <a:pt x="82694" y="354118"/>
                    <a:pt x="79702" y="348142"/>
                  </a:cubicBezTo>
                  <a:cubicBezTo>
                    <a:pt x="79702" y="348142"/>
                    <a:pt x="79702" y="348142"/>
                    <a:pt x="76710" y="340671"/>
                  </a:cubicBezTo>
                  <a:cubicBezTo>
                    <a:pt x="76710" y="340671"/>
                    <a:pt x="76710" y="340671"/>
                    <a:pt x="73717" y="333200"/>
                  </a:cubicBezTo>
                  <a:cubicBezTo>
                    <a:pt x="73717" y="333200"/>
                    <a:pt x="73717" y="333200"/>
                    <a:pt x="73717" y="330212"/>
                  </a:cubicBezTo>
                  <a:cubicBezTo>
                    <a:pt x="73717" y="330212"/>
                    <a:pt x="73717" y="330212"/>
                    <a:pt x="76710" y="327223"/>
                  </a:cubicBezTo>
                  <a:cubicBezTo>
                    <a:pt x="76710" y="327223"/>
                    <a:pt x="76710" y="327223"/>
                    <a:pt x="81198" y="319752"/>
                  </a:cubicBezTo>
                  <a:cubicBezTo>
                    <a:pt x="81198" y="319752"/>
                    <a:pt x="81198" y="319752"/>
                    <a:pt x="88678" y="310787"/>
                  </a:cubicBezTo>
                  <a:cubicBezTo>
                    <a:pt x="88678" y="310787"/>
                    <a:pt x="88678" y="310787"/>
                    <a:pt x="97655" y="304811"/>
                  </a:cubicBezTo>
                  <a:cubicBezTo>
                    <a:pt x="97655" y="304811"/>
                    <a:pt x="97655" y="304811"/>
                    <a:pt x="103639" y="297340"/>
                  </a:cubicBezTo>
                  <a:cubicBezTo>
                    <a:pt x="103639" y="297340"/>
                    <a:pt x="103639" y="297340"/>
                    <a:pt x="105135" y="289869"/>
                  </a:cubicBezTo>
                  <a:cubicBezTo>
                    <a:pt x="105135" y="289869"/>
                    <a:pt x="105135" y="289869"/>
                    <a:pt x="112615" y="282398"/>
                  </a:cubicBezTo>
                  <a:cubicBezTo>
                    <a:pt x="112615" y="282398"/>
                    <a:pt x="112615" y="282398"/>
                    <a:pt x="118600" y="280904"/>
                  </a:cubicBezTo>
                  <a:cubicBezTo>
                    <a:pt x="118600" y="280904"/>
                    <a:pt x="118600" y="280904"/>
                    <a:pt x="123088" y="283892"/>
                  </a:cubicBezTo>
                  <a:cubicBezTo>
                    <a:pt x="123088" y="283892"/>
                    <a:pt x="123088" y="283892"/>
                    <a:pt x="127576" y="289869"/>
                  </a:cubicBezTo>
                  <a:cubicBezTo>
                    <a:pt x="127576" y="289869"/>
                    <a:pt x="127576" y="289869"/>
                    <a:pt x="130568" y="289869"/>
                  </a:cubicBezTo>
                  <a:cubicBezTo>
                    <a:pt x="130568" y="289869"/>
                    <a:pt x="130568" y="289869"/>
                    <a:pt x="136552" y="289869"/>
                  </a:cubicBezTo>
                  <a:cubicBezTo>
                    <a:pt x="136552" y="289869"/>
                    <a:pt x="136552" y="289869"/>
                    <a:pt x="139545" y="289869"/>
                  </a:cubicBezTo>
                  <a:cubicBezTo>
                    <a:pt x="139545" y="289869"/>
                    <a:pt x="139545" y="289869"/>
                    <a:pt x="144033" y="283892"/>
                  </a:cubicBezTo>
                  <a:cubicBezTo>
                    <a:pt x="144033" y="283892"/>
                    <a:pt x="144033" y="283892"/>
                    <a:pt x="148521" y="283892"/>
                  </a:cubicBezTo>
                  <a:cubicBezTo>
                    <a:pt x="148521" y="283892"/>
                    <a:pt x="148521" y="283892"/>
                    <a:pt x="150017" y="280904"/>
                  </a:cubicBezTo>
                  <a:cubicBezTo>
                    <a:pt x="150017" y="280904"/>
                    <a:pt x="150017" y="280904"/>
                    <a:pt x="153009" y="276422"/>
                  </a:cubicBezTo>
                  <a:cubicBezTo>
                    <a:pt x="153009" y="276422"/>
                    <a:pt x="153009" y="276422"/>
                    <a:pt x="154505" y="280904"/>
                  </a:cubicBezTo>
                  <a:cubicBezTo>
                    <a:pt x="154505" y="280904"/>
                    <a:pt x="154505" y="280904"/>
                    <a:pt x="158994" y="280904"/>
                  </a:cubicBezTo>
                  <a:cubicBezTo>
                    <a:pt x="158994" y="280904"/>
                    <a:pt x="158994" y="280904"/>
                    <a:pt x="161986" y="280904"/>
                  </a:cubicBezTo>
                  <a:cubicBezTo>
                    <a:pt x="161986" y="280904"/>
                    <a:pt x="161986" y="280904"/>
                    <a:pt x="167970" y="280904"/>
                  </a:cubicBezTo>
                  <a:cubicBezTo>
                    <a:pt x="167970" y="280904"/>
                    <a:pt x="167970" y="280904"/>
                    <a:pt x="172458" y="276422"/>
                  </a:cubicBezTo>
                  <a:cubicBezTo>
                    <a:pt x="172458" y="276422"/>
                    <a:pt x="172458" y="276422"/>
                    <a:pt x="176946" y="276422"/>
                  </a:cubicBezTo>
                  <a:cubicBezTo>
                    <a:pt x="176946" y="276422"/>
                    <a:pt x="176946" y="276422"/>
                    <a:pt x="178442" y="265962"/>
                  </a:cubicBezTo>
                  <a:cubicBezTo>
                    <a:pt x="178442" y="265962"/>
                    <a:pt x="178442" y="265962"/>
                    <a:pt x="175450" y="258491"/>
                  </a:cubicBezTo>
                  <a:cubicBezTo>
                    <a:pt x="175450" y="258491"/>
                    <a:pt x="175450" y="258491"/>
                    <a:pt x="172458" y="246538"/>
                  </a:cubicBezTo>
                  <a:cubicBezTo>
                    <a:pt x="172458" y="246538"/>
                    <a:pt x="172458" y="246538"/>
                    <a:pt x="178442" y="246538"/>
                  </a:cubicBezTo>
                  <a:cubicBezTo>
                    <a:pt x="178442" y="246538"/>
                    <a:pt x="178442" y="246538"/>
                    <a:pt x="184427" y="240561"/>
                  </a:cubicBezTo>
                  <a:cubicBezTo>
                    <a:pt x="184427" y="240561"/>
                    <a:pt x="184427" y="240561"/>
                    <a:pt x="182931" y="231596"/>
                  </a:cubicBezTo>
                  <a:cubicBezTo>
                    <a:pt x="182931" y="231596"/>
                    <a:pt x="182931" y="231596"/>
                    <a:pt x="173954" y="230102"/>
                  </a:cubicBezTo>
                  <a:cubicBezTo>
                    <a:pt x="173954" y="230102"/>
                    <a:pt x="173954" y="230102"/>
                    <a:pt x="169466" y="230102"/>
                  </a:cubicBezTo>
                  <a:cubicBezTo>
                    <a:pt x="169466" y="230102"/>
                    <a:pt x="169466" y="230102"/>
                    <a:pt x="164978" y="231596"/>
                  </a:cubicBezTo>
                  <a:cubicBezTo>
                    <a:pt x="164978" y="231596"/>
                    <a:pt x="164978" y="231596"/>
                    <a:pt x="160490" y="234585"/>
                  </a:cubicBezTo>
                  <a:cubicBezTo>
                    <a:pt x="160490" y="234585"/>
                    <a:pt x="160490" y="234585"/>
                    <a:pt x="157497" y="240561"/>
                  </a:cubicBezTo>
                  <a:cubicBezTo>
                    <a:pt x="157497" y="240561"/>
                    <a:pt x="157497" y="240561"/>
                    <a:pt x="153009" y="240561"/>
                  </a:cubicBezTo>
                  <a:cubicBezTo>
                    <a:pt x="153009" y="240561"/>
                    <a:pt x="153009" y="240561"/>
                    <a:pt x="148521" y="231596"/>
                  </a:cubicBezTo>
                  <a:cubicBezTo>
                    <a:pt x="148521" y="231596"/>
                    <a:pt x="148521" y="231596"/>
                    <a:pt x="136552" y="231596"/>
                  </a:cubicBezTo>
                  <a:cubicBezTo>
                    <a:pt x="136552" y="231596"/>
                    <a:pt x="136552" y="231596"/>
                    <a:pt x="123088" y="231596"/>
                  </a:cubicBezTo>
                  <a:cubicBezTo>
                    <a:pt x="123088" y="231596"/>
                    <a:pt x="123088" y="231596"/>
                    <a:pt x="112615" y="228608"/>
                  </a:cubicBezTo>
                  <a:cubicBezTo>
                    <a:pt x="112615" y="228608"/>
                    <a:pt x="112615" y="228608"/>
                    <a:pt x="102143" y="224125"/>
                  </a:cubicBezTo>
                  <a:cubicBezTo>
                    <a:pt x="102143" y="224125"/>
                    <a:pt x="102143" y="224125"/>
                    <a:pt x="96158" y="216654"/>
                  </a:cubicBezTo>
                  <a:cubicBezTo>
                    <a:pt x="96158" y="216654"/>
                    <a:pt x="96158" y="216654"/>
                    <a:pt x="94662" y="201713"/>
                  </a:cubicBezTo>
                  <a:cubicBezTo>
                    <a:pt x="94662" y="201713"/>
                    <a:pt x="94662" y="201713"/>
                    <a:pt x="102143" y="198724"/>
                  </a:cubicBezTo>
                  <a:cubicBezTo>
                    <a:pt x="102143" y="198724"/>
                    <a:pt x="102143" y="198724"/>
                    <a:pt x="106631" y="195736"/>
                  </a:cubicBezTo>
                  <a:cubicBezTo>
                    <a:pt x="106631" y="195736"/>
                    <a:pt x="106631" y="195736"/>
                    <a:pt x="96158" y="191254"/>
                  </a:cubicBezTo>
                  <a:cubicBezTo>
                    <a:pt x="96158" y="191254"/>
                    <a:pt x="96158" y="191254"/>
                    <a:pt x="90174" y="186771"/>
                  </a:cubicBezTo>
                  <a:cubicBezTo>
                    <a:pt x="90174" y="186771"/>
                    <a:pt x="90174" y="186771"/>
                    <a:pt x="82694" y="180794"/>
                  </a:cubicBezTo>
                  <a:cubicBezTo>
                    <a:pt x="82694" y="180794"/>
                    <a:pt x="82694" y="180794"/>
                    <a:pt x="81198" y="177806"/>
                  </a:cubicBezTo>
                  <a:cubicBezTo>
                    <a:pt x="81198" y="177806"/>
                    <a:pt x="81198" y="177806"/>
                    <a:pt x="87182" y="173324"/>
                  </a:cubicBezTo>
                  <a:cubicBezTo>
                    <a:pt x="87182" y="173324"/>
                    <a:pt x="87182" y="173324"/>
                    <a:pt x="91670" y="173324"/>
                  </a:cubicBezTo>
                  <a:cubicBezTo>
                    <a:pt x="91670" y="173324"/>
                    <a:pt x="91670" y="173324"/>
                    <a:pt x="100647" y="171829"/>
                  </a:cubicBezTo>
                  <a:cubicBezTo>
                    <a:pt x="100647" y="171829"/>
                    <a:pt x="100647" y="171829"/>
                    <a:pt x="112615" y="164359"/>
                  </a:cubicBezTo>
                  <a:cubicBezTo>
                    <a:pt x="112615" y="164359"/>
                    <a:pt x="112615" y="164359"/>
                    <a:pt x="114111" y="167347"/>
                  </a:cubicBezTo>
                  <a:cubicBezTo>
                    <a:pt x="114111" y="167347"/>
                    <a:pt x="114111" y="167347"/>
                    <a:pt x="121592" y="164359"/>
                  </a:cubicBezTo>
                  <a:cubicBezTo>
                    <a:pt x="121592" y="164359"/>
                    <a:pt x="121592" y="164359"/>
                    <a:pt x="121592" y="162864"/>
                  </a:cubicBezTo>
                  <a:cubicBezTo>
                    <a:pt x="121592" y="162864"/>
                    <a:pt x="121592" y="162864"/>
                    <a:pt x="126080" y="161370"/>
                  </a:cubicBezTo>
                  <a:cubicBezTo>
                    <a:pt x="126080" y="161370"/>
                    <a:pt x="126080" y="161370"/>
                    <a:pt x="135056" y="159876"/>
                  </a:cubicBezTo>
                  <a:cubicBezTo>
                    <a:pt x="135056" y="159876"/>
                    <a:pt x="135056" y="159876"/>
                    <a:pt x="145529" y="159876"/>
                  </a:cubicBezTo>
                  <a:cubicBezTo>
                    <a:pt x="145529" y="159876"/>
                    <a:pt x="145529" y="159876"/>
                    <a:pt x="150017" y="162864"/>
                  </a:cubicBezTo>
                  <a:cubicBezTo>
                    <a:pt x="150017" y="162864"/>
                    <a:pt x="150017" y="162864"/>
                    <a:pt x="147025" y="170335"/>
                  </a:cubicBezTo>
                  <a:cubicBezTo>
                    <a:pt x="147025" y="170335"/>
                    <a:pt x="147025" y="170335"/>
                    <a:pt x="147025" y="173324"/>
                  </a:cubicBezTo>
                  <a:cubicBezTo>
                    <a:pt x="147025" y="173324"/>
                    <a:pt x="147025" y="173324"/>
                    <a:pt x="151513" y="176312"/>
                  </a:cubicBezTo>
                  <a:cubicBezTo>
                    <a:pt x="151513" y="176312"/>
                    <a:pt x="151513" y="176312"/>
                    <a:pt x="156001" y="180794"/>
                  </a:cubicBezTo>
                  <a:cubicBezTo>
                    <a:pt x="156001" y="180794"/>
                    <a:pt x="156001" y="180794"/>
                    <a:pt x="164978" y="180794"/>
                  </a:cubicBezTo>
                  <a:cubicBezTo>
                    <a:pt x="164978" y="180794"/>
                    <a:pt x="164978" y="180794"/>
                    <a:pt x="176946" y="183783"/>
                  </a:cubicBezTo>
                  <a:cubicBezTo>
                    <a:pt x="176946" y="183783"/>
                    <a:pt x="176946" y="183783"/>
                    <a:pt x="185923" y="179300"/>
                  </a:cubicBezTo>
                  <a:cubicBezTo>
                    <a:pt x="185923" y="179300"/>
                    <a:pt x="185923" y="179300"/>
                    <a:pt x="191907" y="173324"/>
                  </a:cubicBezTo>
                  <a:cubicBezTo>
                    <a:pt x="191907" y="173324"/>
                    <a:pt x="191907" y="173324"/>
                    <a:pt x="199387" y="168841"/>
                  </a:cubicBezTo>
                  <a:cubicBezTo>
                    <a:pt x="199387" y="168841"/>
                    <a:pt x="193403" y="165853"/>
                    <a:pt x="191907" y="165853"/>
                  </a:cubicBezTo>
                  <a:cubicBezTo>
                    <a:pt x="188915" y="165853"/>
                    <a:pt x="185923" y="162864"/>
                    <a:pt x="185923" y="162864"/>
                  </a:cubicBezTo>
                  <a:cubicBezTo>
                    <a:pt x="185923" y="162864"/>
                    <a:pt x="185923" y="162864"/>
                    <a:pt x="181435" y="159876"/>
                  </a:cubicBezTo>
                  <a:cubicBezTo>
                    <a:pt x="181435" y="159876"/>
                    <a:pt x="181435" y="159876"/>
                    <a:pt x="181435" y="153899"/>
                  </a:cubicBezTo>
                  <a:cubicBezTo>
                    <a:pt x="181435" y="153899"/>
                    <a:pt x="181435" y="153899"/>
                    <a:pt x="179939" y="146428"/>
                  </a:cubicBezTo>
                  <a:cubicBezTo>
                    <a:pt x="179939" y="146428"/>
                    <a:pt x="179939" y="146428"/>
                    <a:pt x="157497" y="140452"/>
                  </a:cubicBezTo>
                  <a:cubicBezTo>
                    <a:pt x="157497" y="140452"/>
                    <a:pt x="157497" y="140452"/>
                    <a:pt x="157497" y="118039"/>
                  </a:cubicBezTo>
                  <a:cubicBezTo>
                    <a:pt x="157497" y="118039"/>
                    <a:pt x="157497" y="118039"/>
                    <a:pt x="147025" y="107580"/>
                  </a:cubicBezTo>
                  <a:cubicBezTo>
                    <a:pt x="147025" y="107580"/>
                    <a:pt x="147025" y="107580"/>
                    <a:pt x="126080" y="85168"/>
                  </a:cubicBezTo>
                  <a:cubicBezTo>
                    <a:pt x="126080" y="85168"/>
                    <a:pt x="126080" y="85168"/>
                    <a:pt x="129072" y="85168"/>
                  </a:cubicBezTo>
                  <a:cubicBezTo>
                    <a:pt x="129072" y="85168"/>
                    <a:pt x="129072" y="85168"/>
                    <a:pt x="129072" y="80685"/>
                  </a:cubicBezTo>
                  <a:cubicBezTo>
                    <a:pt x="129072" y="80685"/>
                    <a:pt x="129072" y="80685"/>
                    <a:pt x="136552" y="80685"/>
                  </a:cubicBezTo>
                  <a:cubicBezTo>
                    <a:pt x="136552" y="80685"/>
                    <a:pt x="136552" y="80685"/>
                    <a:pt x="136552" y="74708"/>
                  </a:cubicBezTo>
                  <a:cubicBezTo>
                    <a:pt x="136552" y="74708"/>
                    <a:pt x="136552" y="74708"/>
                    <a:pt x="138048" y="67238"/>
                  </a:cubicBezTo>
                  <a:cubicBezTo>
                    <a:pt x="138048" y="67238"/>
                    <a:pt x="138048" y="67238"/>
                    <a:pt x="142537" y="67238"/>
                  </a:cubicBezTo>
                  <a:cubicBezTo>
                    <a:pt x="142537" y="67238"/>
                    <a:pt x="142537" y="67238"/>
                    <a:pt x="147025" y="70226"/>
                  </a:cubicBezTo>
                  <a:cubicBezTo>
                    <a:pt x="147025" y="70226"/>
                    <a:pt x="147025" y="70226"/>
                    <a:pt x="154505" y="70226"/>
                  </a:cubicBezTo>
                  <a:cubicBezTo>
                    <a:pt x="154505" y="70226"/>
                    <a:pt x="154505" y="70226"/>
                    <a:pt x="157497" y="70226"/>
                  </a:cubicBezTo>
                  <a:cubicBezTo>
                    <a:pt x="157497" y="70226"/>
                    <a:pt x="157497" y="70226"/>
                    <a:pt x="164978" y="70226"/>
                  </a:cubicBezTo>
                  <a:cubicBezTo>
                    <a:pt x="164978" y="70226"/>
                    <a:pt x="164978" y="70226"/>
                    <a:pt x="178442" y="65743"/>
                  </a:cubicBezTo>
                  <a:cubicBezTo>
                    <a:pt x="178442" y="65743"/>
                    <a:pt x="178442" y="65743"/>
                    <a:pt x="182931" y="61261"/>
                  </a:cubicBezTo>
                  <a:cubicBezTo>
                    <a:pt x="182931" y="61261"/>
                    <a:pt x="182931" y="61261"/>
                    <a:pt x="187419" y="53790"/>
                  </a:cubicBezTo>
                  <a:cubicBezTo>
                    <a:pt x="187419" y="53790"/>
                    <a:pt x="187419" y="53790"/>
                    <a:pt x="187419" y="41837"/>
                  </a:cubicBezTo>
                  <a:cubicBezTo>
                    <a:pt x="187419" y="41837"/>
                    <a:pt x="187419" y="41837"/>
                    <a:pt x="191907" y="41837"/>
                  </a:cubicBezTo>
                  <a:cubicBezTo>
                    <a:pt x="191907" y="41837"/>
                    <a:pt x="191907" y="41837"/>
                    <a:pt x="196395" y="37354"/>
                  </a:cubicBezTo>
                  <a:cubicBezTo>
                    <a:pt x="196395" y="37354"/>
                    <a:pt x="196395" y="37354"/>
                    <a:pt x="205372" y="29883"/>
                  </a:cubicBezTo>
                  <a:cubicBezTo>
                    <a:pt x="205372" y="29883"/>
                    <a:pt x="205372" y="29883"/>
                    <a:pt x="221829" y="26895"/>
                  </a:cubicBezTo>
                  <a:cubicBezTo>
                    <a:pt x="221829" y="26895"/>
                    <a:pt x="221829" y="26895"/>
                    <a:pt x="227813" y="19424"/>
                  </a:cubicBezTo>
                  <a:cubicBezTo>
                    <a:pt x="227813" y="19424"/>
                    <a:pt x="227813" y="19424"/>
                    <a:pt x="233797" y="16436"/>
                  </a:cubicBezTo>
                  <a:cubicBezTo>
                    <a:pt x="233797" y="16436"/>
                    <a:pt x="233797" y="16436"/>
                    <a:pt x="238285" y="11953"/>
                  </a:cubicBezTo>
                  <a:cubicBezTo>
                    <a:pt x="238285" y="11953"/>
                    <a:pt x="238285" y="11953"/>
                    <a:pt x="262223" y="13447"/>
                  </a:cubicBezTo>
                  <a:cubicBezTo>
                    <a:pt x="262223" y="13447"/>
                    <a:pt x="262223" y="13447"/>
                    <a:pt x="265215" y="5977"/>
                  </a:cubicBezTo>
                  <a:cubicBezTo>
                    <a:pt x="265215" y="5977"/>
                    <a:pt x="265215" y="5977"/>
                    <a:pt x="277183" y="0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D287C8B5-7CBF-E347-9619-7401C41B42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637" y="3282926"/>
              <a:ext cx="448593" cy="285010"/>
            </a:xfrm>
            <a:custGeom>
              <a:avLst/>
              <a:gdLst>
                <a:gd name="connsiteX0" fmla="*/ 373837 w 470138"/>
                <a:gd name="connsiteY0" fmla="*/ 178512 h 298698"/>
                <a:gd name="connsiteX1" fmla="*/ 376847 w 470138"/>
                <a:gd name="connsiteY1" fmla="*/ 178512 h 298698"/>
                <a:gd name="connsiteX2" fmla="*/ 382865 w 470138"/>
                <a:gd name="connsiteY2" fmla="*/ 178512 h 298698"/>
                <a:gd name="connsiteX3" fmla="*/ 391894 w 470138"/>
                <a:gd name="connsiteY3" fmla="*/ 184447 h 298698"/>
                <a:gd name="connsiteX4" fmla="*/ 399417 w 470138"/>
                <a:gd name="connsiteY4" fmla="*/ 191866 h 298698"/>
                <a:gd name="connsiteX5" fmla="*/ 405436 w 470138"/>
                <a:gd name="connsiteY5" fmla="*/ 193350 h 298698"/>
                <a:gd name="connsiteX6" fmla="*/ 409950 w 470138"/>
                <a:gd name="connsiteY6" fmla="*/ 193350 h 298698"/>
                <a:gd name="connsiteX7" fmla="*/ 417474 w 470138"/>
                <a:gd name="connsiteY7" fmla="*/ 193350 h 298698"/>
                <a:gd name="connsiteX8" fmla="*/ 432521 w 470138"/>
                <a:gd name="connsiteY8" fmla="*/ 199285 h 298698"/>
                <a:gd name="connsiteX9" fmla="*/ 441549 w 470138"/>
                <a:gd name="connsiteY9" fmla="*/ 206704 h 298698"/>
                <a:gd name="connsiteX10" fmla="*/ 441549 w 470138"/>
                <a:gd name="connsiteY10" fmla="*/ 212639 h 298698"/>
                <a:gd name="connsiteX11" fmla="*/ 444558 w 470138"/>
                <a:gd name="connsiteY11" fmla="*/ 225993 h 298698"/>
                <a:gd name="connsiteX12" fmla="*/ 449072 w 470138"/>
                <a:gd name="connsiteY12" fmla="*/ 225993 h 298698"/>
                <a:gd name="connsiteX13" fmla="*/ 452082 w 470138"/>
                <a:gd name="connsiteY13" fmla="*/ 225993 h 298698"/>
                <a:gd name="connsiteX14" fmla="*/ 452082 w 470138"/>
                <a:gd name="connsiteY14" fmla="*/ 234896 h 298698"/>
                <a:gd name="connsiteX15" fmla="*/ 456596 w 470138"/>
                <a:gd name="connsiteY15" fmla="*/ 234896 h 298698"/>
                <a:gd name="connsiteX16" fmla="*/ 462615 w 470138"/>
                <a:gd name="connsiteY16" fmla="*/ 240831 h 298698"/>
                <a:gd name="connsiteX17" fmla="*/ 470138 w 470138"/>
                <a:gd name="connsiteY17" fmla="*/ 240831 h 298698"/>
                <a:gd name="connsiteX18" fmla="*/ 462615 w 470138"/>
                <a:gd name="connsiteY18" fmla="*/ 251217 h 298698"/>
                <a:gd name="connsiteX19" fmla="*/ 456596 w 470138"/>
                <a:gd name="connsiteY19" fmla="*/ 254185 h 298698"/>
                <a:gd name="connsiteX20" fmla="*/ 449072 w 470138"/>
                <a:gd name="connsiteY20" fmla="*/ 267539 h 298698"/>
                <a:gd name="connsiteX21" fmla="*/ 440044 w 470138"/>
                <a:gd name="connsiteY21" fmla="*/ 270506 h 298698"/>
                <a:gd name="connsiteX22" fmla="*/ 421988 w 470138"/>
                <a:gd name="connsiteY22" fmla="*/ 270506 h 298698"/>
                <a:gd name="connsiteX23" fmla="*/ 418978 w 470138"/>
                <a:gd name="connsiteY23" fmla="*/ 274958 h 298698"/>
                <a:gd name="connsiteX24" fmla="*/ 406941 w 470138"/>
                <a:gd name="connsiteY24" fmla="*/ 274958 h 298698"/>
                <a:gd name="connsiteX25" fmla="*/ 403931 w 470138"/>
                <a:gd name="connsiteY25" fmla="*/ 285344 h 298698"/>
                <a:gd name="connsiteX26" fmla="*/ 402427 w 470138"/>
                <a:gd name="connsiteY26" fmla="*/ 292763 h 298698"/>
                <a:gd name="connsiteX27" fmla="*/ 399417 w 470138"/>
                <a:gd name="connsiteY27" fmla="*/ 295731 h 298698"/>
                <a:gd name="connsiteX28" fmla="*/ 396408 w 470138"/>
                <a:gd name="connsiteY28" fmla="*/ 298698 h 298698"/>
                <a:gd name="connsiteX29" fmla="*/ 391894 w 470138"/>
                <a:gd name="connsiteY29" fmla="*/ 298698 h 298698"/>
                <a:gd name="connsiteX30" fmla="*/ 387380 w 470138"/>
                <a:gd name="connsiteY30" fmla="*/ 291279 h 298698"/>
                <a:gd name="connsiteX31" fmla="*/ 376847 w 470138"/>
                <a:gd name="connsiteY31" fmla="*/ 286828 h 298698"/>
                <a:gd name="connsiteX32" fmla="*/ 370828 w 470138"/>
                <a:gd name="connsiteY32" fmla="*/ 280893 h 298698"/>
                <a:gd name="connsiteX33" fmla="*/ 370828 w 470138"/>
                <a:gd name="connsiteY33" fmla="*/ 277925 h 298698"/>
                <a:gd name="connsiteX34" fmla="*/ 370828 w 470138"/>
                <a:gd name="connsiteY34" fmla="*/ 273474 h 298698"/>
                <a:gd name="connsiteX35" fmla="*/ 370828 w 470138"/>
                <a:gd name="connsiteY35" fmla="*/ 267539 h 298698"/>
                <a:gd name="connsiteX36" fmla="*/ 370828 w 470138"/>
                <a:gd name="connsiteY36" fmla="*/ 264571 h 298698"/>
                <a:gd name="connsiteX37" fmla="*/ 370828 w 470138"/>
                <a:gd name="connsiteY37" fmla="*/ 252701 h 298698"/>
                <a:gd name="connsiteX38" fmla="*/ 370828 w 470138"/>
                <a:gd name="connsiteY38" fmla="*/ 249733 h 298698"/>
                <a:gd name="connsiteX39" fmla="*/ 370828 w 470138"/>
                <a:gd name="connsiteY39" fmla="*/ 242315 h 298698"/>
                <a:gd name="connsiteX40" fmla="*/ 363304 w 470138"/>
                <a:gd name="connsiteY40" fmla="*/ 231928 h 298698"/>
                <a:gd name="connsiteX41" fmla="*/ 358790 w 470138"/>
                <a:gd name="connsiteY41" fmla="*/ 227477 h 298698"/>
                <a:gd name="connsiteX42" fmla="*/ 358790 w 470138"/>
                <a:gd name="connsiteY42" fmla="*/ 223025 h 298698"/>
                <a:gd name="connsiteX43" fmla="*/ 358790 w 470138"/>
                <a:gd name="connsiteY43" fmla="*/ 220058 h 298698"/>
                <a:gd name="connsiteX44" fmla="*/ 363304 w 470138"/>
                <a:gd name="connsiteY44" fmla="*/ 214123 h 298698"/>
                <a:gd name="connsiteX45" fmla="*/ 370828 w 470138"/>
                <a:gd name="connsiteY45" fmla="*/ 212639 h 298698"/>
                <a:gd name="connsiteX46" fmla="*/ 376847 w 470138"/>
                <a:gd name="connsiteY46" fmla="*/ 206704 h 298698"/>
                <a:gd name="connsiteX47" fmla="*/ 376847 w 470138"/>
                <a:gd name="connsiteY47" fmla="*/ 199285 h 298698"/>
                <a:gd name="connsiteX48" fmla="*/ 373837 w 470138"/>
                <a:gd name="connsiteY48" fmla="*/ 185931 h 298698"/>
                <a:gd name="connsiteX49" fmla="*/ 373837 w 470138"/>
                <a:gd name="connsiteY49" fmla="*/ 182963 h 298698"/>
                <a:gd name="connsiteX50" fmla="*/ 373837 w 470138"/>
                <a:gd name="connsiteY50" fmla="*/ 178512 h 298698"/>
                <a:gd name="connsiteX51" fmla="*/ 275720 w 470138"/>
                <a:gd name="connsiteY51" fmla="*/ 116651 h 298698"/>
                <a:gd name="connsiteX52" fmla="*/ 281022 w 470138"/>
                <a:gd name="connsiteY52" fmla="*/ 116651 h 298698"/>
                <a:gd name="connsiteX53" fmla="*/ 284556 w 470138"/>
                <a:gd name="connsiteY53" fmla="*/ 116651 h 298698"/>
                <a:gd name="connsiteX54" fmla="*/ 288091 w 470138"/>
                <a:gd name="connsiteY54" fmla="*/ 120186 h 298698"/>
                <a:gd name="connsiteX55" fmla="*/ 291626 w 470138"/>
                <a:gd name="connsiteY55" fmla="*/ 125488 h 298698"/>
                <a:gd name="connsiteX56" fmla="*/ 291626 w 470138"/>
                <a:gd name="connsiteY56" fmla="*/ 130790 h 298698"/>
                <a:gd name="connsiteX57" fmla="*/ 284556 w 470138"/>
                <a:gd name="connsiteY57" fmla="*/ 134325 h 298698"/>
                <a:gd name="connsiteX58" fmla="*/ 281022 w 470138"/>
                <a:gd name="connsiteY58" fmla="*/ 130790 h 298698"/>
                <a:gd name="connsiteX59" fmla="*/ 281022 w 470138"/>
                <a:gd name="connsiteY59" fmla="*/ 125488 h 298698"/>
                <a:gd name="connsiteX60" fmla="*/ 275720 w 470138"/>
                <a:gd name="connsiteY60" fmla="*/ 121953 h 298698"/>
                <a:gd name="connsiteX61" fmla="*/ 275720 w 470138"/>
                <a:gd name="connsiteY61" fmla="*/ 120186 h 298698"/>
                <a:gd name="connsiteX62" fmla="*/ 309302 w 470138"/>
                <a:gd name="connsiteY62" fmla="*/ 107814 h 298698"/>
                <a:gd name="connsiteX63" fmla="*/ 314604 w 470138"/>
                <a:gd name="connsiteY63" fmla="*/ 107814 h 298698"/>
                <a:gd name="connsiteX64" fmla="*/ 319906 w 470138"/>
                <a:gd name="connsiteY64" fmla="*/ 113116 h 298698"/>
                <a:gd name="connsiteX65" fmla="*/ 323441 w 470138"/>
                <a:gd name="connsiteY65" fmla="*/ 116651 h 298698"/>
                <a:gd name="connsiteX66" fmla="*/ 330511 w 470138"/>
                <a:gd name="connsiteY66" fmla="*/ 120186 h 298698"/>
                <a:gd name="connsiteX67" fmla="*/ 330511 w 470138"/>
                <a:gd name="connsiteY67" fmla="*/ 116651 h 298698"/>
                <a:gd name="connsiteX68" fmla="*/ 339348 w 470138"/>
                <a:gd name="connsiteY68" fmla="*/ 116651 h 298698"/>
                <a:gd name="connsiteX69" fmla="*/ 344650 w 470138"/>
                <a:gd name="connsiteY69" fmla="*/ 116651 h 298698"/>
                <a:gd name="connsiteX70" fmla="*/ 351720 w 470138"/>
                <a:gd name="connsiteY70" fmla="*/ 121954 h 298698"/>
                <a:gd name="connsiteX71" fmla="*/ 364092 w 470138"/>
                <a:gd name="connsiteY71" fmla="*/ 130791 h 298698"/>
                <a:gd name="connsiteX72" fmla="*/ 364092 w 470138"/>
                <a:gd name="connsiteY72" fmla="*/ 139628 h 298698"/>
                <a:gd name="connsiteX73" fmla="*/ 358789 w 470138"/>
                <a:gd name="connsiteY73" fmla="*/ 144930 h 298698"/>
                <a:gd name="connsiteX74" fmla="*/ 353487 w 470138"/>
                <a:gd name="connsiteY74" fmla="*/ 144930 h 298698"/>
                <a:gd name="connsiteX75" fmla="*/ 348185 w 470138"/>
                <a:gd name="connsiteY75" fmla="*/ 144930 h 298698"/>
                <a:gd name="connsiteX76" fmla="*/ 348185 w 470138"/>
                <a:gd name="connsiteY76" fmla="*/ 146698 h 298698"/>
                <a:gd name="connsiteX77" fmla="*/ 335813 w 470138"/>
                <a:gd name="connsiteY77" fmla="*/ 146698 h 298698"/>
                <a:gd name="connsiteX78" fmla="*/ 330511 w 470138"/>
                <a:gd name="connsiteY78" fmla="*/ 146698 h 298698"/>
                <a:gd name="connsiteX79" fmla="*/ 328743 w 470138"/>
                <a:gd name="connsiteY79" fmla="*/ 146698 h 298698"/>
                <a:gd name="connsiteX80" fmla="*/ 325209 w 470138"/>
                <a:gd name="connsiteY80" fmla="*/ 141396 h 298698"/>
                <a:gd name="connsiteX81" fmla="*/ 323441 w 470138"/>
                <a:gd name="connsiteY81" fmla="*/ 134326 h 298698"/>
                <a:gd name="connsiteX82" fmla="*/ 325209 w 470138"/>
                <a:gd name="connsiteY82" fmla="*/ 127256 h 298698"/>
                <a:gd name="connsiteX83" fmla="*/ 316371 w 470138"/>
                <a:gd name="connsiteY83" fmla="*/ 127256 h 298698"/>
                <a:gd name="connsiteX84" fmla="*/ 309302 w 470138"/>
                <a:gd name="connsiteY84" fmla="*/ 125488 h 298698"/>
                <a:gd name="connsiteX85" fmla="*/ 309302 w 470138"/>
                <a:gd name="connsiteY85" fmla="*/ 120186 h 298698"/>
                <a:gd name="connsiteX86" fmla="*/ 309302 w 470138"/>
                <a:gd name="connsiteY86" fmla="*/ 116651 h 298698"/>
                <a:gd name="connsiteX87" fmla="*/ 309302 w 470138"/>
                <a:gd name="connsiteY87" fmla="*/ 111349 h 298698"/>
                <a:gd name="connsiteX88" fmla="*/ 258045 w 470138"/>
                <a:gd name="connsiteY88" fmla="*/ 93675 h 298698"/>
                <a:gd name="connsiteX89" fmla="*/ 261580 w 470138"/>
                <a:gd name="connsiteY89" fmla="*/ 93675 h 298698"/>
                <a:gd name="connsiteX90" fmla="*/ 272184 w 470138"/>
                <a:gd name="connsiteY90" fmla="*/ 93675 h 298698"/>
                <a:gd name="connsiteX91" fmla="*/ 281021 w 470138"/>
                <a:gd name="connsiteY91" fmla="*/ 93675 h 298698"/>
                <a:gd name="connsiteX92" fmla="*/ 282788 w 470138"/>
                <a:gd name="connsiteY92" fmla="*/ 100745 h 298698"/>
                <a:gd name="connsiteX93" fmla="*/ 302230 w 470138"/>
                <a:gd name="connsiteY93" fmla="*/ 100745 h 298698"/>
                <a:gd name="connsiteX94" fmla="*/ 293393 w 470138"/>
                <a:gd name="connsiteY94" fmla="*/ 106047 h 298698"/>
                <a:gd name="connsiteX95" fmla="*/ 291625 w 470138"/>
                <a:gd name="connsiteY95" fmla="*/ 107815 h 298698"/>
                <a:gd name="connsiteX96" fmla="*/ 291625 w 470138"/>
                <a:gd name="connsiteY96" fmla="*/ 104280 h 298698"/>
                <a:gd name="connsiteX97" fmla="*/ 286323 w 470138"/>
                <a:gd name="connsiteY97" fmla="*/ 104280 h 298698"/>
                <a:gd name="connsiteX98" fmla="*/ 282788 w 470138"/>
                <a:gd name="connsiteY98" fmla="*/ 104280 h 298698"/>
                <a:gd name="connsiteX99" fmla="*/ 277486 w 470138"/>
                <a:gd name="connsiteY99" fmla="*/ 104280 h 298698"/>
                <a:gd name="connsiteX100" fmla="*/ 273951 w 470138"/>
                <a:gd name="connsiteY100" fmla="*/ 104280 h 298698"/>
                <a:gd name="connsiteX101" fmla="*/ 270417 w 470138"/>
                <a:gd name="connsiteY101" fmla="*/ 104280 h 298698"/>
                <a:gd name="connsiteX102" fmla="*/ 265114 w 470138"/>
                <a:gd name="connsiteY102" fmla="*/ 104280 h 298698"/>
                <a:gd name="connsiteX103" fmla="*/ 258045 w 470138"/>
                <a:gd name="connsiteY103" fmla="*/ 102512 h 298698"/>
                <a:gd name="connsiteX104" fmla="*/ 258045 w 470138"/>
                <a:gd name="connsiteY104" fmla="*/ 100745 h 298698"/>
                <a:gd name="connsiteX105" fmla="*/ 258045 w 470138"/>
                <a:gd name="connsiteY105" fmla="*/ 97210 h 298698"/>
                <a:gd name="connsiteX106" fmla="*/ 187348 w 470138"/>
                <a:gd name="connsiteY106" fmla="*/ 51256 h 298698"/>
                <a:gd name="connsiteX107" fmla="*/ 194417 w 470138"/>
                <a:gd name="connsiteY107" fmla="*/ 51256 h 298698"/>
                <a:gd name="connsiteX108" fmla="*/ 197952 w 470138"/>
                <a:gd name="connsiteY108" fmla="*/ 51256 h 298698"/>
                <a:gd name="connsiteX109" fmla="*/ 201487 w 470138"/>
                <a:gd name="connsiteY109" fmla="*/ 53023 h 298698"/>
                <a:gd name="connsiteX110" fmla="*/ 203254 w 470138"/>
                <a:gd name="connsiteY110" fmla="*/ 56558 h 298698"/>
                <a:gd name="connsiteX111" fmla="*/ 208557 w 470138"/>
                <a:gd name="connsiteY111" fmla="*/ 65395 h 298698"/>
                <a:gd name="connsiteX112" fmla="*/ 213859 w 470138"/>
                <a:gd name="connsiteY112" fmla="*/ 65395 h 298698"/>
                <a:gd name="connsiteX113" fmla="*/ 217394 w 470138"/>
                <a:gd name="connsiteY113" fmla="*/ 74233 h 298698"/>
                <a:gd name="connsiteX114" fmla="*/ 217394 w 470138"/>
                <a:gd name="connsiteY114" fmla="*/ 81303 h 298698"/>
                <a:gd name="connsiteX115" fmla="*/ 217394 w 470138"/>
                <a:gd name="connsiteY115" fmla="*/ 86605 h 298698"/>
                <a:gd name="connsiteX116" fmla="*/ 212092 w 470138"/>
                <a:gd name="connsiteY116" fmla="*/ 86605 h 298698"/>
                <a:gd name="connsiteX117" fmla="*/ 206789 w 470138"/>
                <a:gd name="connsiteY117" fmla="*/ 81303 h 298698"/>
                <a:gd name="connsiteX118" fmla="*/ 203254 w 470138"/>
                <a:gd name="connsiteY118" fmla="*/ 77768 h 298698"/>
                <a:gd name="connsiteX119" fmla="*/ 194417 w 470138"/>
                <a:gd name="connsiteY119" fmla="*/ 81303 h 298698"/>
                <a:gd name="connsiteX120" fmla="*/ 187348 w 470138"/>
                <a:gd name="connsiteY120" fmla="*/ 83070 h 298698"/>
                <a:gd name="connsiteX121" fmla="*/ 182046 w 470138"/>
                <a:gd name="connsiteY121" fmla="*/ 79535 h 298698"/>
                <a:gd name="connsiteX122" fmla="*/ 178511 w 470138"/>
                <a:gd name="connsiteY122" fmla="*/ 74233 h 298698"/>
                <a:gd name="connsiteX123" fmla="*/ 169674 w 470138"/>
                <a:gd name="connsiteY123" fmla="*/ 68930 h 298698"/>
                <a:gd name="connsiteX124" fmla="*/ 169674 w 470138"/>
                <a:gd name="connsiteY124" fmla="*/ 63628 h 298698"/>
                <a:gd name="connsiteX125" fmla="*/ 169674 w 470138"/>
                <a:gd name="connsiteY125" fmla="*/ 56558 h 298698"/>
                <a:gd name="connsiteX126" fmla="*/ 174976 w 470138"/>
                <a:gd name="connsiteY126" fmla="*/ 56558 h 298698"/>
                <a:gd name="connsiteX127" fmla="*/ 180278 w 470138"/>
                <a:gd name="connsiteY127" fmla="*/ 56558 h 298698"/>
                <a:gd name="connsiteX128" fmla="*/ 180278 w 470138"/>
                <a:gd name="connsiteY128" fmla="*/ 53023 h 298698"/>
                <a:gd name="connsiteX129" fmla="*/ 12372 w 470138"/>
                <a:gd name="connsiteY129" fmla="*/ 15908 h 298698"/>
                <a:gd name="connsiteX130" fmla="*/ 12372 w 470138"/>
                <a:gd name="connsiteY130" fmla="*/ 21210 h 298698"/>
                <a:gd name="connsiteX131" fmla="*/ 12372 w 470138"/>
                <a:gd name="connsiteY131" fmla="*/ 24745 h 298698"/>
                <a:gd name="connsiteX132" fmla="*/ 8837 w 470138"/>
                <a:gd name="connsiteY132" fmla="*/ 28280 h 298698"/>
                <a:gd name="connsiteX133" fmla="*/ 7069 w 470138"/>
                <a:gd name="connsiteY133" fmla="*/ 31815 h 298698"/>
                <a:gd name="connsiteX134" fmla="*/ 7069 w 470138"/>
                <a:gd name="connsiteY134" fmla="*/ 38885 h 298698"/>
                <a:gd name="connsiteX135" fmla="*/ 0 w 470138"/>
                <a:gd name="connsiteY135" fmla="*/ 35350 h 298698"/>
                <a:gd name="connsiteX136" fmla="*/ 0 w 470138"/>
                <a:gd name="connsiteY136" fmla="*/ 31815 h 298698"/>
                <a:gd name="connsiteX137" fmla="*/ 0 w 470138"/>
                <a:gd name="connsiteY137" fmla="*/ 28280 h 298698"/>
                <a:gd name="connsiteX138" fmla="*/ 7069 w 470138"/>
                <a:gd name="connsiteY138" fmla="*/ 21210 h 298698"/>
                <a:gd name="connsiteX139" fmla="*/ 58325 w 470138"/>
                <a:gd name="connsiteY139" fmla="*/ 0 h 298698"/>
                <a:gd name="connsiteX140" fmla="*/ 63627 w 470138"/>
                <a:gd name="connsiteY140" fmla="*/ 0 h 298698"/>
                <a:gd name="connsiteX141" fmla="*/ 77767 w 470138"/>
                <a:gd name="connsiteY141" fmla="*/ 0 h 298698"/>
                <a:gd name="connsiteX142" fmla="*/ 83069 w 470138"/>
                <a:gd name="connsiteY142" fmla="*/ 0 h 298698"/>
                <a:gd name="connsiteX143" fmla="*/ 88372 w 470138"/>
                <a:gd name="connsiteY143" fmla="*/ 8837 h 298698"/>
                <a:gd name="connsiteX144" fmla="*/ 88372 w 470138"/>
                <a:gd name="connsiteY144" fmla="*/ 10604 h 298698"/>
                <a:gd name="connsiteX145" fmla="*/ 88372 w 470138"/>
                <a:gd name="connsiteY145" fmla="*/ 15907 h 298698"/>
                <a:gd name="connsiteX146" fmla="*/ 86604 w 470138"/>
                <a:gd name="connsiteY146" fmla="*/ 21209 h 298698"/>
                <a:gd name="connsiteX147" fmla="*/ 86604 w 470138"/>
                <a:gd name="connsiteY147" fmla="*/ 22977 h 298698"/>
                <a:gd name="connsiteX148" fmla="*/ 81302 w 470138"/>
                <a:gd name="connsiteY148" fmla="*/ 28279 h 298698"/>
                <a:gd name="connsiteX149" fmla="*/ 77767 w 470138"/>
                <a:gd name="connsiteY149" fmla="*/ 28279 h 298698"/>
                <a:gd name="connsiteX150" fmla="*/ 72465 w 470138"/>
                <a:gd name="connsiteY150" fmla="*/ 28279 h 298698"/>
                <a:gd name="connsiteX151" fmla="*/ 68930 w 470138"/>
                <a:gd name="connsiteY151" fmla="*/ 28279 h 298698"/>
                <a:gd name="connsiteX152" fmla="*/ 60092 w 470138"/>
                <a:gd name="connsiteY152" fmla="*/ 22977 h 298698"/>
                <a:gd name="connsiteX153" fmla="*/ 58325 w 470138"/>
                <a:gd name="connsiteY153" fmla="*/ 22977 h 298698"/>
                <a:gd name="connsiteX154" fmla="*/ 49488 w 470138"/>
                <a:gd name="connsiteY154" fmla="*/ 15907 h 298698"/>
                <a:gd name="connsiteX155" fmla="*/ 49488 w 470138"/>
                <a:gd name="connsiteY155" fmla="*/ 7070 h 298698"/>
                <a:gd name="connsiteX156" fmla="*/ 49488 w 470138"/>
                <a:gd name="connsiteY156" fmla="*/ 3535 h 29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</a:cxnLst>
              <a:rect l="l" t="t" r="r" b="b"/>
              <a:pathLst>
                <a:path w="470138" h="298698">
                  <a:moveTo>
                    <a:pt x="373837" y="178512"/>
                  </a:moveTo>
                  <a:cubicBezTo>
                    <a:pt x="376847" y="178512"/>
                    <a:pt x="376847" y="178512"/>
                    <a:pt x="376847" y="178512"/>
                  </a:cubicBezTo>
                  <a:cubicBezTo>
                    <a:pt x="382865" y="178512"/>
                    <a:pt x="382865" y="178512"/>
                    <a:pt x="382865" y="178512"/>
                  </a:cubicBezTo>
                  <a:cubicBezTo>
                    <a:pt x="391894" y="184447"/>
                    <a:pt x="391894" y="184447"/>
                    <a:pt x="391894" y="184447"/>
                  </a:cubicBezTo>
                  <a:cubicBezTo>
                    <a:pt x="399417" y="191866"/>
                    <a:pt x="399417" y="191866"/>
                    <a:pt x="399417" y="191866"/>
                  </a:cubicBezTo>
                  <a:cubicBezTo>
                    <a:pt x="399417" y="191866"/>
                    <a:pt x="403931" y="193350"/>
                    <a:pt x="405436" y="193350"/>
                  </a:cubicBezTo>
                  <a:cubicBezTo>
                    <a:pt x="406941" y="193350"/>
                    <a:pt x="408445" y="193350"/>
                    <a:pt x="409950" y="193350"/>
                  </a:cubicBezTo>
                  <a:cubicBezTo>
                    <a:pt x="411455" y="193350"/>
                    <a:pt x="417474" y="193350"/>
                    <a:pt x="417474" y="193350"/>
                  </a:cubicBezTo>
                  <a:cubicBezTo>
                    <a:pt x="432521" y="199285"/>
                    <a:pt x="432521" y="199285"/>
                    <a:pt x="432521" y="199285"/>
                  </a:cubicBezTo>
                  <a:cubicBezTo>
                    <a:pt x="441549" y="206704"/>
                    <a:pt x="441549" y="206704"/>
                    <a:pt x="441549" y="206704"/>
                  </a:cubicBezTo>
                  <a:cubicBezTo>
                    <a:pt x="441549" y="212639"/>
                    <a:pt x="441549" y="212639"/>
                    <a:pt x="441549" y="212639"/>
                  </a:cubicBezTo>
                  <a:cubicBezTo>
                    <a:pt x="444558" y="225993"/>
                    <a:pt x="444558" y="225993"/>
                    <a:pt x="444558" y="225993"/>
                  </a:cubicBezTo>
                  <a:cubicBezTo>
                    <a:pt x="449072" y="225993"/>
                    <a:pt x="449072" y="225993"/>
                    <a:pt x="449072" y="225993"/>
                  </a:cubicBezTo>
                  <a:cubicBezTo>
                    <a:pt x="452082" y="225993"/>
                    <a:pt x="452082" y="225993"/>
                    <a:pt x="452082" y="225993"/>
                  </a:cubicBezTo>
                  <a:cubicBezTo>
                    <a:pt x="452082" y="234896"/>
                    <a:pt x="452082" y="234896"/>
                    <a:pt x="452082" y="234896"/>
                  </a:cubicBezTo>
                  <a:cubicBezTo>
                    <a:pt x="456596" y="234896"/>
                    <a:pt x="456596" y="234896"/>
                    <a:pt x="456596" y="234896"/>
                  </a:cubicBezTo>
                  <a:cubicBezTo>
                    <a:pt x="462615" y="240831"/>
                    <a:pt x="462615" y="240831"/>
                    <a:pt x="462615" y="240831"/>
                  </a:cubicBezTo>
                  <a:cubicBezTo>
                    <a:pt x="470138" y="240831"/>
                    <a:pt x="470138" y="240831"/>
                    <a:pt x="470138" y="240831"/>
                  </a:cubicBezTo>
                  <a:cubicBezTo>
                    <a:pt x="462615" y="251217"/>
                    <a:pt x="462615" y="251217"/>
                    <a:pt x="462615" y="251217"/>
                  </a:cubicBezTo>
                  <a:cubicBezTo>
                    <a:pt x="456596" y="254185"/>
                    <a:pt x="456596" y="254185"/>
                    <a:pt x="456596" y="254185"/>
                  </a:cubicBezTo>
                  <a:cubicBezTo>
                    <a:pt x="449072" y="267539"/>
                    <a:pt x="449072" y="267539"/>
                    <a:pt x="449072" y="267539"/>
                  </a:cubicBezTo>
                  <a:cubicBezTo>
                    <a:pt x="440044" y="270506"/>
                    <a:pt x="440044" y="270506"/>
                    <a:pt x="440044" y="270506"/>
                  </a:cubicBezTo>
                  <a:cubicBezTo>
                    <a:pt x="421988" y="270506"/>
                    <a:pt x="421988" y="270506"/>
                    <a:pt x="421988" y="270506"/>
                  </a:cubicBezTo>
                  <a:cubicBezTo>
                    <a:pt x="418978" y="274958"/>
                    <a:pt x="418978" y="274958"/>
                    <a:pt x="418978" y="274958"/>
                  </a:cubicBezTo>
                  <a:cubicBezTo>
                    <a:pt x="406941" y="274958"/>
                    <a:pt x="406941" y="274958"/>
                    <a:pt x="406941" y="274958"/>
                  </a:cubicBezTo>
                  <a:cubicBezTo>
                    <a:pt x="403931" y="285344"/>
                    <a:pt x="403931" y="285344"/>
                    <a:pt x="403931" y="285344"/>
                  </a:cubicBezTo>
                  <a:cubicBezTo>
                    <a:pt x="402427" y="292763"/>
                    <a:pt x="402427" y="292763"/>
                    <a:pt x="402427" y="292763"/>
                  </a:cubicBezTo>
                  <a:cubicBezTo>
                    <a:pt x="399417" y="295731"/>
                    <a:pt x="399417" y="295731"/>
                    <a:pt x="399417" y="295731"/>
                  </a:cubicBezTo>
                  <a:cubicBezTo>
                    <a:pt x="396408" y="298698"/>
                    <a:pt x="396408" y="298698"/>
                    <a:pt x="396408" y="298698"/>
                  </a:cubicBezTo>
                  <a:cubicBezTo>
                    <a:pt x="391894" y="298698"/>
                    <a:pt x="391894" y="298698"/>
                    <a:pt x="391894" y="298698"/>
                  </a:cubicBezTo>
                  <a:cubicBezTo>
                    <a:pt x="387380" y="291279"/>
                    <a:pt x="387380" y="291279"/>
                    <a:pt x="387380" y="291279"/>
                  </a:cubicBezTo>
                  <a:cubicBezTo>
                    <a:pt x="376847" y="286828"/>
                    <a:pt x="376847" y="286828"/>
                    <a:pt x="376847" y="286828"/>
                  </a:cubicBezTo>
                  <a:cubicBezTo>
                    <a:pt x="370828" y="280893"/>
                    <a:pt x="370828" y="280893"/>
                    <a:pt x="370828" y="280893"/>
                  </a:cubicBezTo>
                  <a:cubicBezTo>
                    <a:pt x="370828" y="277925"/>
                    <a:pt x="370828" y="277925"/>
                    <a:pt x="370828" y="277925"/>
                  </a:cubicBezTo>
                  <a:cubicBezTo>
                    <a:pt x="370828" y="273474"/>
                    <a:pt x="370828" y="273474"/>
                    <a:pt x="370828" y="273474"/>
                  </a:cubicBezTo>
                  <a:cubicBezTo>
                    <a:pt x="370828" y="267539"/>
                    <a:pt x="370828" y="267539"/>
                    <a:pt x="370828" y="267539"/>
                  </a:cubicBezTo>
                  <a:cubicBezTo>
                    <a:pt x="370828" y="264571"/>
                    <a:pt x="370828" y="264571"/>
                    <a:pt x="370828" y="264571"/>
                  </a:cubicBezTo>
                  <a:cubicBezTo>
                    <a:pt x="370828" y="252701"/>
                    <a:pt x="370828" y="252701"/>
                    <a:pt x="370828" y="252701"/>
                  </a:cubicBezTo>
                  <a:cubicBezTo>
                    <a:pt x="370828" y="249733"/>
                    <a:pt x="370828" y="249733"/>
                    <a:pt x="370828" y="249733"/>
                  </a:cubicBezTo>
                  <a:cubicBezTo>
                    <a:pt x="370828" y="242315"/>
                    <a:pt x="370828" y="242315"/>
                    <a:pt x="370828" y="242315"/>
                  </a:cubicBezTo>
                  <a:cubicBezTo>
                    <a:pt x="363304" y="231928"/>
                    <a:pt x="363304" y="231928"/>
                    <a:pt x="363304" y="231928"/>
                  </a:cubicBezTo>
                  <a:cubicBezTo>
                    <a:pt x="358790" y="227477"/>
                    <a:pt x="358790" y="227477"/>
                    <a:pt x="358790" y="227477"/>
                  </a:cubicBezTo>
                  <a:cubicBezTo>
                    <a:pt x="358790" y="223025"/>
                    <a:pt x="358790" y="223025"/>
                    <a:pt x="358790" y="223025"/>
                  </a:cubicBezTo>
                  <a:cubicBezTo>
                    <a:pt x="358790" y="220058"/>
                    <a:pt x="358790" y="220058"/>
                    <a:pt x="358790" y="220058"/>
                  </a:cubicBezTo>
                  <a:cubicBezTo>
                    <a:pt x="363304" y="214123"/>
                    <a:pt x="363304" y="214123"/>
                    <a:pt x="363304" y="214123"/>
                  </a:cubicBezTo>
                  <a:cubicBezTo>
                    <a:pt x="370828" y="212639"/>
                    <a:pt x="370828" y="212639"/>
                    <a:pt x="370828" y="212639"/>
                  </a:cubicBezTo>
                  <a:cubicBezTo>
                    <a:pt x="376847" y="206704"/>
                    <a:pt x="376847" y="206704"/>
                    <a:pt x="376847" y="206704"/>
                  </a:cubicBezTo>
                  <a:lnTo>
                    <a:pt x="376847" y="199285"/>
                  </a:lnTo>
                  <a:cubicBezTo>
                    <a:pt x="373837" y="185931"/>
                    <a:pt x="373837" y="185931"/>
                    <a:pt x="373837" y="185931"/>
                  </a:cubicBezTo>
                  <a:cubicBezTo>
                    <a:pt x="373837" y="182963"/>
                    <a:pt x="373837" y="182963"/>
                    <a:pt x="373837" y="182963"/>
                  </a:cubicBezTo>
                  <a:cubicBezTo>
                    <a:pt x="373837" y="178512"/>
                    <a:pt x="373837" y="178512"/>
                    <a:pt x="373837" y="178512"/>
                  </a:cubicBezTo>
                  <a:close/>
                  <a:moveTo>
                    <a:pt x="275720" y="116651"/>
                  </a:moveTo>
                  <a:lnTo>
                    <a:pt x="281022" y="116651"/>
                  </a:lnTo>
                  <a:lnTo>
                    <a:pt x="284556" y="116651"/>
                  </a:lnTo>
                  <a:lnTo>
                    <a:pt x="288091" y="120186"/>
                  </a:lnTo>
                  <a:lnTo>
                    <a:pt x="291626" y="125488"/>
                  </a:lnTo>
                  <a:lnTo>
                    <a:pt x="291626" y="130790"/>
                  </a:lnTo>
                  <a:lnTo>
                    <a:pt x="284556" y="134325"/>
                  </a:lnTo>
                  <a:lnTo>
                    <a:pt x="281022" y="130790"/>
                  </a:lnTo>
                  <a:lnTo>
                    <a:pt x="281022" y="125488"/>
                  </a:lnTo>
                  <a:lnTo>
                    <a:pt x="275720" y="121953"/>
                  </a:lnTo>
                  <a:lnTo>
                    <a:pt x="275720" y="120186"/>
                  </a:lnTo>
                  <a:close/>
                  <a:moveTo>
                    <a:pt x="309302" y="107814"/>
                  </a:moveTo>
                  <a:lnTo>
                    <a:pt x="314604" y="107814"/>
                  </a:lnTo>
                  <a:lnTo>
                    <a:pt x="319906" y="113116"/>
                  </a:lnTo>
                  <a:lnTo>
                    <a:pt x="323441" y="116651"/>
                  </a:lnTo>
                  <a:lnTo>
                    <a:pt x="330511" y="120186"/>
                  </a:lnTo>
                  <a:lnTo>
                    <a:pt x="330511" y="116651"/>
                  </a:lnTo>
                  <a:lnTo>
                    <a:pt x="339348" y="116651"/>
                  </a:lnTo>
                  <a:lnTo>
                    <a:pt x="344650" y="116651"/>
                  </a:lnTo>
                  <a:lnTo>
                    <a:pt x="351720" y="121954"/>
                  </a:lnTo>
                  <a:lnTo>
                    <a:pt x="364092" y="130791"/>
                  </a:lnTo>
                  <a:lnTo>
                    <a:pt x="364092" y="139628"/>
                  </a:lnTo>
                  <a:lnTo>
                    <a:pt x="358789" y="144930"/>
                  </a:lnTo>
                  <a:lnTo>
                    <a:pt x="353487" y="144930"/>
                  </a:lnTo>
                  <a:lnTo>
                    <a:pt x="348185" y="144930"/>
                  </a:lnTo>
                  <a:lnTo>
                    <a:pt x="348185" y="146698"/>
                  </a:lnTo>
                  <a:lnTo>
                    <a:pt x="335813" y="146698"/>
                  </a:lnTo>
                  <a:lnTo>
                    <a:pt x="330511" y="146698"/>
                  </a:lnTo>
                  <a:lnTo>
                    <a:pt x="328743" y="146698"/>
                  </a:lnTo>
                  <a:lnTo>
                    <a:pt x="325209" y="141396"/>
                  </a:lnTo>
                  <a:lnTo>
                    <a:pt x="323441" y="134326"/>
                  </a:lnTo>
                  <a:lnTo>
                    <a:pt x="325209" y="127256"/>
                  </a:lnTo>
                  <a:lnTo>
                    <a:pt x="316371" y="127256"/>
                  </a:lnTo>
                  <a:lnTo>
                    <a:pt x="309302" y="125488"/>
                  </a:lnTo>
                  <a:lnTo>
                    <a:pt x="309302" y="120186"/>
                  </a:lnTo>
                  <a:lnTo>
                    <a:pt x="309302" y="116651"/>
                  </a:lnTo>
                  <a:lnTo>
                    <a:pt x="309302" y="111349"/>
                  </a:lnTo>
                  <a:close/>
                  <a:moveTo>
                    <a:pt x="258045" y="93675"/>
                  </a:moveTo>
                  <a:lnTo>
                    <a:pt x="261580" y="93675"/>
                  </a:lnTo>
                  <a:lnTo>
                    <a:pt x="272184" y="93675"/>
                  </a:lnTo>
                  <a:lnTo>
                    <a:pt x="281021" y="93675"/>
                  </a:lnTo>
                  <a:lnTo>
                    <a:pt x="282788" y="100745"/>
                  </a:lnTo>
                  <a:lnTo>
                    <a:pt x="302230" y="100745"/>
                  </a:lnTo>
                  <a:lnTo>
                    <a:pt x="293393" y="106047"/>
                  </a:lnTo>
                  <a:lnTo>
                    <a:pt x="291625" y="107815"/>
                  </a:lnTo>
                  <a:lnTo>
                    <a:pt x="291625" y="104280"/>
                  </a:lnTo>
                  <a:lnTo>
                    <a:pt x="286323" y="104280"/>
                  </a:lnTo>
                  <a:lnTo>
                    <a:pt x="282788" y="104280"/>
                  </a:lnTo>
                  <a:lnTo>
                    <a:pt x="277486" y="104280"/>
                  </a:lnTo>
                  <a:lnTo>
                    <a:pt x="273951" y="104280"/>
                  </a:lnTo>
                  <a:lnTo>
                    <a:pt x="270417" y="104280"/>
                  </a:lnTo>
                  <a:lnTo>
                    <a:pt x="265114" y="104280"/>
                  </a:lnTo>
                  <a:lnTo>
                    <a:pt x="258045" y="102512"/>
                  </a:lnTo>
                  <a:lnTo>
                    <a:pt x="258045" y="100745"/>
                  </a:lnTo>
                  <a:lnTo>
                    <a:pt x="258045" y="97210"/>
                  </a:lnTo>
                  <a:close/>
                  <a:moveTo>
                    <a:pt x="187348" y="51256"/>
                  </a:moveTo>
                  <a:lnTo>
                    <a:pt x="194417" y="51256"/>
                  </a:lnTo>
                  <a:lnTo>
                    <a:pt x="197952" y="51256"/>
                  </a:lnTo>
                  <a:lnTo>
                    <a:pt x="201487" y="53023"/>
                  </a:lnTo>
                  <a:lnTo>
                    <a:pt x="203254" y="56558"/>
                  </a:lnTo>
                  <a:lnTo>
                    <a:pt x="208557" y="65395"/>
                  </a:lnTo>
                  <a:lnTo>
                    <a:pt x="213859" y="65395"/>
                  </a:lnTo>
                  <a:lnTo>
                    <a:pt x="217394" y="74233"/>
                  </a:lnTo>
                  <a:lnTo>
                    <a:pt x="217394" y="81303"/>
                  </a:lnTo>
                  <a:lnTo>
                    <a:pt x="217394" y="86605"/>
                  </a:lnTo>
                  <a:lnTo>
                    <a:pt x="212092" y="86605"/>
                  </a:lnTo>
                  <a:lnTo>
                    <a:pt x="206789" y="81303"/>
                  </a:lnTo>
                  <a:lnTo>
                    <a:pt x="203254" y="77768"/>
                  </a:lnTo>
                  <a:lnTo>
                    <a:pt x="194417" y="81303"/>
                  </a:lnTo>
                  <a:lnTo>
                    <a:pt x="187348" y="83070"/>
                  </a:lnTo>
                  <a:lnTo>
                    <a:pt x="182046" y="79535"/>
                  </a:lnTo>
                  <a:lnTo>
                    <a:pt x="178511" y="74233"/>
                  </a:lnTo>
                  <a:lnTo>
                    <a:pt x="169674" y="68930"/>
                  </a:lnTo>
                  <a:lnTo>
                    <a:pt x="169674" y="63628"/>
                  </a:lnTo>
                  <a:lnTo>
                    <a:pt x="169674" y="56558"/>
                  </a:lnTo>
                  <a:lnTo>
                    <a:pt x="174976" y="56558"/>
                  </a:lnTo>
                  <a:lnTo>
                    <a:pt x="180278" y="56558"/>
                  </a:lnTo>
                  <a:lnTo>
                    <a:pt x="180278" y="53023"/>
                  </a:lnTo>
                  <a:close/>
                  <a:moveTo>
                    <a:pt x="12372" y="15908"/>
                  </a:moveTo>
                  <a:lnTo>
                    <a:pt x="12372" y="21210"/>
                  </a:lnTo>
                  <a:lnTo>
                    <a:pt x="12372" y="24745"/>
                  </a:lnTo>
                  <a:lnTo>
                    <a:pt x="8837" y="28280"/>
                  </a:lnTo>
                  <a:lnTo>
                    <a:pt x="7069" y="31815"/>
                  </a:lnTo>
                  <a:lnTo>
                    <a:pt x="7069" y="38885"/>
                  </a:lnTo>
                  <a:lnTo>
                    <a:pt x="0" y="35350"/>
                  </a:lnTo>
                  <a:lnTo>
                    <a:pt x="0" y="31815"/>
                  </a:lnTo>
                  <a:lnTo>
                    <a:pt x="0" y="28280"/>
                  </a:lnTo>
                  <a:lnTo>
                    <a:pt x="7069" y="21210"/>
                  </a:lnTo>
                  <a:close/>
                  <a:moveTo>
                    <a:pt x="58325" y="0"/>
                  </a:moveTo>
                  <a:lnTo>
                    <a:pt x="63627" y="0"/>
                  </a:lnTo>
                  <a:lnTo>
                    <a:pt x="77767" y="0"/>
                  </a:lnTo>
                  <a:lnTo>
                    <a:pt x="83069" y="0"/>
                  </a:lnTo>
                  <a:lnTo>
                    <a:pt x="88372" y="8837"/>
                  </a:lnTo>
                  <a:lnTo>
                    <a:pt x="88372" y="10604"/>
                  </a:lnTo>
                  <a:lnTo>
                    <a:pt x="88372" y="15907"/>
                  </a:lnTo>
                  <a:lnTo>
                    <a:pt x="86604" y="21209"/>
                  </a:lnTo>
                  <a:lnTo>
                    <a:pt x="86604" y="22977"/>
                  </a:lnTo>
                  <a:lnTo>
                    <a:pt x="81302" y="28279"/>
                  </a:lnTo>
                  <a:lnTo>
                    <a:pt x="77767" y="28279"/>
                  </a:lnTo>
                  <a:lnTo>
                    <a:pt x="72465" y="28279"/>
                  </a:lnTo>
                  <a:lnTo>
                    <a:pt x="68930" y="28279"/>
                  </a:lnTo>
                  <a:lnTo>
                    <a:pt x="60092" y="22977"/>
                  </a:lnTo>
                  <a:lnTo>
                    <a:pt x="58325" y="22977"/>
                  </a:lnTo>
                  <a:lnTo>
                    <a:pt x="49488" y="15907"/>
                  </a:lnTo>
                  <a:lnTo>
                    <a:pt x="49488" y="7070"/>
                  </a:lnTo>
                  <a:lnTo>
                    <a:pt x="49488" y="353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49598DDD-9B51-C84A-8A55-FEC6FBEB997A}"/>
              </a:ext>
            </a:extLst>
          </p:cNvPr>
          <p:cNvSpPr txBox="1"/>
          <p:nvPr/>
        </p:nvSpPr>
        <p:spPr>
          <a:xfrm>
            <a:off x="1228675" y="3765198"/>
            <a:ext cx="1596822" cy="5186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eaLnBrk="1" fontAlgn="auto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chemeClr val="accent1"/>
                </a:solidFill>
                <a:latin typeface="+mj-lt"/>
                <a:cs typeface="Arial"/>
              </a:rPr>
              <a:t>XXX</a:t>
            </a:r>
            <a:endParaRPr lang="en-US" sz="1400" b="1" i="1" dirty="0">
              <a:solidFill>
                <a:schemeClr val="accent1"/>
              </a:solidFill>
              <a:latin typeface="+mj-lt"/>
              <a:cs typeface="Arial"/>
            </a:endParaRPr>
          </a:p>
          <a:p>
            <a:pPr algn="r" eaLnBrk="1" fontAlgn="auto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2A4694"/>
              </a:buClr>
              <a:defRPr/>
            </a:pPr>
            <a:r>
              <a:rPr lang="en-US" sz="1400" dirty="0">
                <a:solidFill>
                  <a:schemeClr val="tx2"/>
                </a:solidFill>
                <a:latin typeface="+mj-lt"/>
                <a:cs typeface="Arial"/>
              </a:rPr>
              <a:t>XXXXXXX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E1031E67-51F8-0649-BA73-56A1190004E3}"/>
              </a:ext>
            </a:extLst>
          </p:cNvPr>
          <p:cNvCxnSpPr>
            <a:cxnSpLocks/>
          </p:cNvCxnSpPr>
          <p:nvPr/>
        </p:nvCxnSpPr>
        <p:spPr>
          <a:xfrm>
            <a:off x="2795808" y="3956554"/>
            <a:ext cx="726208" cy="17303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Oval 63">
            <a:extLst>
              <a:ext uri="{FF2B5EF4-FFF2-40B4-BE49-F238E27FC236}">
                <a16:creationId xmlns:a16="http://schemas.microsoft.com/office/drawing/2014/main" id="{DED05FCB-369A-A243-8B0E-6F5E25B820FE}"/>
              </a:ext>
            </a:extLst>
          </p:cNvPr>
          <p:cNvSpPr/>
          <p:nvPr/>
        </p:nvSpPr>
        <p:spPr>
          <a:xfrm>
            <a:off x="8328561" y="3835422"/>
            <a:ext cx="198566" cy="198566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A7005090-5FDC-AF4E-9935-24B9626CECFB}"/>
              </a:ext>
            </a:extLst>
          </p:cNvPr>
          <p:cNvSpPr/>
          <p:nvPr/>
        </p:nvSpPr>
        <p:spPr>
          <a:xfrm>
            <a:off x="8521612" y="2987848"/>
            <a:ext cx="198566" cy="198566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CE042B5C-FA50-A043-8083-AAD912F4EF36}"/>
              </a:ext>
            </a:extLst>
          </p:cNvPr>
          <p:cNvSpPr/>
          <p:nvPr/>
        </p:nvSpPr>
        <p:spPr>
          <a:xfrm>
            <a:off x="5685486" y="2485639"/>
            <a:ext cx="198566" cy="198566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0887BB78-D8BD-EC42-BC3F-82D61940717C}"/>
              </a:ext>
            </a:extLst>
          </p:cNvPr>
          <p:cNvSpPr/>
          <p:nvPr/>
        </p:nvSpPr>
        <p:spPr>
          <a:xfrm>
            <a:off x="6139376" y="4986788"/>
            <a:ext cx="198566" cy="198566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7DCB062C-54F5-4A48-A2DC-196CC46E2FBD}"/>
              </a:ext>
            </a:extLst>
          </p:cNvPr>
          <p:cNvSpPr/>
          <p:nvPr/>
        </p:nvSpPr>
        <p:spPr>
          <a:xfrm>
            <a:off x="3450254" y="4041339"/>
            <a:ext cx="198566" cy="198566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9065D8D-A946-2E4B-87D8-B251732E732D}"/>
              </a:ext>
            </a:extLst>
          </p:cNvPr>
          <p:cNvSpPr txBox="1"/>
          <p:nvPr/>
        </p:nvSpPr>
        <p:spPr>
          <a:xfrm>
            <a:off x="915012" y="1240957"/>
            <a:ext cx="10361976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Each state is an editable shape. You can change the color of each as you would for any other shape.</a:t>
            </a:r>
          </a:p>
        </p:txBody>
      </p:sp>
    </p:spTree>
    <p:extLst>
      <p:ext uri="{BB962C8B-B14F-4D97-AF65-F5344CB8AC3E}">
        <p14:creationId xmlns:p14="http://schemas.microsoft.com/office/powerpoint/2010/main" val="245360749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7261A34-4DD9-5A42-8846-B0E6C81863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415" name="Slide Number Placeholder 414">
            <a:extLst>
              <a:ext uri="{FF2B5EF4-FFF2-40B4-BE49-F238E27FC236}">
                <a16:creationId xmlns:a16="http://schemas.microsoft.com/office/drawing/2014/main" id="{0F37C72E-EA22-EB4E-8639-BF82C6B2A3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7E8608-1636-5A41-9741-B1DAEF4AD7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02" name="Text Placeholder 401">
            <a:extLst>
              <a:ext uri="{FF2B5EF4-FFF2-40B4-BE49-F238E27FC236}">
                <a16:creationId xmlns:a16="http://schemas.microsoft.com/office/drawing/2014/main" id="{1AD836E5-C75D-8B44-AFD3-CA73912980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reeform 781">
            <a:extLst>
              <a:ext uri="{FF2B5EF4-FFF2-40B4-BE49-F238E27FC236}">
                <a16:creationId xmlns:a16="http://schemas.microsoft.com/office/drawing/2014/main" id="{E43719DE-DE46-DC41-9EB1-2471F4951E14}"/>
              </a:ext>
            </a:extLst>
          </p:cNvPr>
          <p:cNvSpPr>
            <a:spLocks/>
          </p:cNvSpPr>
          <p:nvPr/>
        </p:nvSpPr>
        <p:spPr bwMode="auto">
          <a:xfrm>
            <a:off x="4822382" y="1967353"/>
            <a:ext cx="47651" cy="21184"/>
          </a:xfrm>
          <a:custGeom>
            <a:avLst/>
            <a:gdLst>
              <a:gd name="T0" fmla="*/ 4 w 9"/>
              <a:gd name="T1" fmla="*/ 3 h 4"/>
              <a:gd name="T2" fmla="*/ 1 w 9"/>
              <a:gd name="T3" fmla="*/ 2 h 4"/>
              <a:gd name="T4" fmla="*/ 5 w 9"/>
              <a:gd name="T5" fmla="*/ 2 h 4"/>
              <a:gd name="T6" fmla="*/ 0 w 9"/>
              <a:gd name="T7" fmla="*/ 0 h 4"/>
              <a:gd name="T8" fmla="*/ 9 w 9"/>
              <a:gd name="T9" fmla="*/ 2 h 4"/>
              <a:gd name="T10" fmla="*/ 5 w 9"/>
              <a:gd name="T11" fmla="*/ 2 h 4"/>
              <a:gd name="T12" fmla="*/ 4 w 9"/>
              <a:gd name="T13" fmla="*/ 3 h 4"/>
              <a:gd name="T14" fmla="*/ 4 w 9"/>
              <a:gd name="T15" fmla="*/ 3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4">
                <a:moveTo>
                  <a:pt x="4" y="3"/>
                </a:moveTo>
                <a:cubicBezTo>
                  <a:pt x="4" y="3"/>
                  <a:pt x="1" y="2"/>
                  <a:pt x="1" y="2"/>
                </a:cubicBezTo>
                <a:cubicBezTo>
                  <a:pt x="1" y="2"/>
                  <a:pt x="4" y="2"/>
                  <a:pt x="5" y="2"/>
                </a:cubicBezTo>
                <a:cubicBezTo>
                  <a:pt x="3" y="1"/>
                  <a:pt x="1" y="2"/>
                  <a:pt x="0" y="0"/>
                </a:cubicBezTo>
                <a:cubicBezTo>
                  <a:pt x="1" y="1"/>
                  <a:pt x="8" y="0"/>
                  <a:pt x="9" y="2"/>
                </a:cubicBezTo>
                <a:cubicBezTo>
                  <a:pt x="9" y="2"/>
                  <a:pt x="6" y="2"/>
                  <a:pt x="5" y="2"/>
                </a:cubicBezTo>
                <a:cubicBezTo>
                  <a:pt x="5" y="2"/>
                  <a:pt x="7" y="4"/>
                  <a:pt x="4" y="3"/>
                </a:cubicBezTo>
                <a:cubicBezTo>
                  <a:pt x="3" y="3"/>
                  <a:pt x="6" y="4"/>
                  <a:pt x="4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7" name="Freeform 403">
            <a:extLst>
              <a:ext uri="{FF2B5EF4-FFF2-40B4-BE49-F238E27FC236}">
                <a16:creationId xmlns:a16="http://schemas.microsoft.com/office/drawing/2014/main" id="{CB3C72B9-7CE1-5F44-9A26-7F258E964DA6}"/>
              </a:ext>
            </a:extLst>
          </p:cNvPr>
          <p:cNvSpPr>
            <a:spLocks/>
          </p:cNvSpPr>
          <p:nvPr/>
        </p:nvSpPr>
        <p:spPr bwMode="auto">
          <a:xfrm>
            <a:off x="8724457" y="5181973"/>
            <a:ext cx="1055378" cy="789090"/>
          </a:xfrm>
          <a:custGeom>
            <a:avLst/>
            <a:gdLst>
              <a:gd name="T0" fmla="*/ 96 w 204"/>
              <a:gd name="T1" fmla="*/ 3 h 152"/>
              <a:gd name="T2" fmla="*/ 97 w 204"/>
              <a:gd name="T3" fmla="*/ 7 h 152"/>
              <a:gd name="T4" fmla="*/ 86 w 204"/>
              <a:gd name="T5" fmla="*/ 13 h 152"/>
              <a:gd name="T6" fmla="*/ 76 w 204"/>
              <a:gd name="T7" fmla="*/ 24 h 152"/>
              <a:gd name="T8" fmla="*/ 71 w 204"/>
              <a:gd name="T9" fmla="*/ 15 h 152"/>
              <a:gd name="T10" fmla="*/ 65 w 204"/>
              <a:gd name="T11" fmla="*/ 19 h 152"/>
              <a:gd name="T12" fmla="*/ 62 w 204"/>
              <a:gd name="T13" fmla="*/ 22 h 152"/>
              <a:gd name="T14" fmla="*/ 59 w 204"/>
              <a:gd name="T15" fmla="*/ 26 h 152"/>
              <a:gd name="T16" fmla="*/ 55 w 204"/>
              <a:gd name="T17" fmla="*/ 33 h 152"/>
              <a:gd name="T18" fmla="*/ 51 w 204"/>
              <a:gd name="T19" fmla="*/ 30 h 152"/>
              <a:gd name="T20" fmla="*/ 47 w 204"/>
              <a:gd name="T21" fmla="*/ 38 h 152"/>
              <a:gd name="T22" fmla="*/ 24 w 204"/>
              <a:gd name="T23" fmla="*/ 50 h 152"/>
              <a:gd name="T24" fmla="*/ 7 w 204"/>
              <a:gd name="T25" fmla="*/ 60 h 152"/>
              <a:gd name="T26" fmla="*/ 3 w 204"/>
              <a:gd name="T27" fmla="*/ 68 h 152"/>
              <a:gd name="T28" fmla="*/ 4 w 204"/>
              <a:gd name="T29" fmla="*/ 82 h 152"/>
              <a:gd name="T30" fmla="*/ 7 w 204"/>
              <a:gd name="T31" fmla="*/ 91 h 152"/>
              <a:gd name="T32" fmla="*/ 13 w 204"/>
              <a:gd name="T33" fmla="*/ 106 h 152"/>
              <a:gd name="T34" fmla="*/ 11 w 204"/>
              <a:gd name="T35" fmla="*/ 121 h 152"/>
              <a:gd name="T36" fmla="*/ 30 w 204"/>
              <a:gd name="T37" fmla="*/ 125 h 152"/>
              <a:gd name="T38" fmla="*/ 54 w 204"/>
              <a:gd name="T39" fmla="*/ 121 h 152"/>
              <a:gd name="T40" fmla="*/ 73 w 204"/>
              <a:gd name="T41" fmla="*/ 112 h 152"/>
              <a:gd name="T42" fmla="*/ 96 w 204"/>
              <a:gd name="T43" fmla="*/ 111 h 152"/>
              <a:gd name="T44" fmla="*/ 111 w 204"/>
              <a:gd name="T45" fmla="*/ 121 h 152"/>
              <a:gd name="T46" fmla="*/ 116 w 204"/>
              <a:gd name="T47" fmla="*/ 125 h 152"/>
              <a:gd name="T48" fmla="*/ 125 w 204"/>
              <a:gd name="T49" fmla="*/ 120 h 152"/>
              <a:gd name="T50" fmla="*/ 122 w 204"/>
              <a:gd name="T51" fmla="*/ 129 h 152"/>
              <a:gd name="T52" fmla="*/ 131 w 204"/>
              <a:gd name="T53" fmla="*/ 132 h 152"/>
              <a:gd name="T54" fmla="*/ 145 w 204"/>
              <a:gd name="T55" fmla="*/ 147 h 152"/>
              <a:gd name="T56" fmla="*/ 161 w 204"/>
              <a:gd name="T57" fmla="*/ 145 h 152"/>
              <a:gd name="T58" fmla="*/ 165 w 204"/>
              <a:gd name="T59" fmla="*/ 149 h 152"/>
              <a:gd name="T60" fmla="*/ 174 w 204"/>
              <a:gd name="T61" fmla="*/ 145 h 152"/>
              <a:gd name="T62" fmla="*/ 194 w 204"/>
              <a:gd name="T63" fmla="*/ 118 h 152"/>
              <a:gd name="T64" fmla="*/ 200 w 204"/>
              <a:gd name="T65" fmla="*/ 108 h 152"/>
              <a:gd name="T66" fmla="*/ 202 w 204"/>
              <a:gd name="T67" fmla="*/ 96 h 152"/>
              <a:gd name="T68" fmla="*/ 201 w 204"/>
              <a:gd name="T69" fmla="*/ 83 h 152"/>
              <a:gd name="T70" fmla="*/ 196 w 204"/>
              <a:gd name="T71" fmla="*/ 70 h 152"/>
              <a:gd name="T72" fmla="*/ 184 w 204"/>
              <a:gd name="T73" fmla="*/ 59 h 152"/>
              <a:gd name="T74" fmla="*/ 180 w 204"/>
              <a:gd name="T75" fmla="*/ 50 h 152"/>
              <a:gd name="T76" fmla="*/ 166 w 204"/>
              <a:gd name="T77" fmla="*/ 36 h 152"/>
              <a:gd name="T78" fmla="*/ 161 w 204"/>
              <a:gd name="T79" fmla="*/ 20 h 152"/>
              <a:gd name="T80" fmla="*/ 152 w 204"/>
              <a:gd name="T81" fmla="*/ 8 h 152"/>
              <a:gd name="T82" fmla="*/ 145 w 204"/>
              <a:gd name="T83" fmla="*/ 6 h 152"/>
              <a:gd name="T84" fmla="*/ 143 w 204"/>
              <a:gd name="T85" fmla="*/ 16 h 152"/>
              <a:gd name="T86" fmla="*/ 130 w 204"/>
              <a:gd name="T87" fmla="*/ 31 h 152"/>
              <a:gd name="T88" fmla="*/ 115 w 204"/>
              <a:gd name="T89" fmla="*/ 17 h 152"/>
              <a:gd name="T90" fmla="*/ 118 w 204"/>
              <a:gd name="T91" fmla="*/ 11 h 152"/>
              <a:gd name="T92" fmla="*/ 117 w 204"/>
              <a:gd name="T93" fmla="*/ 8 h 152"/>
              <a:gd name="T94" fmla="*/ 109 w 204"/>
              <a:gd name="T95" fmla="*/ 7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4" h="152">
                <a:moveTo>
                  <a:pt x="101" y="4"/>
                </a:moveTo>
                <a:cubicBezTo>
                  <a:pt x="99" y="4"/>
                  <a:pt x="98" y="2"/>
                  <a:pt x="96" y="2"/>
                </a:cubicBezTo>
                <a:cubicBezTo>
                  <a:pt x="95" y="1"/>
                  <a:pt x="95" y="2"/>
                  <a:pt x="96" y="3"/>
                </a:cubicBezTo>
                <a:cubicBezTo>
                  <a:pt x="96" y="4"/>
                  <a:pt x="98" y="3"/>
                  <a:pt x="98" y="3"/>
                </a:cubicBezTo>
                <a:cubicBezTo>
                  <a:pt x="99" y="4"/>
                  <a:pt x="98" y="6"/>
                  <a:pt x="99" y="6"/>
                </a:cubicBezTo>
                <a:cubicBezTo>
                  <a:pt x="99" y="7"/>
                  <a:pt x="98" y="7"/>
                  <a:pt x="97" y="7"/>
                </a:cubicBezTo>
                <a:cubicBezTo>
                  <a:pt x="96" y="8"/>
                  <a:pt x="95" y="8"/>
                  <a:pt x="94" y="8"/>
                </a:cubicBezTo>
                <a:cubicBezTo>
                  <a:pt x="92" y="7"/>
                  <a:pt x="92" y="8"/>
                  <a:pt x="90" y="8"/>
                </a:cubicBezTo>
                <a:cubicBezTo>
                  <a:pt x="87" y="9"/>
                  <a:pt x="88" y="12"/>
                  <a:pt x="86" y="13"/>
                </a:cubicBezTo>
                <a:cubicBezTo>
                  <a:pt x="84" y="15"/>
                  <a:pt x="83" y="18"/>
                  <a:pt x="84" y="20"/>
                </a:cubicBezTo>
                <a:cubicBezTo>
                  <a:pt x="86" y="23"/>
                  <a:pt x="81" y="21"/>
                  <a:pt x="80" y="21"/>
                </a:cubicBezTo>
                <a:cubicBezTo>
                  <a:pt x="79" y="21"/>
                  <a:pt x="76" y="24"/>
                  <a:pt x="76" y="24"/>
                </a:cubicBezTo>
                <a:cubicBezTo>
                  <a:pt x="76" y="24"/>
                  <a:pt x="75" y="19"/>
                  <a:pt x="74" y="18"/>
                </a:cubicBezTo>
                <a:cubicBezTo>
                  <a:pt x="74" y="17"/>
                  <a:pt x="73" y="17"/>
                  <a:pt x="72" y="17"/>
                </a:cubicBezTo>
                <a:cubicBezTo>
                  <a:pt x="71" y="16"/>
                  <a:pt x="71" y="16"/>
                  <a:pt x="71" y="15"/>
                </a:cubicBezTo>
                <a:cubicBezTo>
                  <a:pt x="70" y="14"/>
                  <a:pt x="70" y="16"/>
                  <a:pt x="70" y="17"/>
                </a:cubicBezTo>
                <a:cubicBezTo>
                  <a:pt x="69" y="17"/>
                  <a:pt x="68" y="17"/>
                  <a:pt x="68" y="16"/>
                </a:cubicBezTo>
                <a:cubicBezTo>
                  <a:pt x="66" y="16"/>
                  <a:pt x="67" y="20"/>
                  <a:pt x="65" y="19"/>
                </a:cubicBezTo>
                <a:cubicBezTo>
                  <a:pt x="65" y="19"/>
                  <a:pt x="64" y="18"/>
                  <a:pt x="64" y="18"/>
                </a:cubicBezTo>
                <a:cubicBezTo>
                  <a:pt x="63" y="19"/>
                  <a:pt x="63" y="19"/>
                  <a:pt x="63" y="19"/>
                </a:cubicBezTo>
                <a:cubicBezTo>
                  <a:pt x="60" y="18"/>
                  <a:pt x="62" y="22"/>
                  <a:pt x="62" y="22"/>
                </a:cubicBezTo>
                <a:cubicBezTo>
                  <a:pt x="62" y="22"/>
                  <a:pt x="60" y="22"/>
                  <a:pt x="60" y="22"/>
                </a:cubicBezTo>
                <a:cubicBezTo>
                  <a:pt x="60" y="23"/>
                  <a:pt x="61" y="23"/>
                  <a:pt x="61" y="23"/>
                </a:cubicBezTo>
                <a:cubicBezTo>
                  <a:pt x="60" y="25"/>
                  <a:pt x="59" y="23"/>
                  <a:pt x="59" y="26"/>
                </a:cubicBezTo>
                <a:cubicBezTo>
                  <a:pt x="59" y="27"/>
                  <a:pt x="60" y="27"/>
                  <a:pt x="60" y="28"/>
                </a:cubicBezTo>
                <a:cubicBezTo>
                  <a:pt x="60" y="30"/>
                  <a:pt x="53" y="26"/>
                  <a:pt x="53" y="29"/>
                </a:cubicBezTo>
                <a:cubicBezTo>
                  <a:pt x="53" y="30"/>
                  <a:pt x="57" y="32"/>
                  <a:pt x="55" y="33"/>
                </a:cubicBezTo>
                <a:cubicBezTo>
                  <a:pt x="54" y="33"/>
                  <a:pt x="54" y="32"/>
                  <a:pt x="54" y="33"/>
                </a:cubicBezTo>
                <a:cubicBezTo>
                  <a:pt x="53" y="34"/>
                  <a:pt x="53" y="34"/>
                  <a:pt x="52" y="33"/>
                </a:cubicBezTo>
                <a:cubicBezTo>
                  <a:pt x="51" y="33"/>
                  <a:pt x="52" y="31"/>
                  <a:pt x="51" y="30"/>
                </a:cubicBezTo>
                <a:cubicBezTo>
                  <a:pt x="50" y="28"/>
                  <a:pt x="48" y="32"/>
                  <a:pt x="47" y="33"/>
                </a:cubicBezTo>
                <a:cubicBezTo>
                  <a:pt x="47" y="34"/>
                  <a:pt x="46" y="35"/>
                  <a:pt x="46" y="36"/>
                </a:cubicBezTo>
                <a:cubicBezTo>
                  <a:pt x="46" y="36"/>
                  <a:pt x="47" y="37"/>
                  <a:pt x="47" y="38"/>
                </a:cubicBezTo>
                <a:cubicBezTo>
                  <a:pt x="47" y="38"/>
                  <a:pt x="45" y="40"/>
                  <a:pt x="44" y="41"/>
                </a:cubicBezTo>
                <a:cubicBezTo>
                  <a:pt x="41" y="44"/>
                  <a:pt x="38" y="46"/>
                  <a:pt x="34" y="47"/>
                </a:cubicBezTo>
                <a:cubicBezTo>
                  <a:pt x="31" y="47"/>
                  <a:pt x="28" y="49"/>
                  <a:pt x="24" y="50"/>
                </a:cubicBezTo>
                <a:cubicBezTo>
                  <a:pt x="21" y="51"/>
                  <a:pt x="18" y="51"/>
                  <a:pt x="15" y="53"/>
                </a:cubicBezTo>
                <a:cubicBezTo>
                  <a:pt x="13" y="55"/>
                  <a:pt x="12" y="55"/>
                  <a:pt x="10" y="56"/>
                </a:cubicBezTo>
                <a:cubicBezTo>
                  <a:pt x="9" y="57"/>
                  <a:pt x="7" y="60"/>
                  <a:pt x="7" y="60"/>
                </a:cubicBezTo>
                <a:cubicBezTo>
                  <a:pt x="6" y="60"/>
                  <a:pt x="7" y="57"/>
                  <a:pt x="7" y="56"/>
                </a:cubicBezTo>
                <a:cubicBezTo>
                  <a:pt x="5" y="56"/>
                  <a:pt x="4" y="61"/>
                  <a:pt x="4" y="61"/>
                </a:cubicBezTo>
                <a:cubicBezTo>
                  <a:pt x="5" y="64"/>
                  <a:pt x="3" y="65"/>
                  <a:pt x="3" y="68"/>
                </a:cubicBezTo>
                <a:cubicBezTo>
                  <a:pt x="3" y="69"/>
                  <a:pt x="8" y="80"/>
                  <a:pt x="6" y="81"/>
                </a:cubicBezTo>
                <a:cubicBezTo>
                  <a:pt x="6" y="81"/>
                  <a:pt x="3" y="77"/>
                  <a:pt x="3" y="77"/>
                </a:cubicBezTo>
                <a:cubicBezTo>
                  <a:pt x="3" y="78"/>
                  <a:pt x="6" y="81"/>
                  <a:pt x="4" y="82"/>
                </a:cubicBezTo>
                <a:cubicBezTo>
                  <a:pt x="2" y="82"/>
                  <a:pt x="2" y="77"/>
                  <a:pt x="0" y="77"/>
                </a:cubicBezTo>
                <a:cubicBezTo>
                  <a:pt x="0" y="77"/>
                  <a:pt x="6" y="85"/>
                  <a:pt x="6" y="86"/>
                </a:cubicBezTo>
                <a:cubicBezTo>
                  <a:pt x="7" y="87"/>
                  <a:pt x="6" y="89"/>
                  <a:pt x="7" y="91"/>
                </a:cubicBezTo>
                <a:cubicBezTo>
                  <a:pt x="8" y="93"/>
                  <a:pt x="9" y="94"/>
                  <a:pt x="10" y="96"/>
                </a:cubicBezTo>
                <a:cubicBezTo>
                  <a:pt x="11" y="97"/>
                  <a:pt x="11" y="100"/>
                  <a:pt x="11" y="101"/>
                </a:cubicBezTo>
                <a:cubicBezTo>
                  <a:pt x="11" y="103"/>
                  <a:pt x="12" y="105"/>
                  <a:pt x="13" y="106"/>
                </a:cubicBezTo>
                <a:cubicBezTo>
                  <a:pt x="14" y="109"/>
                  <a:pt x="14" y="110"/>
                  <a:pt x="14" y="113"/>
                </a:cubicBezTo>
                <a:cubicBezTo>
                  <a:pt x="14" y="114"/>
                  <a:pt x="14" y="119"/>
                  <a:pt x="14" y="119"/>
                </a:cubicBezTo>
                <a:cubicBezTo>
                  <a:pt x="13" y="120"/>
                  <a:pt x="12" y="120"/>
                  <a:pt x="11" y="121"/>
                </a:cubicBezTo>
                <a:cubicBezTo>
                  <a:pt x="10" y="124"/>
                  <a:pt x="12" y="124"/>
                  <a:pt x="13" y="125"/>
                </a:cubicBezTo>
                <a:cubicBezTo>
                  <a:pt x="17" y="127"/>
                  <a:pt x="20" y="129"/>
                  <a:pt x="25" y="128"/>
                </a:cubicBezTo>
                <a:cubicBezTo>
                  <a:pt x="27" y="127"/>
                  <a:pt x="29" y="126"/>
                  <a:pt x="30" y="125"/>
                </a:cubicBezTo>
                <a:cubicBezTo>
                  <a:pt x="33" y="124"/>
                  <a:pt x="32" y="125"/>
                  <a:pt x="33" y="123"/>
                </a:cubicBezTo>
                <a:cubicBezTo>
                  <a:pt x="35" y="121"/>
                  <a:pt x="42" y="121"/>
                  <a:pt x="44" y="122"/>
                </a:cubicBezTo>
                <a:cubicBezTo>
                  <a:pt x="47" y="122"/>
                  <a:pt x="52" y="124"/>
                  <a:pt x="54" y="121"/>
                </a:cubicBezTo>
                <a:cubicBezTo>
                  <a:pt x="55" y="120"/>
                  <a:pt x="55" y="118"/>
                  <a:pt x="57" y="117"/>
                </a:cubicBezTo>
                <a:cubicBezTo>
                  <a:pt x="59" y="116"/>
                  <a:pt x="61" y="115"/>
                  <a:pt x="63" y="114"/>
                </a:cubicBezTo>
                <a:cubicBezTo>
                  <a:pt x="66" y="112"/>
                  <a:pt x="70" y="114"/>
                  <a:pt x="73" y="112"/>
                </a:cubicBezTo>
                <a:cubicBezTo>
                  <a:pt x="78" y="110"/>
                  <a:pt x="82" y="110"/>
                  <a:pt x="88" y="109"/>
                </a:cubicBezTo>
                <a:cubicBezTo>
                  <a:pt x="89" y="109"/>
                  <a:pt x="90" y="108"/>
                  <a:pt x="92" y="108"/>
                </a:cubicBezTo>
                <a:cubicBezTo>
                  <a:pt x="93" y="109"/>
                  <a:pt x="95" y="110"/>
                  <a:pt x="96" y="111"/>
                </a:cubicBezTo>
                <a:cubicBezTo>
                  <a:pt x="97" y="111"/>
                  <a:pt x="107" y="113"/>
                  <a:pt x="107" y="114"/>
                </a:cubicBezTo>
                <a:cubicBezTo>
                  <a:pt x="106" y="115"/>
                  <a:pt x="105" y="118"/>
                  <a:pt x="107" y="117"/>
                </a:cubicBezTo>
                <a:cubicBezTo>
                  <a:pt x="108" y="117"/>
                  <a:pt x="110" y="120"/>
                  <a:pt x="111" y="121"/>
                </a:cubicBezTo>
                <a:cubicBezTo>
                  <a:pt x="112" y="122"/>
                  <a:pt x="112" y="123"/>
                  <a:pt x="112" y="125"/>
                </a:cubicBezTo>
                <a:cubicBezTo>
                  <a:pt x="113" y="126"/>
                  <a:pt x="115" y="128"/>
                  <a:pt x="115" y="128"/>
                </a:cubicBezTo>
                <a:cubicBezTo>
                  <a:pt x="115" y="127"/>
                  <a:pt x="114" y="126"/>
                  <a:pt x="116" y="125"/>
                </a:cubicBezTo>
                <a:cubicBezTo>
                  <a:pt x="117" y="124"/>
                  <a:pt x="118" y="123"/>
                  <a:pt x="120" y="122"/>
                </a:cubicBezTo>
                <a:cubicBezTo>
                  <a:pt x="121" y="121"/>
                  <a:pt x="126" y="116"/>
                  <a:pt x="125" y="115"/>
                </a:cubicBezTo>
                <a:cubicBezTo>
                  <a:pt x="126" y="117"/>
                  <a:pt x="125" y="118"/>
                  <a:pt x="125" y="120"/>
                </a:cubicBezTo>
                <a:cubicBezTo>
                  <a:pt x="126" y="121"/>
                  <a:pt x="124" y="122"/>
                  <a:pt x="124" y="122"/>
                </a:cubicBezTo>
                <a:cubicBezTo>
                  <a:pt x="123" y="124"/>
                  <a:pt x="123" y="125"/>
                  <a:pt x="123" y="126"/>
                </a:cubicBezTo>
                <a:cubicBezTo>
                  <a:pt x="123" y="128"/>
                  <a:pt x="119" y="129"/>
                  <a:pt x="122" y="129"/>
                </a:cubicBezTo>
                <a:cubicBezTo>
                  <a:pt x="126" y="129"/>
                  <a:pt x="124" y="125"/>
                  <a:pt x="125" y="123"/>
                </a:cubicBezTo>
                <a:cubicBezTo>
                  <a:pt x="125" y="123"/>
                  <a:pt x="129" y="127"/>
                  <a:pt x="128" y="129"/>
                </a:cubicBezTo>
                <a:cubicBezTo>
                  <a:pt x="125" y="133"/>
                  <a:pt x="129" y="130"/>
                  <a:pt x="131" y="132"/>
                </a:cubicBezTo>
                <a:cubicBezTo>
                  <a:pt x="134" y="135"/>
                  <a:pt x="134" y="136"/>
                  <a:pt x="134" y="139"/>
                </a:cubicBezTo>
                <a:cubicBezTo>
                  <a:pt x="133" y="142"/>
                  <a:pt x="137" y="145"/>
                  <a:pt x="139" y="145"/>
                </a:cubicBezTo>
                <a:cubicBezTo>
                  <a:pt x="141" y="146"/>
                  <a:pt x="143" y="147"/>
                  <a:pt x="145" y="147"/>
                </a:cubicBezTo>
                <a:cubicBezTo>
                  <a:pt x="147" y="147"/>
                  <a:pt x="151" y="152"/>
                  <a:pt x="153" y="151"/>
                </a:cubicBezTo>
                <a:cubicBezTo>
                  <a:pt x="155" y="150"/>
                  <a:pt x="157" y="149"/>
                  <a:pt x="158" y="147"/>
                </a:cubicBezTo>
                <a:cubicBezTo>
                  <a:pt x="158" y="147"/>
                  <a:pt x="160" y="144"/>
                  <a:pt x="161" y="145"/>
                </a:cubicBezTo>
                <a:cubicBezTo>
                  <a:pt x="161" y="146"/>
                  <a:pt x="159" y="147"/>
                  <a:pt x="160" y="148"/>
                </a:cubicBezTo>
                <a:cubicBezTo>
                  <a:pt x="161" y="149"/>
                  <a:pt x="161" y="146"/>
                  <a:pt x="162" y="146"/>
                </a:cubicBezTo>
                <a:cubicBezTo>
                  <a:pt x="162" y="146"/>
                  <a:pt x="164" y="149"/>
                  <a:pt x="165" y="149"/>
                </a:cubicBezTo>
                <a:cubicBezTo>
                  <a:pt x="165" y="150"/>
                  <a:pt x="167" y="152"/>
                  <a:pt x="168" y="152"/>
                </a:cubicBezTo>
                <a:cubicBezTo>
                  <a:pt x="167" y="152"/>
                  <a:pt x="170" y="149"/>
                  <a:pt x="170" y="149"/>
                </a:cubicBezTo>
                <a:cubicBezTo>
                  <a:pt x="172" y="148"/>
                  <a:pt x="173" y="146"/>
                  <a:pt x="174" y="145"/>
                </a:cubicBezTo>
                <a:cubicBezTo>
                  <a:pt x="177" y="144"/>
                  <a:pt x="185" y="146"/>
                  <a:pt x="185" y="142"/>
                </a:cubicBezTo>
                <a:cubicBezTo>
                  <a:pt x="186" y="137"/>
                  <a:pt x="187" y="134"/>
                  <a:pt x="188" y="130"/>
                </a:cubicBezTo>
                <a:cubicBezTo>
                  <a:pt x="190" y="126"/>
                  <a:pt x="191" y="122"/>
                  <a:pt x="194" y="118"/>
                </a:cubicBezTo>
                <a:cubicBezTo>
                  <a:pt x="195" y="117"/>
                  <a:pt x="197" y="116"/>
                  <a:pt x="198" y="114"/>
                </a:cubicBezTo>
                <a:cubicBezTo>
                  <a:pt x="198" y="113"/>
                  <a:pt x="198" y="113"/>
                  <a:pt x="198" y="112"/>
                </a:cubicBezTo>
                <a:cubicBezTo>
                  <a:pt x="199" y="111"/>
                  <a:pt x="200" y="110"/>
                  <a:pt x="200" y="108"/>
                </a:cubicBezTo>
                <a:cubicBezTo>
                  <a:pt x="201" y="106"/>
                  <a:pt x="200" y="104"/>
                  <a:pt x="201" y="102"/>
                </a:cubicBezTo>
                <a:cubicBezTo>
                  <a:pt x="201" y="101"/>
                  <a:pt x="202" y="100"/>
                  <a:pt x="202" y="99"/>
                </a:cubicBezTo>
                <a:cubicBezTo>
                  <a:pt x="203" y="98"/>
                  <a:pt x="201" y="97"/>
                  <a:pt x="202" y="96"/>
                </a:cubicBezTo>
                <a:cubicBezTo>
                  <a:pt x="203" y="95"/>
                  <a:pt x="204" y="92"/>
                  <a:pt x="203" y="91"/>
                </a:cubicBezTo>
                <a:cubicBezTo>
                  <a:pt x="203" y="89"/>
                  <a:pt x="202" y="88"/>
                  <a:pt x="202" y="87"/>
                </a:cubicBezTo>
                <a:cubicBezTo>
                  <a:pt x="201" y="86"/>
                  <a:pt x="201" y="84"/>
                  <a:pt x="201" y="83"/>
                </a:cubicBezTo>
                <a:cubicBezTo>
                  <a:pt x="200" y="79"/>
                  <a:pt x="203" y="77"/>
                  <a:pt x="202" y="73"/>
                </a:cubicBezTo>
                <a:cubicBezTo>
                  <a:pt x="202" y="74"/>
                  <a:pt x="201" y="76"/>
                  <a:pt x="200" y="76"/>
                </a:cubicBezTo>
                <a:cubicBezTo>
                  <a:pt x="198" y="76"/>
                  <a:pt x="197" y="72"/>
                  <a:pt x="196" y="70"/>
                </a:cubicBezTo>
                <a:cubicBezTo>
                  <a:pt x="194" y="67"/>
                  <a:pt x="190" y="67"/>
                  <a:pt x="190" y="62"/>
                </a:cubicBezTo>
                <a:cubicBezTo>
                  <a:pt x="189" y="60"/>
                  <a:pt x="188" y="60"/>
                  <a:pt x="187" y="59"/>
                </a:cubicBezTo>
                <a:cubicBezTo>
                  <a:pt x="185" y="58"/>
                  <a:pt x="185" y="61"/>
                  <a:pt x="184" y="59"/>
                </a:cubicBezTo>
                <a:cubicBezTo>
                  <a:pt x="184" y="56"/>
                  <a:pt x="183" y="55"/>
                  <a:pt x="181" y="53"/>
                </a:cubicBezTo>
                <a:cubicBezTo>
                  <a:pt x="181" y="53"/>
                  <a:pt x="180" y="52"/>
                  <a:pt x="180" y="51"/>
                </a:cubicBezTo>
                <a:cubicBezTo>
                  <a:pt x="179" y="51"/>
                  <a:pt x="180" y="49"/>
                  <a:pt x="180" y="50"/>
                </a:cubicBezTo>
                <a:cubicBezTo>
                  <a:pt x="178" y="48"/>
                  <a:pt x="176" y="47"/>
                  <a:pt x="174" y="46"/>
                </a:cubicBezTo>
                <a:cubicBezTo>
                  <a:pt x="172" y="44"/>
                  <a:pt x="169" y="45"/>
                  <a:pt x="168" y="43"/>
                </a:cubicBezTo>
                <a:cubicBezTo>
                  <a:pt x="166" y="41"/>
                  <a:pt x="167" y="37"/>
                  <a:pt x="166" y="36"/>
                </a:cubicBezTo>
                <a:cubicBezTo>
                  <a:pt x="166" y="34"/>
                  <a:pt x="166" y="32"/>
                  <a:pt x="165" y="31"/>
                </a:cubicBezTo>
                <a:cubicBezTo>
                  <a:pt x="164" y="30"/>
                  <a:pt x="163" y="30"/>
                  <a:pt x="163" y="28"/>
                </a:cubicBezTo>
                <a:cubicBezTo>
                  <a:pt x="163" y="26"/>
                  <a:pt x="163" y="23"/>
                  <a:pt x="161" y="20"/>
                </a:cubicBezTo>
                <a:cubicBezTo>
                  <a:pt x="160" y="20"/>
                  <a:pt x="158" y="17"/>
                  <a:pt x="158" y="18"/>
                </a:cubicBezTo>
                <a:cubicBezTo>
                  <a:pt x="156" y="18"/>
                  <a:pt x="156" y="19"/>
                  <a:pt x="155" y="17"/>
                </a:cubicBezTo>
                <a:cubicBezTo>
                  <a:pt x="153" y="15"/>
                  <a:pt x="154" y="11"/>
                  <a:pt x="152" y="8"/>
                </a:cubicBezTo>
                <a:cubicBezTo>
                  <a:pt x="152" y="7"/>
                  <a:pt x="148" y="0"/>
                  <a:pt x="148" y="0"/>
                </a:cubicBezTo>
                <a:cubicBezTo>
                  <a:pt x="147" y="0"/>
                  <a:pt x="147" y="2"/>
                  <a:pt x="147" y="3"/>
                </a:cubicBezTo>
                <a:cubicBezTo>
                  <a:pt x="147" y="4"/>
                  <a:pt x="146" y="5"/>
                  <a:pt x="145" y="6"/>
                </a:cubicBezTo>
                <a:cubicBezTo>
                  <a:pt x="145" y="6"/>
                  <a:pt x="143" y="8"/>
                  <a:pt x="144" y="9"/>
                </a:cubicBezTo>
                <a:cubicBezTo>
                  <a:pt x="144" y="9"/>
                  <a:pt x="146" y="9"/>
                  <a:pt x="145" y="10"/>
                </a:cubicBezTo>
                <a:cubicBezTo>
                  <a:pt x="144" y="10"/>
                  <a:pt x="143" y="15"/>
                  <a:pt x="143" y="16"/>
                </a:cubicBezTo>
                <a:cubicBezTo>
                  <a:pt x="144" y="18"/>
                  <a:pt x="144" y="20"/>
                  <a:pt x="144" y="22"/>
                </a:cubicBezTo>
                <a:cubicBezTo>
                  <a:pt x="143" y="26"/>
                  <a:pt x="143" y="36"/>
                  <a:pt x="137" y="36"/>
                </a:cubicBezTo>
                <a:cubicBezTo>
                  <a:pt x="133" y="36"/>
                  <a:pt x="133" y="32"/>
                  <a:pt x="130" y="31"/>
                </a:cubicBezTo>
                <a:cubicBezTo>
                  <a:pt x="128" y="30"/>
                  <a:pt x="126" y="30"/>
                  <a:pt x="124" y="28"/>
                </a:cubicBezTo>
                <a:cubicBezTo>
                  <a:pt x="123" y="27"/>
                  <a:pt x="112" y="21"/>
                  <a:pt x="113" y="20"/>
                </a:cubicBezTo>
                <a:cubicBezTo>
                  <a:pt x="113" y="19"/>
                  <a:pt x="114" y="18"/>
                  <a:pt x="115" y="17"/>
                </a:cubicBezTo>
                <a:cubicBezTo>
                  <a:pt x="115" y="16"/>
                  <a:pt x="117" y="16"/>
                  <a:pt x="117" y="15"/>
                </a:cubicBezTo>
                <a:cubicBezTo>
                  <a:pt x="117" y="15"/>
                  <a:pt x="116" y="14"/>
                  <a:pt x="116" y="13"/>
                </a:cubicBezTo>
                <a:cubicBezTo>
                  <a:pt x="117" y="12"/>
                  <a:pt x="117" y="12"/>
                  <a:pt x="118" y="11"/>
                </a:cubicBezTo>
                <a:cubicBezTo>
                  <a:pt x="118" y="10"/>
                  <a:pt x="120" y="9"/>
                  <a:pt x="121" y="8"/>
                </a:cubicBezTo>
                <a:cubicBezTo>
                  <a:pt x="121" y="7"/>
                  <a:pt x="119" y="5"/>
                  <a:pt x="118" y="6"/>
                </a:cubicBezTo>
                <a:cubicBezTo>
                  <a:pt x="118" y="6"/>
                  <a:pt x="117" y="8"/>
                  <a:pt x="117" y="8"/>
                </a:cubicBezTo>
                <a:cubicBezTo>
                  <a:pt x="116" y="7"/>
                  <a:pt x="116" y="7"/>
                  <a:pt x="115" y="6"/>
                </a:cubicBezTo>
                <a:cubicBezTo>
                  <a:pt x="115" y="5"/>
                  <a:pt x="113" y="7"/>
                  <a:pt x="112" y="7"/>
                </a:cubicBezTo>
                <a:cubicBezTo>
                  <a:pt x="111" y="8"/>
                  <a:pt x="110" y="7"/>
                  <a:pt x="109" y="7"/>
                </a:cubicBezTo>
                <a:cubicBezTo>
                  <a:pt x="107" y="6"/>
                  <a:pt x="104" y="5"/>
                  <a:pt x="101" y="4"/>
                </a:cubicBezTo>
                <a:cubicBezTo>
                  <a:pt x="99" y="4"/>
                  <a:pt x="103" y="5"/>
                  <a:pt x="101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8" name="Freeform 404">
            <a:extLst>
              <a:ext uri="{FF2B5EF4-FFF2-40B4-BE49-F238E27FC236}">
                <a16:creationId xmlns:a16="http://schemas.microsoft.com/office/drawing/2014/main" id="{B891647E-5900-8E4D-84DF-60BA9AD55B63}"/>
              </a:ext>
            </a:extLst>
          </p:cNvPr>
          <p:cNvSpPr>
            <a:spLocks/>
          </p:cNvSpPr>
          <p:nvPr/>
        </p:nvSpPr>
        <p:spPr bwMode="auto">
          <a:xfrm>
            <a:off x="5708334" y="3169525"/>
            <a:ext cx="206486" cy="312458"/>
          </a:xfrm>
          <a:custGeom>
            <a:avLst/>
            <a:gdLst>
              <a:gd name="T0" fmla="*/ 7 w 40"/>
              <a:gd name="T1" fmla="*/ 0 h 60"/>
              <a:gd name="T2" fmla="*/ 4 w 40"/>
              <a:gd name="T3" fmla="*/ 3 h 60"/>
              <a:gd name="T4" fmla="*/ 2 w 40"/>
              <a:gd name="T5" fmla="*/ 8 h 60"/>
              <a:gd name="T6" fmla="*/ 5 w 40"/>
              <a:gd name="T7" fmla="*/ 14 h 60"/>
              <a:gd name="T8" fmla="*/ 3 w 40"/>
              <a:gd name="T9" fmla="*/ 18 h 60"/>
              <a:gd name="T10" fmla="*/ 3 w 40"/>
              <a:gd name="T11" fmla="*/ 19 h 60"/>
              <a:gd name="T12" fmla="*/ 2 w 40"/>
              <a:gd name="T13" fmla="*/ 23 h 60"/>
              <a:gd name="T14" fmla="*/ 5 w 40"/>
              <a:gd name="T15" fmla="*/ 23 h 60"/>
              <a:gd name="T16" fmla="*/ 7 w 40"/>
              <a:gd name="T17" fmla="*/ 19 h 60"/>
              <a:gd name="T18" fmla="*/ 7 w 40"/>
              <a:gd name="T19" fmla="*/ 23 h 60"/>
              <a:gd name="T20" fmla="*/ 11 w 40"/>
              <a:gd name="T21" fmla="*/ 27 h 60"/>
              <a:gd name="T22" fmla="*/ 14 w 40"/>
              <a:gd name="T23" fmla="*/ 30 h 60"/>
              <a:gd name="T24" fmla="*/ 16 w 40"/>
              <a:gd name="T25" fmla="*/ 36 h 60"/>
              <a:gd name="T26" fmla="*/ 8 w 40"/>
              <a:gd name="T27" fmla="*/ 39 h 60"/>
              <a:gd name="T28" fmla="*/ 9 w 40"/>
              <a:gd name="T29" fmla="*/ 42 h 60"/>
              <a:gd name="T30" fmla="*/ 5 w 40"/>
              <a:gd name="T31" fmla="*/ 47 h 60"/>
              <a:gd name="T32" fmla="*/ 9 w 40"/>
              <a:gd name="T33" fmla="*/ 48 h 60"/>
              <a:gd name="T34" fmla="*/ 18 w 40"/>
              <a:gd name="T35" fmla="*/ 48 h 60"/>
              <a:gd name="T36" fmla="*/ 10 w 40"/>
              <a:gd name="T37" fmla="*/ 52 h 60"/>
              <a:gd name="T38" fmla="*/ 7 w 40"/>
              <a:gd name="T39" fmla="*/ 55 h 60"/>
              <a:gd name="T40" fmla="*/ 3 w 40"/>
              <a:gd name="T41" fmla="*/ 59 h 60"/>
              <a:gd name="T42" fmla="*/ 5 w 40"/>
              <a:gd name="T43" fmla="*/ 60 h 60"/>
              <a:gd name="T44" fmla="*/ 12 w 40"/>
              <a:gd name="T45" fmla="*/ 57 h 60"/>
              <a:gd name="T46" fmla="*/ 19 w 40"/>
              <a:gd name="T47" fmla="*/ 55 h 60"/>
              <a:gd name="T48" fmla="*/ 27 w 40"/>
              <a:gd name="T49" fmla="*/ 54 h 60"/>
              <a:gd name="T50" fmla="*/ 38 w 40"/>
              <a:gd name="T51" fmla="*/ 51 h 60"/>
              <a:gd name="T52" fmla="*/ 38 w 40"/>
              <a:gd name="T53" fmla="*/ 46 h 60"/>
              <a:gd name="T54" fmla="*/ 32 w 40"/>
              <a:gd name="T55" fmla="*/ 41 h 60"/>
              <a:gd name="T56" fmla="*/ 31 w 40"/>
              <a:gd name="T57" fmla="*/ 36 h 60"/>
              <a:gd name="T58" fmla="*/ 30 w 40"/>
              <a:gd name="T59" fmla="*/ 34 h 60"/>
              <a:gd name="T60" fmla="*/ 23 w 40"/>
              <a:gd name="T61" fmla="*/ 25 h 60"/>
              <a:gd name="T62" fmla="*/ 12 w 40"/>
              <a:gd name="T63" fmla="*/ 18 h 60"/>
              <a:gd name="T64" fmla="*/ 14 w 40"/>
              <a:gd name="T65" fmla="*/ 16 h 60"/>
              <a:gd name="T66" fmla="*/ 21 w 40"/>
              <a:gd name="T67" fmla="*/ 8 h 60"/>
              <a:gd name="T68" fmla="*/ 9 w 40"/>
              <a:gd name="T69" fmla="*/ 7 h 60"/>
              <a:gd name="T70" fmla="*/ 9 w 40"/>
              <a:gd name="T71" fmla="*/ 6 h 60"/>
              <a:gd name="T72" fmla="*/ 15 w 40"/>
              <a:gd name="T73" fmla="*/ 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0" h="60">
                <a:moveTo>
                  <a:pt x="15" y="0"/>
                </a:moveTo>
                <a:cubicBezTo>
                  <a:pt x="12" y="0"/>
                  <a:pt x="10" y="1"/>
                  <a:pt x="7" y="0"/>
                </a:cubicBezTo>
                <a:cubicBezTo>
                  <a:pt x="6" y="0"/>
                  <a:pt x="5" y="0"/>
                  <a:pt x="5" y="1"/>
                </a:cubicBezTo>
                <a:cubicBezTo>
                  <a:pt x="6" y="3"/>
                  <a:pt x="5" y="2"/>
                  <a:pt x="4" y="3"/>
                </a:cubicBezTo>
                <a:cubicBezTo>
                  <a:pt x="5" y="2"/>
                  <a:pt x="5" y="4"/>
                  <a:pt x="5" y="4"/>
                </a:cubicBezTo>
                <a:cubicBezTo>
                  <a:pt x="4" y="6"/>
                  <a:pt x="1" y="5"/>
                  <a:pt x="2" y="8"/>
                </a:cubicBezTo>
                <a:cubicBezTo>
                  <a:pt x="4" y="10"/>
                  <a:pt x="3" y="11"/>
                  <a:pt x="2" y="13"/>
                </a:cubicBezTo>
                <a:cubicBezTo>
                  <a:pt x="2" y="15"/>
                  <a:pt x="4" y="15"/>
                  <a:pt x="5" y="14"/>
                </a:cubicBezTo>
                <a:cubicBezTo>
                  <a:pt x="4" y="15"/>
                  <a:pt x="5" y="15"/>
                  <a:pt x="5" y="16"/>
                </a:cubicBezTo>
                <a:cubicBezTo>
                  <a:pt x="5" y="15"/>
                  <a:pt x="3" y="18"/>
                  <a:pt x="3" y="18"/>
                </a:cubicBezTo>
                <a:cubicBezTo>
                  <a:pt x="2" y="18"/>
                  <a:pt x="0" y="18"/>
                  <a:pt x="0" y="20"/>
                </a:cubicBezTo>
                <a:cubicBezTo>
                  <a:pt x="1" y="20"/>
                  <a:pt x="2" y="18"/>
                  <a:pt x="3" y="19"/>
                </a:cubicBezTo>
                <a:cubicBezTo>
                  <a:pt x="3" y="20"/>
                  <a:pt x="3" y="21"/>
                  <a:pt x="3" y="21"/>
                </a:cubicBezTo>
                <a:cubicBezTo>
                  <a:pt x="2" y="22"/>
                  <a:pt x="2" y="23"/>
                  <a:pt x="2" y="23"/>
                </a:cubicBezTo>
                <a:cubicBezTo>
                  <a:pt x="2" y="24"/>
                  <a:pt x="3" y="22"/>
                  <a:pt x="4" y="22"/>
                </a:cubicBezTo>
                <a:cubicBezTo>
                  <a:pt x="4" y="21"/>
                  <a:pt x="5" y="23"/>
                  <a:pt x="5" y="23"/>
                </a:cubicBezTo>
                <a:cubicBezTo>
                  <a:pt x="6" y="23"/>
                  <a:pt x="5" y="19"/>
                  <a:pt x="4" y="19"/>
                </a:cubicBezTo>
                <a:cubicBezTo>
                  <a:pt x="5" y="19"/>
                  <a:pt x="7" y="20"/>
                  <a:pt x="7" y="19"/>
                </a:cubicBezTo>
                <a:cubicBezTo>
                  <a:pt x="7" y="19"/>
                  <a:pt x="6" y="20"/>
                  <a:pt x="6" y="20"/>
                </a:cubicBezTo>
                <a:cubicBezTo>
                  <a:pt x="6" y="21"/>
                  <a:pt x="7" y="22"/>
                  <a:pt x="7" y="23"/>
                </a:cubicBezTo>
                <a:cubicBezTo>
                  <a:pt x="7" y="24"/>
                  <a:pt x="4" y="27"/>
                  <a:pt x="7" y="27"/>
                </a:cubicBezTo>
                <a:cubicBezTo>
                  <a:pt x="7" y="27"/>
                  <a:pt x="10" y="27"/>
                  <a:pt x="11" y="27"/>
                </a:cubicBezTo>
                <a:cubicBezTo>
                  <a:pt x="12" y="26"/>
                  <a:pt x="15" y="26"/>
                  <a:pt x="15" y="26"/>
                </a:cubicBezTo>
                <a:cubicBezTo>
                  <a:pt x="14" y="28"/>
                  <a:pt x="13" y="28"/>
                  <a:pt x="14" y="30"/>
                </a:cubicBezTo>
                <a:cubicBezTo>
                  <a:pt x="15" y="33"/>
                  <a:pt x="15" y="31"/>
                  <a:pt x="16" y="32"/>
                </a:cubicBezTo>
                <a:cubicBezTo>
                  <a:pt x="16" y="33"/>
                  <a:pt x="15" y="35"/>
                  <a:pt x="16" y="36"/>
                </a:cubicBezTo>
                <a:cubicBezTo>
                  <a:pt x="17" y="38"/>
                  <a:pt x="14" y="38"/>
                  <a:pt x="13" y="38"/>
                </a:cubicBezTo>
                <a:cubicBezTo>
                  <a:pt x="11" y="39"/>
                  <a:pt x="10" y="37"/>
                  <a:pt x="8" y="39"/>
                </a:cubicBezTo>
                <a:cubicBezTo>
                  <a:pt x="7" y="41"/>
                  <a:pt x="12" y="40"/>
                  <a:pt x="11" y="41"/>
                </a:cubicBezTo>
                <a:cubicBezTo>
                  <a:pt x="11" y="41"/>
                  <a:pt x="9" y="42"/>
                  <a:pt x="9" y="42"/>
                </a:cubicBezTo>
                <a:cubicBezTo>
                  <a:pt x="9" y="43"/>
                  <a:pt x="10" y="43"/>
                  <a:pt x="9" y="44"/>
                </a:cubicBezTo>
                <a:cubicBezTo>
                  <a:pt x="8" y="45"/>
                  <a:pt x="7" y="46"/>
                  <a:pt x="5" y="47"/>
                </a:cubicBezTo>
                <a:cubicBezTo>
                  <a:pt x="4" y="48"/>
                  <a:pt x="6" y="49"/>
                  <a:pt x="6" y="49"/>
                </a:cubicBezTo>
                <a:cubicBezTo>
                  <a:pt x="7" y="49"/>
                  <a:pt x="9" y="48"/>
                  <a:pt x="9" y="48"/>
                </a:cubicBezTo>
                <a:cubicBezTo>
                  <a:pt x="9" y="49"/>
                  <a:pt x="12" y="49"/>
                  <a:pt x="13" y="50"/>
                </a:cubicBezTo>
                <a:cubicBezTo>
                  <a:pt x="15" y="50"/>
                  <a:pt x="17" y="48"/>
                  <a:pt x="18" y="48"/>
                </a:cubicBezTo>
                <a:cubicBezTo>
                  <a:pt x="18" y="48"/>
                  <a:pt x="16" y="53"/>
                  <a:pt x="13" y="52"/>
                </a:cubicBezTo>
                <a:cubicBezTo>
                  <a:pt x="12" y="51"/>
                  <a:pt x="11" y="52"/>
                  <a:pt x="10" y="52"/>
                </a:cubicBezTo>
                <a:cubicBezTo>
                  <a:pt x="8" y="52"/>
                  <a:pt x="9" y="51"/>
                  <a:pt x="8" y="51"/>
                </a:cubicBezTo>
                <a:cubicBezTo>
                  <a:pt x="8" y="51"/>
                  <a:pt x="8" y="54"/>
                  <a:pt x="7" y="55"/>
                </a:cubicBezTo>
                <a:cubicBezTo>
                  <a:pt x="7" y="55"/>
                  <a:pt x="6" y="56"/>
                  <a:pt x="5" y="57"/>
                </a:cubicBezTo>
                <a:cubicBezTo>
                  <a:pt x="5" y="57"/>
                  <a:pt x="3" y="58"/>
                  <a:pt x="3" y="59"/>
                </a:cubicBezTo>
                <a:cubicBezTo>
                  <a:pt x="3" y="59"/>
                  <a:pt x="5" y="59"/>
                  <a:pt x="5" y="59"/>
                </a:cubicBezTo>
                <a:cubicBezTo>
                  <a:pt x="5" y="59"/>
                  <a:pt x="4" y="59"/>
                  <a:pt x="5" y="60"/>
                </a:cubicBezTo>
                <a:cubicBezTo>
                  <a:pt x="5" y="60"/>
                  <a:pt x="7" y="57"/>
                  <a:pt x="8" y="57"/>
                </a:cubicBezTo>
                <a:cubicBezTo>
                  <a:pt x="9" y="57"/>
                  <a:pt x="11" y="58"/>
                  <a:pt x="12" y="57"/>
                </a:cubicBezTo>
                <a:cubicBezTo>
                  <a:pt x="14" y="57"/>
                  <a:pt x="13" y="55"/>
                  <a:pt x="15" y="55"/>
                </a:cubicBezTo>
                <a:cubicBezTo>
                  <a:pt x="16" y="54"/>
                  <a:pt x="17" y="55"/>
                  <a:pt x="19" y="55"/>
                </a:cubicBezTo>
                <a:cubicBezTo>
                  <a:pt x="20" y="56"/>
                  <a:pt x="21" y="54"/>
                  <a:pt x="23" y="55"/>
                </a:cubicBezTo>
                <a:cubicBezTo>
                  <a:pt x="24" y="56"/>
                  <a:pt x="26" y="55"/>
                  <a:pt x="27" y="54"/>
                </a:cubicBezTo>
                <a:cubicBezTo>
                  <a:pt x="29" y="54"/>
                  <a:pt x="32" y="54"/>
                  <a:pt x="34" y="54"/>
                </a:cubicBezTo>
                <a:cubicBezTo>
                  <a:pt x="34" y="54"/>
                  <a:pt x="38" y="51"/>
                  <a:pt x="38" y="51"/>
                </a:cubicBezTo>
                <a:cubicBezTo>
                  <a:pt x="37" y="50"/>
                  <a:pt x="33" y="51"/>
                  <a:pt x="33" y="50"/>
                </a:cubicBezTo>
                <a:cubicBezTo>
                  <a:pt x="33" y="49"/>
                  <a:pt x="37" y="46"/>
                  <a:pt x="38" y="46"/>
                </a:cubicBezTo>
                <a:cubicBezTo>
                  <a:pt x="39" y="44"/>
                  <a:pt x="40" y="40"/>
                  <a:pt x="36" y="40"/>
                </a:cubicBezTo>
                <a:cubicBezTo>
                  <a:pt x="35" y="40"/>
                  <a:pt x="33" y="41"/>
                  <a:pt x="32" y="41"/>
                </a:cubicBezTo>
                <a:cubicBezTo>
                  <a:pt x="30" y="40"/>
                  <a:pt x="32" y="40"/>
                  <a:pt x="32" y="39"/>
                </a:cubicBezTo>
                <a:cubicBezTo>
                  <a:pt x="32" y="38"/>
                  <a:pt x="32" y="37"/>
                  <a:pt x="31" y="36"/>
                </a:cubicBezTo>
                <a:cubicBezTo>
                  <a:pt x="31" y="36"/>
                  <a:pt x="27" y="35"/>
                  <a:pt x="28" y="34"/>
                </a:cubicBezTo>
                <a:cubicBezTo>
                  <a:pt x="28" y="34"/>
                  <a:pt x="30" y="35"/>
                  <a:pt x="30" y="34"/>
                </a:cubicBezTo>
                <a:cubicBezTo>
                  <a:pt x="31" y="33"/>
                  <a:pt x="30" y="32"/>
                  <a:pt x="29" y="31"/>
                </a:cubicBezTo>
                <a:cubicBezTo>
                  <a:pt x="26" y="29"/>
                  <a:pt x="25" y="29"/>
                  <a:pt x="23" y="25"/>
                </a:cubicBezTo>
                <a:cubicBezTo>
                  <a:pt x="22" y="23"/>
                  <a:pt x="21" y="21"/>
                  <a:pt x="18" y="19"/>
                </a:cubicBezTo>
                <a:cubicBezTo>
                  <a:pt x="17" y="18"/>
                  <a:pt x="13" y="20"/>
                  <a:pt x="12" y="18"/>
                </a:cubicBezTo>
                <a:cubicBezTo>
                  <a:pt x="12" y="18"/>
                  <a:pt x="18" y="17"/>
                  <a:pt x="17" y="16"/>
                </a:cubicBezTo>
                <a:cubicBezTo>
                  <a:pt x="17" y="16"/>
                  <a:pt x="15" y="17"/>
                  <a:pt x="14" y="16"/>
                </a:cubicBezTo>
                <a:cubicBezTo>
                  <a:pt x="14" y="16"/>
                  <a:pt x="18" y="15"/>
                  <a:pt x="18" y="15"/>
                </a:cubicBezTo>
                <a:cubicBezTo>
                  <a:pt x="19" y="14"/>
                  <a:pt x="22" y="9"/>
                  <a:pt x="21" y="8"/>
                </a:cubicBezTo>
                <a:cubicBezTo>
                  <a:pt x="20" y="6"/>
                  <a:pt x="17" y="6"/>
                  <a:pt x="15" y="6"/>
                </a:cubicBezTo>
                <a:cubicBezTo>
                  <a:pt x="14" y="7"/>
                  <a:pt x="9" y="7"/>
                  <a:pt x="9" y="7"/>
                </a:cubicBezTo>
                <a:cubicBezTo>
                  <a:pt x="9" y="7"/>
                  <a:pt x="11" y="6"/>
                  <a:pt x="11" y="6"/>
                </a:cubicBezTo>
                <a:cubicBezTo>
                  <a:pt x="11" y="6"/>
                  <a:pt x="9" y="5"/>
                  <a:pt x="9" y="6"/>
                </a:cubicBezTo>
                <a:cubicBezTo>
                  <a:pt x="9" y="5"/>
                  <a:pt x="18" y="1"/>
                  <a:pt x="15" y="0"/>
                </a:cubicBezTo>
                <a:cubicBezTo>
                  <a:pt x="14" y="0"/>
                  <a:pt x="17" y="1"/>
                  <a:pt x="1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9" name="Freeform 405">
            <a:extLst>
              <a:ext uri="{FF2B5EF4-FFF2-40B4-BE49-F238E27FC236}">
                <a16:creationId xmlns:a16="http://schemas.microsoft.com/office/drawing/2014/main" id="{A8751D21-6681-624C-B72F-97A01F7D4893}"/>
              </a:ext>
            </a:extLst>
          </p:cNvPr>
          <p:cNvSpPr>
            <a:spLocks/>
          </p:cNvSpPr>
          <p:nvPr/>
        </p:nvSpPr>
        <p:spPr bwMode="auto">
          <a:xfrm>
            <a:off x="5237120" y="2842945"/>
            <a:ext cx="278846" cy="135930"/>
          </a:xfrm>
          <a:custGeom>
            <a:avLst/>
            <a:gdLst>
              <a:gd name="T0" fmla="*/ 53 w 54"/>
              <a:gd name="T1" fmla="*/ 10 h 26"/>
              <a:gd name="T2" fmla="*/ 49 w 54"/>
              <a:gd name="T3" fmla="*/ 9 h 26"/>
              <a:gd name="T4" fmla="*/ 50 w 54"/>
              <a:gd name="T5" fmla="*/ 8 h 26"/>
              <a:gd name="T6" fmla="*/ 48 w 54"/>
              <a:gd name="T7" fmla="*/ 7 h 26"/>
              <a:gd name="T8" fmla="*/ 49 w 54"/>
              <a:gd name="T9" fmla="*/ 6 h 26"/>
              <a:gd name="T10" fmla="*/ 46 w 54"/>
              <a:gd name="T11" fmla="*/ 5 h 26"/>
              <a:gd name="T12" fmla="*/ 48 w 54"/>
              <a:gd name="T13" fmla="*/ 3 h 26"/>
              <a:gd name="T14" fmla="*/ 43 w 54"/>
              <a:gd name="T15" fmla="*/ 3 h 26"/>
              <a:gd name="T16" fmla="*/ 39 w 54"/>
              <a:gd name="T17" fmla="*/ 1 h 26"/>
              <a:gd name="T18" fmla="*/ 39 w 54"/>
              <a:gd name="T19" fmla="*/ 4 h 26"/>
              <a:gd name="T20" fmla="*/ 36 w 54"/>
              <a:gd name="T21" fmla="*/ 5 h 26"/>
              <a:gd name="T22" fmla="*/ 32 w 54"/>
              <a:gd name="T23" fmla="*/ 5 h 26"/>
              <a:gd name="T24" fmla="*/ 32 w 54"/>
              <a:gd name="T25" fmla="*/ 9 h 26"/>
              <a:gd name="T26" fmla="*/ 26 w 54"/>
              <a:gd name="T27" fmla="*/ 5 h 26"/>
              <a:gd name="T28" fmla="*/ 25 w 54"/>
              <a:gd name="T29" fmla="*/ 8 h 26"/>
              <a:gd name="T30" fmla="*/ 21 w 54"/>
              <a:gd name="T31" fmla="*/ 5 h 26"/>
              <a:gd name="T32" fmla="*/ 21 w 54"/>
              <a:gd name="T33" fmla="*/ 9 h 26"/>
              <a:gd name="T34" fmla="*/ 19 w 54"/>
              <a:gd name="T35" fmla="*/ 9 h 26"/>
              <a:gd name="T36" fmla="*/ 17 w 54"/>
              <a:gd name="T37" fmla="*/ 12 h 26"/>
              <a:gd name="T38" fmla="*/ 14 w 54"/>
              <a:gd name="T39" fmla="*/ 8 h 26"/>
              <a:gd name="T40" fmla="*/ 16 w 54"/>
              <a:gd name="T41" fmla="*/ 8 h 26"/>
              <a:gd name="T42" fmla="*/ 14 w 54"/>
              <a:gd name="T43" fmla="*/ 5 h 26"/>
              <a:gd name="T44" fmla="*/ 7 w 54"/>
              <a:gd name="T45" fmla="*/ 2 h 26"/>
              <a:gd name="T46" fmla="*/ 9 w 54"/>
              <a:gd name="T47" fmla="*/ 4 h 26"/>
              <a:gd name="T48" fmla="*/ 8 w 54"/>
              <a:gd name="T49" fmla="*/ 4 h 26"/>
              <a:gd name="T50" fmla="*/ 10 w 54"/>
              <a:gd name="T51" fmla="*/ 8 h 26"/>
              <a:gd name="T52" fmla="*/ 5 w 54"/>
              <a:gd name="T53" fmla="*/ 6 h 26"/>
              <a:gd name="T54" fmla="*/ 3 w 54"/>
              <a:gd name="T55" fmla="*/ 6 h 26"/>
              <a:gd name="T56" fmla="*/ 5 w 54"/>
              <a:gd name="T57" fmla="*/ 7 h 26"/>
              <a:gd name="T58" fmla="*/ 5 w 54"/>
              <a:gd name="T59" fmla="*/ 8 h 26"/>
              <a:gd name="T60" fmla="*/ 2 w 54"/>
              <a:gd name="T61" fmla="*/ 7 h 26"/>
              <a:gd name="T62" fmla="*/ 1 w 54"/>
              <a:gd name="T63" fmla="*/ 9 h 26"/>
              <a:gd name="T64" fmla="*/ 8 w 54"/>
              <a:gd name="T65" fmla="*/ 10 h 26"/>
              <a:gd name="T66" fmla="*/ 13 w 54"/>
              <a:gd name="T67" fmla="*/ 11 h 26"/>
              <a:gd name="T68" fmla="*/ 11 w 54"/>
              <a:gd name="T69" fmla="*/ 12 h 26"/>
              <a:gd name="T70" fmla="*/ 12 w 54"/>
              <a:gd name="T71" fmla="*/ 13 h 26"/>
              <a:gd name="T72" fmla="*/ 8 w 54"/>
              <a:gd name="T73" fmla="*/ 14 h 26"/>
              <a:gd name="T74" fmla="*/ 3 w 54"/>
              <a:gd name="T75" fmla="*/ 15 h 26"/>
              <a:gd name="T76" fmla="*/ 10 w 54"/>
              <a:gd name="T77" fmla="*/ 16 h 26"/>
              <a:gd name="T78" fmla="*/ 12 w 54"/>
              <a:gd name="T79" fmla="*/ 18 h 26"/>
              <a:gd name="T80" fmla="*/ 15 w 54"/>
              <a:gd name="T81" fmla="*/ 17 h 26"/>
              <a:gd name="T82" fmla="*/ 13 w 54"/>
              <a:gd name="T83" fmla="*/ 18 h 26"/>
              <a:gd name="T84" fmla="*/ 15 w 54"/>
              <a:gd name="T85" fmla="*/ 18 h 26"/>
              <a:gd name="T86" fmla="*/ 10 w 54"/>
              <a:gd name="T87" fmla="*/ 23 h 26"/>
              <a:gd name="T88" fmla="*/ 15 w 54"/>
              <a:gd name="T89" fmla="*/ 23 h 26"/>
              <a:gd name="T90" fmla="*/ 21 w 54"/>
              <a:gd name="T91" fmla="*/ 24 h 26"/>
              <a:gd name="T92" fmla="*/ 20 w 54"/>
              <a:gd name="T93" fmla="*/ 24 h 26"/>
              <a:gd name="T94" fmla="*/ 22 w 54"/>
              <a:gd name="T95" fmla="*/ 25 h 26"/>
              <a:gd name="T96" fmla="*/ 29 w 54"/>
              <a:gd name="T97" fmla="*/ 26 h 26"/>
              <a:gd name="T98" fmla="*/ 33 w 54"/>
              <a:gd name="T99" fmla="*/ 25 h 26"/>
              <a:gd name="T100" fmla="*/ 39 w 54"/>
              <a:gd name="T101" fmla="*/ 23 h 26"/>
              <a:gd name="T102" fmla="*/ 46 w 54"/>
              <a:gd name="T103" fmla="*/ 19 h 26"/>
              <a:gd name="T104" fmla="*/ 52 w 54"/>
              <a:gd name="T105" fmla="*/ 16 h 26"/>
              <a:gd name="T106" fmla="*/ 52 w 54"/>
              <a:gd name="T107" fmla="*/ 14 h 26"/>
              <a:gd name="T108" fmla="*/ 54 w 54"/>
              <a:gd name="T109" fmla="*/ 13 h 26"/>
              <a:gd name="T110" fmla="*/ 52 w 54"/>
              <a:gd name="T111" fmla="*/ 12 h 26"/>
              <a:gd name="T112" fmla="*/ 53 w 54"/>
              <a:gd name="T113" fmla="*/ 10 h 26"/>
              <a:gd name="T114" fmla="*/ 53 w 54"/>
              <a:gd name="T115" fmla="*/ 1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4" h="26">
                <a:moveTo>
                  <a:pt x="53" y="10"/>
                </a:moveTo>
                <a:cubicBezTo>
                  <a:pt x="53" y="10"/>
                  <a:pt x="49" y="9"/>
                  <a:pt x="49" y="9"/>
                </a:cubicBezTo>
                <a:cubicBezTo>
                  <a:pt x="49" y="9"/>
                  <a:pt x="50" y="8"/>
                  <a:pt x="50" y="8"/>
                </a:cubicBezTo>
                <a:cubicBezTo>
                  <a:pt x="49" y="8"/>
                  <a:pt x="47" y="8"/>
                  <a:pt x="48" y="7"/>
                </a:cubicBezTo>
                <a:cubicBezTo>
                  <a:pt x="48" y="7"/>
                  <a:pt x="49" y="6"/>
                  <a:pt x="49" y="6"/>
                </a:cubicBezTo>
                <a:cubicBezTo>
                  <a:pt x="48" y="5"/>
                  <a:pt x="46" y="5"/>
                  <a:pt x="46" y="5"/>
                </a:cubicBezTo>
                <a:cubicBezTo>
                  <a:pt x="46" y="4"/>
                  <a:pt x="48" y="3"/>
                  <a:pt x="48" y="3"/>
                </a:cubicBezTo>
                <a:cubicBezTo>
                  <a:pt x="48" y="3"/>
                  <a:pt x="44" y="4"/>
                  <a:pt x="43" y="3"/>
                </a:cubicBezTo>
                <a:cubicBezTo>
                  <a:pt x="42" y="2"/>
                  <a:pt x="41" y="1"/>
                  <a:pt x="39" y="1"/>
                </a:cubicBezTo>
                <a:cubicBezTo>
                  <a:pt x="38" y="1"/>
                  <a:pt x="40" y="3"/>
                  <a:pt x="39" y="4"/>
                </a:cubicBezTo>
                <a:cubicBezTo>
                  <a:pt x="38" y="5"/>
                  <a:pt x="37" y="4"/>
                  <a:pt x="36" y="5"/>
                </a:cubicBezTo>
                <a:cubicBezTo>
                  <a:pt x="35" y="6"/>
                  <a:pt x="34" y="5"/>
                  <a:pt x="32" y="5"/>
                </a:cubicBezTo>
                <a:cubicBezTo>
                  <a:pt x="30" y="4"/>
                  <a:pt x="33" y="8"/>
                  <a:pt x="32" y="9"/>
                </a:cubicBezTo>
                <a:cubicBezTo>
                  <a:pt x="32" y="9"/>
                  <a:pt x="28" y="2"/>
                  <a:pt x="26" y="5"/>
                </a:cubicBezTo>
                <a:cubicBezTo>
                  <a:pt x="25" y="5"/>
                  <a:pt x="26" y="7"/>
                  <a:pt x="25" y="8"/>
                </a:cubicBezTo>
                <a:cubicBezTo>
                  <a:pt x="25" y="9"/>
                  <a:pt x="22" y="5"/>
                  <a:pt x="21" y="5"/>
                </a:cubicBezTo>
                <a:cubicBezTo>
                  <a:pt x="20" y="5"/>
                  <a:pt x="23" y="9"/>
                  <a:pt x="21" y="9"/>
                </a:cubicBezTo>
                <a:cubicBezTo>
                  <a:pt x="20" y="9"/>
                  <a:pt x="20" y="9"/>
                  <a:pt x="19" y="9"/>
                </a:cubicBezTo>
                <a:cubicBezTo>
                  <a:pt x="18" y="9"/>
                  <a:pt x="17" y="11"/>
                  <a:pt x="17" y="12"/>
                </a:cubicBezTo>
                <a:cubicBezTo>
                  <a:pt x="17" y="11"/>
                  <a:pt x="14" y="9"/>
                  <a:pt x="14" y="8"/>
                </a:cubicBezTo>
                <a:cubicBezTo>
                  <a:pt x="14" y="8"/>
                  <a:pt x="16" y="8"/>
                  <a:pt x="16" y="8"/>
                </a:cubicBezTo>
                <a:cubicBezTo>
                  <a:pt x="16" y="7"/>
                  <a:pt x="14" y="5"/>
                  <a:pt x="14" y="5"/>
                </a:cubicBezTo>
                <a:cubicBezTo>
                  <a:pt x="13" y="5"/>
                  <a:pt x="8" y="0"/>
                  <a:pt x="7" y="2"/>
                </a:cubicBezTo>
                <a:cubicBezTo>
                  <a:pt x="7" y="3"/>
                  <a:pt x="10" y="3"/>
                  <a:pt x="9" y="4"/>
                </a:cubicBezTo>
                <a:cubicBezTo>
                  <a:pt x="9" y="4"/>
                  <a:pt x="9" y="4"/>
                  <a:pt x="8" y="4"/>
                </a:cubicBezTo>
                <a:cubicBezTo>
                  <a:pt x="10" y="3"/>
                  <a:pt x="11" y="7"/>
                  <a:pt x="10" y="8"/>
                </a:cubicBezTo>
                <a:cubicBezTo>
                  <a:pt x="10" y="8"/>
                  <a:pt x="2" y="1"/>
                  <a:pt x="5" y="6"/>
                </a:cubicBezTo>
                <a:cubicBezTo>
                  <a:pt x="5" y="6"/>
                  <a:pt x="3" y="6"/>
                  <a:pt x="3" y="6"/>
                </a:cubicBezTo>
                <a:cubicBezTo>
                  <a:pt x="3" y="7"/>
                  <a:pt x="5" y="7"/>
                  <a:pt x="5" y="7"/>
                </a:cubicBezTo>
                <a:cubicBezTo>
                  <a:pt x="5" y="6"/>
                  <a:pt x="5" y="8"/>
                  <a:pt x="5" y="8"/>
                </a:cubicBezTo>
                <a:cubicBezTo>
                  <a:pt x="5" y="8"/>
                  <a:pt x="3" y="7"/>
                  <a:pt x="2" y="7"/>
                </a:cubicBezTo>
                <a:cubicBezTo>
                  <a:pt x="3" y="7"/>
                  <a:pt x="0" y="10"/>
                  <a:pt x="1" y="9"/>
                </a:cubicBezTo>
                <a:cubicBezTo>
                  <a:pt x="0" y="11"/>
                  <a:pt x="8" y="10"/>
                  <a:pt x="8" y="10"/>
                </a:cubicBezTo>
                <a:cubicBezTo>
                  <a:pt x="9" y="10"/>
                  <a:pt x="13" y="11"/>
                  <a:pt x="13" y="11"/>
                </a:cubicBezTo>
                <a:cubicBezTo>
                  <a:pt x="12" y="11"/>
                  <a:pt x="11" y="11"/>
                  <a:pt x="11" y="12"/>
                </a:cubicBezTo>
                <a:cubicBezTo>
                  <a:pt x="11" y="12"/>
                  <a:pt x="12" y="13"/>
                  <a:pt x="12" y="13"/>
                </a:cubicBezTo>
                <a:cubicBezTo>
                  <a:pt x="11" y="14"/>
                  <a:pt x="9" y="14"/>
                  <a:pt x="8" y="14"/>
                </a:cubicBezTo>
                <a:cubicBezTo>
                  <a:pt x="8" y="14"/>
                  <a:pt x="2" y="15"/>
                  <a:pt x="3" y="15"/>
                </a:cubicBezTo>
                <a:cubicBezTo>
                  <a:pt x="5" y="16"/>
                  <a:pt x="8" y="15"/>
                  <a:pt x="10" y="16"/>
                </a:cubicBezTo>
                <a:cubicBezTo>
                  <a:pt x="11" y="17"/>
                  <a:pt x="11" y="18"/>
                  <a:pt x="12" y="18"/>
                </a:cubicBezTo>
                <a:cubicBezTo>
                  <a:pt x="12" y="18"/>
                  <a:pt x="14" y="17"/>
                  <a:pt x="15" y="17"/>
                </a:cubicBezTo>
                <a:cubicBezTo>
                  <a:pt x="14" y="17"/>
                  <a:pt x="13" y="18"/>
                  <a:pt x="13" y="18"/>
                </a:cubicBezTo>
                <a:cubicBezTo>
                  <a:pt x="13" y="19"/>
                  <a:pt x="15" y="18"/>
                  <a:pt x="15" y="18"/>
                </a:cubicBezTo>
                <a:cubicBezTo>
                  <a:pt x="16" y="19"/>
                  <a:pt x="8" y="23"/>
                  <a:pt x="10" y="23"/>
                </a:cubicBezTo>
                <a:cubicBezTo>
                  <a:pt x="12" y="24"/>
                  <a:pt x="14" y="23"/>
                  <a:pt x="15" y="23"/>
                </a:cubicBezTo>
                <a:cubicBezTo>
                  <a:pt x="17" y="23"/>
                  <a:pt x="19" y="23"/>
                  <a:pt x="21" y="24"/>
                </a:cubicBezTo>
                <a:cubicBezTo>
                  <a:pt x="20" y="23"/>
                  <a:pt x="20" y="24"/>
                  <a:pt x="20" y="24"/>
                </a:cubicBezTo>
                <a:cubicBezTo>
                  <a:pt x="21" y="25"/>
                  <a:pt x="22" y="25"/>
                  <a:pt x="22" y="25"/>
                </a:cubicBezTo>
                <a:cubicBezTo>
                  <a:pt x="24" y="26"/>
                  <a:pt x="27" y="26"/>
                  <a:pt x="29" y="26"/>
                </a:cubicBezTo>
                <a:cubicBezTo>
                  <a:pt x="31" y="26"/>
                  <a:pt x="31" y="25"/>
                  <a:pt x="33" y="25"/>
                </a:cubicBezTo>
                <a:cubicBezTo>
                  <a:pt x="35" y="24"/>
                  <a:pt x="37" y="24"/>
                  <a:pt x="39" y="23"/>
                </a:cubicBezTo>
                <a:cubicBezTo>
                  <a:pt x="42" y="21"/>
                  <a:pt x="43" y="20"/>
                  <a:pt x="46" y="19"/>
                </a:cubicBezTo>
                <a:cubicBezTo>
                  <a:pt x="48" y="19"/>
                  <a:pt x="49" y="16"/>
                  <a:pt x="52" y="16"/>
                </a:cubicBezTo>
                <a:cubicBezTo>
                  <a:pt x="52" y="15"/>
                  <a:pt x="53" y="15"/>
                  <a:pt x="52" y="14"/>
                </a:cubicBezTo>
                <a:cubicBezTo>
                  <a:pt x="51" y="13"/>
                  <a:pt x="53" y="13"/>
                  <a:pt x="54" y="13"/>
                </a:cubicBezTo>
                <a:cubicBezTo>
                  <a:pt x="54" y="13"/>
                  <a:pt x="52" y="12"/>
                  <a:pt x="52" y="12"/>
                </a:cubicBezTo>
                <a:cubicBezTo>
                  <a:pt x="52" y="11"/>
                  <a:pt x="54" y="10"/>
                  <a:pt x="53" y="10"/>
                </a:cubicBezTo>
                <a:cubicBezTo>
                  <a:pt x="51" y="9"/>
                  <a:pt x="54" y="10"/>
                  <a:pt x="53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0" name="Freeform 406">
            <a:extLst>
              <a:ext uri="{FF2B5EF4-FFF2-40B4-BE49-F238E27FC236}">
                <a16:creationId xmlns:a16="http://schemas.microsoft.com/office/drawing/2014/main" id="{7E8AA7C2-CFF8-0943-8DFE-2CDBCBE7D26E}"/>
              </a:ext>
            </a:extLst>
          </p:cNvPr>
          <p:cNvSpPr>
            <a:spLocks/>
          </p:cNvSpPr>
          <p:nvPr/>
        </p:nvSpPr>
        <p:spPr bwMode="auto">
          <a:xfrm>
            <a:off x="7187275" y="2345128"/>
            <a:ext cx="465919" cy="321286"/>
          </a:xfrm>
          <a:custGeom>
            <a:avLst/>
            <a:gdLst>
              <a:gd name="T0" fmla="*/ 77 w 90"/>
              <a:gd name="T1" fmla="*/ 2 h 62"/>
              <a:gd name="T2" fmla="*/ 66 w 90"/>
              <a:gd name="T3" fmla="*/ 6 h 62"/>
              <a:gd name="T4" fmla="*/ 51 w 90"/>
              <a:gd name="T5" fmla="*/ 8 h 62"/>
              <a:gd name="T6" fmla="*/ 48 w 90"/>
              <a:gd name="T7" fmla="*/ 9 h 62"/>
              <a:gd name="T8" fmla="*/ 39 w 90"/>
              <a:gd name="T9" fmla="*/ 11 h 62"/>
              <a:gd name="T10" fmla="*/ 32 w 90"/>
              <a:gd name="T11" fmla="*/ 14 h 62"/>
              <a:gd name="T12" fmla="*/ 26 w 90"/>
              <a:gd name="T13" fmla="*/ 19 h 62"/>
              <a:gd name="T14" fmla="*/ 26 w 90"/>
              <a:gd name="T15" fmla="*/ 21 h 62"/>
              <a:gd name="T16" fmla="*/ 27 w 90"/>
              <a:gd name="T17" fmla="*/ 23 h 62"/>
              <a:gd name="T18" fmla="*/ 23 w 90"/>
              <a:gd name="T19" fmla="*/ 25 h 62"/>
              <a:gd name="T20" fmla="*/ 21 w 90"/>
              <a:gd name="T21" fmla="*/ 28 h 62"/>
              <a:gd name="T22" fmla="*/ 21 w 90"/>
              <a:gd name="T23" fmla="*/ 29 h 62"/>
              <a:gd name="T24" fmla="*/ 14 w 90"/>
              <a:gd name="T25" fmla="*/ 31 h 62"/>
              <a:gd name="T26" fmla="*/ 19 w 90"/>
              <a:gd name="T27" fmla="*/ 34 h 62"/>
              <a:gd name="T28" fmla="*/ 9 w 90"/>
              <a:gd name="T29" fmla="*/ 38 h 62"/>
              <a:gd name="T30" fmla="*/ 6 w 90"/>
              <a:gd name="T31" fmla="*/ 41 h 62"/>
              <a:gd name="T32" fmla="*/ 5 w 90"/>
              <a:gd name="T33" fmla="*/ 47 h 62"/>
              <a:gd name="T34" fmla="*/ 4 w 90"/>
              <a:gd name="T35" fmla="*/ 53 h 62"/>
              <a:gd name="T36" fmla="*/ 12 w 90"/>
              <a:gd name="T37" fmla="*/ 55 h 62"/>
              <a:gd name="T38" fmla="*/ 12 w 90"/>
              <a:gd name="T39" fmla="*/ 56 h 62"/>
              <a:gd name="T40" fmla="*/ 16 w 90"/>
              <a:gd name="T41" fmla="*/ 62 h 62"/>
              <a:gd name="T42" fmla="*/ 26 w 90"/>
              <a:gd name="T43" fmla="*/ 61 h 62"/>
              <a:gd name="T44" fmla="*/ 26 w 90"/>
              <a:gd name="T45" fmla="*/ 59 h 62"/>
              <a:gd name="T46" fmla="*/ 20 w 90"/>
              <a:gd name="T47" fmla="*/ 48 h 62"/>
              <a:gd name="T48" fmla="*/ 20 w 90"/>
              <a:gd name="T49" fmla="*/ 42 h 62"/>
              <a:gd name="T50" fmla="*/ 22 w 90"/>
              <a:gd name="T51" fmla="*/ 40 h 62"/>
              <a:gd name="T52" fmla="*/ 21 w 90"/>
              <a:gd name="T53" fmla="*/ 36 h 62"/>
              <a:gd name="T54" fmla="*/ 27 w 90"/>
              <a:gd name="T55" fmla="*/ 34 h 62"/>
              <a:gd name="T56" fmla="*/ 27 w 90"/>
              <a:gd name="T57" fmla="*/ 32 h 62"/>
              <a:gd name="T58" fmla="*/ 32 w 90"/>
              <a:gd name="T59" fmla="*/ 31 h 62"/>
              <a:gd name="T60" fmla="*/ 35 w 90"/>
              <a:gd name="T61" fmla="*/ 29 h 62"/>
              <a:gd name="T62" fmla="*/ 35 w 90"/>
              <a:gd name="T63" fmla="*/ 26 h 62"/>
              <a:gd name="T64" fmla="*/ 42 w 90"/>
              <a:gd name="T65" fmla="*/ 24 h 62"/>
              <a:gd name="T66" fmla="*/ 45 w 90"/>
              <a:gd name="T67" fmla="*/ 22 h 62"/>
              <a:gd name="T68" fmla="*/ 58 w 90"/>
              <a:gd name="T69" fmla="*/ 15 h 62"/>
              <a:gd name="T70" fmla="*/ 81 w 90"/>
              <a:gd name="T71" fmla="*/ 8 h 62"/>
              <a:gd name="T72" fmla="*/ 84 w 90"/>
              <a:gd name="T73" fmla="*/ 1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0" h="62">
                <a:moveTo>
                  <a:pt x="84" y="1"/>
                </a:moveTo>
                <a:cubicBezTo>
                  <a:pt x="81" y="1"/>
                  <a:pt x="80" y="0"/>
                  <a:pt x="77" y="2"/>
                </a:cubicBezTo>
                <a:cubicBezTo>
                  <a:pt x="76" y="2"/>
                  <a:pt x="72" y="3"/>
                  <a:pt x="73" y="4"/>
                </a:cubicBezTo>
                <a:cubicBezTo>
                  <a:pt x="72" y="4"/>
                  <a:pt x="68" y="6"/>
                  <a:pt x="66" y="6"/>
                </a:cubicBezTo>
                <a:cubicBezTo>
                  <a:pt x="64" y="6"/>
                  <a:pt x="61" y="7"/>
                  <a:pt x="59" y="8"/>
                </a:cubicBezTo>
                <a:cubicBezTo>
                  <a:pt x="56" y="8"/>
                  <a:pt x="54" y="8"/>
                  <a:pt x="51" y="8"/>
                </a:cubicBezTo>
                <a:cubicBezTo>
                  <a:pt x="51" y="8"/>
                  <a:pt x="45" y="8"/>
                  <a:pt x="46" y="9"/>
                </a:cubicBezTo>
                <a:cubicBezTo>
                  <a:pt x="46" y="9"/>
                  <a:pt x="48" y="9"/>
                  <a:pt x="48" y="9"/>
                </a:cubicBezTo>
                <a:cubicBezTo>
                  <a:pt x="47" y="10"/>
                  <a:pt x="45" y="10"/>
                  <a:pt x="44" y="11"/>
                </a:cubicBezTo>
                <a:cubicBezTo>
                  <a:pt x="43" y="11"/>
                  <a:pt x="41" y="11"/>
                  <a:pt x="39" y="11"/>
                </a:cubicBezTo>
                <a:cubicBezTo>
                  <a:pt x="38" y="11"/>
                  <a:pt x="38" y="11"/>
                  <a:pt x="36" y="12"/>
                </a:cubicBezTo>
                <a:cubicBezTo>
                  <a:pt x="35" y="15"/>
                  <a:pt x="34" y="14"/>
                  <a:pt x="32" y="14"/>
                </a:cubicBezTo>
                <a:cubicBezTo>
                  <a:pt x="30" y="15"/>
                  <a:pt x="31" y="17"/>
                  <a:pt x="28" y="17"/>
                </a:cubicBezTo>
                <a:cubicBezTo>
                  <a:pt x="26" y="17"/>
                  <a:pt x="27" y="19"/>
                  <a:pt x="26" y="19"/>
                </a:cubicBezTo>
                <a:cubicBezTo>
                  <a:pt x="25" y="20"/>
                  <a:pt x="22" y="18"/>
                  <a:pt x="23" y="19"/>
                </a:cubicBezTo>
                <a:cubicBezTo>
                  <a:pt x="23" y="20"/>
                  <a:pt x="26" y="21"/>
                  <a:pt x="26" y="21"/>
                </a:cubicBezTo>
                <a:cubicBezTo>
                  <a:pt x="26" y="21"/>
                  <a:pt x="22" y="22"/>
                  <a:pt x="22" y="22"/>
                </a:cubicBezTo>
                <a:cubicBezTo>
                  <a:pt x="22" y="23"/>
                  <a:pt x="27" y="23"/>
                  <a:pt x="27" y="23"/>
                </a:cubicBezTo>
                <a:cubicBezTo>
                  <a:pt x="27" y="24"/>
                  <a:pt x="20" y="24"/>
                  <a:pt x="21" y="25"/>
                </a:cubicBezTo>
                <a:cubicBezTo>
                  <a:pt x="21" y="24"/>
                  <a:pt x="23" y="25"/>
                  <a:pt x="23" y="25"/>
                </a:cubicBezTo>
                <a:cubicBezTo>
                  <a:pt x="21" y="26"/>
                  <a:pt x="20" y="25"/>
                  <a:pt x="20" y="26"/>
                </a:cubicBezTo>
                <a:cubicBezTo>
                  <a:pt x="19" y="27"/>
                  <a:pt x="21" y="28"/>
                  <a:pt x="21" y="28"/>
                </a:cubicBezTo>
                <a:cubicBezTo>
                  <a:pt x="20" y="28"/>
                  <a:pt x="19" y="28"/>
                  <a:pt x="18" y="28"/>
                </a:cubicBezTo>
                <a:cubicBezTo>
                  <a:pt x="18" y="28"/>
                  <a:pt x="20" y="29"/>
                  <a:pt x="21" y="29"/>
                </a:cubicBezTo>
                <a:cubicBezTo>
                  <a:pt x="19" y="29"/>
                  <a:pt x="18" y="29"/>
                  <a:pt x="17" y="30"/>
                </a:cubicBezTo>
                <a:cubicBezTo>
                  <a:pt x="16" y="31"/>
                  <a:pt x="15" y="31"/>
                  <a:pt x="14" y="31"/>
                </a:cubicBezTo>
                <a:cubicBezTo>
                  <a:pt x="12" y="32"/>
                  <a:pt x="12" y="33"/>
                  <a:pt x="14" y="33"/>
                </a:cubicBezTo>
                <a:cubicBezTo>
                  <a:pt x="15" y="33"/>
                  <a:pt x="18" y="34"/>
                  <a:pt x="19" y="34"/>
                </a:cubicBezTo>
                <a:cubicBezTo>
                  <a:pt x="17" y="35"/>
                  <a:pt x="15" y="33"/>
                  <a:pt x="15" y="36"/>
                </a:cubicBezTo>
                <a:cubicBezTo>
                  <a:pt x="15" y="37"/>
                  <a:pt x="10" y="37"/>
                  <a:pt x="9" y="38"/>
                </a:cubicBezTo>
                <a:cubicBezTo>
                  <a:pt x="8" y="39"/>
                  <a:pt x="9" y="39"/>
                  <a:pt x="9" y="40"/>
                </a:cubicBezTo>
                <a:cubicBezTo>
                  <a:pt x="9" y="40"/>
                  <a:pt x="6" y="41"/>
                  <a:pt x="6" y="41"/>
                </a:cubicBezTo>
                <a:cubicBezTo>
                  <a:pt x="2" y="42"/>
                  <a:pt x="7" y="42"/>
                  <a:pt x="7" y="43"/>
                </a:cubicBezTo>
                <a:cubicBezTo>
                  <a:pt x="8" y="44"/>
                  <a:pt x="5" y="47"/>
                  <a:pt x="5" y="47"/>
                </a:cubicBezTo>
                <a:cubicBezTo>
                  <a:pt x="3" y="49"/>
                  <a:pt x="0" y="47"/>
                  <a:pt x="0" y="51"/>
                </a:cubicBezTo>
                <a:cubicBezTo>
                  <a:pt x="0" y="55"/>
                  <a:pt x="2" y="53"/>
                  <a:pt x="4" y="53"/>
                </a:cubicBezTo>
                <a:cubicBezTo>
                  <a:pt x="6" y="54"/>
                  <a:pt x="7" y="55"/>
                  <a:pt x="9" y="54"/>
                </a:cubicBezTo>
                <a:cubicBezTo>
                  <a:pt x="9" y="54"/>
                  <a:pt x="11" y="56"/>
                  <a:pt x="12" y="55"/>
                </a:cubicBezTo>
                <a:cubicBezTo>
                  <a:pt x="12" y="55"/>
                  <a:pt x="10" y="55"/>
                  <a:pt x="10" y="56"/>
                </a:cubicBezTo>
                <a:cubicBezTo>
                  <a:pt x="11" y="56"/>
                  <a:pt x="12" y="56"/>
                  <a:pt x="12" y="56"/>
                </a:cubicBezTo>
                <a:cubicBezTo>
                  <a:pt x="12" y="56"/>
                  <a:pt x="10" y="60"/>
                  <a:pt x="10" y="60"/>
                </a:cubicBezTo>
                <a:cubicBezTo>
                  <a:pt x="12" y="61"/>
                  <a:pt x="14" y="61"/>
                  <a:pt x="16" y="62"/>
                </a:cubicBezTo>
                <a:cubicBezTo>
                  <a:pt x="19" y="62"/>
                  <a:pt x="20" y="62"/>
                  <a:pt x="23" y="62"/>
                </a:cubicBezTo>
                <a:cubicBezTo>
                  <a:pt x="24" y="61"/>
                  <a:pt x="25" y="61"/>
                  <a:pt x="26" y="61"/>
                </a:cubicBezTo>
                <a:cubicBezTo>
                  <a:pt x="27" y="62"/>
                  <a:pt x="28" y="62"/>
                  <a:pt x="30" y="62"/>
                </a:cubicBezTo>
                <a:cubicBezTo>
                  <a:pt x="31" y="62"/>
                  <a:pt x="27" y="59"/>
                  <a:pt x="26" y="59"/>
                </a:cubicBezTo>
                <a:cubicBezTo>
                  <a:pt x="24" y="57"/>
                  <a:pt x="23" y="55"/>
                  <a:pt x="22" y="53"/>
                </a:cubicBezTo>
                <a:cubicBezTo>
                  <a:pt x="20" y="51"/>
                  <a:pt x="21" y="50"/>
                  <a:pt x="20" y="48"/>
                </a:cubicBezTo>
                <a:cubicBezTo>
                  <a:pt x="19" y="45"/>
                  <a:pt x="18" y="45"/>
                  <a:pt x="20" y="43"/>
                </a:cubicBezTo>
                <a:cubicBezTo>
                  <a:pt x="21" y="43"/>
                  <a:pt x="20" y="43"/>
                  <a:pt x="20" y="42"/>
                </a:cubicBezTo>
                <a:cubicBezTo>
                  <a:pt x="21" y="41"/>
                  <a:pt x="24" y="42"/>
                  <a:pt x="24" y="41"/>
                </a:cubicBezTo>
                <a:cubicBezTo>
                  <a:pt x="24" y="41"/>
                  <a:pt x="22" y="40"/>
                  <a:pt x="22" y="40"/>
                </a:cubicBezTo>
                <a:cubicBezTo>
                  <a:pt x="23" y="39"/>
                  <a:pt x="26" y="40"/>
                  <a:pt x="26" y="39"/>
                </a:cubicBezTo>
                <a:cubicBezTo>
                  <a:pt x="26" y="38"/>
                  <a:pt x="21" y="37"/>
                  <a:pt x="21" y="36"/>
                </a:cubicBezTo>
                <a:cubicBezTo>
                  <a:pt x="21" y="36"/>
                  <a:pt x="29" y="37"/>
                  <a:pt x="29" y="37"/>
                </a:cubicBezTo>
                <a:cubicBezTo>
                  <a:pt x="29" y="36"/>
                  <a:pt x="27" y="35"/>
                  <a:pt x="27" y="34"/>
                </a:cubicBezTo>
                <a:cubicBezTo>
                  <a:pt x="27" y="33"/>
                  <a:pt x="30" y="35"/>
                  <a:pt x="31" y="34"/>
                </a:cubicBezTo>
                <a:cubicBezTo>
                  <a:pt x="31" y="33"/>
                  <a:pt x="27" y="31"/>
                  <a:pt x="27" y="32"/>
                </a:cubicBezTo>
                <a:cubicBezTo>
                  <a:pt x="27" y="31"/>
                  <a:pt x="31" y="33"/>
                  <a:pt x="32" y="32"/>
                </a:cubicBezTo>
                <a:cubicBezTo>
                  <a:pt x="32" y="32"/>
                  <a:pt x="33" y="31"/>
                  <a:pt x="32" y="31"/>
                </a:cubicBezTo>
                <a:cubicBezTo>
                  <a:pt x="32" y="31"/>
                  <a:pt x="30" y="29"/>
                  <a:pt x="30" y="29"/>
                </a:cubicBezTo>
                <a:cubicBezTo>
                  <a:pt x="32" y="29"/>
                  <a:pt x="33" y="30"/>
                  <a:pt x="35" y="29"/>
                </a:cubicBezTo>
                <a:cubicBezTo>
                  <a:pt x="35" y="28"/>
                  <a:pt x="37" y="27"/>
                  <a:pt x="37" y="27"/>
                </a:cubicBezTo>
                <a:cubicBezTo>
                  <a:pt x="37" y="26"/>
                  <a:pt x="35" y="26"/>
                  <a:pt x="35" y="26"/>
                </a:cubicBezTo>
                <a:cubicBezTo>
                  <a:pt x="36" y="26"/>
                  <a:pt x="39" y="26"/>
                  <a:pt x="39" y="24"/>
                </a:cubicBezTo>
                <a:cubicBezTo>
                  <a:pt x="39" y="22"/>
                  <a:pt x="41" y="25"/>
                  <a:pt x="42" y="24"/>
                </a:cubicBezTo>
                <a:cubicBezTo>
                  <a:pt x="42" y="24"/>
                  <a:pt x="41" y="23"/>
                  <a:pt x="41" y="23"/>
                </a:cubicBezTo>
                <a:cubicBezTo>
                  <a:pt x="42" y="22"/>
                  <a:pt x="45" y="23"/>
                  <a:pt x="45" y="22"/>
                </a:cubicBezTo>
                <a:cubicBezTo>
                  <a:pt x="46" y="21"/>
                  <a:pt x="45" y="20"/>
                  <a:pt x="44" y="20"/>
                </a:cubicBezTo>
                <a:cubicBezTo>
                  <a:pt x="49" y="18"/>
                  <a:pt x="53" y="16"/>
                  <a:pt x="58" y="15"/>
                </a:cubicBezTo>
                <a:cubicBezTo>
                  <a:pt x="61" y="14"/>
                  <a:pt x="65" y="13"/>
                  <a:pt x="68" y="12"/>
                </a:cubicBezTo>
                <a:cubicBezTo>
                  <a:pt x="73" y="11"/>
                  <a:pt x="77" y="10"/>
                  <a:pt x="81" y="8"/>
                </a:cubicBezTo>
                <a:cubicBezTo>
                  <a:pt x="83" y="8"/>
                  <a:pt x="86" y="6"/>
                  <a:pt x="88" y="4"/>
                </a:cubicBezTo>
                <a:cubicBezTo>
                  <a:pt x="90" y="2"/>
                  <a:pt x="86" y="1"/>
                  <a:pt x="84" y="1"/>
                </a:cubicBezTo>
                <a:cubicBezTo>
                  <a:pt x="82" y="1"/>
                  <a:pt x="86" y="1"/>
                  <a:pt x="84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1" name="Freeform 407">
            <a:extLst>
              <a:ext uri="{FF2B5EF4-FFF2-40B4-BE49-F238E27FC236}">
                <a16:creationId xmlns:a16="http://schemas.microsoft.com/office/drawing/2014/main" id="{A1F61AEE-65C4-1E42-843E-070C535E8A3A}"/>
              </a:ext>
            </a:extLst>
          </p:cNvPr>
          <p:cNvSpPr>
            <a:spLocks/>
          </p:cNvSpPr>
          <p:nvPr/>
        </p:nvSpPr>
        <p:spPr bwMode="auto">
          <a:xfrm>
            <a:off x="8382077" y="2210965"/>
            <a:ext cx="165896" cy="82970"/>
          </a:xfrm>
          <a:custGeom>
            <a:avLst/>
            <a:gdLst>
              <a:gd name="T0" fmla="*/ 16 w 32"/>
              <a:gd name="T1" fmla="*/ 6 h 16"/>
              <a:gd name="T2" fmla="*/ 19 w 32"/>
              <a:gd name="T3" fmla="*/ 1 h 16"/>
              <a:gd name="T4" fmla="*/ 16 w 32"/>
              <a:gd name="T5" fmla="*/ 0 h 16"/>
              <a:gd name="T6" fmla="*/ 15 w 32"/>
              <a:gd name="T7" fmla="*/ 2 h 16"/>
              <a:gd name="T8" fmla="*/ 10 w 32"/>
              <a:gd name="T9" fmla="*/ 2 h 16"/>
              <a:gd name="T10" fmla="*/ 9 w 32"/>
              <a:gd name="T11" fmla="*/ 4 h 16"/>
              <a:gd name="T12" fmla="*/ 12 w 32"/>
              <a:gd name="T13" fmla="*/ 4 h 16"/>
              <a:gd name="T14" fmla="*/ 10 w 32"/>
              <a:gd name="T15" fmla="*/ 8 h 16"/>
              <a:gd name="T16" fmla="*/ 5 w 32"/>
              <a:gd name="T17" fmla="*/ 10 h 16"/>
              <a:gd name="T18" fmla="*/ 1 w 32"/>
              <a:gd name="T19" fmla="*/ 15 h 16"/>
              <a:gd name="T20" fmla="*/ 8 w 32"/>
              <a:gd name="T21" fmla="*/ 15 h 16"/>
              <a:gd name="T22" fmla="*/ 17 w 32"/>
              <a:gd name="T23" fmla="*/ 14 h 16"/>
              <a:gd name="T24" fmla="*/ 28 w 32"/>
              <a:gd name="T25" fmla="*/ 12 h 16"/>
              <a:gd name="T26" fmla="*/ 29 w 32"/>
              <a:gd name="T27" fmla="*/ 7 h 16"/>
              <a:gd name="T28" fmla="*/ 22 w 32"/>
              <a:gd name="T29" fmla="*/ 3 h 16"/>
              <a:gd name="T30" fmla="*/ 16 w 32"/>
              <a:gd name="T31" fmla="*/ 6 h 16"/>
              <a:gd name="T32" fmla="*/ 16 w 32"/>
              <a:gd name="T33" fmla="*/ 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2" h="16">
                <a:moveTo>
                  <a:pt x="16" y="6"/>
                </a:moveTo>
                <a:cubicBezTo>
                  <a:pt x="16" y="6"/>
                  <a:pt x="19" y="2"/>
                  <a:pt x="19" y="1"/>
                </a:cubicBezTo>
                <a:cubicBezTo>
                  <a:pt x="18" y="0"/>
                  <a:pt x="17" y="0"/>
                  <a:pt x="16" y="0"/>
                </a:cubicBezTo>
                <a:cubicBezTo>
                  <a:pt x="15" y="0"/>
                  <a:pt x="15" y="2"/>
                  <a:pt x="15" y="2"/>
                </a:cubicBezTo>
                <a:cubicBezTo>
                  <a:pt x="13" y="2"/>
                  <a:pt x="12" y="0"/>
                  <a:pt x="10" y="2"/>
                </a:cubicBezTo>
                <a:cubicBezTo>
                  <a:pt x="10" y="2"/>
                  <a:pt x="8" y="3"/>
                  <a:pt x="9" y="4"/>
                </a:cubicBezTo>
                <a:cubicBezTo>
                  <a:pt x="10" y="4"/>
                  <a:pt x="11" y="5"/>
                  <a:pt x="12" y="4"/>
                </a:cubicBezTo>
                <a:cubicBezTo>
                  <a:pt x="10" y="5"/>
                  <a:pt x="5" y="6"/>
                  <a:pt x="10" y="8"/>
                </a:cubicBezTo>
                <a:cubicBezTo>
                  <a:pt x="7" y="7"/>
                  <a:pt x="6" y="8"/>
                  <a:pt x="5" y="10"/>
                </a:cubicBezTo>
                <a:cubicBezTo>
                  <a:pt x="4" y="11"/>
                  <a:pt x="0" y="15"/>
                  <a:pt x="1" y="15"/>
                </a:cubicBezTo>
                <a:cubicBezTo>
                  <a:pt x="3" y="16"/>
                  <a:pt x="6" y="16"/>
                  <a:pt x="8" y="15"/>
                </a:cubicBezTo>
                <a:cubicBezTo>
                  <a:pt x="11" y="13"/>
                  <a:pt x="14" y="13"/>
                  <a:pt x="17" y="14"/>
                </a:cubicBezTo>
                <a:cubicBezTo>
                  <a:pt x="21" y="14"/>
                  <a:pt x="24" y="13"/>
                  <a:pt x="28" y="12"/>
                </a:cubicBezTo>
                <a:cubicBezTo>
                  <a:pt x="30" y="11"/>
                  <a:pt x="32" y="8"/>
                  <a:pt x="29" y="7"/>
                </a:cubicBezTo>
                <a:cubicBezTo>
                  <a:pt x="27" y="6"/>
                  <a:pt x="24" y="2"/>
                  <a:pt x="22" y="3"/>
                </a:cubicBezTo>
                <a:cubicBezTo>
                  <a:pt x="20" y="3"/>
                  <a:pt x="18" y="6"/>
                  <a:pt x="16" y="6"/>
                </a:cubicBezTo>
                <a:cubicBezTo>
                  <a:pt x="15" y="6"/>
                  <a:pt x="17" y="6"/>
                  <a:pt x="16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2" name="Freeform 408">
            <a:extLst>
              <a:ext uri="{FF2B5EF4-FFF2-40B4-BE49-F238E27FC236}">
                <a16:creationId xmlns:a16="http://schemas.microsoft.com/office/drawing/2014/main" id="{04A5663D-16CE-1546-8F5A-13B816AFD9E4}"/>
              </a:ext>
            </a:extLst>
          </p:cNvPr>
          <p:cNvSpPr>
            <a:spLocks/>
          </p:cNvSpPr>
          <p:nvPr/>
        </p:nvSpPr>
        <p:spPr bwMode="auto">
          <a:xfrm>
            <a:off x="8247948" y="2163302"/>
            <a:ext cx="155307" cy="82970"/>
          </a:xfrm>
          <a:custGeom>
            <a:avLst/>
            <a:gdLst>
              <a:gd name="T0" fmla="*/ 26 w 30"/>
              <a:gd name="T1" fmla="*/ 10 h 16"/>
              <a:gd name="T2" fmla="*/ 28 w 30"/>
              <a:gd name="T3" fmla="*/ 7 h 16"/>
              <a:gd name="T4" fmla="*/ 29 w 30"/>
              <a:gd name="T5" fmla="*/ 5 h 16"/>
              <a:gd name="T6" fmla="*/ 26 w 30"/>
              <a:gd name="T7" fmla="*/ 3 h 16"/>
              <a:gd name="T8" fmla="*/ 22 w 30"/>
              <a:gd name="T9" fmla="*/ 3 h 16"/>
              <a:gd name="T10" fmla="*/ 17 w 30"/>
              <a:gd name="T11" fmla="*/ 4 h 16"/>
              <a:gd name="T12" fmla="*/ 18 w 30"/>
              <a:gd name="T13" fmla="*/ 1 h 16"/>
              <a:gd name="T14" fmla="*/ 12 w 30"/>
              <a:gd name="T15" fmla="*/ 1 h 16"/>
              <a:gd name="T16" fmla="*/ 5 w 30"/>
              <a:gd name="T17" fmla="*/ 4 h 16"/>
              <a:gd name="T18" fmla="*/ 7 w 30"/>
              <a:gd name="T19" fmla="*/ 4 h 16"/>
              <a:gd name="T20" fmla="*/ 0 w 30"/>
              <a:gd name="T21" fmla="*/ 8 h 16"/>
              <a:gd name="T22" fmla="*/ 4 w 30"/>
              <a:gd name="T23" fmla="*/ 9 h 16"/>
              <a:gd name="T24" fmla="*/ 7 w 30"/>
              <a:gd name="T25" fmla="*/ 12 h 16"/>
              <a:gd name="T26" fmla="*/ 12 w 30"/>
              <a:gd name="T27" fmla="*/ 13 h 16"/>
              <a:gd name="T28" fmla="*/ 19 w 30"/>
              <a:gd name="T29" fmla="*/ 16 h 16"/>
              <a:gd name="T30" fmla="*/ 28 w 30"/>
              <a:gd name="T31" fmla="*/ 15 h 16"/>
              <a:gd name="T32" fmla="*/ 26 w 30"/>
              <a:gd name="T33" fmla="*/ 10 h 16"/>
              <a:gd name="T34" fmla="*/ 26 w 30"/>
              <a:gd name="T35" fmla="*/ 1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0" h="16">
                <a:moveTo>
                  <a:pt x="26" y="10"/>
                </a:moveTo>
                <a:cubicBezTo>
                  <a:pt x="29" y="11"/>
                  <a:pt x="27" y="9"/>
                  <a:pt x="28" y="7"/>
                </a:cubicBezTo>
                <a:cubicBezTo>
                  <a:pt x="28" y="6"/>
                  <a:pt x="29" y="6"/>
                  <a:pt x="29" y="5"/>
                </a:cubicBezTo>
                <a:cubicBezTo>
                  <a:pt x="29" y="4"/>
                  <a:pt x="27" y="3"/>
                  <a:pt x="26" y="3"/>
                </a:cubicBezTo>
                <a:cubicBezTo>
                  <a:pt x="25" y="2"/>
                  <a:pt x="23" y="2"/>
                  <a:pt x="22" y="3"/>
                </a:cubicBezTo>
                <a:cubicBezTo>
                  <a:pt x="22" y="3"/>
                  <a:pt x="17" y="4"/>
                  <a:pt x="17" y="4"/>
                </a:cubicBezTo>
                <a:cubicBezTo>
                  <a:pt x="17" y="4"/>
                  <a:pt x="21" y="2"/>
                  <a:pt x="18" y="1"/>
                </a:cubicBezTo>
                <a:cubicBezTo>
                  <a:pt x="16" y="0"/>
                  <a:pt x="14" y="1"/>
                  <a:pt x="12" y="1"/>
                </a:cubicBezTo>
                <a:cubicBezTo>
                  <a:pt x="11" y="1"/>
                  <a:pt x="6" y="2"/>
                  <a:pt x="5" y="4"/>
                </a:cubicBezTo>
                <a:cubicBezTo>
                  <a:pt x="5" y="4"/>
                  <a:pt x="7" y="4"/>
                  <a:pt x="7" y="4"/>
                </a:cubicBezTo>
                <a:cubicBezTo>
                  <a:pt x="7" y="4"/>
                  <a:pt x="0" y="7"/>
                  <a:pt x="0" y="8"/>
                </a:cubicBezTo>
                <a:cubicBezTo>
                  <a:pt x="0" y="8"/>
                  <a:pt x="4" y="9"/>
                  <a:pt x="4" y="9"/>
                </a:cubicBezTo>
                <a:cubicBezTo>
                  <a:pt x="5" y="9"/>
                  <a:pt x="6" y="11"/>
                  <a:pt x="7" y="12"/>
                </a:cubicBezTo>
                <a:cubicBezTo>
                  <a:pt x="9" y="13"/>
                  <a:pt x="10" y="13"/>
                  <a:pt x="12" y="13"/>
                </a:cubicBezTo>
                <a:cubicBezTo>
                  <a:pt x="14" y="14"/>
                  <a:pt x="17" y="16"/>
                  <a:pt x="19" y="16"/>
                </a:cubicBezTo>
                <a:cubicBezTo>
                  <a:pt x="22" y="16"/>
                  <a:pt x="25" y="16"/>
                  <a:pt x="28" y="15"/>
                </a:cubicBezTo>
                <a:cubicBezTo>
                  <a:pt x="30" y="15"/>
                  <a:pt x="26" y="10"/>
                  <a:pt x="26" y="10"/>
                </a:cubicBezTo>
                <a:cubicBezTo>
                  <a:pt x="27" y="10"/>
                  <a:pt x="25" y="10"/>
                  <a:pt x="26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3" name="Freeform 409">
            <a:extLst>
              <a:ext uri="{FF2B5EF4-FFF2-40B4-BE49-F238E27FC236}">
                <a16:creationId xmlns:a16="http://schemas.microsoft.com/office/drawing/2014/main" id="{F3538675-6D05-7E4C-92EC-6A60A6291D3A}"/>
              </a:ext>
            </a:extLst>
          </p:cNvPr>
          <p:cNvSpPr>
            <a:spLocks/>
          </p:cNvSpPr>
          <p:nvPr/>
        </p:nvSpPr>
        <p:spPr bwMode="auto">
          <a:xfrm>
            <a:off x="8202062" y="2168597"/>
            <a:ext cx="77653" cy="26481"/>
          </a:xfrm>
          <a:custGeom>
            <a:avLst/>
            <a:gdLst>
              <a:gd name="T0" fmla="*/ 9 w 15"/>
              <a:gd name="T1" fmla="*/ 1 h 5"/>
              <a:gd name="T2" fmla="*/ 4 w 15"/>
              <a:gd name="T3" fmla="*/ 1 h 5"/>
              <a:gd name="T4" fmla="*/ 0 w 15"/>
              <a:gd name="T5" fmla="*/ 1 h 5"/>
              <a:gd name="T6" fmla="*/ 1 w 15"/>
              <a:gd name="T7" fmla="*/ 3 h 5"/>
              <a:gd name="T8" fmla="*/ 6 w 15"/>
              <a:gd name="T9" fmla="*/ 5 h 5"/>
              <a:gd name="T10" fmla="*/ 9 w 15"/>
              <a:gd name="T11" fmla="*/ 1 h 5"/>
              <a:gd name="T12" fmla="*/ 9 w 15"/>
              <a:gd name="T13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" h="5">
                <a:moveTo>
                  <a:pt x="9" y="1"/>
                </a:moveTo>
                <a:cubicBezTo>
                  <a:pt x="8" y="1"/>
                  <a:pt x="6" y="1"/>
                  <a:pt x="4" y="1"/>
                </a:cubicBezTo>
                <a:cubicBezTo>
                  <a:pt x="3" y="1"/>
                  <a:pt x="1" y="0"/>
                  <a:pt x="0" y="1"/>
                </a:cubicBezTo>
                <a:cubicBezTo>
                  <a:pt x="0" y="1"/>
                  <a:pt x="0" y="3"/>
                  <a:pt x="1" y="3"/>
                </a:cubicBezTo>
                <a:cubicBezTo>
                  <a:pt x="3" y="4"/>
                  <a:pt x="4" y="5"/>
                  <a:pt x="6" y="5"/>
                </a:cubicBezTo>
                <a:cubicBezTo>
                  <a:pt x="8" y="5"/>
                  <a:pt x="15" y="2"/>
                  <a:pt x="9" y="1"/>
                </a:cubicBezTo>
                <a:cubicBezTo>
                  <a:pt x="8" y="1"/>
                  <a:pt x="10" y="2"/>
                  <a:pt x="9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4" name="Freeform 410">
            <a:extLst>
              <a:ext uri="{FF2B5EF4-FFF2-40B4-BE49-F238E27FC236}">
                <a16:creationId xmlns:a16="http://schemas.microsoft.com/office/drawing/2014/main" id="{4B32A7E4-3F79-C947-B24E-6F13D1D0DB3E}"/>
              </a:ext>
            </a:extLst>
          </p:cNvPr>
          <p:cNvSpPr>
            <a:spLocks/>
          </p:cNvSpPr>
          <p:nvPr/>
        </p:nvSpPr>
        <p:spPr bwMode="auto">
          <a:xfrm>
            <a:off x="8216180" y="2096221"/>
            <a:ext cx="130598" cy="82970"/>
          </a:xfrm>
          <a:custGeom>
            <a:avLst/>
            <a:gdLst>
              <a:gd name="T0" fmla="*/ 7 w 25"/>
              <a:gd name="T1" fmla="*/ 15 h 16"/>
              <a:gd name="T2" fmla="*/ 3 w 25"/>
              <a:gd name="T3" fmla="*/ 13 h 16"/>
              <a:gd name="T4" fmla="*/ 4 w 25"/>
              <a:gd name="T5" fmla="*/ 12 h 16"/>
              <a:gd name="T6" fmla="*/ 0 w 25"/>
              <a:gd name="T7" fmla="*/ 12 h 16"/>
              <a:gd name="T8" fmla="*/ 3 w 25"/>
              <a:gd name="T9" fmla="*/ 11 h 16"/>
              <a:gd name="T10" fmla="*/ 2 w 25"/>
              <a:gd name="T11" fmla="*/ 10 h 16"/>
              <a:gd name="T12" fmla="*/ 6 w 25"/>
              <a:gd name="T13" fmla="*/ 6 h 16"/>
              <a:gd name="T14" fmla="*/ 5 w 25"/>
              <a:gd name="T15" fmla="*/ 6 h 16"/>
              <a:gd name="T16" fmla="*/ 11 w 25"/>
              <a:gd name="T17" fmla="*/ 3 h 16"/>
              <a:gd name="T18" fmla="*/ 18 w 25"/>
              <a:gd name="T19" fmla="*/ 0 h 16"/>
              <a:gd name="T20" fmla="*/ 20 w 25"/>
              <a:gd name="T21" fmla="*/ 4 h 16"/>
              <a:gd name="T22" fmla="*/ 25 w 25"/>
              <a:gd name="T23" fmla="*/ 7 h 16"/>
              <a:gd name="T24" fmla="*/ 21 w 25"/>
              <a:gd name="T25" fmla="*/ 9 h 16"/>
              <a:gd name="T26" fmla="*/ 23 w 25"/>
              <a:gd name="T27" fmla="*/ 12 h 16"/>
              <a:gd name="T28" fmla="*/ 19 w 25"/>
              <a:gd name="T29" fmla="*/ 13 h 16"/>
              <a:gd name="T30" fmla="*/ 7 w 25"/>
              <a:gd name="T31" fmla="*/ 15 h 16"/>
              <a:gd name="T32" fmla="*/ 7 w 25"/>
              <a:gd name="T33" fmla="*/ 1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5" h="16">
                <a:moveTo>
                  <a:pt x="7" y="15"/>
                </a:moveTo>
                <a:cubicBezTo>
                  <a:pt x="6" y="14"/>
                  <a:pt x="4" y="14"/>
                  <a:pt x="3" y="13"/>
                </a:cubicBezTo>
                <a:cubicBezTo>
                  <a:pt x="2" y="12"/>
                  <a:pt x="4" y="12"/>
                  <a:pt x="4" y="12"/>
                </a:cubicBezTo>
                <a:cubicBezTo>
                  <a:pt x="4" y="12"/>
                  <a:pt x="0" y="13"/>
                  <a:pt x="0" y="12"/>
                </a:cubicBezTo>
                <a:cubicBezTo>
                  <a:pt x="0" y="10"/>
                  <a:pt x="3" y="11"/>
                  <a:pt x="3" y="11"/>
                </a:cubicBezTo>
                <a:cubicBezTo>
                  <a:pt x="3" y="10"/>
                  <a:pt x="2" y="10"/>
                  <a:pt x="2" y="10"/>
                </a:cubicBezTo>
                <a:cubicBezTo>
                  <a:pt x="2" y="10"/>
                  <a:pt x="7" y="7"/>
                  <a:pt x="6" y="6"/>
                </a:cubicBezTo>
                <a:cubicBezTo>
                  <a:pt x="6" y="6"/>
                  <a:pt x="5" y="6"/>
                  <a:pt x="5" y="6"/>
                </a:cubicBezTo>
                <a:cubicBezTo>
                  <a:pt x="6" y="4"/>
                  <a:pt x="9" y="4"/>
                  <a:pt x="11" y="3"/>
                </a:cubicBezTo>
                <a:cubicBezTo>
                  <a:pt x="13" y="2"/>
                  <a:pt x="16" y="1"/>
                  <a:pt x="18" y="0"/>
                </a:cubicBezTo>
                <a:cubicBezTo>
                  <a:pt x="18" y="0"/>
                  <a:pt x="19" y="3"/>
                  <a:pt x="20" y="4"/>
                </a:cubicBezTo>
                <a:cubicBezTo>
                  <a:pt x="20" y="4"/>
                  <a:pt x="25" y="6"/>
                  <a:pt x="25" y="7"/>
                </a:cubicBezTo>
                <a:cubicBezTo>
                  <a:pt x="25" y="8"/>
                  <a:pt x="20" y="7"/>
                  <a:pt x="21" y="9"/>
                </a:cubicBezTo>
                <a:cubicBezTo>
                  <a:pt x="21" y="9"/>
                  <a:pt x="23" y="10"/>
                  <a:pt x="23" y="12"/>
                </a:cubicBezTo>
                <a:cubicBezTo>
                  <a:pt x="22" y="12"/>
                  <a:pt x="20" y="12"/>
                  <a:pt x="19" y="13"/>
                </a:cubicBezTo>
                <a:cubicBezTo>
                  <a:pt x="16" y="14"/>
                  <a:pt x="10" y="16"/>
                  <a:pt x="7" y="15"/>
                </a:cubicBezTo>
                <a:cubicBezTo>
                  <a:pt x="6" y="14"/>
                  <a:pt x="9" y="16"/>
                  <a:pt x="7" y="1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5" name="Freeform 411">
            <a:extLst>
              <a:ext uri="{FF2B5EF4-FFF2-40B4-BE49-F238E27FC236}">
                <a16:creationId xmlns:a16="http://schemas.microsoft.com/office/drawing/2014/main" id="{170F43E7-6C09-3B47-8E61-A05CB8DF07C5}"/>
              </a:ext>
            </a:extLst>
          </p:cNvPr>
          <p:cNvSpPr>
            <a:spLocks/>
          </p:cNvSpPr>
          <p:nvPr/>
        </p:nvSpPr>
        <p:spPr bwMode="auto">
          <a:xfrm>
            <a:off x="9592762" y="2422801"/>
            <a:ext cx="130598" cy="42367"/>
          </a:xfrm>
          <a:custGeom>
            <a:avLst/>
            <a:gdLst>
              <a:gd name="T0" fmla="*/ 5 w 25"/>
              <a:gd name="T1" fmla="*/ 3 h 8"/>
              <a:gd name="T2" fmla="*/ 3 w 25"/>
              <a:gd name="T3" fmla="*/ 1 h 8"/>
              <a:gd name="T4" fmla="*/ 1 w 25"/>
              <a:gd name="T5" fmla="*/ 2 h 8"/>
              <a:gd name="T6" fmla="*/ 2 w 25"/>
              <a:gd name="T7" fmla="*/ 4 h 8"/>
              <a:gd name="T8" fmla="*/ 5 w 25"/>
              <a:gd name="T9" fmla="*/ 6 h 8"/>
              <a:gd name="T10" fmla="*/ 16 w 25"/>
              <a:gd name="T11" fmla="*/ 8 h 8"/>
              <a:gd name="T12" fmla="*/ 24 w 25"/>
              <a:gd name="T13" fmla="*/ 5 h 8"/>
              <a:gd name="T14" fmla="*/ 23 w 25"/>
              <a:gd name="T15" fmla="*/ 6 h 8"/>
              <a:gd name="T16" fmla="*/ 20 w 25"/>
              <a:gd name="T17" fmla="*/ 4 h 8"/>
              <a:gd name="T18" fmla="*/ 15 w 25"/>
              <a:gd name="T19" fmla="*/ 4 h 8"/>
              <a:gd name="T20" fmla="*/ 10 w 25"/>
              <a:gd name="T21" fmla="*/ 2 h 8"/>
              <a:gd name="T22" fmla="*/ 5 w 25"/>
              <a:gd name="T23" fmla="*/ 3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5" h="8">
                <a:moveTo>
                  <a:pt x="5" y="3"/>
                </a:moveTo>
                <a:cubicBezTo>
                  <a:pt x="4" y="3"/>
                  <a:pt x="4" y="1"/>
                  <a:pt x="3" y="1"/>
                </a:cubicBezTo>
                <a:cubicBezTo>
                  <a:pt x="3" y="0"/>
                  <a:pt x="1" y="2"/>
                  <a:pt x="1" y="2"/>
                </a:cubicBezTo>
                <a:cubicBezTo>
                  <a:pt x="0" y="4"/>
                  <a:pt x="1" y="4"/>
                  <a:pt x="2" y="4"/>
                </a:cubicBezTo>
                <a:cubicBezTo>
                  <a:pt x="3" y="4"/>
                  <a:pt x="4" y="6"/>
                  <a:pt x="5" y="6"/>
                </a:cubicBezTo>
                <a:cubicBezTo>
                  <a:pt x="9" y="7"/>
                  <a:pt x="12" y="8"/>
                  <a:pt x="16" y="8"/>
                </a:cubicBezTo>
                <a:cubicBezTo>
                  <a:pt x="17" y="8"/>
                  <a:pt x="25" y="7"/>
                  <a:pt x="24" y="5"/>
                </a:cubicBezTo>
                <a:cubicBezTo>
                  <a:pt x="23" y="5"/>
                  <a:pt x="23" y="6"/>
                  <a:pt x="23" y="6"/>
                </a:cubicBezTo>
                <a:cubicBezTo>
                  <a:pt x="22" y="6"/>
                  <a:pt x="21" y="5"/>
                  <a:pt x="20" y="4"/>
                </a:cubicBezTo>
                <a:cubicBezTo>
                  <a:pt x="19" y="4"/>
                  <a:pt x="17" y="3"/>
                  <a:pt x="15" y="4"/>
                </a:cubicBezTo>
                <a:cubicBezTo>
                  <a:pt x="14" y="4"/>
                  <a:pt x="12" y="2"/>
                  <a:pt x="10" y="2"/>
                </a:cubicBezTo>
                <a:cubicBezTo>
                  <a:pt x="8" y="2"/>
                  <a:pt x="7" y="3"/>
                  <a:pt x="5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6" name="Freeform 412">
            <a:extLst>
              <a:ext uri="{FF2B5EF4-FFF2-40B4-BE49-F238E27FC236}">
                <a16:creationId xmlns:a16="http://schemas.microsoft.com/office/drawing/2014/main" id="{F3A67D2C-29BE-5749-AF56-A219981577E9}"/>
              </a:ext>
            </a:extLst>
          </p:cNvPr>
          <p:cNvSpPr>
            <a:spLocks/>
          </p:cNvSpPr>
          <p:nvPr/>
        </p:nvSpPr>
        <p:spPr bwMode="auto">
          <a:xfrm>
            <a:off x="9426866" y="2505770"/>
            <a:ext cx="109421" cy="42367"/>
          </a:xfrm>
          <a:custGeom>
            <a:avLst/>
            <a:gdLst>
              <a:gd name="T0" fmla="*/ 2 w 21"/>
              <a:gd name="T1" fmla="*/ 6 h 8"/>
              <a:gd name="T2" fmla="*/ 8 w 21"/>
              <a:gd name="T3" fmla="*/ 6 h 8"/>
              <a:gd name="T4" fmla="*/ 14 w 21"/>
              <a:gd name="T5" fmla="*/ 8 h 8"/>
              <a:gd name="T6" fmla="*/ 19 w 21"/>
              <a:gd name="T7" fmla="*/ 7 h 8"/>
              <a:gd name="T8" fmla="*/ 17 w 21"/>
              <a:gd name="T9" fmla="*/ 4 h 8"/>
              <a:gd name="T10" fmla="*/ 7 w 21"/>
              <a:gd name="T11" fmla="*/ 2 h 8"/>
              <a:gd name="T12" fmla="*/ 4 w 21"/>
              <a:gd name="T13" fmla="*/ 5 h 8"/>
              <a:gd name="T14" fmla="*/ 2 w 21"/>
              <a:gd name="T15" fmla="*/ 6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8">
                <a:moveTo>
                  <a:pt x="2" y="6"/>
                </a:moveTo>
                <a:cubicBezTo>
                  <a:pt x="5" y="6"/>
                  <a:pt x="6" y="6"/>
                  <a:pt x="8" y="6"/>
                </a:cubicBezTo>
                <a:cubicBezTo>
                  <a:pt x="10" y="7"/>
                  <a:pt x="12" y="7"/>
                  <a:pt x="14" y="8"/>
                </a:cubicBezTo>
                <a:cubicBezTo>
                  <a:pt x="16" y="8"/>
                  <a:pt x="18" y="8"/>
                  <a:pt x="19" y="7"/>
                </a:cubicBezTo>
                <a:cubicBezTo>
                  <a:pt x="21" y="6"/>
                  <a:pt x="18" y="5"/>
                  <a:pt x="17" y="4"/>
                </a:cubicBezTo>
                <a:cubicBezTo>
                  <a:pt x="14" y="2"/>
                  <a:pt x="11" y="0"/>
                  <a:pt x="7" y="2"/>
                </a:cubicBezTo>
                <a:cubicBezTo>
                  <a:pt x="5" y="3"/>
                  <a:pt x="5" y="4"/>
                  <a:pt x="4" y="5"/>
                </a:cubicBezTo>
                <a:cubicBezTo>
                  <a:pt x="3" y="5"/>
                  <a:pt x="0" y="6"/>
                  <a:pt x="2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7" name="Freeform 413">
            <a:extLst>
              <a:ext uri="{FF2B5EF4-FFF2-40B4-BE49-F238E27FC236}">
                <a16:creationId xmlns:a16="http://schemas.microsoft.com/office/drawing/2014/main" id="{53276E5C-0CC6-624B-9111-8047C27F1ED6}"/>
              </a:ext>
            </a:extLst>
          </p:cNvPr>
          <p:cNvSpPr>
            <a:spLocks/>
          </p:cNvSpPr>
          <p:nvPr/>
        </p:nvSpPr>
        <p:spPr bwMode="auto">
          <a:xfrm>
            <a:off x="9432161" y="2486354"/>
            <a:ext cx="42356" cy="24714"/>
          </a:xfrm>
          <a:custGeom>
            <a:avLst/>
            <a:gdLst>
              <a:gd name="T0" fmla="*/ 3 w 8"/>
              <a:gd name="T1" fmla="*/ 5 h 5"/>
              <a:gd name="T2" fmla="*/ 4 w 8"/>
              <a:gd name="T3" fmla="*/ 1 h 5"/>
              <a:gd name="T4" fmla="*/ 3 w 8"/>
              <a:gd name="T5" fmla="*/ 5 h 5"/>
              <a:gd name="T6" fmla="*/ 3 w 8"/>
              <a:gd name="T7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5">
                <a:moveTo>
                  <a:pt x="3" y="5"/>
                </a:moveTo>
                <a:cubicBezTo>
                  <a:pt x="0" y="5"/>
                  <a:pt x="1" y="0"/>
                  <a:pt x="4" y="1"/>
                </a:cubicBezTo>
                <a:cubicBezTo>
                  <a:pt x="8" y="2"/>
                  <a:pt x="6" y="4"/>
                  <a:pt x="3" y="5"/>
                </a:cubicBezTo>
                <a:cubicBezTo>
                  <a:pt x="1" y="5"/>
                  <a:pt x="5" y="5"/>
                  <a:pt x="3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8" name="Freeform 414">
            <a:extLst>
              <a:ext uri="{FF2B5EF4-FFF2-40B4-BE49-F238E27FC236}">
                <a16:creationId xmlns:a16="http://schemas.microsoft.com/office/drawing/2014/main" id="{A7A356CD-D7B4-6847-A7AD-742678E22B2C}"/>
              </a:ext>
            </a:extLst>
          </p:cNvPr>
          <p:cNvSpPr>
            <a:spLocks/>
          </p:cNvSpPr>
          <p:nvPr/>
        </p:nvSpPr>
        <p:spPr bwMode="auto">
          <a:xfrm>
            <a:off x="9319210" y="2412210"/>
            <a:ext cx="15883" cy="26481"/>
          </a:xfrm>
          <a:custGeom>
            <a:avLst/>
            <a:gdLst>
              <a:gd name="T0" fmla="*/ 1 w 3"/>
              <a:gd name="T1" fmla="*/ 3 h 5"/>
              <a:gd name="T2" fmla="*/ 3 w 3"/>
              <a:gd name="T3" fmla="*/ 1 h 5"/>
              <a:gd name="T4" fmla="*/ 1 w 3"/>
              <a:gd name="T5" fmla="*/ 5 h 5"/>
              <a:gd name="T6" fmla="*/ 1 w 3"/>
              <a:gd name="T7" fmla="*/ 3 h 5"/>
              <a:gd name="T8" fmla="*/ 1 w 3"/>
              <a:gd name="T9" fmla="*/ 3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5">
                <a:moveTo>
                  <a:pt x="1" y="3"/>
                </a:moveTo>
                <a:cubicBezTo>
                  <a:pt x="0" y="2"/>
                  <a:pt x="2" y="0"/>
                  <a:pt x="3" y="1"/>
                </a:cubicBezTo>
                <a:cubicBezTo>
                  <a:pt x="3" y="2"/>
                  <a:pt x="2" y="5"/>
                  <a:pt x="1" y="5"/>
                </a:cubicBezTo>
                <a:cubicBezTo>
                  <a:pt x="1" y="5"/>
                  <a:pt x="1" y="3"/>
                  <a:pt x="1" y="3"/>
                </a:cubicBezTo>
                <a:cubicBezTo>
                  <a:pt x="0" y="2"/>
                  <a:pt x="1" y="3"/>
                  <a:pt x="1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9" name="Freeform 415">
            <a:extLst>
              <a:ext uri="{FF2B5EF4-FFF2-40B4-BE49-F238E27FC236}">
                <a16:creationId xmlns:a16="http://schemas.microsoft.com/office/drawing/2014/main" id="{6D999BB7-E6EC-7E48-85F2-09969E67B958}"/>
              </a:ext>
            </a:extLst>
          </p:cNvPr>
          <p:cNvSpPr>
            <a:spLocks/>
          </p:cNvSpPr>
          <p:nvPr/>
        </p:nvSpPr>
        <p:spPr bwMode="auto">
          <a:xfrm>
            <a:off x="9319210" y="2489882"/>
            <a:ext cx="21178" cy="26481"/>
          </a:xfrm>
          <a:custGeom>
            <a:avLst/>
            <a:gdLst>
              <a:gd name="T0" fmla="*/ 4 w 4"/>
              <a:gd name="T1" fmla="*/ 4 h 5"/>
              <a:gd name="T2" fmla="*/ 0 w 4"/>
              <a:gd name="T3" fmla="*/ 1 h 5"/>
              <a:gd name="T4" fmla="*/ 4 w 4"/>
              <a:gd name="T5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" h="5">
                <a:moveTo>
                  <a:pt x="4" y="4"/>
                </a:moveTo>
                <a:cubicBezTo>
                  <a:pt x="4" y="3"/>
                  <a:pt x="1" y="0"/>
                  <a:pt x="0" y="1"/>
                </a:cubicBezTo>
                <a:cubicBezTo>
                  <a:pt x="0" y="1"/>
                  <a:pt x="3" y="5"/>
                  <a:pt x="4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0" name="Freeform 416">
            <a:extLst>
              <a:ext uri="{FF2B5EF4-FFF2-40B4-BE49-F238E27FC236}">
                <a16:creationId xmlns:a16="http://schemas.microsoft.com/office/drawing/2014/main" id="{3D3592CF-079B-8344-A537-6F86154A329C}"/>
              </a:ext>
            </a:extLst>
          </p:cNvPr>
          <p:cNvSpPr>
            <a:spLocks/>
          </p:cNvSpPr>
          <p:nvPr/>
        </p:nvSpPr>
        <p:spPr bwMode="auto">
          <a:xfrm>
            <a:off x="9354507" y="2392792"/>
            <a:ext cx="218841" cy="82970"/>
          </a:xfrm>
          <a:custGeom>
            <a:avLst/>
            <a:gdLst>
              <a:gd name="T0" fmla="*/ 34 w 42"/>
              <a:gd name="T1" fmla="*/ 4 h 16"/>
              <a:gd name="T2" fmla="*/ 29 w 42"/>
              <a:gd name="T3" fmla="*/ 3 h 16"/>
              <a:gd name="T4" fmla="*/ 23 w 42"/>
              <a:gd name="T5" fmla="*/ 0 h 16"/>
              <a:gd name="T6" fmla="*/ 22 w 42"/>
              <a:gd name="T7" fmla="*/ 2 h 16"/>
              <a:gd name="T8" fmla="*/ 20 w 42"/>
              <a:gd name="T9" fmla="*/ 6 h 16"/>
              <a:gd name="T10" fmla="*/ 11 w 42"/>
              <a:gd name="T11" fmla="*/ 1 h 16"/>
              <a:gd name="T12" fmla="*/ 4 w 42"/>
              <a:gd name="T13" fmla="*/ 3 h 16"/>
              <a:gd name="T14" fmla="*/ 2 w 42"/>
              <a:gd name="T15" fmla="*/ 6 h 16"/>
              <a:gd name="T16" fmla="*/ 1 w 42"/>
              <a:gd name="T17" fmla="*/ 10 h 16"/>
              <a:gd name="T18" fmla="*/ 9 w 42"/>
              <a:gd name="T19" fmla="*/ 14 h 16"/>
              <a:gd name="T20" fmla="*/ 13 w 42"/>
              <a:gd name="T21" fmla="*/ 15 h 16"/>
              <a:gd name="T22" fmla="*/ 15 w 42"/>
              <a:gd name="T23" fmla="*/ 13 h 16"/>
              <a:gd name="T24" fmla="*/ 16 w 42"/>
              <a:gd name="T25" fmla="*/ 14 h 16"/>
              <a:gd name="T26" fmla="*/ 18 w 42"/>
              <a:gd name="T27" fmla="*/ 14 h 16"/>
              <a:gd name="T28" fmla="*/ 25 w 42"/>
              <a:gd name="T29" fmla="*/ 12 h 16"/>
              <a:gd name="T30" fmla="*/ 28 w 42"/>
              <a:gd name="T31" fmla="*/ 14 h 16"/>
              <a:gd name="T32" fmla="*/ 34 w 42"/>
              <a:gd name="T33" fmla="*/ 13 h 16"/>
              <a:gd name="T34" fmla="*/ 33 w 42"/>
              <a:gd name="T35" fmla="*/ 12 h 16"/>
              <a:gd name="T36" fmla="*/ 37 w 42"/>
              <a:gd name="T37" fmla="*/ 12 h 16"/>
              <a:gd name="T38" fmla="*/ 39 w 42"/>
              <a:gd name="T39" fmla="*/ 11 h 16"/>
              <a:gd name="T40" fmla="*/ 40 w 42"/>
              <a:gd name="T41" fmla="*/ 9 h 16"/>
              <a:gd name="T42" fmla="*/ 39 w 42"/>
              <a:gd name="T43" fmla="*/ 9 h 16"/>
              <a:gd name="T44" fmla="*/ 42 w 42"/>
              <a:gd name="T45" fmla="*/ 6 h 16"/>
              <a:gd name="T46" fmla="*/ 34 w 42"/>
              <a:gd name="T47" fmla="*/ 4 h 16"/>
              <a:gd name="T48" fmla="*/ 34 w 42"/>
              <a:gd name="T49" fmla="*/ 4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2" h="16">
                <a:moveTo>
                  <a:pt x="34" y="4"/>
                </a:moveTo>
                <a:cubicBezTo>
                  <a:pt x="32" y="3"/>
                  <a:pt x="31" y="4"/>
                  <a:pt x="29" y="3"/>
                </a:cubicBezTo>
                <a:cubicBezTo>
                  <a:pt x="29" y="3"/>
                  <a:pt x="24" y="0"/>
                  <a:pt x="23" y="0"/>
                </a:cubicBezTo>
                <a:cubicBezTo>
                  <a:pt x="23" y="0"/>
                  <a:pt x="24" y="1"/>
                  <a:pt x="22" y="2"/>
                </a:cubicBezTo>
                <a:cubicBezTo>
                  <a:pt x="20" y="2"/>
                  <a:pt x="22" y="5"/>
                  <a:pt x="20" y="6"/>
                </a:cubicBezTo>
                <a:cubicBezTo>
                  <a:pt x="19" y="6"/>
                  <a:pt x="12" y="1"/>
                  <a:pt x="11" y="1"/>
                </a:cubicBezTo>
                <a:cubicBezTo>
                  <a:pt x="9" y="0"/>
                  <a:pt x="4" y="1"/>
                  <a:pt x="4" y="3"/>
                </a:cubicBezTo>
                <a:cubicBezTo>
                  <a:pt x="4" y="5"/>
                  <a:pt x="0" y="4"/>
                  <a:pt x="2" y="6"/>
                </a:cubicBezTo>
                <a:cubicBezTo>
                  <a:pt x="3" y="7"/>
                  <a:pt x="0" y="9"/>
                  <a:pt x="1" y="10"/>
                </a:cubicBezTo>
                <a:cubicBezTo>
                  <a:pt x="3" y="12"/>
                  <a:pt x="6" y="13"/>
                  <a:pt x="9" y="14"/>
                </a:cubicBezTo>
                <a:cubicBezTo>
                  <a:pt x="10" y="15"/>
                  <a:pt x="12" y="16"/>
                  <a:pt x="13" y="15"/>
                </a:cubicBezTo>
                <a:cubicBezTo>
                  <a:pt x="14" y="15"/>
                  <a:pt x="14" y="12"/>
                  <a:pt x="15" y="13"/>
                </a:cubicBezTo>
                <a:cubicBezTo>
                  <a:pt x="15" y="13"/>
                  <a:pt x="15" y="14"/>
                  <a:pt x="16" y="14"/>
                </a:cubicBezTo>
                <a:cubicBezTo>
                  <a:pt x="17" y="14"/>
                  <a:pt x="18" y="14"/>
                  <a:pt x="18" y="14"/>
                </a:cubicBezTo>
                <a:cubicBezTo>
                  <a:pt x="20" y="13"/>
                  <a:pt x="22" y="13"/>
                  <a:pt x="25" y="12"/>
                </a:cubicBezTo>
                <a:cubicBezTo>
                  <a:pt x="27" y="12"/>
                  <a:pt x="27" y="14"/>
                  <a:pt x="28" y="14"/>
                </a:cubicBezTo>
                <a:cubicBezTo>
                  <a:pt x="29" y="14"/>
                  <a:pt x="34" y="13"/>
                  <a:pt x="34" y="13"/>
                </a:cubicBezTo>
                <a:cubicBezTo>
                  <a:pt x="34" y="13"/>
                  <a:pt x="33" y="12"/>
                  <a:pt x="33" y="12"/>
                </a:cubicBezTo>
                <a:cubicBezTo>
                  <a:pt x="33" y="11"/>
                  <a:pt x="36" y="12"/>
                  <a:pt x="37" y="12"/>
                </a:cubicBezTo>
                <a:cubicBezTo>
                  <a:pt x="37" y="12"/>
                  <a:pt x="39" y="12"/>
                  <a:pt x="39" y="11"/>
                </a:cubicBezTo>
                <a:cubicBezTo>
                  <a:pt x="39" y="10"/>
                  <a:pt x="40" y="9"/>
                  <a:pt x="40" y="9"/>
                </a:cubicBezTo>
                <a:cubicBezTo>
                  <a:pt x="40" y="9"/>
                  <a:pt x="40" y="9"/>
                  <a:pt x="39" y="9"/>
                </a:cubicBezTo>
                <a:cubicBezTo>
                  <a:pt x="39" y="8"/>
                  <a:pt x="42" y="7"/>
                  <a:pt x="42" y="6"/>
                </a:cubicBezTo>
                <a:cubicBezTo>
                  <a:pt x="41" y="5"/>
                  <a:pt x="36" y="4"/>
                  <a:pt x="34" y="4"/>
                </a:cubicBezTo>
                <a:cubicBezTo>
                  <a:pt x="32" y="3"/>
                  <a:pt x="36" y="4"/>
                  <a:pt x="34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1" name="Freeform 417">
            <a:extLst>
              <a:ext uri="{FF2B5EF4-FFF2-40B4-BE49-F238E27FC236}">
                <a16:creationId xmlns:a16="http://schemas.microsoft.com/office/drawing/2014/main" id="{A2FE3B76-50BF-924F-8792-4DDB1AEDC62B}"/>
              </a:ext>
            </a:extLst>
          </p:cNvPr>
          <p:cNvSpPr>
            <a:spLocks/>
          </p:cNvSpPr>
          <p:nvPr/>
        </p:nvSpPr>
        <p:spPr bwMode="auto">
          <a:xfrm>
            <a:off x="9479812" y="2417506"/>
            <a:ext cx="40591" cy="42367"/>
          </a:xfrm>
          <a:custGeom>
            <a:avLst/>
            <a:gdLst>
              <a:gd name="T0" fmla="*/ 7 w 8"/>
              <a:gd name="T1" fmla="*/ 6 h 8"/>
              <a:gd name="T2" fmla="*/ 4 w 8"/>
              <a:gd name="T3" fmla="*/ 0 h 8"/>
              <a:gd name="T4" fmla="*/ 6 w 8"/>
              <a:gd name="T5" fmla="*/ 2 h 8"/>
              <a:gd name="T6" fmla="*/ 7 w 8"/>
              <a:gd name="T7" fmla="*/ 6 h 8"/>
              <a:gd name="T8" fmla="*/ 7 w 8"/>
              <a:gd name="T9" fmla="*/ 6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8">
                <a:moveTo>
                  <a:pt x="7" y="6"/>
                </a:moveTo>
                <a:cubicBezTo>
                  <a:pt x="6" y="7"/>
                  <a:pt x="0" y="1"/>
                  <a:pt x="4" y="0"/>
                </a:cubicBezTo>
                <a:cubicBezTo>
                  <a:pt x="5" y="0"/>
                  <a:pt x="8" y="0"/>
                  <a:pt x="6" y="2"/>
                </a:cubicBezTo>
                <a:cubicBezTo>
                  <a:pt x="3" y="4"/>
                  <a:pt x="7" y="4"/>
                  <a:pt x="7" y="6"/>
                </a:cubicBezTo>
                <a:cubicBezTo>
                  <a:pt x="6" y="8"/>
                  <a:pt x="7" y="5"/>
                  <a:pt x="7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2" name="Freeform 418">
            <a:extLst>
              <a:ext uri="{FF2B5EF4-FFF2-40B4-BE49-F238E27FC236}">
                <a16:creationId xmlns:a16="http://schemas.microsoft.com/office/drawing/2014/main" id="{E7BA4894-7D3A-2647-8E81-F4BFEBD40163}"/>
              </a:ext>
            </a:extLst>
          </p:cNvPr>
          <p:cNvSpPr>
            <a:spLocks/>
          </p:cNvSpPr>
          <p:nvPr/>
        </p:nvSpPr>
        <p:spPr bwMode="auto">
          <a:xfrm>
            <a:off x="10157513" y="2698188"/>
            <a:ext cx="56474" cy="31774"/>
          </a:xfrm>
          <a:custGeom>
            <a:avLst/>
            <a:gdLst>
              <a:gd name="T0" fmla="*/ 3 w 11"/>
              <a:gd name="T1" fmla="*/ 4 h 6"/>
              <a:gd name="T2" fmla="*/ 1 w 11"/>
              <a:gd name="T3" fmla="*/ 1 h 6"/>
              <a:gd name="T4" fmla="*/ 6 w 11"/>
              <a:gd name="T5" fmla="*/ 1 h 6"/>
              <a:gd name="T6" fmla="*/ 3 w 11"/>
              <a:gd name="T7" fmla="*/ 4 h 6"/>
              <a:gd name="T8" fmla="*/ 3 w 11"/>
              <a:gd name="T9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" h="6">
                <a:moveTo>
                  <a:pt x="3" y="4"/>
                </a:moveTo>
                <a:cubicBezTo>
                  <a:pt x="1" y="3"/>
                  <a:pt x="0" y="3"/>
                  <a:pt x="1" y="1"/>
                </a:cubicBezTo>
                <a:cubicBezTo>
                  <a:pt x="2" y="0"/>
                  <a:pt x="4" y="1"/>
                  <a:pt x="6" y="1"/>
                </a:cubicBezTo>
                <a:cubicBezTo>
                  <a:pt x="11" y="2"/>
                  <a:pt x="6" y="6"/>
                  <a:pt x="3" y="4"/>
                </a:cubicBezTo>
                <a:cubicBezTo>
                  <a:pt x="2" y="3"/>
                  <a:pt x="4" y="5"/>
                  <a:pt x="3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3" name="Freeform 419">
            <a:extLst>
              <a:ext uri="{FF2B5EF4-FFF2-40B4-BE49-F238E27FC236}">
                <a16:creationId xmlns:a16="http://schemas.microsoft.com/office/drawing/2014/main" id="{C669410A-940B-D24B-A229-8B46491043D5}"/>
              </a:ext>
            </a:extLst>
          </p:cNvPr>
          <p:cNvSpPr>
            <a:spLocks/>
          </p:cNvSpPr>
          <p:nvPr/>
        </p:nvSpPr>
        <p:spPr bwMode="auto">
          <a:xfrm>
            <a:off x="10048091" y="3153638"/>
            <a:ext cx="31766" cy="26481"/>
          </a:xfrm>
          <a:custGeom>
            <a:avLst/>
            <a:gdLst>
              <a:gd name="T0" fmla="*/ 5 w 6"/>
              <a:gd name="T1" fmla="*/ 2 h 5"/>
              <a:gd name="T2" fmla="*/ 5 w 6"/>
              <a:gd name="T3" fmla="*/ 1 h 5"/>
              <a:gd name="T4" fmla="*/ 2 w 6"/>
              <a:gd name="T5" fmla="*/ 1 h 5"/>
              <a:gd name="T6" fmla="*/ 1 w 6"/>
              <a:gd name="T7" fmla="*/ 3 h 5"/>
              <a:gd name="T8" fmla="*/ 0 w 6"/>
              <a:gd name="T9" fmla="*/ 4 h 5"/>
              <a:gd name="T10" fmla="*/ 5 w 6"/>
              <a:gd name="T11" fmla="*/ 2 h 5"/>
              <a:gd name="T12" fmla="*/ 5 w 6"/>
              <a:gd name="T13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5">
                <a:moveTo>
                  <a:pt x="5" y="2"/>
                </a:moveTo>
                <a:cubicBezTo>
                  <a:pt x="6" y="2"/>
                  <a:pt x="5" y="1"/>
                  <a:pt x="5" y="1"/>
                </a:cubicBezTo>
                <a:cubicBezTo>
                  <a:pt x="4" y="0"/>
                  <a:pt x="3" y="1"/>
                  <a:pt x="2" y="1"/>
                </a:cubicBezTo>
                <a:cubicBezTo>
                  <a:pt x="1" y="1"/>
                  <a:pt x="0" y="2"/>
                  <a:pt x="1" y="3"/>
                </a:cubicBezTo>
                <a:cubicBezTo>
                  <a:pt x="1" y="3"/>
                  <a:pt x="0" y="5"/>
                  <a:pt x="0" y="4"/>
                </a:cubicBezTo>
                <a:cubicBezTo>
                  <a:pt x="0" y="4"/>
                  <a:pt x="5" y="2"/>
                  <a:pt x="5" y="2"/>
                </a:cubicBezTo>
                <a:cubicBezTo>
                  <a:pt x="6" y="2"/>
                  <a:pt x="3" y="3"/>
                  <a:pt x="5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4" name="Freeform 420">
            <a:extLst>
              <a:ext uri="{FF2B5EF4-FFF2-40B4-BE49-F238E27FC236}">
                <a16:creationId xmlns:a16="http://schemas.microsoft.com/office/drawing/2014/main" id="{6139CD37-031B-884F-BCD1-D56CCBA54631}"/>
              </a:ext>
            </a:extLst>
          </p:cNvPr>
          <p:cNvSpPr>
            <a:spLocks/>
          </p:cNvSpPr>
          <p:nvPr/>
        </p:nvSpPr>
        <p:spPr bwMode="auto">
          <a:xfrm>
            <a:off x="9359801" y="3305455"/>
            <a:ext cx="26472" cy="14122"/>
          </a:xfrm>
          <a:custGeom>
            <a:avLst/>
            <a:gdLst>
              <a:gd name="T0" fmla="*/ 3 w 5"/>
              <a:gd name="T1" fmla="*/ 3 h 3"/>
              <a:gd name="T2" fmla="*/ 3 w 5"/>
              <a:gd name="T3" fmla="*/ 0 h 3"/>
              <a:gd name="T4" fmla="*/ 3 w 5"/>
              <a:gd name="T5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" h="3">
                <a:moveTo>
                  <a:pt x="3" y="3"/>
                </a:moveTo>
                <a:cubicBezTo>
                  <a:pt x="1" y="3"/>
                  <a:pt x="0" y="1"/>
                  <a:pt x="3" y="0"/>
                </a:cubicBezTo>
                <a:cubicBezTo>
                  <a:pt x="5" y="0"/>
                  <a:pt x="4" y="3"/>
                  <a:pt x="3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5" name="Freeform 421">
            <a:extLst>
              <a:ext uri="{FF2B5EF4-FFF2-40B4-BE49-F238E27FC236}">
                <a16:creationId xmlns:a16="http://schemas.microsoft.com/office/drawing/2014/main" id="{D54ED013-3C9E-EB4C-B3A9-F8D5CCEDA237}"/>
              </a:ext>
            </a:extLst>
          </p:cNvPr>
          <p:cNvSpPr>
            <a:spLocks/>
          </p:cNvSpPr>
          <p:nvPr/>
        </p:nvSpPr>
        <p:spPr bwMode="auto">
          <a:xfrm>
            <a:off x="9825720" y="3460801"/>
            <a:ext cx="26472" cy="24714"/>
          </a:xfrm>
          <a:custGeom>
            <a:avLst/>
            <a:gdLst>
              <a:gd name="T0" fmla="*/ 5 w 5"/>
              <a:gd name="T1" fmla="*/ 1 h 5"/>
              <a:gd name="T2" fmla="*/ 1 w 5"/>
              <a:gd name="T3" fmla="*/ 5 h 5"/>
              <a:gd name="T4" fmla="*/ 4 w 5"/>
              <a:gd name="T5" fmla="*/ 3 h 5"/>
              <a:gd name="T6" fmla="*/ 5 w 5"/>
              <a:gd name="T7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5">
                <a:moveTo>
                  <a:pt x="5" y="1"/>
                </a:moveTo>
                <a:cubicBezTo>
                  <a:pt x="5" y="1"/>
                  <a:pt x="0" y="5"/>
                  <a:pt x="1" y="5"/>
                </a:cubicBezTo>
                <a:cubicBezTo>
                  <a:pt x="2" y="5"/>
                  <a:pt x="4" y="3"/>
                  <a:pt x="4" y="3"/>
                </a:cubicBezTo>
                <a:cubicBezTo>
                  <a:pt x="5" y="2"/>
                  <a:pt x="5" y="0"/>
                  <a:pt x="5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6" name="Freeform 422">
            <a:extLst>
              <a:ext uri="{FF2B5EF4-FFF2-40B4-BE49-F238E27FC236}">
                <a16:creationId xmlns:a16="http://schemas.microsoft.com/office/drawing/2014/main" id="{B54964E6-7CA6-0C4D-B77E-90F3FB3565BB}"/>
              </a:ext>
            </a:extLst>
          </p:cNvPr>
          <p:cNvSpPr>
            <a:spLocks/>
          </p:cNvSpPr>
          <p:nvPr/>
        </p:nvSpPr>
        <p:spPr bwMode="auto">
          <a:xfrm>
            <a:off x="9809837" y="3501403"/>
            <a:ext cx="10589" cy="5296"/>
          </a:xfrm>
          <a:custGeom>
            <a:avLst/>
            <a:gdLst>
              <a:gd name="T0" fmla="*/ 1 w 2"/>
              <a:gd name="T1" fmla="*/ 0 h 1"/>
              <a:gd name="T2" fmla="*/ 1 w 2"/>
              <a:gd name="T3" fmla="*/ 1 h 1"/>
              <a:gd name="T4" fmla="*/ 1 w 2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1">
                <a:moveTo>
                  <a:pt x="1" y="0"/>
                </a:moveTo>
                <a:cubicBezTo>
                  <a:pt x="1" y="0"/>
                  <a:pt x="0" y="1"/>
                  <a:pt x="1" y="1"/>
                </a:cubicBezTo>
                <a:cubicBezTo>
                  <a:pt x="1" y="1"/>
                  <a:pt x="2" y="0"/>
                  <a:pt x="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7" name="Freeform 423">
            <a:extLst>
              <a:ext uri="{FF2B5EF4-FFF2-40B4-BE49-F238E27FC236}">
                <a16:creationId xmlns:a16="http://schemas.microsoft.com/office/drawing/2014/main" id="{DAD47A6A-5E21-4948-8709-B29984C55603}"/>
              </a:ext>
            </a:extLst>
          </p:cNvPr>
          <p:cNvSpPr>
            <a:spLocks/>
          </p:cNvSpPr>
          <p:nvPr/>
        </p:nvSpPr>
        <p:spPr bwMode="auto">
          <a:xfrm>
            <a:off x="9737479" y="3584372"/>
            <a:ext cx="15883" cy="5296"/>
          </a:xfrm>
          <a:custGeom>
            <a:avLst/>
            <a:gdLst>
              <a:gd name="T0" fmla="*/ 2 w 3"/>
              <a:gd name="T1" fmla="*/ 0 h 1"/>
              <a:gd name="T2" fmla="*/ 1 w 3"/>
              <a:gd name="T3" fmla="*/ 1 h 1"/>
              <a:gd name="T4" fmla="*/ 2 w 3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" h="1">
                <a:moveTo>
                  <a:pt x="2" y="0"/>
                </a:moveTo>
                <a:cubicBezTo>
                  <a:pt x="2" y="0"/>
                  <a:pt x="0" y="1"/>
                  <a:pt x="1" y="1"/>
                </a:cubicBezTo>
                <a:cubicBezTo>
                  <a:pt x="1" y="1"/>
                  <a:pt x="3" y="0"/>
                  <a:pt x="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8" name="Freeform 424">
            <a:extLst>
              <a:ext uri="{FF2B5EF4-FFF2-40B4-BE49-F238E27FC236}">
                <a16:creationId xmlns:a16="http://schemas.microsoft.com/office/drawing/2014/main" id="{F68EE728-1BCD-FF43-A277-AD63167D1C3B}"/>
              </a:ext>
            </a:extLst>
          </p:cNvPr>
          <p:cNvSpPr>
            <a:spLocks/>
          </p:cNvSpPr>
          <p:nvPr/>
        </p:nvSpPr>
        <p:spPr bwMode="auto">
          <a:xfrm>
            <a:off x="9675709" y="3610852"/>
            <a:ext cx="37062" cy="21184"/>
          </a:xfrm>
          <a:custGeom>
            <a:avLst/>
            <a:gdLst>
              <a:gd name="T0" fmla="*/ 6 w 7"/>
              <a:gd name="T1" fmla="*/ 0 h 4"/>
              <a:gd name="T2" fmla="*/ 1 w 7"/>
              <a:gd name="T3" fmla="*/ 3 h 4"/>
              <a:gd name="T4" fmla="*/ 6 w 7"/>
              <a:gd name="T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4">
                <a:moveTo>
                  <a:pt x="6" y="0"/>
                </a:moveTo>
                <a:cubicBezTo>
                  <a:pt x="5" y="0"/>
                  <a:pt x="0" y="2"/>
                  <a:pt x="1" y="3"/>
                </a:cubicBezTo>
                <a:cubicBezTo>
                  <a:pt x="2" y="4"/>
                  <a:pt x="7" y="0"/>
                  <a:pt x="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9" name="Freeform 425">
            <a:extLst>
              <a:ext uri="{FF2B5EF4-FFF2-40B4-BE49-F238E27FC236}">
                <a16:creationId xmlns:a16="http://schemas.microsoft.com/office/drawing/2014/main" id="{30751843-CDD8-1E41-8D12-9FE8E60734D2}"/>
              </a:ext>
            </a:extLst>
          </p:cNvPr>
          <p:cNvSpPr>
            <a:spLocks/>
          </p:cNvSpPr>
          <p:nvPr/>
        </p:nvSpPr>
        <p:spPr bwMode="auto">
          <a:xfrm>
            <a:off x="9635118" y="3632035"/>
            <a:ext cx="30002" cy="19419"/>
          </a:xfrm>
          <a:custGeom>
            <a:avLst/>
            <a:gdLst>
              <a:gd name="T0" fmla="*/ 5 w 6"/>
              <a:gd name="T1" fmla="*/ 0 h 4"/>
              <a:gd name="T2" fmla="*/ 1 w 6"/>
              <a:gd name="T3" fmla="*/ 3 h 4"/>
              <a:gd name="T4" fmla="*/ 5 w 6"/>
              <a:gd name="T5" fmla="*/ 0 h 4"/>
              <a:gd name="T6" fmla="*/ 5 w 6"/>
              <a:gd name="T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4">
                <a:moveTo>
                  <a:pt x="5" y="0"/>
                </a:moveTo>
                <a:cubicBezTo>
                  <a:pt x="5" y="0"/>
                  <a:pt x="0" y="2"/>
                  <a:pt x="1" y="3"/>
                </a:cubicBezTo>
                <a:cubicBezTo>
                  <a:pt x="2" y="4"/>
                  <a:pt x="5" y="0"/>
                  <a:pt x="5" y="0"/>
                </a:cubicBezTo>
                <a:cubicBezTo>
                  <a:pt x="5" y="0"/>
                  <a:pt x="6" y="0"/>
                  <a:pt x="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0" name="Freeform 426">
            <a:extLst>
              <a:ext uri="{FF2B5EF4-FFF2-40B4-BE49-F238E27FC236}">
                <a16:creationId xmlns:a16="http://schemas.microsoft.com/office/drawing/2014/main" id="{F8B0F5F6-F849-CF46-A9E7-DC3462C3F4C2}"/>
              </a:ext>
            </a:extLst>
          </p:cNvPr>
          <p:cNvSpPr>
            <a:spLocks/>
          </p:cNvSpPr>
          <p:nvPr/>
        </p:nvSpPr>
        <p:spPr bwMode="auto">
          <a:xfrm>
            <a:off x="9608645" y="3647923"/>
            <a:ext cx="26472" cy="24714"/>
          </a:xfrm>
          <a:custGeom>
            <a:avLst/>
            <a:gdLst>
              <a:gd name="T0" fmla="*/ 4 w 5"/>
              <a:gd name="T1" fmla="*/ 0 h 5"/>
              <a:gd name="T2" fmla="*/ 0 w 5"/>
              <a:gd name="T3" fmla="*/ 4 h 5"/>
              <a:gd name="T4" fmla="*/ 4 w 5"/>
              <a:gd name="T5" fmla="*/ 0 h 5"/>
              <a:gd name="T6" fmla="*/ 4 w 5"/>
              <a:gd name="T7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5">
                <a:moveTo>
                  <a:pt x="4" y="0"/>
                </a:moveTo>
                <a:cubicBezTo>
                  <a:pt x="4" y="0"/>
                  <a:pt x="0" y="4"/>
                  <a:pt x="0" y="4"/>
                </a:cubicBezTo>
                <a:cubicBezTo>
                  <a:pt x="2" y="5"/>
                  <a:pt x="4" y="0"/>
                  <a:pt x="4" y="0"/>
                </a:cubicBezTo>
                <a:cubicBezTo>
                  <a:pt x="4" y="0"/>
                  <a:pt x="5" y="0"/>
                  <a:pt x="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1" name="Freeform 427">
            <a:extLst>
              <a:ext uri="{FF2B5EF4-FFF2-40B4-BE49-F238E27FC236}">
                <a16:creationId xmlns:a16="http://schemas.microsoft.com/office/drawing/2014/main" id="{5D3B1192-9628-3C4A-AC56-500EE43366A1}"/>
              </a:ext>
            </a:extLst>
          </p:cNvPr>
          <p:cNvSpPr>
            <a:spLocks/>
          </p:cNvSpPr>
          <p:nvPr/>
        </p:nvSpPr>
        <p:spPr bwMode="auto">
          <a:xfrm>
            <a:off x="9603350" y="3683229"/>
            <a:ext cx="5294" cy="5296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1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0" y="1"/>
                  <a:pt x="1" y="1"/>
                </a:cubicBezTo>
                <a:cubicBezTo>
                  <a:pt x="1" y="1"/>
                  <a:pt x="1" y="0"/>
                  <a:pt x="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2" name="Freeform 428">
            <a:extLst>
              <a:ext uri="{FF2B5EF4-FFF2-40B4-BE49-F238E27FC236}">
                <a16:creationId xmlns:a16="http://schemas.microsoft.com/office/drawing/2014/main" id="{5A4B4EC7-A2F5-1340-9F0A-6F2FCC4F3D6F}"/>
              </a:ext>
            </a:extLst>
          </p:cNvPr>
          <p:cNvSpPr>
            <a:spLocks/>
          </p:cNvSpPr>
          <p:nvPr/>
        </p:nvSpPr>
        <p:spPr bwMode="auto">
          <a:xfrm>
            <a:off x="9576877" y="3662045"/>
            <a:ext cx="26472" cy="21184"/>
          </a:xfrm>
          <a:custGeom>
            <a:avLst/>
            <a:gdLst>
              <a:gd name="T0" fmla="*/ 4 w 5"/>
              <a:gd name="T1" fmla="*/ 1 h 4"/>
              <a:gd name="T2" fmla="*/ 0 w 5"/>
              <a:gd name="T3" fmla="*/ 4 h 4"/>
              <a:gd name="T4" fmla="*/ 4 w 5"/>
              <a:gd name="T5" fmla="*/ 1 h 4"/>
              <a:gd name="T6" fmla="*/ 4 w 5"/>
              <a:gd name="T7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4">
                <a:moveTo>
                  <a:pt x="4" y="1"/>
                </a:moveTo>
                <a:cubicBezTo>
                  <a:pt x="2" y="2"/>
                  <a:pt x="0" y="3"/>
                  <a:pt x="0" y="4"/>
                </a:cubicBezTo>
                <a:cubicBezTo>
                  <a:pt x="0" y="4"/>
                  <a:pt x="4" y="1"/>
                  <a:pt x="4" y="1"/>
                </a:cubicBezTo>
                <a:cubicBezTo>
                  <a:pt x="3" y="1"/>
                  <a:pt x="5" y="0"/>
                  <a:pt x="4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3" name="Freeform 429">
            <a:extLst>
              <a:ext uri="{FF2B5EF4-FFF2-40B4-BE49-F238E27FC236}">
                <a16:creationId xmlns:a16="http://schemas.microsoft.com/office/drawing/2014/main" id="{D5451E8C-0CCD-924F-9F83-C0ED3155036C}"/>
              </a:ext>
            </a:extLst>
          </p:cNvPr>
          <p:cNvSpPr>
            <a:spLocks/>
          </p:cNvSpPr>
          <p:nvPr/>
        </p:nvSpPr>
        <p:spPr bwMode="auto">
          <a:xfrm>
            <a:off x="9386273" y="3854464"/>
            <a:ext cx="10589" cy="15887"/>
          </a:xfrm>
          <a:custGeom>
            <a:avLst/>
            <a:gdLst>
              <a:gd name="T0" fmla="*/ 1 w 2"/>
              <a:gd name="T1" fmla="*/ 0 h 3"/>
              <a:gd name="T2" fmla="*/ 1 w 2"/>
              <a:gd name="T3" fmla="*/ 3 h 3"/>
              <a:gd name="T4" fmla="*/ 1 w 2"/>
              <a:gd name="T5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3">
                <a:moveTo>
                  <a:pt x="1" y="0"/>
                </a:moveTo>
                <a:cubicBezTo>
                  <a:pt x="1" y="0"/>
                  <a:pt x="0" y="3"/>
                  <a:pt x="1" y="3"/>
                </a:cubicBezTo>
                <a:cubicBezTo>
                  <a:pt x="2" y="3"/>
                  <a:pt x="2" y="0"/>
                  <a:pt x="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7809B22-F1EF-E848-BF9C-D5FFFACAD74E}"/>
              </a:ext>
            </a:extLst>
          </p:cNvPr>
          <p:cNvGrpSpPr/>
          <p:nvPr/>
        </p:nvGrpSpPr>
        <p:grpSpPr>
          <a:xfrm>
            <a:off x="9195672" y="3632035"/>
            <a:ext cx="386499" cy="367183"/>
            <a:chOff x="5961121" y="2686387"/>
            <a:chExt cx="288233" cy="273757"/>
          </a:xfrm>
          <a:solidFill>
            <a:schemeClr val="bg1">
              <a:lumMod val="85000"/>
            </a:schemeClr>
          </a:solidFill>
        </p:grpSpPr>
        <p:sp>
          <p:nvSpPr>
            <p:cNvPr id="35" name="Freeform 430">
              <a:extLst>
                <a:ext uri="{FF2B5EF4-FFF2-40B4-BE49-F238E27FC236}">
                  <a16:creationId xmlns:a16="http://schemas.microsoft.com/office/drawing/2014/main" id="{E1997EA6-21AC-CF4E-9A30-20288A99E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0902" y="2686387"/>
              <a:ext cx="118452" cy="100026"/>
            </a:xfrm>
            <a:custGeom>
              <a:avLst/>
              <a:gdLst>
                <a:gd name="T0" fmla="*/ 28 w 31"/>
                <a:gd name="T1" fmla="*/ 10 h 26"/>
                <a:gd name="T2" fmla="*/ 29 w 31"/>
                <a:gd name="T3" fmla="*/ 7 h 26"/>
                <a:gd name="T4" fmla="*/ 27 w 31"/>
                <a:gd name="T5" fmla="*/ 10 h 26"/>
                <a:gd name="T6" fmla="*/ 20 w 31"/>
                <a:gd name="T7" fmla="*/ 8 h 26"/>
                <a:gd name="T8" fmla="*/ 11 w 31"/>
                <a:gd name="T9" fmla="*/ 1 h 26"/>
                <a:gd name="T10" fmla="*/ 11 w 31"/>
                <a:gd name="T11" fmla="*/ 5 h 26"/>
                <a:gd name="T12" fmla="*/ 9 w 31"/>
                <a:gd name="T13" fmla="*/ 11 h 26"/>
                <a:gd name="T14" fmla="*/ 7 w 31"/>
                <a:gd name="T15" fmla="*/ 14 h 26"/>
                <a:gd name="T16" fmla="*/ 4 w 31"/>
                <a:gd name="T17" fmla="*/ 14 h 26"/>
                <a:gd name="T18" fmla="*/ 5 w 31"/>
                <a:gd name="T19" fmla="*/ 16 h 26"/>
                <a:gd name="T20" fmla="*/ 1 w 31"/>
                <a:gd name="T21" fmla="*/ 18 h 26"/>
                <a:gd name="T22" fmla="*/ 2 w 31"/>
                <a:gd name="T23" fmla="*/ 23 h 26"/>
                <a:gd name="T24" fmla="*/ 4 w 31"/>
                <a:gd name="T25" fmla="*/ 25 h 26"/>
                <a:gd name="T26" fmla="*/ 6 w 31"/>
                <a:gd name="T27" fmla="*/ 23 h 26"/>
                <a:gd name="T28" fmla="*/ 7 w 31"/>
                <a:gd name="T29" fmla="*/ 23 h 26"/>
                <a:gd name="T30" fmla="*/ 4 w 31"/>
                <a:gd name="T31" fmla="*/ 20 h 26"/>
                <a:gd name="T32" fmla="*/ 7 w 31"/>
                <a:gd name="T33" fmla="*/ 19 h 26"/>
                <a:gd name="T34" fmla="*/ 12 w 31"/>
                <a:gd name="T35" fmla="*/ 18 h 26"/>
                <a:gd name="T36" fmla="*/ 17 w 31"/>
                <a:gd name="T37" fmla="*/ 21 h 26"/>
                <a:gd name="T38" fmla="*/ 21 w 31"/>
                <a:gd name="T39" fmla="*/ 16 h 26"/>
                <a:gd name="T40" fmla="*/ 31 w 31"/>
                <a:gd name="T41" fmla="*/ 14 h 26"/>
                <a:gd name="T42" fmla="*/ 29 w 31"/>
                <a:gd name="T43" fmla="*/ 12 h 26"/>
                <a:gd name="T44" fmla="*/ 28 w 31"/>
                <a:gd name="T45" fmla="*/ 10 h 26"/>
                <a:gd name="T46" fmla="*/ 28 w 31"/>
                <a:gd name="T47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" h="26">
                  <a:moveTo>
                    <a:pt x="28" y="10"/>
                  </a:moveTo>
                  <a:cubicBezTo>
                    <a:pt x="28" y="10"/>
                    <a:pt x="29" y="8"/>
                    <a:pt x="29" y="7"/>
                  </a:cubicBezTo>
                  <a:cubicBezTo>
                    <a:pt x="29" y="8"/>
                    <a:pt x="27" y="10"/>
                    <a:pt x="27" y="10"/>
                  </a:cubicBezTo>
                  <a:cubicBezTo>
                    <a:pt x="25" y="10"/>
                    <a:pt x="21" y="9"/>
                    <a:pt x="20" y="8"/>
                  </a:cubicBezTo>
                  <a:cubicBezTo>
                    <a:pt x="17" y="7"/>
                    <a:pt x="15" y="2"/>
                    <a:pt x="11" y="1"/>
                  </a:cubicBezTo>
                  <a:cubicBezTo>
                    <a:pt x="9" y="0"/>
                    <a:pt x="10" y="4"/>
                    <a:pt x="11" y="5"/>
                  </a:cubicBezTo>
                  <a:cubicBezTo>
                    <a:pt x="11" y="7"/>
                    <a:pt x="10" y="9"/>
                    <a:pt x="9" y="11"/>
                  </a:cubicBezTo>
                  <a:cubicBezTo>
                    <a:pt x="8" y="12"/>
                    <a:pt x="10" y="15"/>
                    <a:pt x="7" y="14"/>
                  </a:cubicBezTo>
                  <a:cubicBezTo>
                    <a:pt x="7" y="14"/>
                    <a:pt x="5" y="13"/>
                    <a:pt x="4" y="14"/>
                  </a:cubicBezTo>
                  <a:cubicBezTo>
                    <a:pt x="4" y="15"/>
                    <a:pt x="5" y="16"/>
                    <a:pt x="5" y="16"/>
                  </a:cubicBezTo>
                  <a:cubicBezTo>
                    <a:pt x="5" y="16"/>
                    <a:pt x="2" y="18"/>
                    <a:pt x="1" y="18"/>
                  </a:cubicBezTo>
                  <a:cubicBezTo>
                    <a:pt x="0" y="20"/>
                    <a:pt x="3" y="21"/>
                    <a:pt x="2" y="23"/>
                  </a:cubicBezTo>
                  <a:cubicBezTo>
                    <a:pt x="1" y="24"/>
                    <a:pt x="3" y="26"/>
                    <a:pt x="4" y="25"/>
                  </a:cubicBezTo>
                  <a:cubicBezTo>
                    <a:pt x="5" y="24"/>
                    <a:pt x="5" y="23"/>
                    <a:pt x="6" y="23"/>
                  </a:cubicBezTo>
                  <a:cubicBezTo>
                    <a:pt x="6" y="23"/>
                    <a:pt x="7" y="24"/>
                    <a:pt x="7" y="23"/>
                  </a:cubicBezTo>
                  <a:cubicBezTo>
                    <a:pt x="7" y="22"/>
                    <a:pt x="5" y="21"/>
                    <a:pt x="4" y="20"/>
                  </a:cubicBezTo>
                  <a:cubicBezTo>
                    <a:pt x="3" y="18"/>
                    <a:pt x="7" y="19"/>
                    <a:pt x="7" y="19"/>
                  </a:cubicBezTo>
                  <a:cubicBezTo>
                    <a:pt x="9" y="19"/>
                    <a:pt x="10" y="17"/>
                    <a:pt x="12" y="18"/>
                  </a:cubicBezTo>
                  <a:cubicBezTo>
                    <a:pt x="14" y="19"/>
                    <a:pt x="15" y="20"/>
                    <a:pt x="17" y="21"/>
                  </a:cubicBezTo>
                  <a:cubicBezTo>
                    <a:pt x="20" y="23"/>
                    <a:pt x="19" y="17"/>
                    <a:pt x="21" y="16"/>
                  </a:cubicBezTo>
                  <a:cubicBezTo>
                    <a:pt x="21" y="16"/>
                    <a:pt x="31" y="16"/>
                    <a:pt x="31" y="14"/>
                  </a:cubicBezTo>
                  <a:cubicBezTo>
                    <a:pt x="30" y="13"/>
                    <a:pt x="27" y="15"/>
                    <a:pt x="29" y="12"/>
                  </a:cubicBezTo>
                  <a:cubicBezTo>
                    <a:pt x="30" y="11"/>
                    <a:pt x="27" y="12"/>
                    <a:pt x="28" y="10"/>
                  </a:cubicBezTo>
                  <a:cubicBezTo>
                    <a:pt x="29" y="7"/>
                    <a:pt x="28" y="11"/>
                    <a:pt x="28" y="1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  <p:sp>
          <p:nvSpPr>
            <p:cNvPr id="36" name="Freeform 431">
              <a:extLst>
                <a:ext uri="{FF2B5EF4-FFF2-40B4-BE49-F238E27FC236}">
                  <a16:creationId xmlns:a16="http://schemas.microsoft.com/office/drawing/2014/main" id="{9E2A90DC-25B4-2841-ADB8-3F7F00D53A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1121" y="2778517"/>
              <a:ext cx="215847" cy="181627"/>
            </a:xfrm>
            <a:custGeom>
              <a:avLst/>
              <a:gdLst>
                <a:gd name="T0" fmla="*/ 52 w 56"/>
                <a:gd name="T1" fmla="*/ 1 h 47"/>
                <a:gd name="T2" fmla="*/ 51 w 56"/>
                <a:gd name="T3" fmla="*/ 1 h 47"/>
                <a:gd name="T4" fmla="*/ 52 w 56"/>
                <a:gd name="T5" fmla="*/ 3 h 47"/>
                <a:gd name="T6" fmla="*/ 49 w 56"/>
                <a:gd name="T7" fmla="*/ 3 h 47"/>
                <a:gd name="T8" fmla="*/ 47 w 56"/>
                <a:gd name="T9" fmla="*/ 5 h 47"/>
                <a:gd name="T10" fmla="*/ 45 w 56"/>
                <a:gd name="T11" fmla="*/ 6 h 47"/>
                <a:gd name="T12" fmla="*/ 46 w 56"/>
                <a:gd name="T13" fmla="*/ 7 h 47"/>
                <a:gd name="T14" fmla="*/ 46 w 56"/>
                <a:gd name="T15" fmla="*/ 10 h 47"/>
                <a:gd name="T16" fmla="*/ 46 w 56"/>
                <a:gd name="T17" fmla="*/ 13 h 47"/>
                <a:gd name="T18" fmla="*/ 41 w 56"/>
                <a:gd name="T19" fmla="*/ 22 h 47"/>
                <a:gd name="T20" fmla="*/ 36 w 56"/>
                <a:gd name="T21" fmla="*/ 27 h 47"/>
                <a:gd name="T22" fmla="*/ 31 w 56"/>
                <a:gd name="T23" fmla="*/ 27 h 47"/>
                <a:gd name="T24" fmla="*/ 32 w 56"/>
                <a:gd name="T25" fmla="*/ 24 h 47"/>
                <a:gd name="T26" fmla="*/ 30 w 56"/>
                <a:gd name="T27" fmla="*/ 25 h 47"/>
                <a:gd name="T28" fmla="*/ 29 w 56"/>
                <a:gd name="T29" fmla="*/ 27 h 47"/>
                <a:gd name="T30" fmla="*/ 25 w 56"/>
                <a:gd name="T31" fmla="*/ 33 h 47"/>
                <a:gd name="T32" fmla="*/ 25 w 56"/>
                <a:gd name="T33" fmla="*/ 34 h 47"/>
                <a:gd name="T34" fmla="*/ 23 w 56"/>
                <a:gd name="T35" fmla="*/ 36 h 47"/>
                <a:gd name="T36" fmla="*/ 21 w 56"/>
                <a:gd name="T37" fmla="*/ 35 h 47"/>
                <a:gd name="T38" fmla="*/ 17 w 56"/>
                <a:gd name="T39" fmla="*/ 35 h 47"/>
                <a:gd name="T40" fmla="*/ 9 w 56"/>
                <a:gd name="T41" fmla="*/ 36 h 47"/>
                <a:gd name="T42" fmla="*/ 2 w 56"/>
                <a:gd name="T43" fmla="*/ 42 h 47"/>
                <a:gd name="T44" fmla="*/ 1 w 56"/>
                <a:gd name="T45" fmla="*/ 44 h 47"/>
                <a:gd name="T46" fmla="*/ 3 w 56"/>
                <a:gd name="T47" fmla="*/ 43 h 47"/>
                <a:gd name="T48" fmla="*/ 5 w 56"/>
                <a:gd name="T49" fmla="*/ 44 h 47"/>
                <a:gd name="T50" fmla="*/ 22 w 56"/>
                <a:gd name="T51" fmla="*/ 40 h 47"/>
                <a:gd name="T52" fmla="*/ 21 w 56"/>
                <a:gd name="T53" fmla="*/ 43 h 47"/>
                <a:gd name="T54" fmla="*/ 24 w 56"/>
                <a:gd name="T55" fmla="*/ 47 h 47"/>
                <a:gd name="T56" fmla="*/ 27 w 56"/>
                <a:gd name="T57" fmla="*/ 44 h 47"/>
                <a:gd name="T58" fmla="*/ 30 w 56"/>
                <a:gd name="T59" fmla="*/ 43 h 47"/>
                <a:gd name="T60" fmla="*/ 31 w 56"/>
                <a:gd name="T61" fmla="*/ 40 h 47"/>
                <a:gd name="T62" fmla="*/ 38 w 56"/>
                <a:gd name="T63" fmla="*/ 39 h 47"/>
                <a:gd name="T64" fmla="*/ 41 w 56"/>
                <a:gd name="T65" fmla="*/ 40 h 47"/>
                <a:gd name="T66" fmla="*/ 43 w 56"/>
                <a:gd name="T67" fmla="*/ 37 h 47"/>
                <a:gd name="T68" fmla="*/ 45 w 56"/>
                <a:gd name="T69" fmla="*/ 35 h 47"/>
                <a:gd name="T70" fmla="*/ 46 w 56"/>
                <a:gd name="T71" fmla="*/ 38 h 47"/>
                <a:gd name="T72" fmla="*/ 48 w 56"/>
                <a:gd name="T73" fmla="*/ 37 h 47"/>
                <a:gd name="T74" fmla="*/ 49 w 56"/>
                <a:gd name="T75" fmla="*/ 35 h 47"/>
                <a:gd name="T76" fmla="*/ 49 w 56"/>
                <a:gd name="T77" fmla="*/ 32 h 47"/>
                <a:gd name="T78" fmla="*/ 51 w 56"/>
                <a:gd name="T79" fmla="*/ 26 h 47"/>
                <a:gd name="T80" fmla="*/ 51 w 56"/>
                <a:gd name="T81" fmla="*/ 19 h 47"/>
                <a:gd name="T82" fmla="*/ 53 w 56"/>
                <a:gd name="T83" fmla="*/ 19 h 47"/>
                <a:gd name="T84" fmla="*/ 55 w 56"/>
                <a:gd name="T85" fmla="*/ 17 h 47"/>
                <a:gd name="T86" fmla="*/ 55 w 56"/>
                <a:gd name="T87" fmla="*/ 9 h 47"/>
                <a:gd name="T88" fmla="*/ 52 w 56"/>
                <a:gd name="T89" fmla="*/ 1 h 47"/>
                <a:gd name="T90" fmla="*/ 52 w 56"/>
                <a:gd name="T91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6" h="47">
                  <a:moveTo>
                    <a:pt x="52" y="1"/>
                  </a:moveTo>
                  <a:cubicBezTo>
                    <a:pt x="51" y="1"/>
                    <a:pt x="51" y="0"/>
                    <a:pt x="51" y="1"/>
                  </a:cubicBezTo>
                  <a:cubicBezTo>
                    <a:pt x="49" y="2"/>
                    <a:pt x="51" y="2"/>
                    <a:pt x="52" y="3"/>
                  </a:cubicBezTo>
                  <a:cubicBezTo>
                    <a:pt x="53" y="4"/>
                    <a:pt x="50" y="5"/>
                    <a:pt x="49" y="3"/>
                  </a:cubicBezTo>
                  <a:cubicBezTo>
                    <a:pt x="48" y="1"/>
                    <a:pt x="47" y="4"/>
                    <a:pt x="47" y="5"/>
                  </a:cubicBezTo>
                  <a:cubicBezTo>
                    <a:pt x="46" y="5"/>
                    <a:pt x="45" y="6"/>
                    <a:pt x="45" y="6"/>
                  </a:cubicBezTo>
                  <a:cubicBezTo>
                    <a:pt x="45" y="8"/>
                    <a:pt x="46" y="7"/>
                    <a:pt x="46" y="7"/>
                  </a:cubicBezTo>
                  <a:cubicBezTo>
                    <a:pt x="46" y="8"/>
                    <a:pt x="46" y="9"/>
                    <a:pt x="46" y="10"/>
                  </a:cubicBezTo>
                  <a:cubicBezTo>
                    <a:pt x="46" y="11"/>
                    <a:pt x="47" y="11"/>
                    <a:pt x="46" y="13"/>
                  </a:cubicBezTo>
                  <a:cubicBezTo>
                    <a:pt x="44" y="16"/>
                    <a:pt x="43" y="19"/>
                    <a:pt x="41" y="22"/>
                  </a:cubicBezTo>
                  <a:cubicBezTo>
                    <a:pt x="40" y="23"/>
                    <a:pt x="37" y="27"/>
                    <a:pt x="36" y="27"/>
                  </a:cubicBezTo>
                  <a:cubicBezTo>
                    <a:pt x="34" y="27"/>
                    <a:pt x="32" y="28"/>
                    <a:pt x="31" y="27"/>
                  </a:cubicBezTo>
                  <a:cubicBezTo>
                    <a:pt x="30" y="26"/>
                    <a:pt x="32" y="25"/>
                    <a:pt x="32" y="24"/>
                  </a:cubicBezTo>
                  <a:cubicBezTo>
                    <a:pt x="33" y="23"/>
                    <a:pt x="30" y="25"/>
                    <a:pt x="30" y="25"/>
                  </a:cubicBezTo>
                  <a:cubicBezTo>
                    <a:pt x="29" y="26"/>
                    <a:pt x="29" y="26"/>
                    <a:pt x="29" y="27"/>
                  </a:cubicBezTo>
                  <a:cubicBezTo>
                    <a:pt x="29" y="30"/>
                    <a:pt x="26" y="31"/>
                    <a:pt x="25" y="33"/>
                  </a:cubicBezTo>
                  <a:cubicBezTo>
                    <a:pt x="25" y="33"/>
                    <a:pt x="25" y="34"/>
                    <a:pt x="25" y="34"/>
                  </a:cubicBezTo>
                  <a:cubicBezTo>
                    <a:pt x="25" y="35"/>
                    <a:pt x="23" y="36"/>
                    <a:pt x="23" y="36"/>
                  </a:cubicBezTo>
                  <a:cubicBezTo>
                    <a:pt x="22" y="36"/>
                    <a:pt x="23" y="35"/>
                    <a:pt x="21" y="35"/>
                  </a:cubicBezTo>
                  <a:cubicBezTo>
                    <a:pt x="20" y="35"/>
                    <a:pt x="19" y="35"/>
                    <a:pt x="17" y="35"/>
                  </a:cubicBezTo>
                  <a:cubicBezTo>
                    <a:pt x="14" y="36"/>
                    <a:pt x="12" y="35"/>
                    <a:pt x="9" y="36"/>
                  </a:cubicBezTo>
                  <a:cubicBezTo>
                    <a:pt x="7" y="38"/>
                    <a:pt x="4" y="40"/>
                    <a:pt x="2" y="42"/>
                  </a:cubicBezTo>
                  <a:cubicBezTo>
                    <a:pt x="0" y="42"/>
                    <a:pt x="0" y="45"/>
                    <a:pt x="1" y="44"/>
                  </a:cubicBezTo>
                  <a:cubicBezTo>
                    <a:pt x="2" y="44"/>
                    <a:pt x="2" y="43"/>
                    <a:pt x="3" y="43"/>
                  </a:cubicBezTo>
                  <a:cubicBezTo>
                    <a:pt x="4" y="44"/>
                    <a:pt x="5" y="45"/>
                    <a:pt x="5" y="44"/>
                  </a:cubicBezTo>
                  <a:cubicBezTo>
                    <a:pt x="10" y="43"/>
                    <a:pt x="17" y="39"/>
                    <a:pt x="22" y="40"/>
                  </a:cubicBezTo>
                  <a:cubicBezTo>
                    <a:pt x="23" y="41"/>
                    <a:pt x="21" y="43"/>
                    <a:pt x="21" y="43"/>
                  </a:cubicBezTo>
                  <a:cubicBezTo>
                    <a:pt x="22" y="44"/>
                    <a:pt x="23" y="47"/>
                    <a:pt x="24" y="47"/>
                  </a:cubicBezTo>
                  <a:cubicBezTo>
                    <a:pt x="25" y="46"/>
                    <a:pt x="26" y="45"/>
                    <a:pt x="27" y="44"/>
                  </a:cubicBezTo>
                  <a:cubicBezTo>
                    <a:pt x="28" y="42"/>
                    <a:pt x="28" y="43"/>
                    <a:pt x="30" y="43"/>
                  </a:cubicBezTo>
                  <a:cubicBezTo>
                    <a:pt x="29" y="43"/>
                    <a:pt x="28" y="35"/>
                    <a:pt x="31" y="40"/>
                  </a:cubicBezTo>
                  <a:cubicBezTo>
                    <a:pt x="32" y="42"/>
                    <a:pt x="37" y="40"/>
                    <a:pt x="38" y="39"/>
                  </a:cubicBezTo>
                  <a:cubicBezTo>
                    <a:pt x="40" y="36"/>
                    <a:pt x="40" y="42"/>
                    <a:pt x="41" y="40"/>
                  </a:cubicBezTo>
                  <a:cubicBezTo>
                    <a:pt x="41" y="39"/>
                    <a:pt x="42" y="37"/>
                    <a:pt x="43" y="37"/>
                  </a:cubicBezTo>
                  <a:cubicBezTo>
                    <a:pt x="44" y="36"/>
                    <a:pt x="44" y="37"/>
                    <a:pt x="45" y="35"/>
                  </a:cubicBezTo>
                  <a:cubicBezTo>
                    <a:pt x="45" y="35"/>
                    <a:pt x="45" y="39"/>
                    <a:pt x="46" y="38"/>
                  </a:cubicBezTo>
                  <a:cubicBezTo>
                    <a:pt x="46" y="38"/>
                    <a:pt x="47" y="38"/>
                    <a:pt x="48" y="37"/>
                  </a:cubicBezTo>
                  <a:cubicBezTo>
                    <a:pt x="49" y="37"/>
                    <a:pt x="48" y="36"/>
                    <a:pt x="49" y="35"/>
                  </a:cubicBezTo>
                  <a:cubicBezTo>
                    <a:pt x="51" y="34"/>
                    <a:pt x="51" y="34"/>
                    <a:pt x="49" y="32"/>
                  </a:cubicBezTo>
                  <a:cubicBezTo>
                    <a:pt x="48" y="31"/>
                    <a:pt x="51" y="28"/>
                    <a:pt x="51" y="26"/>
                  </a:cubicBezTo>
                  <a:cubicBezTo>
                    <a:pt x="52" y="24"/>
                    <a:pt x="50" y="21"/>
                    <a:pt x="51" y="19"/>
                  </a:cubicBezTo>
                  <a:cubicBezTo>
                    <a:pt x="52" y="18"/>
                    <a:pt x="52" y="19"/>
                    <a:pt x="53" y="19"/>
                  </a:cubicBezTo>
                  <a:cubicBezTo>
                    <a:pt x="54" y="19"/>
                    <a:pt x="55" y="17"/>
                    <a:pt x="55" y="17"/>
                  </a:cubicBezTo>
                  <a:cubicBezTo>
                    <a:pt x="56" y="14"/>
                    <a:pt x="56" y="11"/>
                    <a:pt x="55" y="9"/>
                  </a:cubicBezTo>
                  <a:cubicBezTo>
                    <a:pt x="55" y="8"/>
                    <a:pt x="52" y="1"/>
                    <a:pt x="52" y="1"/>
                  </a:cubicBezTo>
                  <a:cubicBezTo>
                    <a:pt x="52" y="1"/>
                    <a:pt x="52" y="1"/>
                    <a:pt x="52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Corbel" panose="020B0503020204020204" pitchFamily="34" charset="0"/>
              </a:endParaRPr>
            </a:p>
          </p:txBody>
        </p:sp>
      </p:grpSp>
      <p:sp>
        <p:nvSpPr>
          <p:cNvPr id="37" name="Freeform 432">
            <a:extLst>
              <a:ext uri="{FF2B5EF4-FFF2-40B4-BE49-F238E27FC236}">
                <a16:creationId xmlns:a16="http://schemas.microsoft.com/office/drawing/2014/main" id="{33A03F22-F5C1-8549-8925-6BBB61987021}"/>
              </a:ext>
            </a:extLst>
          </p:cNvPr>
          <p:cNvSpPr>
            <a:spLocks/>
          </p:cNvSpPr>
          <p:nvPr/>
        </p:nvSpPr>
        <p:spPr bwMode="auto">
          <a:xfrm>
            <a:off x="9292736" y="3969208"/>
            <a:ext cx="10589" cy="14122"/>
          </a:xfrm>
          <a:custGeom>
            <a:avLst/>
            <a:gdLst>
              <a:gd name="T0" fmla="*/ 2 w 2"/>
              <a:gd name="T1" fmla="*/ 0 h 3"/>
              <a:gd name="T2" fmla="*/ 0 w 2"/>
              <a:gd name="T3" fmla="*/ 1 h 3"/>
              <a:gd name="T4" fmla="*/ 2 w 2"/>
              <a:gd name="T5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3">
                <a:moveTo>
                  <a:pt x="2" y="0"/>
                </a:moveTo>
                <a:cubicBezTo>
                  <a:pt x="2" y="0"/>
                  <a:pt x="0" y="1"/>
                  <a:pt x="0" y="1"/>
                </a:cubicBezTo>
                <a:cubicBezTo>
                  <a:pt x="1" y="3"/>
                  <a:pt x="2" y="1"/>
                  <a:pt x="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8" name="Freeform 433">
            <a:extLst>
              <a:ext uri="{FF2B5EF4-FFF2-40B4-BE49-F238E27FC236}">
                <a16:creationId xmlns:a16="http://schemas.microsoft.com/office/drawing/2014/main" id="{853DC057-DFA9-8A4A-B88D-213A1F3D614D}"/>
              </a:ext>
            </a:extLst>
          </p:cNvPr>
          <p:cNvSpPr>
            <a:spLocks/>
          </p:cNvSpPr>
          <p:nvPr/>
        </p:nvSpPr>
        <p:spPr bwMode="auto">
          <a:xfrm>
            <a:off x="9230967" y="3969208"/>
            <a:ext cx="67063" cy="51193"/>
          </a:xfrm>
          <a:custGeom>
            <a:avLst/>
            <a:gdLst>
              <a:gd name="T0" fmla="*/ 11 w 13"/>
              <a:gd name="T1" fmla="*/ 2 h 10"/>
              <a:gd name="T2" fmla="*/ 7 w 13"/>
              <a:gd name="T3" fmla="*/ 2 h 10"/>
              <a:gd name="T4" fmla="*/ 5 w 13"/>
              <a:gd name="T5" fmla="*/ 3 h 10"/>
              <a:gd name="T6" fmla="*/ 3 w 13"/>
              <a:gd name="T7" fmla="*/ 4 h 10"/>
              <a:gd name="T8" fmla="*/ 0 w 13"/>
              <a:gd name="T9" fmla="*/ 6 h 10"/>
              <a:gd name="T10" fmla="*/ 3 w 13"/>
              <a:gd name="T11" fmla="*/ 9 h 10"/>
              <a:gd name="T12" fmla="*/ 6 w 13"/>
              <a:gd name="T13" fmla="*/ 6 h 10"/>
              <a:gd name="T14" fmla="*/ 10 w 13"/>
              <a:gd name="T15" fmla="*/ 6 h 10"/>
              <a:gd name="T16" fmla="*/ 11 w 13"/>
              <a:gd name="T17" fmla="*/ 2 h 10"/>
              <a:gd name="T18" fmla="*/ 11 w 13"/>
              <a:gd name="T19" fmla="*/ 2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" h="10">
                <a:moveTo>
                  <a:pt x="11" y="2"/>
                </a:moveTo>
                <a:cubicBezTo>
                  <a:pt x="9" y="2"/>
                  <a:pt x="9" y="0"/>
                  <a:pt x="7" y="2"/>
                </a:cubicBezTo>
                <a:cubicBezTo>
                  <a:pt x="6" y="2"/>
                  <a:pt x="5" y="4"/>
                  <a:pt x="5" y="3"/>
                </a:cubicBezTo>
                <a:cubicBezTo>
                  <a:pt x="4" y="2"/>
                  <a:pt x="3" y="4"/>
                  <a:pt x="3" y="4"/>
                </a:cubicBezTo>
                <a:cubicBezTo>
                  <a:pt x="2" y="6"/>
                  <a:pt x="1" y="5"/>
                  <a:pt x="0" y="6"/>
                </a:cubicBezTo>
                <a:cubicBezTo>
                  <a:pt x="0" y="5"/>
                  <a:pt x="2" y="9"/>
                  <a:pt x="3" y="9"/>
                </a:cubicBezTo>
                <a:cubicBezTo>
                  <a:pt x="3" y="10"/>
                  <a:pt x="5" y="6"/>
                  <a:pt x="6" y="6"/>
                </a:cubicBezTo>
                <a:cubicBezTo>
                  <a:pt x="7" y="6"/>
                  <a:pt x="9" y="7"/>
                  <a:pt x="10" y="6"/>
                </a:cubicBezTo>
                <a:cubicBezTo>
                  <a:pt x="11" y="6"/>
                  <a:pt x="13" y="3"/>
                  <a:pt x="11" y="2"/>
                </a:cubicBezTo>
                <a:cubicBezTo>
                  <a:pt x="10" y="2"/>
                  <a:pt x="11" y="2"/>
                  <a:pt x="11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9" name="Freeform 434">
            <a:extLst>
              <a:ext uri="{FF2B5EF4-FFF2-40B4-BE49-F238E27FC236}">
                <a16:creationId xmlns:a16="http://schemas.microsoft.com/office/drawing/2014/main" id="{D26ABF71-A9D1-8546-AC44-CB39AB3F8F81}"/>
              </a:ext>
            </a:extLst>
          </p:cNvPr>
          <p:cNvSpPr>
            <a:spLocks/>
          </p:cNvSpPr>
          <p:nvPr/>
        </p:nvSpPr>
        <p:spPr bwMode="auto">
          <a:xfrm>
            <a:off x="9163903" y="3988627"/>
            <a:ext cx="56474" cy="82970"/>
          </a:xfrm>
          <a:custGeom>
            <a:avLst/>
            <a:gdLst>
              <a:gd name="T0" fmla="*/ 7 w 11"/>
              <a:gd name="T1" fmla="*/ 0 h 16"/>
              <a:gd name="T2" fmla="*/ 2 w 11"/>
              <a:gd name="T3" fmla="*/ 2 h 16"/>
              <a:gd name="T4" fmla="*/ 0 w 11"/>
              <a:gd name="T5" fmla="*/ 6 h 16"/>
              <a:gd name="T6" fmla="*/ 2 w 11"/>
              <a:gd name="T7" fmla="*/ 6 h 16"/>
              <a:gd name="T8" fmla="*/ 3 w 11"/>
              <a:gd name="T9" fmla="*/ 4 h 16"/>
              <a:gd name="T10" fmla="*/ 4 w 11"/>
              <a:gd name="T11" fmla="*/ 5 h 16"/>
              <a:gd name="T12" fmla="*/ 3 w 11"/>
              <a:gd name="T13" fmla="*/ 10 h 16"/>
              <a:gd name="T14" fmla="*/ 3 w 11"/>
              <a:gd name="T15" fmla="*/ 11 h 16"/>
              <a:gd name="T16" fmla="*/ 3 w 11"/>
              <a:gd name="T17" fmla="*/ 13 h 16"/>
              <a:gd name="T18" fmla="*/ 5 w 11"/>
              <a:gd name="T19" fmla="*/ 12 h 16"/>
              <a:gd name="T20" fmla="*/ 6 w 11"/>
              <a:gd name="T21" fmla="*/ 15 h 16"/>
              <a:gd name="T22" fmla="*/ 8 w 11"/>
              <a:gd name="T23" fmla="*/ 12 h 16"/>
              <a:gd name="T24" fmla="*/ 11 w 11"/>
              <a:gd name="T25" fmla="*/ 7 h 16"/>
              <a:gd name="T26" fmla="*/ 10 w 11"/>
              <a:gd name="T27" fmla="*/ 2 h 16"/>
              <a:gd name="T28" fmla="*/ 7 w 11"/>
              <a:gd name="T29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1" h="16">
                <a:moveTo>
                  <a:pt x="7" y="0"/>
                </a:moveTo>
                <a:cubicBezTo>
                  <a:pt x="5" y="0"/>
                  <a:pt x="3" y="1"/>
                  <a:pt x="2" y="2"/>
                </a:cubicBezTo>
                <a:cubicBezTo>
                  <a:pt x="0" y="3"/>
                  <a:pt x="0" y="4"/>
                  <a:pt x="0" y="6"/>
                </a:cubicBezTo>
                <a:cubicBezTo>
                  <a:pt x="0" y="5"/>
                  <a:pt x="3" y="5"/>
                  <a:pt x="2" y="6"/>
                </a:cubicBezTo>
                <a:cubicBezTo>
                  <a:pt x="3" y="5"/>
                  <a:pt x="2" y="4"/>
                  <a:pt x="3" y="4"/>
                </a:cubicBezTo>
                <a:cubicBezTo>
                  <a:pt x="3" y="4"/>
                  <a:pt x="4" y="4"/>
                  <a:pt x="4" y="5"/>
                </a:cubicBezTo>
                <a:cubicBezTo>
                  <a:pt x="4" y="7"/>
                  <a:pt x="4" y="8"/>
                  <a:pt x="3" y="10"/>
                </a:cubicBezTo>
                <a:cubicBezTo>
                  <a:pt x="2" y="11"/>
                  <a:pt x="3" y="11"/>
                  <a:pt x="3" y="11"/>
                </a:cubicBezTo>
                <a:cubicBezTo>
                  <a:pt x="3" y="12"/>
                  <a:pt x="3" y="13"/>
                  <a:pt x="3" y="13"/>
                </a:cubicBezTo>
                <a:cubicBezTo>
                  <a:pt x="3" y="16"/>
                  <a:pt x="5" y="12"/>
                  <a:pt x="5" y="12"/>
                </a:cubicBezTo>
                <a:cubicBezTo>
                  <a:pt x="5" y="12"/>
                  <a:pt x="5" y="15"/>
                  <a:pt x="6" y="15"/>
                </a:cubicBezTo>
                <a:cubicBezTo>
                  <a:pt x="6" y="16"/>
                  <a:pt x="8" y="13"/>
                  <a:pt x="8" y="12"/>
                </a:cubicBezTo>
                <a:cubicBezTo>
                  <a:pt x="10" y="10"/>
                  <a:pt x="10" y="8"/>
                  <a:pt x="11" y="7"/>
                </a:cubicBezTo>
                <a:cubicBezTo>
                  <a:pt x="11" y="5"/>
                  <a:pt x="10" y="4"/>
                  <a:pt x="10" y="2"/>
                </a:cubicBezTo>
                <a:cubicBezTo>
                  <a:pt x="10" y="0"/>
                  <a:pt x="7" y="2"/>
                  <a:pt x="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40" name="Freeform 435">
            <a:extLst>
              <a:ext uri="{FF2B5EF4-FFF2-40B4-BE49-F238E27FC236}">
                <a16:creationId xmlns:a16="http://schemas.microsoft.com/office/drawing/2014/main" id="{A660342C-DE36-CE4E-A2B1-0DA49D7929FE}"/>
              </a:ext>
            </a:extLst>
          </p:cNvPr>
          <p:cNvSpPr>
            <a:spLocks/>
          </p:cNvSpPr>
          <p:nvPr/>
        </p:nvSpPr>
        <p:spPr bwMode="auto">
          <a:xfrm>
            <a:off x="9107429" y="4191639"/>
            <a:ext cx="19414" cy="15887"/>
          </a:xfrm>
          <a:custGeom>
            <a:avLst/>
            <a:gdLst>
              <a:gd name="T0" fmla="*/ 4 w 4"/>
              <a:gd name="T1" fmla="*/ 0 h 3"/>
              <a:gd name="T2" fmla="*/ 1 w 4"/>
              <a:gd name="T3" fmla="*/ 3 h 3"/>
              <a:gd name="T4" fmla="*/ 4 w 4"/>
              <a:gd name="T5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" h="3">
                <a:moveTo>
                  <a:pt x="4" y="0"/>
                </a:moveTo>
                <a:cubicBezTo>
                  <a:pt x="3" y="0"/>
                  <a:pt x="0" y="1"/>
                  <a:pt x="1" y="3"/>
                </a:cubicBezTo>
                <a:cubicBezTo>
                  <a:pt x="1" y="3"/>
                  <a:pt x="4" y="0"/>
                  <a:pt x="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41" name="Freeform 436">
            <a:extLst>
              <a:ext uri="{FF2B5EF4-FFF2-40B4-BE49-F238E27FC236}">
                <a16:creationId xmlns:a16="http://schemas.microsoft.com/office/drawing/2014/main" id="{2B9F4B31-7AEB-3F40-BBE8-A23AA415A7A1}"/>
              </a:ext>
            </a:extLst>
          </p:cNvPr>
          <p:cNvSpPr>
            <a:spLocks/>
          </p:cNvSpPr>
          <p:nvPr/>
        </p:nvSpPr>
        <p:spPr bwMode="auto">
          <a:xfrm>
            <a:off x="9153314" y="4140444"/>
            <a:ext cx="10589" cy="8827"/>
          </a:xfrm>
          <a:custGeom>
            <a:avLst/>
            <a:gdLst>
              <a:gd name="T0" fmla="*/ 2 w 2"/>
              <a:gd name="T1" fmla="*/ 0 h 2"/>
              <a:gd name="T2" fmla="*/ 0 w 2"/>
              <a:gd name="T3" fmla="*/ 1 h 2"/>
              <a:gd name="T4" fmla="*/ 2 w 2"/>
              <a:gd name="T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2">
                <a:moveTo>
                  <a:pt x="2" y="0"/>
                </a:moveTo>
                <a:cubicBezTo>
                  <a:pt x="1" y="0"/>
                  <a:pt x="0" y="1"/>
                  <a:pt x="0" y="1"/>
                </a:cubicBezTo>
                <a:cubicBezTo>
                  <a:pt x="0" y="2"/>
                  <a:pt x="2" y="0"/>
                  <a:pt x="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42" name="Freeform 437">
            <a:extLst>
              <a:ext uri="{FF2B5EF4-FFF2-40B4-BE49-F238E27FC236}">
                <a16:creationId xmlns:a16="http://schemas.microsoft.com/office/drawing/2014/main" id="{F2448E08-3576-B34C-B876-3AE2391EEC9F}"/>
              </a:ext>
            </a:extLst>
          </p:cNvPr>
          <p:cNvSpPr>
            <a:spLocks/>
          </p:cNvSpPr>
          <p:nvPr/>
        </p:nvSpPr>
        <p:spPr bwMode="auto">
          <a:xfrm>
            <a:off x="9013891" y="4248128"/>
            <a:ext cx="10589" cy="5296"/>
          </a:xfrm>
          <a:custGeom>
            <a:avLst/>
            <a:gdLst>
              <a:gd name="T0" fmla="*/ 2 w 2"/>
              <a:gd name="T1" fmla="*/ 0 h 1"/>
              <a:gd name="T2" fmla="*/ 1 w 2"/>
              <a:gd name="T3" fmla="*/ 1 h 1"/>
              <a:gd name="T4" fmla="*/ 2 w 2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1">
                <a:moveTo>
                  <a:pt x="2" y="0"/>
                </a:moveTo>
                <a:cubicBezTo>
                  <a:pt x="1" y="0"/>
                  <a:pt x="0" y="1"/>
                  <a:pt x="1" y="1"/>
                </a:cubicBezTo>
                <a:cubicBezTo>
                  <a:pt x="2" y="1"/>
                  <a:pt x="2" y="0"/>
                  <a:pt x="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43" name="Freeform 438">
            <a:extLst>
              <a:ext uri="{FF2B5EF4-FFF2-40B4-BE49-F238E27FC236}">
                <a16:creationId xmlns:a16="http://schemas.microsoft.com/office/drawing/2014/main" id="{5BE1C8A0-9E20-2246-8EF6-49C5DFD2CA49}"/>
              </a:ext>
            </a:extLst>
          </p:cNvPr>
          <p:cNvSpPr>
            <a:spLocks/>
          </p:cNvSpPr>
          <p:nvPr/>
        </p:nvSpPr>
        <p:spPr bwMode="auto">
          <a:xfrm>
            <a:off x="8915061" y="4228709"/>
            <a:ext cx="61770" cy="86500"/>
          </a:xfrm>
          <a:custGeom>
            <a:avLst/>
            <a:gdLst>
              <a:gd name="T0" fmla="*/ 8 w 12"/>
              <a:gd name="T1" fmla="*/ 1 h 17"/>
              <a:gd name="T2" fmla="*/ 0 w 12"/>
              <a:gd name="T3" fmla="*/ 8 h 17"/>
              <a:gd name="T4" fmla="*/ 1 w 12"/>
              <a:gd name="T5" fmla="*/ 14 h 17"/>
              <a:gd name="T6" fmla="*/ 3 w 12"/>
              <a:gd name="T7" fmla="*/ 17 h 17"/>
              <a:gd name="T8" fmla="*/ 8 w 12"/>
              <a:gd name="T9" fmla="*/ 1 h 17"/>
              <a:gd name="T10" fmla="*/ 8 w 12"/>
              <a:gd name="T11" fmla="*/ 1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" h="17">
                <a:moveTo>
                  <a:pt x="8" y="1"/>
                </a:moveTo>
                <a:cubicBezTo>
                  <a:pt x="5" y="0"/>
                  <a:pt x="1" y="6"/>
                  <a:pt x="0" y="8"/>
                </a:cubicBezTo>
                <a:cubicBezTo>
                  <a:pt x="0" y="10"/>
                  <a:pt x="0" y="12"/>
                  <a:pt x="1" y="14"/>
                </a:cubicBezTo>
                <a:cubicBezTo>
                  <a:pt x="1" y="14"/>
                  <a:pt x="3" y="17"/>
                  <a:pt x="3" y="17"/>
                </a:cubicBezTo>
                <a:cubicBezTo>
                  <a:pt x="4" y="15"/>
                  <a:pt x="12" y="2"/>
                  <a:pt x="8" y="1"/>
                </a:cubicBezTo>
                <a:cubicBezTo>
                  <a:pt x="7" y="1"/>
                  <a:pt x="9" y="1"/>
                  <a:pt x="8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44" name="Freeform 439">
            <a:extLst>
              <a:ext uri="{FF2B5EF4-FFF2-40B4-BE49-F238E27FC236}">
                <a16:creationId xmlns:a16="http://schemas.microsoft.com/office/drawing/2014/main" id="{7B38C319-C9AB-6D47-88E7-1FE08DBCFF7C}"/>
              </a:ext>
            </a:extLst>
          </p:cNvPr>
          <p:cNvSpPr>
            <a:spLocks/>
          </p:cNvSpPr>
          <p:nvPr/>
        </p:nvSpPr>
        <p:spPr bwMode="auto">
          <a:xfrm>
            <a:off x="8609742" y="4373464"/>
            <a:ext cx="72359" cy="51193"/>
          </a:xfrm>
          <a:custGeom>
            <a:avLst/>
            <a:gdLst>
              <a:gd name="T0" fmla="*/ 13 w 14"/>
              <a:gd name="T1" fmla="*/ 1 h 10"/>
              <a:gd name="T2" fmla="*/ 9 w 14"/>
              <a:gd name="T3" fmla="*/ 0 h 10"/>
              <a:gd name="T4" fmla="*/ 4 w 14"/>
              <a:gd name="T5" fmla="*/ 2 h 10"/>
              <a:gd name="T6" fmla="*/ 4 w 14"/>
              <a:gd name="T7" fmla="*/ 9 h 10"/>
              <a:gd name="T8" fmla="*/ 11 w 14"/>
              <a:gd name="T9" fmla="*/ 6 h 10"/>
              <a:gd name="T10" fmla="*/ 13 w 14"/>
              <a:gd name="T11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" h="10">
                <a:moveTo>
                  <a:pt x="13" y="1"/>
                </a:moveTo>
                <a:cubicBezTo>
                  <a:pt x="12" y="1"/>
                  <a:pt x="11" y="0"/>
                  <a:pt x="9" y="0"/>
                </a:cubicBezTo>
                <a:cubicBezTo>
                  <a:pt x="7" y="0"/>
                  <a:pt x="6" y="1"/>
                  <a:pt x="4" y="2"/>
                </a:cubicBezTo>
                <a:cubicBezTo>
                  <a:pt x="2" y="4"/>
                  <a:pt x="0" y="7"/>
                  <a:pt x="4" y="9"/>
                </a:cubicBezTo>
                <a:cubicBezTo>
                  <a:pt x="6" y="10"/>
                  <a:pt x="10" y="8"/>
                  <a:pt x="11" y="6"/>
                </a:cubicBezTo>
                <a:cubicBezTo>
                  <a:pt x="11" y="5"/>
                  <a:pt x="14" y="1"/>
                  <a:pt x="13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45" name="Freeform 440">
            <a:extLst>
              <a:ext uri="{FF2B5EF4-FFF2-40B4-BE49-F238E27FC236}">
                <a16:creationId xmlns:a16="http://schemas.microsoft.com/office/drawing/2014/main" id="{B85DF619-68C6-0744-AFEB-8916C0FD030E}"/>
              </a:ext>
            </a:extLst>
          </p:cNvPr>
          <p:cNvSpPr>
            <a:spLocks/>
          </p:cNvSpPr>
          <p:nvPr/>
        </p:nvSpPr>
        <p:spPr bwMode="auto">
          <a:xfrm>
            <a:off x="8904472" y="4408770"/>
            <a:ext cx="104125" cy="146520"/>
          </a:xfrm>
          <a:custGeom>
            <a:avLst/>
            <a:gdLst>
              <a:gd name="T0" fmla="*/ 12 w 20"/>
              <a:gd name="T1" fmla="*/ 2 h 28"/>
              <a:gd name="T2" fmla="*/ 9 w 20"/>
              <a:gd name="T3" fmla="*/ 2 h 28"/>
              <a:gd name="T4" fmla="*/ 4 w 20"/>
              <a:gd name="T5" fmla="*/ 3 h 28"/>
              <a:gd name="T6" fmla="*/ 3 w 20"/>
              <a:gd name="T7" fmla="*/ 11 h 28"/>
              <a:gd name="T8" fmla="*/ 3 w 20"/>
              <a:gd name="T9" fmla="*/ 13 h 28"/>
              <a:gd name="T10" fmla="*/ 0 w 20"/>
              <a:gd name="T11" fmla="*/ 13 h 28"/>
              <a:gd name="T12" fmla="*/ 3 w 20"/>
              <a:gd name="T13" fmla="*/ 22 h 28"/>
              <a:gd name="T14" fmla="*/ 5 w 20"/>
              <a:gd name="T15" fmla="*/ 20 h 28"/>
              <a:gd name="T16" fmla="*/ 7 w 20"/>
              <a:gd name="T17" fmla="*/ 22 h 28"/>
              <a:gd name="T18" fmla="*/ 4 w 20"/>
              <a:gd name="T19" fmla="*/ 23 h 28"/>
              <a:gd name="T20" fmla="*/ 8 w 20"/>
              <a:gd name="T21" fmla="*/ 26 h 28"/>
              <a:gd name="T22" fmla="*/ 11 w 20"/>
              <a:gd name="T23" fmla="*/ 25 h 28"/>
              <a:gd name="T24" fmla="*/ 15 w 20"/>
              <a:gd name="T25" fmla="*/ 28 h 28"/>
              <a:gd name="T26" fmla="*/ 14 w 20"/>
              <a:gd name="T27" fmla="*/ 25 h 28"/>
              <a:gd name="T28" fmla="*/ 17 w 20"/>
              <a:gd name="T29" fmla="*/ 24 h 28"/>
              <a:gd name="T30" fmla="*/ 10 w 20"/>
              <a:gd name="T31" fmla="*/ 22 h 28"/>
              <a:gd name="T32" fmla="*/ 9 w 20"/>
              <a:gd name="T33" fmla="*/ 16 h 28"/>
              <a:gd name="T34" fmla="*/ 12 w 20"/>
              <a:gd name="T35" fmla="*/ 12 h 28"/>
              <a:gd name="T36" fmla="*/ 13 w 20"/>
              <a:gd name="T37" fmla="*/ 7 h 28"/>
              <a:gd name="T38" fmla="*/ 12 w 20"/>
              <a:gd name="T39" fmla="*/ 2 h 28"/>
              <a:gd name="T40" fmla="*/ 12 w 20"/>
              <a:gd name="T41" fmla="*/ 2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0" h="28">
                <a:moveTo>
                  <a:pt x="12" y="2"/>
                </a:moveTo>
                <a:cubicBezTo>
                  <a:pt x="10" y="1"/>
                  <a:pt x="11" y="5"/>
                  <a:pt x="9" y="2"/>
                </a:cubicBezTo>
                <a:cubicBezTo>
                  <a:pt x="8" y="0"/>
                  <a:pt x="4" y="1"/>
                  <a:pt x="4" y="3"/>
                </a:cubicBezTo>
                <a:cubicBezTo>
                  <a:pt x="3" y="6"/>
                  <a:pt x="4" y="8"/>
                  <a:pt x="3" y="11"/>
                </a:cubicBezTo>
                <a:cubicBezTo>
                  <a:pt x="3" y="12"/>
                  <a:pt x="3" y="13"/>
                  <a:pt x="3" y="13"/>
                </a:cubicBezTo>
                <a:cubicBezTo>
                  <a:pt x="2" y="14"/>
                  <a:pt x="0" y="13"/>
                  <a:pt x="0" y="13"/>
                </a:cubicBezTo>
                <a:cubicBezTo>
                  <a:pt x="0" y="13"/>
                  <a:pt x="2" y="22"/>
                  <a:pt x="3" y="22"/>
                </a:cubicBezTo>
                <a:cubicBezTo>
                  <a:pt x="3" y="22"/>
                  <a:pt x="4" y="19"/>
                  <a:pt x="5" y="20"/>
                </a:cubicBezTo>
                <a:cubicBezTo>
                  <a:pt x="5" y="20"/>
                  <a:pt x="7" y="21"/>
                  <a:pt x="7" y="22"/>
                </a:cubicBezTo>
                <a:cubicBezTo>
                  <a:pt x="7" y="23"/>
                  <a:pt x="4" y="21"/>
                  <a:pt x="4" y="23"/>
                </a:cubicBezTo>
                <a:cubicBezTo>
                  <a:pt x="4" y="25"/>
                  <a:pt x="6" y="27"/>
                  <a:pt x="8" y="26"/>
                </a:cubicBezTo>
                <a:cubicBezTo>
                  <a:pt x="9" y="26"/>
                  <a:pt x="10" y="24"/>
                  <a:pt x="11" y="25"/>
                </a:cubicBezTo>
                <a:cubicBezTo>
                  <a:pt x="11" y="25"/>
                  <a:pt x="15" y="28"/>
                  <a:pt x="15" y="28"/>
                </a:cubicBezTo>
                <a:cubicBezTo>
                  <a:pt x="16" y="27"/>
                  <a:pt x="13" y="26"/>
                  <a:pt x="14" y="25"/>
                </a:cubicBezTo>
                <a:cubicBezTo>
                  <a:pt x="13" y="26"/>
                  <a:pt x="20" y="28"/>
                  <a:pt x="17" y="24"/>
                </a:cubicBezTo>
                <a:cubicBezTo>
                  <a:pt x="15" y="22"/>
                  <a:pt x="11" y="25"/>
                  <a:pt x="10" y="22"/>
                </a:cubicBezTo>
                <a:cubicBezTo>
                  <a:pt x="9" y="20"/>
                  <a:pt x="9" y="19"/>
                  <a:pt x="9" y="16"/>
                </a:cubicBezTo>
                <a:cubicBezTo>
                  <a:pt x="9" y="14"/>
                  <a:pt x="11" y="14"/>
                  <a:pt x="12" y="12"/>
                </a:cubicBezTo>
                <a:cubicBezTo>
                  <a:pt x="14" y="10"/>
                  <a:pt x="14" y="9"/>
                  <a:pt x="13" y="7"/>
                </a:cubicBezTo>
                <a:cubicBezTo>
                  <a:pt x="13" y="7"/>
                  <a:pt x="13" y="2"/>
                  <a:pt x="12" y="2"/>
                </a:cubicBezTo>
                <a:cubicBezTo>
                  <a:pt x="11" y="2"/>
                  <a:pt x="13" y="2"/>
                  <a:pt x="12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46" name="Freeform 441">
            <a:extLst>
              <a:ext uri="{FF2B5EF4-FFF2-40B4-BE49-F238E27FC236}">
                <a16:creationId xmlns:a16="http://schemas.microsoft.com/office/drawing/2014/main" id="{AA3621D1-5651-7E42-951A-CF0A4BDCF4C9}"/>
              </a:ext>
            </a:extLst>
          </p:cNvPr>
          <p:cNvSpPr>
            <a:spLocks/>
          </p:cNvSpPr>
          <p:nvPr/>
        </p:nvSpPr>
        <p:spPr bwMode="auto">
          <a:xfrm>
            <a:off x="8992714" y="4534107"/>
            <a:ext cx="31766" cy="40603"/>
          </a:xfrm>
          <a:custGeom>
            <a:avLst/>
            <a:gdLst>
              <a:gd name="T0" fmla="*/ 3 w 6"/>
              <a:gd name="T1" fmla="*/ 1 h 8"/>
              <a:gd name="T2" fmla="*/ 1 w 6"/>
              <a:gd name="T3" fmla="*/ 1 h 8"/>
              <a:gd name="T4" fmla="*/ 0 w 6"/>
              <a:gd name="T5" fmla="*/ 3 h 8"/>
              <a:gd name="T6" fmla="*/ 2 w 6"/>
              <a:gd name="T7" fmla="*/ 6 h 8"/>
              <a:gd name="T8" fmla="*/ 5 w 6"/>
              <a:gd name="T9" fmla="*/ 7 h 8"/>
              <a:gd name="T10" fmla="*/ 4 w 6"/>
              <a:gd name="T11" fmla="*/ 4 h 8"/>
              <a:gd name="T12" fmla="*/ 3 w 6"/>
              <a:gd name="T13" fmla="*/ 1 h 8"/>
              <a:gd name="T14" fmla="*/ 3 w 6"/>
              <a:gd name="T15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8">
                <a:moveTo>
                  <a:pt x="3" y="1"/>
                </a:moveTo>
                <a:cubicBezTo>
                  <a:pt x="3" y="1"/>
                  <a:pt x="2" y="0"/>
                  <a:pt x="1" y="1"/>
                </a:cubicBezTo>
                <a:cubicBezTo>
                  <a:pt x="1" y="2"/>
                  <a:pt x="0" y="2"/>
                  <a:pt x="0" y="3"/>
                </a:cubicBezTo>
                <a:cubicBezTo>
                  <a:pt x="1" y="4"/>
                  <a:pt x="0" y="5"/>
                  <a:pt x="2" y="6"/>
                </a:cubicBezTo>
                <a:cubicBezTo>
                  <a:pt x="2" y="6"/>
                  <a:pt x="6" y="8"/>
                  <a:pt x="5" y="7"/>
                </a:cubicBezTo>
                <a:cubicBezTo>
                  <a:pt x="5" y="6"/>
                  <a:pt x="5" y="5"/>
                  <a:pt x="4" y="4"/>
                </a:cubicBezTo>
                <a:cubicBezTo>
                  <a:pt x="2" y="4"/>
                  <a:pt x="2" y="1"/>
                  <a:pt x="3" y="1"/>
                </a:cubicBezTo>
                <a:cubicBezTo>
                  <a:pt x="2" y="1"/>
                  <a:pt x="4" y="1"/>
                  <a:pt x="3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47" name="Freeform 442">
            <a:extLst>
              <a:ext uri="{FF2B5EF4-FFF2-40B4-BE49-F238E27FC236}">
                <a16:creationId xmlns:a16="http://schemas.microsoft.com/office/drawing/2014/main" id="{C0EF0D54-B9D8-A848-B347-5953A9B865BC}"/>
              </a:ext>
            </a:extLst>
          </p:cNvPr>
          <p:cNvSpPr>
            <a:spLocks/>
          </p:cNvSpPr>
          <p:nvPr/>
        </p:nvSpPr>
        <p:spPr bwMode="auto">
          <a:xfrm>
            <a:off x="9013891" y="4569413"/>
            <a:ext cx="51180" cy="68847"/>
          </a:xfrm>
          <a:custGeom>
            <a:avLst/>
            <a:gdLst>
              <a:gd name="T0" fmla="*/ 4 w 10"/>
              <a:gd name="T1" fmla="*/ 0 h 13"/>
              <a:gd name="T2" fmla="*/ 2 w 10"/>
              <a:gd name="T3" fmla="*/ 1 h 13"/>
              <a:gd name="T4" fmla="*/ 4 w 10"/>
              <a:gd name="T5" fmla="*/ 4 h 13"/>
              <a:gd name="T6" fmla="*/ 4 w 10"/>
              <a:gd name="T7" fmla="*/ 9 h 13"/>
              <a:gd name="T8" fmla="*/ 5 w 10"/>
              <a:gd name="T9" fmla="*/ 13 h 13"/>
              <a:gd name="T10" fmla="*/ 5 w 10"/>
              <a:gd name="T11" fmla="*/ 11 h 13"/>
              <a:gd name="T12" fmla="*/ 9 w 10"/>
              <a:gd name="T13" fmla="*/ 8 h 13"/>
              <a:gd name="T14" fmla="*/ 8 w 10"/>
              <a:gd name="T15" fmla="*/ 6 h 13"/>
              <a:gd name="T16" fmla="*/ 9 w 10"/>
              <a:gd name="T17" fmla="*/ 5 h 13"/>
              <a:gd name="T18" fmla="*/ 7 w 10"/>
              <a:gd name="T19" fmla="*/ 1 h 13"/>
              <a:gd name="T20" fmla="*/ 4 w 10"/>
              <a:gd name="T21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" h="13">
                <a:moveTo>
                  <a:pt x="4" y="0"/>
                </a:moveTo>
                <a:cubicBezTo>
                  <a:pt x="3" y="0"/>
                  <a:pt x="4" y="0"/>
                  <a:pt x="2" y="1"/>
                </a:cubicBezTo>
                <a:cubicBezTo>
                  <a:pt x="1" y="2"/>
                  <a:pt x="3" y="3"/>
                  <a:pt x="4" y="4"/>
                </a:cubicBezTo>
                <a:cubicBezTo>
                  <a:pt x="5" y="6"/>
                  <a:pt x="0" y="7"/>
                  <a:pt x="4" y="9"/>
                </a:cubicBezTo>
                <a:cubicBezTo>
                  <a:pt x="5" y="10"/>
                  <a:pt x="3" y="12"/>
                  <a:pt x="5" y="13"/>
                </a:cubicBezTo>
                <a:cubicBezTo>
                  <a:pt x="6" y="13"/>
                  <a:pt x="6" y="12"/>
                  <a:pt x="5" y="11"/>
                </a:cubicBezTo>
                <a:cubicBezTo>
                  <a:pt x="3" y="5"/>
                  <a:pt x="9" y="10"/>
                  <a:pt x="9" y="8"/>
                </a:cubicBezTo>
                <a:cubicBezTo>
                  <a:pt x="9" y="7"/>
                  <a:pt x="7" y="6"/>
                  <a:pt x="8" y="6"/>
                </a:cubicBezTo>
                <a:cubicBezTo>
                  <a:pt x="8" y="5"/>
                  <a:pt x="10" y="6"/>
                  <a:pt x="9" y="5"/>
                </a:cubicBezTo>
                <a:cubicBezTo>
                  <a:pt x="8" y="4"/>
                  <a:pt x="6" y="3"/>
                  <a:pt x="7" y="1"/>
                </a:cubicBezTo>
                <a:cubicBezTo>
                  <a:pt x="7" y="0"/>
                  <a:pt x="5" y="0"/>
                  <a:pt x="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48" name="Freeform 443">
            <a:extLst>
              <a:ext uri="{FF2B5EF4-FFF2-40B4-BE49-F238E27FC236}">
                <a16:creationId xmlns:a16="http://schemas.microsoft.com/office/drawing/2014/main" id="{5BB44E8A-E3CD-F74C-8F03-C43E1FD7CD34}"/>
              </a:ext>
            </a:extLst>
          </p:cNvPr>
          <p:cNvSpPr>
            <a:spLocks/>
          </p:cNvSpPr>
          <p:nvPr/>
        </p:nvSpPr>
        <p:spPr bwMode="auto">
          <a:xfrm>
            <a:off x="8920354" y="4539403"/>
            <a:ext cx="31766" cy="40603"/>
          </a:xfrm>
          <a:custGeom>
            <a:avLst/>
            <a:gdLst>
              <a:gd name="T0" fmla="*/ 6 w 6"/>
              <a:gd name="T1" fmla="*/ 5 h 8"/>
              <a:gd name="T2" fmla="*/ 0 w 6"/>
              <a:gd name="T3" fmla="*/ 2 h 8"/>
              <a:gd name="T4" fmla="*/ 3 w 6"/>
              <a:gd name="T5" fmla="*/ 6 h 8"/>
              <a:gd name="T6" fmla="*/ 6 w 6"/>
              <a:gd name="T7" fmla="*/ 5 h 8"/>
              <a:gd name="T8" fmla="*/ 6 w 6"/>
              <a:gd name="T9" fmla="*/ 5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8">
                <a:moveTo>
                  <a:pt x="6" y="5"/>
                </a:moveTo>
                <a:cubicBezTo>
                  <a:pt x="5" y="4"/>
                  <a:pt x="3" y="0"/>
                  <a:pt x="0" y="2"/>
                </a:cubicBezTo>
                <a:cubicBezTo>
                  <a:pt x="0" y="2"/>
                  <a:pt x="3" y="5"/>
                  <a:pt x="3" y="6"/>
                </a:cubicBezTo>
                <a:cubicBezTo>
                  <a:pt x="3" y="8"/>
                  <a:pt x="6" y="8"/>
                  <a:pt x="6" y="5"/>
                </a:cubicBezTo>
                <a:cubicBezTo>
                  <a:pt x="6" y="5"/>
                  <a:pt x="6" y="6"/>
                  <a:pt x="6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49" name="Freeform 444">
            <a:extLst>
              <a:ext uri="{FF2B5EF4-FFF2-40B4-BE49-F238E27FC236}">
                <a16:creationId xmlns:a16="http://schemas.microsoft.com/office/drawing/2014/main" id="{8E105B99-9A1E-224B-AF1A-C082363DBA9B}"/>
              </a:ext>
            </a:extLst>
          </p:cNvPr>
          <p:cNvSpPr>
            <a:spLocks/>
          </p:cNvSpPr>
          <p:nvPr/>
        </p:nvSpPr>
        <p:spPr bwMode="auto">
          <a:xfrm>
            <a:off x="8957417" y="4580005"/>
            <a:ext cx="45886" cy="52959"/>
          </a:xfrm>
          <a:custGeom>
            <a:avLst/>
            <a:gdLst>
              <a:gd name="T0" fmla="*/ 3 w 9"/>
              <a:gd name="T1" fmla="*/ 2 h 10"/>
              <a:gd name="T2" fmla="*/ 0 w 9"/>
              <a:gd name="T3" fmla="*/ 2 h 10"/>
              <a:gd name="T4" fmla="*/ 2 w 9"/>
              <a:gd name="T5" fmla="*/ 4 h 10"/>
              <a:gd name="T6" fmla="*/ 1 w 9"/>
              <a:gd name="T7" fmla="*/ 9 h 10"/>
              <a:gd name="T8" fmla="*/ 6 w 9"/>
              <a:gd name="T9" fmla="*/ 6 h 10"/>
              <a:gd name="T10" fmla="*/ 3 w 9"/>
              <a:gd name="T11" fmla="*/ 2 h 10"/>
              <a:gd name="T12" fmla="*/ 3 w 9"/>
              <a:gd name="T13" fmla="*/ 2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10">
                <a:moveTo>
                  <a:pt x="3" y="2"/>
                </a:moveTo>
                <a:cubicBezTo>
                  <a:pt x="2" y="1"/>
                  <a:pt x="1" y="1"/>
                  <a:pt x="0" y="2"/>
                </a:cubicBezTo>
                <a:cubicBezTo>
                  <a:pt x="0" y="3"/>
                  <a:pt x="2" y="3"/>
                  <a:pt x="2" y="4"/>
                </a:cubicBezTo>
                <a:cubicBezTo>
                  <a:pt x="3" y="5"/>
                  <a:pt x="0" y="8"/>
                  <a:pt x="1" y="9"/>
                </a:cubicBezTo>
                <a:cubicBezTo>
                  <a:pt x="1" y="10"/>
                  <a:pt x="5" y="6"/>
                  <a:pt x="6" y="6"/>
                </a:cubicBezTo>
                <a:cubicBezTo>
                  <a:pt x="9" y="6"/>
                  <a:pt x="3" y="2"/>
                  <a:pt x="3" y="2"/>
                </a:cubicBezTo>
                <a:cubicBezTo>
                  <a:pt x="1" y="0"/>
                  <a:pt x="3" y="2"/>
                  <a:pt x="3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50" name="Freeform 445">
            <a:extLst>
              <a:ext uri="{FF2B5EF4-FFF2-40B4-BE49-F238E27FC236}">
                <a16:creationId xmlns:a16="http://schemas.microsoft.com/office/drawing/2014/main" id="{8B816AA1-E2A9-0843-BF2D-0BB89644C377}"/>
              </a:ext>
            </a:extLst>
          </p:cNvPr>
          <p:cNvSpPr>
            <a:spLocks/>
          </p:cNvSpPr>
          <p:nvPr/>
        </p:nvSpPr>
        <p:spPr bwMode="auto">
          <a:xfrm>
            <a:off x="8968006" y="4611779"/>
            <a:ext cx="35297" cy="56489"/>
          </a:xfrm>
          <a:custGeom>
            <a:avLst/>
            <a:gdLst>
              <a:gd name="T0" fmla="*/ 6 w 7"/>
              <a:gd name="T1" fmla="*/ 1 h 11"/>
              <a:gd name="T2" fmla="*/ 3 w 7"/>
              <a:gd name="T3" fmla="*/ 5 h 11"/>
              <a:gd name="T4" fmla="*/ 3 w 7"/>
              <a:gd name="T5" fmla="*/ 9 h 11"/>
              <a:gd name="T6" fmla="*/ 5 w 7"/>
              <a:gd name="T7" fmla="*/ 6 h 11"/>
              <a:gd name="T8" fmla="*/ 6 w 7"/>
              <a:gd name="T9" fmla="*/ 1 h 11"/>
              <a:gd name="T10" fmla="*/ 6 w 7"/>
              <a:gd name="T11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11">
                <a:moveTo>
                  <a:pt x="6" y="1"/>
                </a:moveTo>
                <a:cubicBezTo>
                  <a:pt x="3" y="1"/>
                  <a:pt x="4" y="4"/>
                  <a:pt x="3" y="5"/>
                </a:cubicBezTo>
                <a:cubicBezTo>
                  <a:pt x="0" y="7"/>
                  <a:pt x="1" y="7"/>
                  <a:pt x="3" y="9"/>
                </a:cubicBezTo>
                <a:cubicBezTo>
                  <a:pt x="6" y="11"/>
                  <a:pt x="4" y="8"/>
                  <a:pt x="5" y="6"/>
                </a:cubicBezTo>
                <a:cubicBezTo>
                  <a:pt x="5" y="6"/>
                  <a:pt x="7" y="0"/>
                  <a:pt x="6" y="1"/>
                </a:cubicBezTo>
                <a:cubicBezTo>
                  <a:pt x="5" y="1"/>
                  <a:pt x="6" y="0"/>
                  <a:pt x="6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51" name="Freeform 446">
            <a:extLst>
              <a:ext uri="{FF2B5EF4-FFF2-40B4-BE49-F238E27FC236}">
                <a16:creationId xmlns:a16="http://schemas.microsoft.com/office/drawing/2014/main" id="{E1DD16AA-7936-3A44-B1AE-A7AB490DBBF5}"/>
              </a:ext>
            </a:extLst>
          </p:cNvPr>
          <p:cNvSpPr>
            <a:spLocks/>
          </p:cNvSpPr>
          <p:nvPr/>
        </p:nvSpPr>
        <p:spPr bwMode="auto">
          <a:xfrm>
            <a:off x="8998007" y="4606484"/>
            <a:ext cx="21178" cy="40603"/>
          </a:xfrm>
          <a:custGeom>
            <a:avLst/>
            <a:gdLst>
              <a:gd name="T0" fmla="*/ 3 w 4"/>
              <a:gd name="T1" fmla="*/ 1 h 8"/>
              <a:gd name="T2" fmla="*/ 0 w 4"/>
              <a:gd name="T3" fmla="*/ 8 h 8"/>
              <a:gd name="T4" fmla="*/ 3 w 4"/>
              <a:gd name="T5" fmla="*/ 5 h 8"/>
              <a:gd name="T6" fmla="*/ 3 w 4"/>
              <a:gd name="T7" fmla="*/ 1 h 8"/>
              <a:gd name="T8" fmla="*/ 3 w 4"/>
              <a:gd name="T9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8">
                <a:moveTo>
                  <a:pt x="3" y="1"/>
                </a:moveTo>
                <a:cubicBezTo>
                  <a:pt x="2" y="1"/>
                  <a:pt x="0" y="7"/>
                  <a:pt x="0" y="8"/>
                </a:cubicBezTo>
                <a:cubicBezTo>
                  <a:pt x="0" y="8"/>
                  <a:pt x="2" y="6"/>
                  <a:pt x="3" y="5"/>
                </a:cubicBezTo>
                <a:cubicBezTo>
                  <a:pt x="3" y="5"/>
                  <a:pt x="4" y="0"/>
                  <a:pt x="3" y="1"/>
                </a:cubicBezTo>
                <a:cubicBezTo>
                  <a:pt x="2" y="1"/>
                  <a:pt x="3" y="1"/>
                  <a:pt x="3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52" name="Freeform 447">
            <a:extLst>
              <a:ext uri="{FF2B5EF4-FFF2-40B4-BE49-F238E27FC236}">
                <a16:creationId xmlns:a16="http://schemas.microsoft.com/office/drawing/2014/main" id="{F0705DFC-79F2-3E40-B578-280B95A605AC}"/>
              </a:ext>
            </a:extLst>
          </p:cNvPr>
          <p:cNvSpPr>
            <a:spLocks/>
          </p:cNvSpPr>
          <p:nvPr/>
        </p:nvSpPr>
        <p:spPr bwMode="auto">
          <a:xfrm>
            <a:off x="9008597" y="4632964"/>
            <a:ext cx="31766" cy="19419"/>
          </a:xfrm>
          <a:custGeom>
            <a:avLst/>
            <a:gdLst>
              <a:gd name="T0" fmla="*/ 1 w 6"/>
              <a:gd name="T1" fmla="*/ 1 h 4"/>
              <a:gd name="T2" fmla="*/ 3 w 6"/>
              <a:gd name="T3" fmla="*/ 3 h 4"/>
              <a:gd name="T4" fmla="*/ 1 w 6"/>
              <a:gd name="T5" fmla="*/ 1 h 4"/>
              <a:gd name="T6" fmla="*/ 1 w 6"/>
              <a:gd name="T7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4">
                <a:moveTo>
                  <a:pt x="1" y="1"/>
                </a:moveTo>
                <a:cubicBezTo>
                  <a:pt x="0" y="3"/>
                  <a:pt x="1" y="4"/>
                  <a:pt x="3" y="3"/>
                </a:cubicBezTo>
                <a:cubicBezTo>
                  <a:pt x="6" y="3"/>
                  <a:pt x="2" y="0"/>
                  <a:pt x="1" y="1"/>
                </a:cubicBezTo>
                <a:cubicBezTo>
                  <a:pt x="1" y="2"/>
                  <a:pt x="2" y="1"/>
                  <a:pt x="1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53" name="Freeform 448">
            <a:extLst>
              <a:ext uri="{FF2B5EF4-FFF2-40B4-BE49-F238E27FC236}">
                <a16:creationId xmlns:a16="http://schemas.microsoft.com/office/drawing/2014/main" id="{9460C030-5BD4-F440-983E-EE3D788048A1}"/>
              </a:ext>
            </a:extLst>
          </p:cNvPr>
          <p:cNvSpPr>
            <a:spLocks/>
          </p:cNvSpPr>
          <p:nvPr/>
        </p:nvSpPr>
        <p:spPr bwMode="auto">
          <a:xfrm>
            <a:off x="9008597" y="4647087"/>
            <a:ext cx="72359" cy="109450"/>
          </a:xfrm>
          <a:custGeom>
            <a:avLst/>
            <a:gdLst>
              <a:gd name="T0" fmla="*/ 10 w 14"/>
              <a:gd name="T1" fmla="*/ 0 h 21"/>
              <a:gd name="T2" fmla="*/ 9 w 14"/>
              <a:gd name="T3" fmla="*/ 2 h 21"/>
              <a:gd name="T4" fmla="*/ 7 w 14"/>
              <a:gd name="T5" fmla="*/ 4 h 21"/>
              <a:gd name="T6" fmla="*/ 3 w 14"/>
              <a:gd name="T7" fmla="*/ 6 h 21"/>
              <a:gd name="T8" fmla="*/ 2 w 14"/>
              <a:gd name="T9" fmla="*/ 11 h 21"/>
              <a:gd name="T10" fmla="*/ 2 w 14"/>
              <a:gd name="T11" fmla="*/ 14 h 21"/>
              <a:gd name="T12" fmla="*/ 3 w 14"/>
              <a:gd name="T13" fmla="*/ 18 h 21"/>
              <a:gd name="T14" fmla="*/ 8 w 14"/>
              <a:gd name="T15" fmla="*/ 19 h 21"/>
              <a:gd name="T16" fmla="*/ 8 w 14"/>
              <a:gd name="T17" fmla="*/ 16 h 21"/>
              <a:gd name="T18" fmla="*/ 10 w 14"/>
              <a:gd name="T19" fmla="*/ 12 h 21"/>
              <a:gd name="T20" fmla="*/ 12 w 14"/>
              <a:gd name="T21" fmla="*/ 17 h 21"/>
              <a:gd name="T22" fmla="*/ 13 w 14"/>
              <a:gd name="T23" fmla="*/ 14 h 21"/>
              <a:gd name="T24" fmla="*/ 13 w 14"/>
              <a:gd name="T25" fmla="*/ 10 h 21"/>
              <a:gd name="T26" fmla="*/ 10 w 14"/>
              <a:gd name="T27" fmla="*/ 0 h 21"/>
              <a:gd name="T28" fmla="*/ 10 w 14"/>
              <a:gd name="T29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" h="21">
                <a:moveTo>
                  <a:pt x="10" y="0"/>
                </a:moveTo>
                <a:cubicBezTo>
                  <a:pt x="9" y="0"/>
                  <a:pt x="9" y="1"/>
                  <a:pt x="9" y="2"/>
                </a:cubicBezTo>
                <a:cubicBezTo>
                  <a:pt x="9" y="3"/>
                  <a:pt x="9" y="3"/>
                  <a:pt x="7" y="4"/>
                </a:cubicBezTo>
                <a:cubicBezTo>
                  <a:pt x="6" y="4"/>
                  <a:pt x="4" y="6"/>
                  <a:pt x="3" y="6"/>
                </a:cubicBezTo>
                <a:cubicBezTo>
                  <a:pt x="1" y="9"/>
                  <a:pt x="0" y="9"/>
                  <a:pt x="2" y="11"/>
                </a:cubicBezTo>
                <a:cubicBezTo>
                  <a:pt x="3" y="12"/>
                  <a:pt x="2" y="13"/>
                  <a:pt x="2" y="14"/>
                </a:cubicBezTo>
                <a:cubicBezTo>
                  <a:pt x="1" y="16"/>
                  <a:pt x="2" y="17"/>
                  <a:pt x="3" y="18"/>
                </a:cubicBezTo>
                <a:cubicBezTo>
                  <a:pt x="5" y="19"/>
                  <a:pt x="7" y="19"/>
                  <a:pt x="8" y="19"/>
                </a:cubicBezTo>
                <a:cubicBezTo>
                  <a:pt x="11" y="21"/>
                  <a:pt x="9" y="18"/>
                  <a:pt x="8" y="16"/>
                </a:cubicBezTo>
                <a:cubicBezTo>
                  <a:pt x="8" y="16"/>
                  <a:pt x="8" y="12"/>
                  <a:pt x="10" y="12"/>
                </a:cubicBezTo>
                <a:cubicBezTo>
                  <a:pt x="11" y="12"/>
                  <a:pt x="11" y="17"/>
                  <a:pt x="12" y="17"/>
                </a:cubicBezTo>
                <a:cubicBezTo>
                  <a:pt x="12" y="17"/>
                  <a:pt x="13" y="14"/>
                  <a:pt x="13" y="14"/>
                </a:cubicBezTo>
                <a:cubicBezTo>
                  <a:pt x="14" y="12"/>
                  <a:pt x="14" y="11"/>
                  <a:pt x="13" y="10"/>
                </a:cubicBezTo>
                <a:cubicBezTo>
                  <a:pt x="13" y="7"/>
                  <a:pt x="13" y="1"/>
                  <a:pt x="10" y="0"/>
                </a:cubicBezTo>
                <a:cubicBezTo>
                  <a:pt x="9" y="0"/>
                  <a:pt x="10" y="1"/>
                  <a:pt x="1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54" name="Freeform 449">
            <a:extLst>
              <a:ext uri="{FF2B5EF4-FFF2-40B4-BE49-F238E27FC236}">
                <a16:creationId xmlns:a16="http://schemas.microsoft.com/office/drawing/2014/main" id="{2BA18B56-B45A-EC4E-8880-3A1CB8420CE8}"/>
              </a:ext>
            </a:extLst>
          </p:cNvPr>
          <p:cNvSpPr>
            <a:spLocks/>
          </p:cNvSpPr>
          <p:nvPr/>
        </p:nvSpPr>
        <p:spPr bwMode="auto">
          <a:xfrm>
            <a:off x="8962711" y="4668270"/>
            <a:ext cx="61770" cy="52959"/>
          </a:xfrm>
          <a:custGeom>
            <a:avLst/>
            <a:gdLst>
              <a:gd name="T0" fmla="*/ 8 w 12"/>
              <a:gd name="T1" fmla="*/ 1 h 10"/>
              <a:gd name="T2" fmla="*/ 2 w 12"/>
              <a:gd name="T3" fmla="*/ 4 h 10"/>
              <a:gd name="T4" fmla="*/ 0 w 12"/>
              <a:gd name="T5" fmla="*/ 10 h 10"/>
              <a:gd name="T6" fmla="*/ 2 w 12"/>
              <a:gd name="T7" fmla="*/ 6 h 10"/>
              <a:gd name="T8" fmla="*/ 4 w 12"/>
              <a:gd name="T9" fmla="*/ 6 h 10"/>
              <a:gd name="T10" fmla="*/ 6 w 12"/>
              <a:gd name="T11" fmla="*/ 7 h 10"/>
              <a:gd name="T12" fmla="*/ 8 w 12"/>
              <a:gd name="T13" fmla="*/ 7 h 10"/>
              <a:gd name="T14" fmla="*/ 8 w 12"/>
              <a:gd name="T15" fmla="*/ 5 h 10"/>
              <a:gd name="T16" fmla="*/ 8 w 12"/>
              <a:gd name="T17" fmla="*/ 1 h 10"/>
              <a:gd name="T18" fmla="*/ 8 w 12"/>
              <a:gd name="T19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10">
                <a:moveTo>
                  <a:pt x="8" y="1"/>
                </a:moveTo>
                <a:cubicBezTo>
                  <a:pt x="6" y="0"/>
                  <a:pt x="5" y="4"/>
                  <a:pt x="2" y="4"/>
                </a:cubicBezTo>
                <a:cubicBezTo>
                  <a:pt x="0" y="5"/>
                  <a:pt x="0" y="9"/>
                  <a:pt x="0" y="10"/>
                </a:cubicBezTo>
                <a:cubicBezTo>
                  <a:pt x="1" y="9"/>
                  <a:pt x="1" y="7"/>
                  <a:pt x="2" y="6"/>
                </a:cubicBezTo>
                <a:cubicBezTo>
                  <a:pt x="2" y="6"/>
                  <a:pt x="4" y="5"/>
                  <a:pt x="4" y="6"/>
                </a:cubicBezTo>
                <a:cubicBezTo>
                  <a:pt x="4" y="7"/>
                  <a:pt x="6" y="7"/>
                  <a:pt x="6" y="7"/>
                </a:cubicBezTo>
                <a:cubicBezTo>
                  <a:pt x="7" y="7"/>
                  <a:pt x="7" y="8"/>
                  <a:pt x="8" y="7"/>
                </a:cubicBezTo>
                <a:cubicBezTo>
                  <a:pt x="8" y="7"/>
                  <a:pt x="8" y="5"/>
                  <a:pt x="8" y="5"/>
                </a:cubicBezTo>
                <a:cubicBezTo>
                  <a:pt x="9" y="3"/>
                  <a:pt x="11" y="2"/>
                  <a:pt x="8" y="1"/>
                </a:cubicBezTo>
                <a:cubicBezTo>
                  <a:pt x="7" y="1"/>
                  <a:pt x="12" y="3"/>
                  <a:pt x="8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55" name="Freeform 450">
            <a:extLst>
              <a:ext uri="{FF2B5EF4-FFF2-40B4-BE49-F238E27FC236}">
                <a16:creationId xmlns:a16="http://schemas.microsoft.com/office/drawing/2014/main" id="{4C9B3E6E-D1AA-4749-9312-5BF697C0DC73}"/>
              </a:ext>
            </a:extLst>
          </p:cNvPr>
          <p:cNvSpPr>
            <a:spLocks/>
          </p:cNvSpPr>
          <p:nvPr/>
        </p:nvSpPr>
        <p:spPr bwMode="auto">
          <a:xfrm>
            <a:off x="8837407" y="4617076"/>
            <a:ext cx="61770" cy="61786"/>
          </a:xfrm>
          <a:custGeom>
            <a:avLst/>
            <a:gdLst>
              <a:gd name="T0" fmla="*/ 11 w 12"/>
              <a:gd name="T1" fmla="*/ 0 h 12"/>
              <a:gd name="T2" fmla="*/ 6 w 12"/>
              <a:gd name="T3" fmla="*/ 6 h 12"/>
              <a:gd name="T4" fmla="*/ 0 w 12"/>
              <a:gd name="T5" fmla="*/ 12 h 12"/>
              <a:gd name="T6" fmla="*/ 4 w 12"/>
              <a:gd name="T7" fmla="*/ 10 h 12"/>
              <a:gd name="T8" fmla="*/ 8 w 12"/>
              <a:gd name="T9" fmla="*/ 7 h 12"/>
              <a:gd name="T10" fmla="*/ 10 w 12"/>
              <a:gd name="T11" fmla="*/ 3 h 12"/>
              <a:gd name="T12" fmla="*/ 11 w 12"/>
              <a:gd name="T13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12">
                <a:moveTo>
                  <a:pt x="11" y="0"/>
                </a:moveTo>
                <a:cubicBezTo>
                  <a:pt x="9" y="1"/>
                  <a:pt x="7" y="4"/>
                  <a:pt x="6" y="6"/>
                </a:cubicBezTo>
                <a:cubicBezTo>
                  <a:pt x="5" y="7"/>
                  <a:pt x="0" y="10"/>
                  <a:pt x="0" y="12"/>
                </a:cubicBezTo>
                <a:cubicBezTo>
                  <a:pt x="0" y="12"/>
                  <a:pt x="3" y="11"/>
                  <a:pt x="4" y="10"/>
                </a:cubicBezTo>
                <a:cubicBezTo>
                  <a:pt x="5" y="10"/>
                  <a:pt x="7" y="8"/>
                  <a:pt x="8" y="7"/>
                </a:cubicBezTo>
                <a:cubicBezTo>
                  <a:pt x="8" y="5"/>
                  <a:pt x="9" y="4"/>
                  <a:pt x="10" y="3"/>
                </a:cubicBezTo>
                <a:cubicBezTo>
                  <a:pt x="11" y="3"/>
                  <a:pt x="12" y="0"/>
                  <a:pt x="1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56" name="Freeform 451">
            <a:extLst>
              <a:ext uri="{FF2B5EF4-FFF2-40B4-BE49-F238E27FC236}">
                <a16:creationId xmlns:a16="http://schemas.microsoft.com/office/drawing/2014/main" id="{35974581-22A0-7A4D-84BA-426FF170928C}"/>
              </a:ext>
            </a:extLst>
          </p:cNvPr>
          <p:cNvSpPr>
            <a:spLocks/>
          </p:cNvSpPr>
          <p:nvPr/>
        </p:nvSpPr>
        <p:spPr bwMode="auto">
          <a:xfrm>
            <a:off x="9019187" y="4539403"/>
            <a:ext cx="10589" cy="5296"/>
          </a:xfrm>
          <a:custGeom>
            <a:avLst/>
            <a:gdLst>
              <a:gd name="T0" fmla="*/ 0 w 2"/>
              <a:gd name="T1" fmla="*/ 1 h 1"/>
              <a:gd name="T2" fmla="*/ 1 w 2"/>
              <a:gd name="T3" fmla="*/ 0 h 1"/>
              <a:gd name="T4" fmla="*/ 0 w 2"/>
              <a:gd name="T5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1">
                <a:moveTo>
                  <a:pt x="0" y="1"/>
                </a:moveTo>
                <a:cubicBezTo>
                  <a:pt x="1" y="1"/>
                  <a:pt x="2" y="0"/>
                  <a:pt x="1" y="0"/>
                </a:cubicBezTo>
                <a:cubicBezTo>
                  <a:pt x="0" y="0"/>
                  <a:pt x="0" y="1"/>
                  <a:pt x="0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57" name="Freeform 452">
            <a:extLst>
              <a:ext uri="{FF2B5EF4-FFF2-40B4-BE49-F238E27FC236}">
                <a16:creationId xmlns:a16="http://schemas.microsoft.com/office/drawing/2014/main" id="{2C9DADDC-F779-1B49-91DF-4DAA1050A761}"/>
              </a:ext>
            </a:extLst>
          </p:cNvPr>
          <p:cNvSpPr>
            <a:spLocks/>
          </p:cNvSpPr>
          <p:nvPr/>
        </p:nvSpPr>
        <p:spPr bwMode="auto">
          <a:xfrm>
            <a:off x="8269126" y="4751240"/>
            <a:ext cx="289435" cy="301868"/>
          </a:xfrm>
          <a:custGeom>
            <a:avLst/>
            <a:gdLst>
              <a:gd name="T0" fmla="*/ 12 w 56"/>
              <a:gd name="T1" fmla="*/ 3 h 58"/>
              <a:gd name="T2" fmla="*/ 4 w 56"/>
              <a:gd name="T3" fmla="*/ 2 h 58"/>
              <a:gd name="T4" fmla="*/ 2 w 56"/>
              <a:gd name="T5" fmla="*/ 3 h 58"/>
              <a:gd name="T6" fmla="*/ 6 w 56"/>
              <a:gd name="T7" fmla="*/ 9 h 58"/>
              <a:gd name="T8" fmla="*/ 11 w 56"/>
              <a:gd name="T9" fmla="*/ 13 h 58"/>
              <a:gd name="T10" fmla="*/ 13 w 56"/>
              <a:gd name="T11" fmla="*/ 17 h 58"/>
              <a:gd name="T12" fmla="*/ 17 w 56"/>
              <a:gd name="T13" fmla="*/ 19 h 58"/>
              <a:gd name="T14" fmla="*/ 20 w 56"/>
              <a:gd name="T15" fmla="*/ 26 h 58"/>
              <a:gd name="T16" fmla="*/ 22 w 56"/>
              <a:gd name="T17" fmla="*/ 28 h 58"/>
              <a:gd name="T18" fmla="*/ 26 w 56"/>
              <a:gd name="T19" fmla="*/ 33 h 58"/>
              <a:gd name="T20" fmla="*/ 30 w 56"/>
              <a:gd name="T21" fmla="*/ 42 h 58"/>
              <a:gd name="T22" fmla="*/ 41 w 56"/>
              <a:gd name="T23" fmla="*/ 52 h 58"/>
              <a:gd name="T24" fmla="*/ 46 w 56"/>
              <a:gd name="T25" fmla="*/ 57 h 58"/>
              <a:gd name="T26" fmla="*/ 54 w 56"/>
              <a:gd name="T27" fmla="*/ 57 h 58"/>
              <a:gd name="T28" fmla="*/ 54 w 56"/>
              <a:gd name="T29" fmla="*/ 46 h 58"/>
              <a:gd name="T30" fmla="*/ 55 w 56"/>
              <a:gd name="T31" fmla="*/ 44 h 58"/>
              <a:gd name="T32" fmla="*/ 52 w 56"/>
              <a:gd name="T33" fmla="*/ 41 h 58"/>
              <a:gd name="T34" fmla="*/ 50 w 56"/>
              <a:gd name="T35" fmla="*/ 40 h 58"/>
              <a:gd name="T36" fmla="*/ 48 w 56"/>
              <a:gd name="T37" fmla="*/ 42 h 58"/>
              <a:gd name="T38" fmla="*/ 48 w 56"/>
              <a:gd name="T39" fmla="*/ 38 h 58"/>
              <a:gd name="T40" fmla="*/ 47 w 56"/>
              <a:gd name="T41" fmla="*/ 36 h 58"/>
              <a:gd name="T42" fmla="*/ 44 w 56"/>
              <a:gd name="T43" fmla="*/ 34 h 58"/>
              <a:gd name="T44" fmla="*/ 42 w 56"/>
              <a:gd name="T45" fmla="*/ 30 h 58"/>
              <a:gd name="T46" fmla="*/ 42 w 56"/>
              <a:gd name="T47" fmla="*/ 29 h 58"/>
              <a:gd name="T48" fmla="*/ 43 w 56"/>
              <a:gd name="T49" fmla="*/ 28 h 58"/>
              <a:gd name="T50" fmla="*/ 38 w 56"/>
              <a:gd name="T51" fmla="*/ 27 h 58"/>
              <a:gd name="T52" fmla="*/ 38 w 56"/>
              <a:gd name="T53" fmla="*/ 25 h 58"/>
              <a:gd name="T54" fmla="*/ 36 w 56"/>
              <a:gd name="T55" fmla="*/ 24 h 58"/>
              <a:gd name="T56" fmla="*/ 37 w 56"/>
              <a:gd name="T57" fmla="*/ 23 h 58"/>
              <a:gd name="T58" fmla="*/ 35 w 56"/>
              <a:gd name="T59" fmla="*/ 22 h 58"/>
              <a:gd name="T60" fmla="*/ 34 w 56"/>
              <a:gd name="T61" fmla="*/ 21 h 58"/>
              <a:gd name="T62" fmla="*/ 31 w 56"/>
              <a:gd name="T63" fmla="*/ 19 h 58"/>
              <a:gd name="T64" fmla="*/ 30 w 56"/>
              <a:gd name="T65" fmla="*/ 19 h 58"/>
              <a:gd name="T66" fmla="*/ 25 w 56"/>
              <a:gd name="T67" fmla="*/ 16 h 58"/>
              <a:gd name="T68" fmla="*/ 21 w 56"/>
              <a:gd name="T69" fmla="*/ 11 h 58"/>
              <a:gd name="T70" fmla="*/ 16 w 56"/>
              <a:gd name="T71" fmla="*/ 7 h 58"/>
              <a:gd name="T72" fmla="*/ 12 w 56"/>
              <a:gd name="T73" fmla="*/ 3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6" h="58">
                <a:moveTo>
                  <a:pt x="12" y="3"/>
                </a:moveTo>
                <a:cubicBezTo>
                  <a:pt x="9" y="3"/>
                  <a:pt x="7" y="3"/>
                  <a:pt x="4" y="2"/>
                </a:cubicBezTo>
                <a:cubicBezTo>
                  <a:pt x="2" y="1"/>
                  <a:pt x="0" y="0"/>
                  <a:pt x="2" y="3"/>
                </a:cubicBezTo>
                <a:cubicBezTo>
                  <a:pt x="3" y="5"/>
                  <a:pt x="4" y="8"/>
                  <a:pt x="6" y="9"/>
                </a:cubicBezTo>
                <a:cubicBezTo>
                  <a:pt x="8" y="10"/>
                  <a:pt x="10" y="11"/>
                  <a:pt x="11" y="13"/>
                </a:cubicBezTo>
                <a:cubicBezTo>
                  <a:pt x="12" y="14"/>
                  <a:pt x="12" y="16"/>
                  <a:pt x="13" y="17"/>
                </a:cubicBezTo>
                <a:cubicBezTo>
                  <a:pt x="15" y="18"/>
                  <a:pt x="16" y="18"/>
                  <a:pt x="17" y="19"/>
                </a:cubicBezTo>
                <a:cubicBezTo>
                  <a:pt x="19" y="21"/>
                  <a:pt x="19" y="24"/>
                  <a:pt x="20" y="26"/>
                </a:cubicBezTo>
                <a:cubicBezTo>
                  <a:pt x="21" y="27"/>
                  <a:pt x="22" y="28"/>
                  <a:pt x="22" y="28"/>
                </a:cubicBezTo>
                <a:cubicBezTo>
                  <a:pt x="24" y="30"/>
                  <a:pt x="25" y="31"/>
                  <a:pt x="26" y="33"/>
                </a:cubicBezTo>
                <a:cubicBezTo>
                  <a:pt x="28" y="36"/>
                  <a:pt x="28" y="39"/>
                  <a:pt x="30" y="42"/>
                </a:cubicBezTo>
                <a:cubicBezTo>
                  <a:pt x="34" y="45"/>
                  <a:pt x="37" y="49"/>
                  <a:pt x="41" y="52"/>
                </a:cubicBezTo>
                <a:cubicBezTo>
                  <a:pt x="43" y="54"/>
                  <a:pt x="44" y="55"/>
                  <a:pt x="46" y="57"/>
                </a:cubicBezTo>
                <a:cubicBezTo>
                  <a:pt x="47" y="57"/>
                  <a:pt x="53" y="58"/>
                  <a:pt x="54" y="57"/>
                </a:cubicBezTo>
                <a:cubicBezTo>
                  <a:pt x="55" y="56"/>
                  <a:pt x="53" y="48"/>
                  <a:pt x="54" y="46"/>
                </a:cubicBezTo>
                <a:cubicBezTo>
                  <a:pt x="54" y="45"/>
                  <a:pt x="56" y="45"/>
                  <a:pt x="55" y="44"/>
                </a:cubicBezTo>
                <a:cubicBezTo>
                  <a:pt x="54" y="43"/>
                  <a:pt x="53" y="42"/>
                  <a:pt x="52" y="41"/>
                </a:cubicBezTo>
                <a:cubicBezTo>
                  <a:pt x="52" y="41"/>
                  <a:pt x="51" y="40"/>
                  <a:pt x="50" y="40"/>
                </a:cubicBezTo>
                <a:cubicBezTo>
                  <a:pt x="49" y="40"/>
                  <a:pt x="49" y="42"/>
                  <a:pt x="48" y="42"/>
                </a:cubicBezTo>
                <a:cubicBezTo>
                  <a:pt x="49" y="42"/>
                  <a:pt x="48" y="38"/>
                  <a:pt x="48" y="38"/>
                </a:cubicBezTo>
                <a:cubicBezTo>
                  <a:pt x="47" y="37"/>
                  <a:pt x="47" y="37"/>
                  <a:pt x="47" y="36"/>
                </a:cubicBezTo>
                <a:cubicBezTo>
                  <a:pt x="47" y="35"/>
                  <a:pt x="45" y="34"/>
                  <a:pt x="44" y="34"/>
                </a:cubicBezTo>
                <a:cubicBezTo>
                  <a:pt x="43" y="33"/>
                  <a:pt x="41" y="32"/>
                  <a:pt x="42" y="30"/>
                </a:cubicBezTo>
                <a:cubicBezTo>
                  <a:pt x="42" y="30"/>
                  <a:pt x="41" y="29"/>
                  <a:pt x="42" y="29"/>
                </a:cubicBezTo>
                <a:cubicBezTo>
                  <a:pt x="42" y="28"/>
                  <a:pt x="43" y="29"/>
                  <a:pt x="43" y="28"/>
                </a:cubicBezTo>
                <a:cubicBezTo>
                  <a:pt x="44" y="26"/>
                  <a:pt x="38" y="26"/>
                  <a:pt x="38" y="27"/>
                </a:cubicBezTo>
                <a:cubicBezTo>
                  <a:pt x="38" y="26"/>
                  <a:pt x="42" y="25"/>
                  <a:pt x="38" y="25"/>
                </a:cubicBezTo>
                <a:cubicBezTo>
                  <a:pt x="37" y="25"/>
                  <a:pt x="36" y="24"/>
                  <a:pt x="36" y="24"/>
                </a:cubicBezTo>
                <a:cubicBezTo>
                  <a:pt x="36" y="23"/>
                  <a:pt x="37" y="23"/>
                  <a:pt x="37" y="23"/>
                </a:cubicBezTo>
                <a:cubicBezTo>
                  <a:pt x="37" y="22"/>
                  <a:pt x="35" y="22"/>
                  <a:pt x="35" y="22"/>
                </a:cubicBezTo>
                <a:cubicBezTo>
                  <a:pt x="35" y="22"/>
                  <a:pt x="36" y="21"/>
                  <a:pt x="34" y="21"/>
                </a:cubicBezTo>
                <a:cubicBezTo>
                  <a:pt x="33" y="20"/>
                  <a:pt x="32" y="20"/>
                  <a:pt x="31" y="19"/>
                </a:cubicBezTo>
                <a:cubicBezTo>
                  <a:pt x="28" y="15"/>
                  <a:pt x="30" y="19"/>
                  <a:pt x="30" y="19"/>
                </a:cubicBezTo>
                <a:cubicBezTo>
                  <a:pt x="29" y="19"/>
                  <a:pt x="26" y="16"/>
                  <a:pt x="25" y="16"/>
                </a:cubicBezTo>
                <a:cubicBezTo>
                  <a:pt x="24" y="14"/>
                  <a:pt x="23" y="12"/>
                  <a:pt x="21" y="11"/>
                </a:cubicBezTo>
                <a:cubicBezTo>
                  <a:pt x="19" y="10"/>
                  <a:pt x="18" y="9"/>
                  <a:pt x="16" y="7"/>
                </a:cubicBezTo>
                <a:cubicBezTo>
                  <a:pt x="15" y="6"/>
                  <a:pt x="14" y="3"/>
                  <a:pt x="12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58" name="Freeform 453">
            <a:extLst>
              <a:ext uri="{FF2B5EF4-FFF2-40B4-BE49-F238E27FC236}">
                <a16:creationId xmlns:a16="http://schemas.microsoft.com/office/drawing/2014/main" id="{131DAA3C-A277-634A-A023-EC7219F15727}"/>
              </a:ext>
            </a:extLst>
          </p:cNvPr>
          <p:cNvSpPr>
            <a:spLocks/>
          </p:cNvSpPr>
          <p:nvPr/>
        </p:nvSpPr>
        <p:spPr bwMode="auto">
          <a:xfrm>
            <a:off x="8320306" y="4860690"/>
            <a:ext cx="26472" cy="26481"/>
          </a:xfrm>
          <a:custGeom>
            <a:avLst/>
            <a:gdLst>
              <a:gd name="T0" fmla="*/ 4 w 5"/>
              <a:gd name="T1" fmla="*/ 4 h 5"/>
              <a:gd name="T2" fmla="*/ 1 w 5"/>
              <a:gd name="T3" fmla="*/ 0 h 5"/>
              <a:gd name="T4" fmla="*/ 4 w 5"/>
              <a:gd name="T5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" h="5">
                <a:moveTo>
                  <a:pt x="4" y="4"/>
                </a:moveTo>
                <a:cubicBezTo>
                  <a:pt x="5" y="3"/>
                  <a:pt x="2" y="0"/>
                  <a:pt x="1" y="0"/>
                </a:cubicBezTo>
                <a:cubicBezTo>
                  <a:pt x="0" y="1"/>
                  <a:pt x="3" y="5"/>
                  <a:pt x="4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59" name="Freeform 454">
            <a:extLst>
              <a:ext uri="{FF2B5EF4-FFF2-40B4-BE49-F238E27FC236}">
                <a16:creationId xmlns:a16="http://schemas.microsoft.com/office/drawing/2014/main" id="{AD40BAF6-19D6-DD45-BCB4-F69AABE07E42}"/>
              </a:ext>
            </a:extLst>
          </p:cNvPr>
          <p:cNvSpPr>
            <a:spLocks/>
          </p:cNvSpPr>
          <p:nvPr/>
        </p:nvSpPr>
        <p:spPr bwMode="auto">
          <a:xfrm>
            <a:off x="8357369" y="4922475"/>
            <a:ext cx="24708" cy="26481"/>
          </a:xfrm>
          <a:custGeom>
            <a:avLst/>
            <a:gdLst>
              <a:gd name="T0" fmla="*/ 4 w 5"/>
              <a:gd name="T1" fmla="*/ 4 h 5"/>
              <a:gd name="T2" fmla="*/ 1 w 5"/>
              <a:gd name="T3" fmla="*/ 0 h 5"/>
              <a:gd name="T4" fmla="*/ 4 w 5"/>
              <a:gd name="T5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" h="5">
                <a:moveTo>
                  <a:pt x="4" y="4"/>
                </a:moveTo>
                <a:cubicBezTo>
                  <a:pt x="5" y="3"/>
                  <a:pt x="2" y="0"/>
                  <a:pt x="1" y="0"/>
                </a:cubicBezTo>
                <a:cubicBezTo>
                  <a:pt x="0" y="1"/>
                  <a:pt x="3" y="5"/>
                  <a:pt x="4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60" name="Freeform 455">
            <a:extLst>
              <a:ext uri="{FF2B5EF4-FFF2-40B4-BE49-F238E27FC236}">
                <a16:creationId xmlns:a16="http://schemas.microsoft.com/office/drawing/2014/main" id="{A6EDBC95-63C4-0E4D-9265-4CCF2DCA75B8}"/>
              </a:ext>
            </a:extLst>
          </p:cNvPr>
          <p:cNvSpPr>
            <a:spLocks/>
          </p:cNvSpPr>
          <p:nvPr/>
        </p:nvSpPr>
        <p:spPr bwMode="auto">
          <a:xfrm>
            <a:off x="8532088" y="4938362"/>
            <a:ext cx="37062" cy="37071"/>
          </a:xfrm>
          <a:custGeom>
            <a:avLst/>
            <a:gdLst>
              <a:gd name="T0" fmla="*/ 7 w 7"/>
              <a:gd name="T1" fmla="*/ 7 h 7"/>
              <a:gd name="T2" fmla="*/ 5 w 7"/>
              <a:gd name="T3" fmla="*/ 3 h 7"/>
              <a:gd name="T4" fmla="*/ 0 w 7"/>
              <a:gd name="T5" fmla="*/ 1 h 7"/>
              <a:gd name="T6" fmla="*/ 1 w 7"/>
              <a:gd name="T7" fmla="*/ 3 h 7"/>
              <a:gd name="T8" fmla="*/ 3 w 7"/>
              <a:gd name="T9" fmla="*/ 5 h 7"/>
              <a:gd name="T10" fmla="*/ 7 w 7"/>
              <a:gd name="T11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7">
                <a:moveTo>
                  <a:pt x="7" y="7"/>
                </a:moveTo>
                <a:cubicBezTo>
                  <a:pt x="7" y="5"/>
                  <a:pt x="5" y="5"/>
                  <a:pt x="5" y="3"/>
                </a:cubicBezTo>
                <a:cubicBezTo>
                  <a:pt x="5" y="1"/>
                  <a:pt x="2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3" y="3"/>
                  <a:pt x="2" y="4"/>
                  <a:pt x="3" y="5"/>
                </a:cubicBezTo>
                <a:cubicBezTo>
                  <a:pt x="3" y="6"/>
                  <a:pt x="7" y="7"/>
                  <a:pt x="7" y="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61" name="Freeform 456">
            <a:extLst>
              <a:ext uri="{FF2B5EF4-FFF2-40B4-BE49-F238E27FC236}">
                <a16:creationId xmlns:a16="http://schemas.microsoft.com/office/drawing/2014/main" id="{5362DBF6-0FCC-1E4A-934F-F041AEBAF38C}"/>
              </a:ext>
            </a:extLst>
          </p:cNvPr>
          <p:cNvSpPr>
            <a:spLocks/>
          </p:cNvSpPr>
          <p:nvPr/>
        </p:nvSpPr>
        <p:spPr bwMode="auto">
          <a:xfrm>
            <a:off x="8590329" y="4964842"/>
            <a:ext cx="19414" cy="19419"/>
          </a:xfrm>
          <a:custGeom>
            <a:avLst/>
            <a:gdLst>
              <a:gd name="T0" fmla="*/ 2 w 4"/>
              <a:gd name="T1" fmla="*/ 3 h 4"/>
              <a:gd name="T2" fmla="*/ 2 w 4"/>
              <a:gd name="T3" fmla="*/ 0 h 4"/>
              <a:gd name="T4" fmla="*/ 2 w 4"/>
              <a:gd name="T5" fmla="*/ 3 h 4"/>
              <a:gd name="T6" fmla="*/ 2 w 4"/>
              <a:gd name="T7" fmla="*/ 3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4">
                <a:moveTo>
                  <a:pt x="2" y="3"/>
                </a:moveTo>
                <a:cubicBezTo>
                  <a:pt x="0" y="4"/>
                  <a:pt x="0" y="1"/>
                  <a:pt x="2" y="0"/>
                </a:cubicBezTo>
                <a:cubicBezTo>
                  <a:pt x="4" y="0"/>
                  <a:pt x="4" y="3"/>
                  <a:pt x="2" y="3"/>
                </a:cubicBezTo>
                <a:cubicBezTo>
                  <a:pt x="1" y="4"/>
                  <a:pt x="3" y="3"/>
                  <a:pt x="2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62" name="Freeform 457">
            <a:extLst>
              <a:ext uri="{FF2B5EF4-FFF2-40B4-BE49-F238E27FC236}">
                <a16:creationId xmlns:a16="http://schemas.microsoft.com/office/drawing/2014/main" id="{FDF8C98C-4FAC-8649-8CF9-43193819EFEB}"/>
              </a:ext>
            </a:extLst>
          </p:cNvPr>
          <p:cNvSpPr>
            <a:spLocks/>
          </p:cNvSpPr>
          <p:nvPr/>
        </p:nvSpPr>
        <p:spPr bwMode="auto">
          <a:xfrm>
            <a:off x="8537382" y="5053107"/>
            <a:ext cx="238255" cy="77673"/>
          </a:xfrm>
          <a:custGeom>
            <a:avLst/>
            <a:gdLst>
              <a:gd name="T0" fmla="*/ 9 w 46"/>
              <a:gd name="T1" fmla="*/ 0 h 15"/>
              <a:gd name="T2" fmla="*/ 3 w 46"/>
              <a:gd name="T3" fmla="*/ 0 h 15"/>
              <a:gd name="T4" fmla="*/ 0 w 46"/>
              <a:gd name="T5" fmla="*/ 4 h 15"/>
              <a:gd name="T6" fmla="*/ 5 w 46"/>
              <a:gd name="T7" fmla="*/ 6 h 15"/>
              <a:gd name="T8" fmla="*/ 11 w 46"/>
              <a:gd name="T9" fmla="*/ 9 h 15"/>
              <a:gd name="T10" fmla="*/ 15 w 46"/>
              <a:gd name="T11" fmla="*/ 9 h 15"/>
              <a:gd name="T12" fmla="*/ 24 w 46"/>
              <a:gd name="T13" fmla="*/ 11 h 15"/>
              <a:gd name="T14" fmla="*/ 40 w 46"/>
              <a:gd name="T15" fmla="*/ 13 h 15"/>
              <a:gd name="T16" fmla="*/ 45 w 46"/>
              <a:gd name="T17" fmla="*/ 13 h 15"/>
              <a:gd name="T18" fmla="*/ 43 w 46"/>
              <a:gd name="T19" fmla="*/ 9 h 15"/>
              <a:gd name="T20" fmla="*/ 41 w 46"/>
              <a:gd name="T21" fmla="*/ 9 h 15"/>
              <a:gd name="T22" fmla="*/ 37 w 46"/>
              <a:gd name="T23" fmla="*/ 9 h 15"/>
              <a:gd name="T24" fmla="*/ 35 w 46"/>
              <a:gd name="T25" fmla="*/ 6 h 15"/>
              <a:gd name="T26" fmla="*/ 32 w 46"/>
              <a:gd name="T27" fmla="*/ 4 h 15"/>
              <a:gd name="T28" fmla="*/ 27 w 46"/>
              <a:gd name="T29" fmla="*/ 3 h 15"/>
              <a:gd name="T30" fmla="*/ 25 w 46"/>
              <a:gd name="T31" fmla="*/ 4 h 15"/>
              <a:gd name="T32" fmla="*/ 21 w 46"/>
              <a:gd name="T33" fmla="*/ 5 h 15"/>
              <a:gd name="T34" fmla="*/ 15 w 46"/>
              <a:gd name="T35" fmla="*/ 3 h 15"/>
              <a:gd name="T36" fmla="*/ 11 w 46"/>
              <a:gd name="T37" fmla="*/ 2 h 15"/>
              <a:gd name="T38" fmla="*/ 9 w 46"/>
              <a:gd name="T39" fmla="*/ 0 h 15"/>
              <a:gd name="T40" fmla="*/ 9 w 46"/>
              <a:gd name="T41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6" h="15">
                <a:moveTo>
                  <a:pt x="9" y="0"/>
                </a:moveTo>
                <a:cubicBezTo>
                  <a:pt x="7" y="1"/>
                  <a:pt x="6" y="0"/>
                  <a:pt x="3" y="0"/>
                </a:cubicBezTo>
                <a:cubicBezTo>
                  <a:pt x="3" y="0"/>
                  <a:pt x="0" y="3"/>
                  <a:pt x="0" y="4"/>
                </a:cubicBezTo>
                <a:cubicBezTo>
                  <a:pt x="0" y="5"/>
                  <a:pt x="4" y="4"/>
                  <a:pt x="5" y="6"/>
                </a:cubicBezTo>
                <a:cubicBezTo>
                  <a:pt x="6" y="8"/>
                  <a:pt x="9" y="8"/>
                  <a:pt x="11" y="9"/>
                </a:cubicBezTo>
                <a:cubicBezTo>
                  <a:pt x="13" y="9"/>
                  <a:pt x="14" y="9"/>
                  <a:pt x="15" y="9"/>
                </a:cubicBezTo>
                <a:cubicBezTo>
                  <a:pt x="18" y="9"/>
                  <a:pt x="21" y="10"/>
                  <a:pt x="24" y="11"/>
                </a:cubicBezTo>
                <a:cubicBezTo>
                  <a:pt x="29" y="12"/>
                  <a:pt x="35" y="11"/>
                  <a:pt x="40" y="13"/>
                </a:cubicBezTo>
                <a:cubicBezTo>
                  <a:pt x="41" y="13"/>
                  <a:pt x="44" y="15"/>
                  <a:pt x="45" y="13"/>
                </a:cubicBezTo>
                <a:cubicBezTo>
                  <a:pt x="46" y="13"/>
                  <a:pt x="44" y="9"/>
                  <a:pt x="43" y="9"/>
                </a:cubicBezTo>
                <a:cubicBezTo>
                  <a:pt x="42" y="8"/>
                  <a:pt x="42" y="9"/>
                  <a:pt x="41" y="9"/>
                </a:cubicBezTo>
                <a:cubicBezTo>
                  <a:pt x="39" y="10"/>
                  <a:pt x="38" y="9"/>
                  <a:pt x="37" y="9"/>
                </a:cubicBezTo>
                <a:cubicBezTo>
                  <a:pt x="36" y="8"/>
                  <a:pt x="36" y="7"/>
                  <a:pt x="35" y="6"/>
                </a:cubicBezTo>
                <a:cubicBezTo>
                  <a:pt x="35" y="5"/>
                  <a:pt x="33" y="5"/>
                  <a:pt x="32" y="4"/>
                </a:cubicBezTo>
                <a:cubicBezTo>
                  <a:pt x="31" y="4"/>
                  <a:pt x="28" y="3"/>
                  <a:pt x="27" y="3"/>
                </a:cubicBezTo>
                <a:cubicBezTo>
                  <a:pt x="26" y="3"/>
                  <a:pt x="25" y="4"/>
                  <a:pt x="25" y="4"/>
                </a:cubicBezTo>
                <a:cubicBezTo>
                  <a:pt x="24" y="5"/>
                  <a:pt x="23" y="5"/>
                  <a:pt x="21" y="5"/>
                </a:cubicBezTo>
                <a:cubicBezTo>
                  <a:pt x="19" y="5"/>
                  <a:pt x="17" y="4"/>
                  <a:pt x="15" y="3"/>
                </a:cubicBezTo>
                <a:cubicBezTo>
                  <a:pt x="14" y="2"/>
                  <a:pt x="12" y="2"/>
                  <a:pt x="11" y="2"/>
                </a:cubicBezTo>
                <a:cubicBezTo>
                  <a:pt x="11" y="2"/>
                  <a:pt x="10" y="0"/>
                  <a:pt x="9" y="0"/>
                </a:cubicBezTo>
                <a:cubicBezTo>
                  <a:pt x="8" y="1"/>
                  <a:pt x="10" y="0"/>
                  <a:pt x="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63" name="Freeform 458">
            <a:extLst>
              <a:ext uri="{FF2B5EF4-FFF2-40B4-BE49-F238E27FC236}">
                <a16:creationId xmlns:a16="http://schemas.microsoft.com/office/drawing/2014/main" id="{FD9AEB36-B7BB-114C-B989-8B62C40CA28E}"/>
              </a:ext>
            </a:extLst>
          </p:cNvPr>
          <p:cNvSpPr>
            <a:spLocks/>
          </p:cNvSpPr>
          <p:nvPr/>
        </p:nvSpPr>
        <p:spPr bwMode="auto">
          <a:xfrm>
            <a:off x="8713868" y="5072524"/>
            <a:ext cx="40591" cy="15887"/>
          </a:xfrm>
          <a:custGeom>
            <a:avLst/>
            <a:gdLst>
              <a:gd name="T0" fmla="*/ 3 w 8"/>
              <a:gd name="T1" fmla="*/ 3 h 3"/>
              <a:gd name="T2" fmla="*/ 8 w 8"/>
              <a:gd name="T3" fmla="*/ 1 h 3"/>
              <a:gd name="T4" fmla="*/ 3 w 8"/>
              <a:gd name="T5" fmla="*/ 3 h 3"/>
              <a:gd name="T6" fmla="*/ 3 w 8"/>
              <a:gd name="T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3">
                <a:moveTo>
                  <a:pt x="3" y="3"/>
                </a:moveTo>
                <a:cubicBezTo>
                  <a:pt x="0" y="2"/>
                  <a:pt x="7" y="0"/>
                  <a:pt x="8" y="1"/>
                </a:cubicBezTo>
                <a:cubicBezTo>
                  <a:pt x="8" y="2"/>
                  <a:pt x="4" y="3"/>
                  <a:pt x="3" y="3"/>
                </a:cubicBezTo>
                <a:cubicBezTo>
                  <a:pt x="2" y="3"/>
                  <a:pt x="4" y="3"/>
                  <a:pt x="3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64" name="Freeform 459">
            <a:extLst>
              <a:ext uri="{FF2B5EF4-FFF2-40B4-BE49-F238E27FC236}">
                <a16:creationId xmlns:a16="http://schemas.microsoft.com/office/drawing/2014/main" id="{605D5416-6B5C-7047-8DB9-F97A4C91D38D}"/>
              </a:ext>
            </a:extLst>
          </p:cNvPr>
          <p:cNvSpPr>
            <a:spLocks/>
          </p:cNvSpPr>
          <p:nvPr/>
        </p:nvSpPr>
        <p:spPr bwMode="auto">
          <a:xfrm>
            <a:off x="8770342" y="5109596"/>
            <a:ext cx="31766" cy="21184"/>
          </a:xfrm>
          <a:custGeom>
            <a:avLst/>
            <a:gdLst>
              <a:gd name="T0" fmla="*/ 3 w 6"/>
              <a:gd name="T1" fmla="*/ 0 h 4"/>
              <a:gd name="T2" fmla="*/ 1 w 6"/>
              <a:gd name="T3" fmla="*/ 1 h 4"/>
              <a:gd name="T4" fmla="*/ 3 w 6"/>
              <a:gd name="T5" fmla="*/ 4 h 4"/>
              <a:gd name="T6" fmla="*/ 3 w 6"/>
              <a:gd name="T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4">
                <a:moveTo>
                  <a:pt x="3" y="0"/>
                </a:moveTo>
                <a:cubicBezTo>
                  <a:pt x="2" y="0"/>
                  <a:pt x="0" y="0"/>
                  <a:pt x="1" y="1"/>
                </a:cubicBezTo>
                <a:cubicBezTo>
                  <a:pt x="1" y="1"/>
                  <a:pt x="3" y="4"/>
                  <a:pt x="3" y="4"/>
                </a:cubicBezTo>
                <a:cubicBezTo>
                  <a:pt x="5" y="4"/>
                  <a:pt x="6" y="0"/>
                  <a:pt x="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65" name="Freeform 460">
            <a:extLst>
              <a:ext uri="{FF2B5EF4-FFF2-40B4-BE49-F238E27FC236}">
                <a16:creationId xmlns:a16="http://schemas.microsoft.com/office/drawing/2014/main" id="{D09314B3-8154-8D43-B630-984F3517D5CD}"/>
              </a:ext>
            </a:extLst>
          </p:cNvPr>
          <p:cNvSpPr>
            <a:spLocks/>
          </p:cNvSpPr>
          <p:nvPr/>
        </p:nvSpPr>
        <p:spPr bwMode="auto">
          <a:xfrm>
            <a:off x="8802110" y="5114891"/>
            <a:ext cx="24708" cy="15887"/>
          </a:xfrm>
          <a:custGeom>
            <a:avLst/>
            <a:gdLst>
              <a:gd name="T0" fmla="*/ 4 w 5"/>
              <a:gd name="T1" fmla="*/ 1 h 3"/>
              <a:gd name="T2" fmla="*/ 2 w 5"/>
              <a:gd name="T3" fmla="*/ 0 h 3"/>
              <a:gd name="T4" fmla="*/ 1 w 5"/>
              <a:gd name="T5" fmla="*/ 2 h 3"/>
              <a:gd name="T6" fmla="*/ 2 w 5"/>
              <a:gd name="T7" fmla="*/ 2 h 3"/>
              <a:gd name="T8" fmla="*/ 4 w 5"/>
              <a:gd name="T9" fmla="*/ 1 h 3"/>
              <a:gd name="T10" fmla="*/ 4 w 5"/>
              <a:gd name="T11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3">
                <a:moveTo>
                  <a:pt x="4" y="1"/>
                </a:moveTo>
                <a:cubicBezTo>
                  <a:pt x="4" y="1"/>
                  <a:pt x="3" y="0"/>
                  <a:pt x="2" y="0"/>
                </a:cubicBezTo>
                <a:cubicBezTo>
                  <a:pt x="2" y="1"/>
                  <a:pt x="0" y="2"/>
                  <a:pt x="1" y="2"/>
                </a:cubicBezTo>
                <a:cubicBezTo>
                  <a:pt x="1" y="2"/>
                  <a:pt x="2" y="3"/>
                  <a:pt x="2" y="2"/>
                </a:cubicBezTo>
                <a:cubicBezTo>
                  <a:pt x="3" y="2"/>
                  <a:pt x="5" y="2"/>
                  <a:pt x="4" y="1"/>
                </a:cubicBezTo>
                <a:cubicBezTo>
                  <a:pt x="4" y="1"/>
                  <a:pt x="5" y="2"/>
                  <a:pt x="4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66" name="Freeform 461">
            <a:extLst>
              <a:ext uri="{FF2B5EF4-FFF2-40B4-BE49-F238E27FC236}">
                <a16:creationId xmlns:a16="http://schemas.microsoft.com/office/drawing/2014/main" id="{487D5545-9679-904E-82B1-6110FE305A0F}"/>
              </a:ext>
            </a:extLst>
          </p:cNvPr>
          <p:cNvSpPr>
            <a:spLocks/>
          </p:cNvSpPr>
          <p:nvPr/>
        </p:nvSpPr>
        <p:spPr bwMode="auto">
          <a:xfrm>
            <a:off x="8821522" y="5114891"/>
            <a:ext cx="37062" cy="21184"/>
          </a:xfrm>
          <a:custGeom>
            <a:avLst/>
            <a:gdLst>
              <a:gd name="T0" fmla="*/ 2 w 7"/>
              <a:gd name="T1" fmla="*/ 1 h 4"/>
              <a:gd name="T2" fmla="*/ 2 w 7"/>
              <a:gd name="T3" fmla="*/ 4 h 4"/>
              <a:gd name="T4" fmla="*/ 6 w 7"/>
              <a:gd name="T5" fmla="*/ 3 h 4"/>
              <a:gd name="T6" fmla="*/ 5 w 7"/>
              <a:gd name="T7" fmla="*/ 1 h 4"/>
              <a:gd name="T8" fmla="*/ 2 w 7"/>
              <a:gd name="T9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4">
                <a:moveTo>
                  <a:pt x="2" y="1"/>
                </a:moveTo>
                <a:cubicBezTo>
                  <a:pt x="1" y="2"/>
                  <a:pt x="0" y="4"/>
                  <a:pt x="2" y="4"/>
                </a:cubicBezTo>
                <a:cubicBezTo>
                  <a:pt x="4" y="4"/>
                  <a:pt x="5" y="4"/>
                  <a:pt x="6" y="3"/>
                </a:cubicBezTo>
                <a:cubicBezTo>
                  <a:pt x="7" y="3"/>
                  <a:pt x="5" y="2"/>
                  <a:pt x="5" y="1"/>
                </a:cubicBezTo>
                <a:cubicBezTo>
                  <a:pt x="4" y="0"/>
                  <a:pt x="3" y="0"/>
                  <a:pt x="2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67" name="Freeform 462">
            <a:extLst>
              <a:ext uri="{FF2B5EF4-FFF2-40B4-BE49-F238E27FC236}">
                <a16:creationId xmlns:a16="http://schemas.microsoft.com/office/drawing/2014/main" id="{4641F1C6-59C7-AD4D-A0A6-60A628D5D415}"/>
              </a:ext>
            </a:extLst>
          </p:cNvPr>
          <p:cNvSpPr>
            <a:spLocks/>
          </p:cNvSpPr>
          <p:nvPr/>
        </p:nvSpPr>
        <p:spPr bwMode="auto">
          <a:xfrm>
            <a:off x="8847995" y="5109596"/>
            <a:ext cx="42356" cy="26481"/>
          </a:xfrm>
          <a:custGeom>
            <a:avLst/>
            <a:gdLst>
              <a:gd name="T0" fmla="*/ 1 w 8"/>
              <a:gd name="T1" fmla="*/ 0 h 5"/>
              <a:gd name="T2" fmla="*/ 0 w 8"/>
              <a:gd name="T3" fmla="*/ 1 h 5"/>
              <a:gd name="T4" fmla="*/ 2 w 8"/>
              <a:gd name="T5" fmla="*/ 2 h 5"/>
              <a:gd name="T6" fmla="*/ 2 w 8"/>
              <a:gd name="T7" fmla="*/ 3 h 5"/>
              <a:gd name="T8" fmla="*/ 7 w 8"/>
              <a:gd name="T9" fmla="*/ 4 h 5"/>
              <a:gd name="T10" fmla="*/ 7 w 8"/>
              <a:gd name="T11" fmla="*/ 1 h 5"/>
              <a:gd name="T12" fmla="*/ 1 w 8"/>
              <a:gd name="T13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" h="5">
                <a:moveTo>
                  <a:pt x="1" y="0"/>
                </a:moveTo>
                <a:cubicBezTo>
                  <a:pt x="0" y="0"/>
                  <a:pt x="0" y="0"/>
                  <a:pt x="0" y="1"/>
                </a:cubicBezTo>
                <a:cubicBezTo>
                  <a:pt x="0" y="1"/>
                  <a:pt x="2" y="1"/>
                  <a:pt x="2" y="2"/>
                </a:cubicBezTo>
                <a:cubicBezTo>
                  <a:pt x="2" y="2"/>
                  <a:pt x="2" y="3"/>
                  <a:pt x="2" y="3"/>
                </a:cubicBezTo>
                <a:cubicBezTo>
                  <a:pt x="2" y="4"/>
                  <a:pt x="6" y="5"/>
                  <a:pt x="7" y="4"/>
                </a:cubicBezTo>
                <a:cubicBezTo>
                  <a:pt x="8" y="3"/>
                  <a:pt x="8" y="2"/>
                  <a:pt x="7" y="1"/>
                </a:cubicBezTo>
                <a:cubicBezTo>
                  <a:pt x="5" y="1"/>
                  <a:pt x="3" y="1"/>
                  <a:pt x="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68" name="Freeform 463">
            <a:extLst>
              <a:ext uri="{FF2B5EF4-FFF2-40B4-BE49-F238E27FC236}">
                <a16:creationId xmlns:a16="http://schemas.microsoft.com/office/drawing/2014/main" id="{F009B224-0829-DC4B-A837-F1859FD9985C}"/>
              </a:ext>
            </a:extLst>
          </p:cNvPr>
          <p:cNvSpPr>
            <a:spLocks/>
          </p:cNvSpPr>
          <p:nvPr/>
        </p:nvSpPr>
        <p:spPr bwMode="auto">
          <a:xfrm>
            <a:off x="8904472" y="5114891"/>
            <a:ext cx="63534" cy="21184"/>
          </a:xfrm>
          <a:custGeom>
            <a:avLst/>
            <a:gdLst>
              <a:gd name="T0" fmla="*/ 2 w 12"/>
              <a:gd name="T1" fmla="*/ 0 h 4"/>
              <a:gd name="T2" fmla="*/ 0 w 12"/>
              <a:gd name="T3" fmla="*/ 2 h 4"/>
              <a:gd name="T4" fmla="*/ 12 w 12"/>
              <a:gd name="T5" fmla="*/ 2 h 4"/>
              <a:gd name="T6" fmla="*/ 9 w 12"/>
              <a:gd name="T7" fmla="*/ 2 h 4"/>
              <a:gd name="T8" fmla="*/ 2 w 12"/>
              <a:gd name="T9" fmla="*/ 0 h 4"/>
              <a:gd name="T10" fmla="*/ 2 w 12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" h="4">
                <a:moveTo>
                  <a:pt x="2" y="0"/>
                </a:moveTo>
                <a:cubicBezTo>
                  <a:pt x="2" y="0"/>
                  <a:pt x="0" y="1"/>
                  <a:pt x="0" y="2"/>
                </a:cubicBezTo>
                <a:cubicBezTo>
                  <a:pt x="0" y="2"/>
                  <a:pt x="11" y="4"/>
                  <a:pt x="12" y="2"/>
                </a:cubicBezTo>
                <a:cubicBezTo>
                  <a:pt x="12" y="1"/>
                  <a:pt x="9" y="2"/>
                  <a:pt x="9" y="2"/>
                </a:cubicBezTo>
                <a:cubicBezTo>
                  <a:pt x="7" y="2"/>
                  <a:pt x="4" y="1"/>
                  <a:pt x="2" y="0"/>
                </a:cubicBezTo>
                <a:cubicBezTo>
                  <a:pt x="2" y="0"/>
                  <a:pt x="3" y="0"/>
                  <a:pt x="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69" name="Freeform 464">
            <a:extLst>
              <a:ext uri="{FF2B5EF4-FFF2-40B4-BE49-F238E27FC236}">
                <a16:creationId xmlns:a16="http://schemas.microsoft.com/office/drawing/2014/main" id="{8884CCAD-6C58-9045-9A97-26DEDDC6D10C}"/>
              </a:ext>
            </a:extLst>
          </p:cNvPr>
          <p:cNvSpPr>
            <a:spLocks/>
          </p:cNvSpPr>
          <p:nvPr/>
        </p:nvSpPr>
        <p:spPr bwMode="auto">
          <a:xfrm>
            <a:off x="8885058" y="5144902"/>
            <a:ext cx="56474" cy="31774"/>
          </a:xfrm>
          <a:custGeom>
            <a:avLst/>
            <a:gdLst>
              <a:gd name="T0" fmla="*/ 0 w 11"/>
              <a:gd name="T1" fmla="*/ 0 h 6"/>
              <a:gd name="T2" fmla="*/ 8 w 11"/>
              <a:gd name="T3" fmla="*/ 4 h 6"/>
              <a:gd name="T4" fmla="*/ 0 w 11"/>
              <a:gd name="T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1" h="6">
                <a:moveTo>
                  <a:pt x="0" y="0"/>
                </a:moveTo>
                <a:cubicBezTo>
                  <a:pt x="1" y="0"/>
                  <a:pt x="7" y="6"/>
                  <a:pt x="8" y="4"/>
                </a:cubicBezTo>
                <a:cubicBezTo>
                  <a:pt x="11" y="1"/>
                  <a:pt x="1" y="0"/>
                  <a:pt x="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70" name="Freeform 465">
            <a:extLst>
              <a:ext uri="{FF2B5EF4-FFF2-40B4-BE49-F238E27FC236}">
                <a16:creationId xmlns:a16="http://schemas.microsoft.com/office/drawing/2014/main" id="{37260A87-53A0-B54C-B9CC-3C505D8842FC}"/>
              </a:ext>
            </a:extLst>
          </p:cNvPr>
          <p:cNvSpPr>
            <a:spLocks/>
          </p:cNvSpPr>
          <p:nvPr/>
        </p:nvSpPr>
        <p:spPr bwMode="auto">
          <a:xfrm>
            <a:off x="9065071" y="4978964"/>
            <a:ext cx="31766" cy="21184"/>
          </a:xfrm>
          <a:custGeom>
            <a:avLst/>
            <a:gdLst>
              <a:gd name="T0" fmla="*/ 3 w 6"/>
              <a:gd name="T1" fmla="*/ 3 h 4"/>
              <a:gd name="T2" fmla="*/ 4 w 6"/>
              <a:gd name="T3" fmla="*/ 0 h 4"/>
              <a:gd name="T4" fmla="*/ 3 w 6"/>
              <a:gd name="T5" fmla="*/ 3 h 4"/>
              <a:gd name="T6" fmla="*/ 3 w 6"/>
              <a:gd name="T7" fmla="*/ 3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4">
                <a:moveTo>
                  <a:pt x="3" y="3"/>
                </a:moveTo>
                <a:cubicBezTo>
                  <a:pt x="0" y="4"/>
                  <a:pt x="1" y="0"/>
                  <a:pt x="4" y="0"/>
                </a:cubicBezTo>
                <a:cubicBezTo>
                  <a:pt x="6" y="0"/>
                  <a:pt x="5" y="3"/>
                  <a:pt x="3" y="3"/>
                </a:cubicBezTo>
                <a:cubicBezTo>
                  <a:pt x="2" y="4"/>
                  <a:pt x="5" y="3"/>
                  <a:pt x="3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71" name="Freeform 466">
            <a:extLst>
              <a:ext uri="{FF2B5EF4-FFF2-40B4-BE49-F238E27FC236}">
                <a16:creationId xmlns:a16="http://schemas.microsoft.com/office/drawing/2014/main" id="{D3BA68A1-69FB-2044-8A4B-5776843A4858}"/>
              </a:ext>
            </a:extLst>
          </p:cNvPr>
          <p:cNvSpPr>
            <a:spLocks/>
          </p:cNvSpPr>
          <p:nvPr/>
        </p:nvSpPr>
        <p:spPr bwMode="auto">
          <a:xfrm>
            <a:off x="9118018" y="4975434"/>
            <a:ext cx="77653" cy="24714"/>
          </a:xfrm>
          <a:custGeom>
            <a:avLst/>
            <a:gdLst>
              <a:gd name="T0" fmla="*/ 2 w 15"/>
              <a:gd name="T1" fmla="*/ 3 h 5"/>
              <a:gd name="T2" fmla="*/ 1 w 15"/>
              <a:gd name="T3" fmla="*/ 1 h 5"/>
              <a:gd name="T4" fmla="*/ 5 w 15"/>
              <a:gd name="T5" fmla="*/ 0 h 5"/>
              <a:gd name="T6" fmla="*/ 13 w 15"/>
              <a:gd name="T7" fmla="*/ 2 h 5"/>
              <a:gd name="T8" fmla="*/ 15 w 15"/>
              <a:gd name="T9" fmla="*/ 5 h 5"/>
              <a:gd name="T10" fmla="*/ 11 w 15"/>
              <a:gd name="T11" fmla="*/ 3 h 5"/>
              <a:gd name="T12" fmla="*/ 2 w 15"/>
              <a:gd name="T13" fmla="*/ 3 h 5"/>
              <a:gd name="T14" fmla="*/ 2 w 15"/>
              <a:gd name="T15" fmla="*/ 3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5">
                <a:moveTo>
                  <a:pt x="2" y="3"/>
                </a:moveTo>
                <a:cubicBezTo>
                  <a:pt x="1" y="3"/>
                  <a:pt x="0" y="2"/>
                  <a:pt x="1" y="1"/>
                </a:cubicBezTo>
                <a:cubicBezTo>
                  <a:pt x="2" y="0"/>
                  <a:pt x="3" y="0"/>
                  <a:pt x="5" y="0"/>
                </a:cubicBezTo>
                <a:cubicBezTo>
                  <a:pt x="8" y="0"/>
                  <a:pt x="10" y="0"/>
                  <a:pt x="13" y="2"/>
                </a:cubicBezTo>
                <a:cubicBezTo>
                  <a:pt x="14" y="3"/>
                  <a:pt x="15" y="4"/>
                  <a:pt x="15" y="5"/>
                </a:cubicBezTo>
                <a:cubicBezTo>
                  <a:pt x="14" y="5"/>
                  <a:pt x="11" y="3"/>
                  <a:pt x="11" y="3"/>
                </a:cubicBezTo>
                <a:cubicBezTo>
                  <a:pt x="8" y="2"/>
                  <a:pt x="5" y="3"/>
                  <a:pt x="2" y="3"/>
                </a:cubicBezTo>
                <a:cubicBezTo>
                  <a:pt x="1" y="3"/>
                  <a:pt x="3" y="3"/>
                  <a:pt x="2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72" name="Freeform 467">
            <a:extLst>
              <a:ext uri="{FF2B5EF4-FFF2-40B4-BE49-F238E27FC236}">
                <a16:creationId xmlns:a16="http://schemas.microsoft.com/office/drawing/2014/main" id="{38CC1DFF-2261-C546-BF63-082BDAA4E2E9}"/>
              </a:ext>
            </a:extLst>
          </p:cNvPr>
          <p:cNvSpPr>
            <a:spLocks/>
          </p:cNvSpPr>
          <p:nvPr/>
        </p:nvSpPr>
        <p:spPr bwMode="auto">
          <a:xfrm>
            <a:off x="8879763" y="4855392"/>
            <a:ext cx="165896" cy="187122"/>
          </a:xfrm>
          <a:custGeom>
            <a:avLst/>
            <a:gdLst>
              <a:gd name="T0" fmla="*/ 13 w 32"/>
              <a:gd name="T1" fmla="*/ 32 h 36"/>
              <a:gd name="T2" fmla="*/ 14 w 32"/>
              <a:gd name="T3" fmla="*/ 30 h 36"/>
              <a:gd name="T4" fmla="*/ 11 w 32"/>
              <a:gd name="T5" fmla="*/ 28 h 36"/>
              <a:gd name="T6" fmla="*/ 12 w 32"/>
              <a:gd name="T7" fmla="*/ 23 h 36"/>
              <a:gd name="T8" fmla="*/ 8 w 32"/>
              <a:gd name="T9" fmla="*/ 23 h 36"/>
              <a:gd name="T10" fmla="*/ 8 w 32"/>
              <a:gd name="T11" fmla="*/ 29 h 36"/>
              <a:gd name="T12" fmla="*/ 8 w 32"/>
              <a:gd name="T13" fmla="*/ 30 h 36"/>
              <a:gd name="T14" fmla="*/ 7 w 32"/>
              <a:gd name="T15" fmla="*/ 34 h 36"/>
              <a:gd name="T16" fmla="*/ 4 w 32"/>
              <a:gd name="T17" fmla="*/ 36 h 36"/>
              <a:gd name="T18" fmla="*/ 4 w 32"/>
              <a:gd name="T19" fmla="*/ 31 h 36"/>
              <a:gd name="T20" fmla="*/ 2 w 32"/>
              <a:gd name="T21" fmla="*/ 26 h 36"/>
              <a:gd name="T22" fmla="*/ 1 w 32"/>
              <a:gd name="T23" fmla="*/ 21 h 36"/>
              <a:gd name="T24" fmla="*/ 3 w 32"/>
              <a:gd name="T25" fmla="*/ 14 h 36"/>
              <a:gd name="T26" fmla="*/ 9 w 32"/>
              <a:gd name="T27" fmla="*/ 5 h 36"/>
              <a:gd name="T28" fmla="*/ 11 w 32"/>
              <a:gd name="T29" fmla="*/ 2 h 36"/>
              <a:gd name="T30" fmla="*/ 18 w 32"/>
              <a:gd name="T31" fmla="*/ 4 h 36"/>
              <a:gd name="T32" fmla="*/ 25 w 32"/>
              <a:gd name="T33" fmla="*/ 4 h 36"/>
              <a:gd name="T34" fmla="*/ 32 w 32"/>
              <a:gd name="T35" fmla="*/ 1 h 36"/>
              <a:gd name="T36" fmla="*/ 29 w 32"/>
              <a:gd name="T37" fmla="*/ 6 h 36"/>
              <a:gd name="T38" fmla="*/ 23 w 32"/>
              <a:gd name="T39" fmla="*/ 7 h 36"/>
              <a:gd name="T40" fmla="*/ 10 w 32"/>
              <a:gd name="T41" fmla="*/ 7 h 36"/>
              <a:gd name="T42" fmla="*/ 6 w 32"/>
              <a:gd name="T43" fmla="*/ 10 h 36"/>
              <a:gd name="T44" fmla="*/ 10 w 32"/>
              <a:gd name="T45" fmla="*/ 15 h 36"/>
              <a:gd name="T46" fmla="*/ 13 w 32"/>
              <a:gd name="T47" fmla="*/ 14 h 36"/>
              <a:gd name="T48" fmla="*/ 20 w 32"/>
              <a:gd name="T49" fmla="*/ 13 h 36"/>
              <a:gd name="T50" fmla="*/ 17 w 32"/>
              <a:gd name="T51" fmla="*/ 16 h 36"/>
              <a:gd name="T52" fmla="*/ 13 w 32"/>
              <a:gd name="T53" fmla="*/ 17 h 36"/>
              <a:gd name="T54" fmla="*/ 14 w 32"/>
              <a:gd name="T55" fmla="*/ 20 h 36"/>
              <a:gd name="T56" fmla="*/ 18 w 32"/>
              <a:gd name="T57" fmla="*/ 25 h 36"/>
              <a:gd name="T58" fmla="*/ 19 w 32"/>
              <a:gd name="T59" fmla="*/ 28 h 36"/>
              <a:gd name="T60" fmla="*/ 22 w 32"/>
              <a:gd name="T61" fmla="*/ 30 h 36"/>
              <a:gd name="T62" fmla="*/ 13 w 32"/>
              <a:gd name="T63" fmla="*/ 32 h 36"/>
              <a:gd name="T64" fmla="*/ 13 w 32"/>
              <a:gd name="T65" fmla="*/ 32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2" h="36">
                <a:moveTo>
                  <a:pt x="13" y="32"/>
                </a:moveTo>
                <a:cubicBezTo>
                  <a:pt x="13" y="31"/>
                  <a:pt x="14" y="31"/>
                  <a:pt x="14" y="30"/>
                </a:cubicBezTo>
                <a:cubicBezTo>
                  <a:pt x="14" y="29"/>
                  <a:pt x="12" y="28"/>
                  <a:pt x="11" y="28"/>
                </a:cubicBezTo>
                <a:cubicBezTo>
                  <a:pt x="10" y="26"/>
                  <a:pt x="12" y="25"/>
                  <a:pt x="12" y="23"/>
                </a:cubicBezTo>
                <a:cubicBezTo>
                  <a:pt x="12" y="22"/>
                  <a:pt x="8" y="22"/>
                  <a:pt x="8" y="23"/>
                </a:cubicBezTo>
                <a:cubicBezTo>
                  <a:pt x="7" y="25"/>
                  <a:pt x="8" y="27"/>
                  <a:pt x="8" y="29"/>
                </a:cubicBezTo>
                <a:cubicBezTo>
                  <a:pt x="7" y="29"/>
                  <a:pt x="8" y="30"/>
                  <a:pt x="8" y="30"/>
                </a:cubicBezTo>
                <a:cubicBezTo>
                  <a:pt x="8" y="32"/>
                  <a:pt x="7" y="33"/>
                  <a:pt x="7" y="34"/>
                </a:cubicBezTo>
                <a:cubicBezTo>
                  <a:pt x="6" y="36"/>
                  <a:pt x="7" y="36"/>
                  <a:pt x="4" y="36"/>
                </a:cubicBezTo>
                <a:cubicBezTo>
                  <a:pt x="1" y="36"/>
                  <a:pt x="4" y="32"/>
                  <a:pt x="4" y="31"/>
                </a:cubicBezTo>
                <a:cubicBezTo>
                  <a:pt x="5" y="30"/>
                  <a:pt x="4" y="27"/>
                  <a:pt x="2" y="26"/>
                </a:cubicBezTo>
                <a:cubicBezTo>
                  <a:pt x="0" y="25"/>
                  <a:pt x="0" y="23"/>
                  <a:pt x="1" y="21"/>
                </a:cubicBezTo>
                <a:cubicBezTo>
                  <a:pt x="2" y="19"/>
                  <a:pt x="2" y="16"/>
                  <a:pt x="3" y="14"/>
                </a:cubicBezTo>
                <a:cubicBezTo>
                  <a:pt x="5" y="11"/>
                  <a:pt x="4" y="5"/>
                  <a:pt x="9" y="5"/>
                </a:cubicBezTo>
                <a:cubicBezTo>
                  <a:pt x="10" y="5"/>
                  <a:pt x="9" y="2"/>
                  <a:pt x="11" y="2"/>
                </a:cubicBezTo>
                <a:cubicBezTo>
                  <a:pt x="14" y="3"/>
                  <a:pt x="16" y="4"/>
                  <a:pt x="18" y="4"/>
                </a:cubicBezTo>
                <a:cubicBezTo>
                  <a:pt x="20" y="4"/>
                  <a:pt x="23" y="5"/>
                  <a:pt x="25" y="4"/>
                </a:cubicBezTo>
                <a:cubicBezTo>
                  <a:pt x="26" y="4"/>
                  <a:pt x="32" y="0"/>
                  <a:pt x="32" y="1"/>
                </a:cubicBezTo>
                <a:cubicBezTo>
                  <a:pt x="32" y="2"/>
                  <a:pt x="29" y="5"/>
                  <a:pt x="29" y="6"/>
                </a:cubicBezTo>
                <a:cubicBezTo>
                  <a:pt x="27" y="7"/>
                  <a:pt x="25" y="7"/>
                  <a:pt x="23" y="7"/>
                </a:cubicBezTo>
                <a:cubicBezTo>
                  <a:pt x="18" y="6"/>
                  <a:pt x="14" y="7"/>
                  <a:pt x="10" y="7"/>
                </a:cubicBezTo>
                <a:cubicBezTo>
                  <a:pt x="7" y="6"/>
                  <a:pt x="6" y="7"/>
                  <a:pt x="6" y="10"/>
                </a:cubicBezTo>
                <a:cubicBezTo>
                  <a:pt x="6" y="13"/>
                  <a:pt x="9" y="13"/>
                  <a:pt x="10" y="15"/>
                </a:cubicBezTo>
                <a:cubicBezTo>
                  <a:pt x="11" y="17"/>
                  <a:pt x="12" y="15"/>
                  <a:pt x="13" y="14"/>
                </a:cubicBezTo>
                <a:cubicBezTo>
                  <a:pt x="13" y="13"/>
                  <a:pt x="20" y="12"/>
                  <a:pt x="20" y="13"/>
                </a:cubicBezTo>
                <a:cubicBezTo>
                  <a:pt x="21" y="13"/>
                  <a:pt x="18" y="16"/>
                  <a:pt x="17" y="16"/>
                </a:cubicBezTo>
                <a:cubicBezTo>
                  <a:pt x="15" y="18"/>
                  <a:pt x="15" y="18"/>
                  <a:pt x="13" y="17"/>
                </a:cubicBezTo>
                <a:cubicBezTo>
                  <a:pt x="13" y="17"/>
                  <a:pt x="14" y="20"/>
                  <a:pt x="14" y="20"/>
                </a:cubicBezTo>
                <a:cubicBezTo>
                  <a:pt x="15" y="21"/>
                  <a:pt x="18" y="23"/>
                  <a:pt x="18" y="25"/>
                </a:cubicBezTo>
                <a:cubicBezTo>
                  <a:pt x="18" y="26"/>
                  <a:pt x="18" y="27"/>
                  <a:pt x="19" y="28"/>
                </a:cubicBezTo>
                <a:cubicBezTo>
                  <a:pt x="19" y="28"/>
                  <a:pt x="21" y="30"/>
                  <a:pt x="22" y="30"/>
                </a:cubicBezTo>
                <a:cubicBezTo>
                  <a:pt x="20" y="31"/>
                  <a:pt x="15" y="33"/>
                  <a:pt x="13" y="32"/>
                </a:cubicBezTo>
                <a:cubicBezTo>
                  <a:pt x="13" y="31"/>
                  <a:pt x="14" y="33"/>
                  <a:pt x="13" y="3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73" name="Freeform 468">
            <a:extLst>
              <a:ext uri="{FF2B5EF4-FFF2-40B4-BE49-F238E27FC236}">
                <a16:creationId xmlns:a16="http://schemas.microsoft.com/office/drawing/2014/main" id="{191BA7FB-DEF7-B744-B0D4-8FBF28197B32}"/>
              </a:ext>
            </a:extLst>
          </p:cNvPr>
          <p:cNvSpPr>
            <a:spLocks/>
          </p:cNvSpPr>
          <p:nvPr/>
        </p:nvSpPr>
        <p:spPr bwMode="auto">
          <a:xfrm>
            <a:off x="9102133" y="4844800"/>
            <a:ext cx="40591" cy="77673"/>
          </a:xfrm>
          <a:custGeom>
            <a:avLst/>
            <a:gdLst>
              <a:gd name="T0" fmla="*/ 3 w 8"/>
              <a:gd name="T1" fmla="*/ 2 h 15"/>
              <a:gd name="T2" fmla="*/ 3 w 8"/>
              <a:gd name="T3" fmla="*/ 0 h 15"/>
              <a:gd name="T4" fmla="*/ 0 w 8"/>
              <a:gd name="T5" fmla="*/ 4 h 15"/>
              <a:gd name="T6" fmla="*/ 1 w 8"/>
              <a:gd name="T7" fmla="*/ 8 h 15"/>
              <a:gd name="T8" fmla="*/ 2 w 8"/>
              <a:gd name="T9" fmla="*/ 12 h 15"/>
              <a:gd name="T10" fmla="*/ 5 w 8"/>
              <a:gd name="T11" fmla="*/ 15 h 15"/>
              <a:gd name="T12" fmla="*/ 4 w 8"/>
              <a:gd name="T13" fmla="*/ 13 h 15"/>
              <a:gd name="T14" fmla="*/ 3 w 8"/>
              <a:gd name="T15" fmla="*/ 9 h 15"/>
              <a:gd name="T16" fmla="*/ 7 w 8"/>
              <a:gd name="T17" fmla="*/ 9 h 15"/>
              <a:gd name="T18" fmla="*/ 5 w 8"/>
              <a:gd name="T19" fmla="*/ 7 h 15"/>
              <a:gd name="T20" fmla="*/ 6 w 8"/>
              <a:gd name="T21" fmla="*/ 5 h 15"/>
              <a:gd name="T22" fmla="*/ 2 w 8"/>
              <a:gd name="T23" fmla="*/ 6 h 15"/>
              <a:gd name="T24" fmla="*/ 3 w 8"/>
              <a:gd name="T25" fmla="*/ 2 h 15"/>
              <a:gd name="T26" fmla="*/ 3 w 8"/>
              <a:gd name="T27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" h="15">
                <a:moveTo>
                  <a:pt x="3" y="2"/>
                </a:moveTo>
                <a:cubicBezTo>
                  <a:pt x="3" y="1"/>
                  <a:pt x="3" y="1"/>
                  <a:pt x="3" y="0"/>
                </a:cubicBezTo>
                <a:cubicBezTo>
                  <a:pt x="2" y="0"/>
                  <a:pt x="0" y="3"/>
                  <a:pt x="0" y="4"/>
                </a:cubicBezTo>
                <a:cubicBezTo>
                  <a:pt x="0" y="5"/>
                  <a:pt x="1" y="6"/>
                  <a:pt x="1" y="8"/>
                </a:cubicBezTo>
                <a:cubicBezTo>
                  <a:pt x="1" y="9"/>
                  <a:pt x="1" y="11"/>
                  <a:pt x="2" y="12"/>
                </a:cubicBezTo>
                <a:cubicBezTo>
                  <a:pt x="2" y="12"/>
                  <a:pt x="5" y="15"/>
                  <a:pt x="5" y="15"/>
                </a:cubicBezTo>
                <a:cubicBezTo>
                  <a:pt x="5" y="15"/>
                  <a:pt x="4" y="13"/>
                  <a:pt x="4" y="13"/>
                </a:cubicBezTo>
                <a:cubicBezTo>
                  <a:pt x="3" y="12"/>
                  <a:pt x="3" y="10"/>
                  <a:pt x="3" y="9"/>
                </a:cubicBezTo>
                <a:cubicBezTo>
                  <a:pt x="3" y="8"/>
                  <a:pt x="7" y="9"/>
                  <a:pt x="7" y="9"/>
                </a:cubicBezTo>
                <a:cubicBezTo>
                  <a:pt x="8" y="9"/>
                  <a:pt x="6" y="8"/>
                  <a:pt x="5" y="7"/>
                </a:cubicBezTo>
                <a:cubicBezTo>
                  <a:pt x="5" y="7"/>
                  <a:pt x="6" y="6"/>
                  <a:pt x="6" y="5"/>
                </a:cubicBezTo>
                <a:cubicBezTo>
                  <a:pt x="7" y="1"/>
                  <a:pt x="3" y="6"/>
                  <a:pt x="2" y="6"/>
                </a:cubicBezTo>
                <a:cubicBezTo>
                  <a:pt x="2" y="6"/>
                  <a:pt x="4" y="3"/>
                  <a:pt x="3" y="2"/>
                </a:cubicBezTo>
                <a:cubicBezTo>
                  <a:pt x="3" y="1"/>
                  <a:pt x="4" y="3"/>
                  <a:pt x="3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74" name="Freeform 469">
            <a:extLst>
              <a:ext uri="{FF2B5EF4-FFF2-40B4-BE49-F238E27FC236}">
                <a16:creationId xmlns:a16="http://schemas.microsoft.com/office/drawing/2014/main" id="{F8F788D8-1BBF-B74F-B5E4-ECAAAF930C6B}"/>
              </a:ext>
            </a:extLst>
          </p:cNvPr>
          <p:cNvSpPr>
            <a:spLocks/>
          </p:cNvSpPr>
          <p:nvPr/>
        </p:nvSpPr>
        <p:spPr bwMode="auto">
          <a:xfrm>
            <a:off x="9123313" y="4834209"/>
            <a:ext cx="14118" cy="10592"/>
          </a:xfrm>
          <a:custGeom>
            <a:avLst/>
            <a:gdLst>
              <a:gd name="T0" fmla="*/ 1 w 3"/>
              <a:gd name="T1" fmla="*/ 2 h 2"/>
              <a:gd name="T2" fmla="*/ 2 w 3"/>
              <a:gd name="T3" fmla="*/ 0 h 2"/>
              <a:gd name="T4" fmla="*/ 1 w 3"/>
              <a:gd name="T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" h="2">
                <a:moveTo>
                  <a:pt x="1" y="2"/>
                </a:moveTo>
                <a:cubicBezTo>
                  <a:pt x="0" y="2"/>
                  <a:pt x="1" y="0"/>
                  <a:pt x="2" y="0"/>
                </a:cubicBezTo>
                <a:cubicBezTo>
                  <a:pt x="3" y="0"/>
                  <a:pt x="2" y="2"/>
                  <a:pt x="1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75" name="Freeform 470">
            <a:extLst>
              <a:ext uri="{FF2B5EF4-FFF2-40B4-BE49-F238E27FC236}">
                <a16:creationId xmlns:a16="http://schemas.microsoft.com/office/drawing/2014/main" id="{AA0E43F1-00B0-8345-A5D0-5369BE253F36}"/>
              </a:ext>
            </a:extLst>
          </p:cNvPr>
          <p:cNvSpPr>
            <a:spLocks/>
          </p:cNvSpPr>
          <p:nvPr/>
        </p:nvSpPr>
        <p:spPr bwMode="auto">
          <a:xfrm>
            <a:off x="9179788" y="4901290"/>
            <a:ext cx="24708" cy="10592"/>
          </a:xfrm>
          <a:custGeom>
            <a:avLst/>
            <a:gdLst>
              <a:gd name="T0" fmla="*/ 5 w 5"/>
              <a:gd name="T1" fmla="*/ 1 h 2"/>
              <a:gd name="T2" fmla="*/ 0 w 5"/>
              <a:gd name="T3" fmla="*/ 1 h 2"/>
              <a:gd name="T4" fmla="*/ 5 w 5"/>
              <a:gd name="T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" h="2">
                <a:moveTo>
                  <a:pt x="5" y="1"/>
                </a:moveTo>
                <a:cubicBezTo>
                  <a:pt x="5" y="0"/>
                  <a:pt x="0" y="0"/>
                  <a:pt x="0" y="1"/>
                </a:cubicBezTo>
                <a:cubicBezTo>
                  <a:pt x="0" y="1"/>
                  <a:pt x="5" y="2"/>
                  <a:pt x="5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76" name="Freeform 471">
            <a:extLst>
              <a:ext uri="{FF2B5EF4-FFF2-40B4-BE49-F238E27FC236}">
                <a16:creationId xmlns:a16="http://schemas.microsoft.com/office/drawing/2014/main" id="{7F27B61B-AFFA-E744-B4C2-044084FE78E5}"/>
              </a:ext>
            </a:extLst>
          </p:cNvPr>
          <p:cNvSpPr>
            <a:spLocks/>
          </p:cNvSpPr>
          <p:nvPr/>
        </p:nvSpPr>
        <p:spPr bwMode="auto">
          <a:xfrm>
            <a:off x="9185083" y="4906585"/>
            <a:ext cx="97067" cy="58256"/>
          </a:xfrm>
          <a:custGeom>
            <a:avLst/>
            <a:gdLst>
              <a:gd name="T0" fmla="*/ 10 w 19"/>
              <a:gd name="T1" fmla="*/ 1 h 11"/>
              <a:gd name="T2" fmla="*/ 4 w 19"/>
              <a:gd name="T3" fmla="*/ 3 h 11"/>
              <a:gd name="T4" fmla="*/ 3 w 19"/>
              <a:gd name="T5" fmla="*/ 4 h 11"/>
              <a:gd name="T6" fmla="*/ 1 w 19"/>
              <a:gd name="T7" fmla="*/ 3 h 11"/>
              <a:gd name="T8" fmla="*/ 3 w 19"/>
              <a:gd name="T9" fmla="*/ 6 h 11"/>
              <a:gd name="T10" fmla="*/ 6 w 19"/>
              <a:gd name="T11" fmla="*/ 7 h 11"/>
              <a:gd name="T12" fmla="*/ 9 w 19"/>
              <a:gd name="T13" fmla="*/ 10 h 11"/>
              <a:gd name="T14" fmla="*/ 14 w 19"/>
              <a:gd name="T15" fmla="*/ 10 h 11"/>
              <a:gd name="T16" fmla="*/ 18 w 19"/>
              <a:gd name="T17" fmla="*/ 5 h 11"/>
              <a:gd name="T18" fmla="*/ 15 w 19"/>
              <a:gd name="T19" fmla="*/ 2 h 11"/>
              <a:gd name="T20" fmla="*/ 10 w 19"/>
              <a:gd name="T21" fmla="*/ 1 h 11"/>
              <a:gd name="T22" fmla="*/ 10 w 19"/>
              <a:gd name="T23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9" h="11">
                <a:moveTo>
                  <a:pt x="10" y="1"/>
                </a:moveTo>
                <a:cubicBezTo>
                  <a:pt x="9" y="0"/>
                  <a:pt x="5" y="2"/>
                  <a:pt x="4" y="3"/>
                </a:cubicBezTo>
                <a:cubicBezTo>
                  <a:pt x="3" y="3"/>
                  <a:pt x="4" y="3"/>
                  <a:pt x="3" y="4"/>
                </a:cubicBezTo>
                <a:cubicBezTo>
                  <a:pt x="3" y="5"/>
                  <a:pt x="2" y="3"/>
                  <a:pt x="1" y="3"/>
                </a:cubicBezTo>
                <a:cubicBezTo>
                  <a:pt x="0" y="3"/>
                  <a:pt x="2" y="6"/>
                  <a:pt x="3" y="6"/>
                </a:cubicBezTo>
                <a:cubicBezTo>
                  <a:pt x="3" y="7"/>
                  <a:pt x="5" y="7"/>
                  <a:pt x="6" y="7"/>
                </a:cubicBezTo>
                <a:cubicBezTo>
                  <a:pt x="8" y="7"/>
                  <a:pt x="8" y="9"/>
                  <a:pt x="9" y="10"/>
                </a:cubicBezTo>
                <a:cubicBezTo>
                  <a:pt x="10" y="11"/>
                  <a:pt x="13" y="10"/>
                  <a:pt x="14" y="10"/>
                </a:cubicBezTo>
                <a:cubicBezTo>
                  <a:pt x="18" y="10"/>
                  <a:pt x="19" y="8"/>
                  <a:pt x="18" y="5"/>
                </a:cubicBezTo>
                <a:cubicBezTo>
                  <a:pt x="18" y="3"/>
                  <a:pt x="17" y="2"/>
                  <a:pt x="15" y="2"/>
                </a:cubicBezTo>
                <a:cubicBezTo>
                  <a:pt x="14" y="2"/>
                  <a:pt x="12" y="1"/>
                  <a:pt x="10" y="1"/>
                </a:cubicBezTo>
                <a:cubicBezTo>
                  <a:pt x="10" y="1"/>
                  <a:pt x="11" y="1"/>
                  <a:pt x="10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77" name="Freeform 472">
            <a:extLst>
              <a:ext uri="{FF2B5EF4-FFF2-40B4-BE49-F238E27FC236}">
                <a16:creationId xmlns:a16="http://schemas.microsoft.com/office/drawing/2014/main" id="{F43102C5-3507-C641-9E44-D9E2A626A567}"/>
              </a:ext>
            </a:extLst>
          </p:cNvPr>
          <p:cNvSpPr>
            <a:spLocks/>
          </p:cNvSpPr>
          <p:nvPr/>
        </p:nvSpPr>
        <p:spPr bwMode="auto">
          <a:xfrm>
            <a:off x="9645707" y="5005444"/>
            <a:ext cx="107656" cy="61786"/>
          </a:xfrm>
          <a:custGeom>
            <a:avLst/>
            <a:gdLst>
              <a:gd name="T0" fmla="*/ 0 w 21"/>
              <a:gd name="T1" fmla="*/ 8 h 12"/>
              <a:gd name="T2" fmla="*/ 6 w 21"/>
              <a:gd name="T3" fmla="*/ 8 h 12"/>
              <a:gd name="T4" fmla="*/ 9 w 21"/>
              <a:gd name="T5" fmla="*/ 7 h 12"/>
              <a:gd name="T6" fmla="*/ 13 w 21"/>
              <a:gd name="T7" fmla="*/ 7 h 12"/>
              <a:gd name="T8" fmla="*/ 14 w 21"/>
              <a:gd name="T9" fmla="*/ 5 h 12"/>
              <a:gd name="T10" fmla="*/ 17 w 21"/>
              <a:gd name="T11" fmla="*/ 3 h 12"/>
              <a:gd name="T12" fmla="*/ 20 w 21"/>
              <a:gd name="T13" fmla="*/ 4 h 12"/>
              <a:gd name="T14" fmla="*/ 18 w 21"/>
              <a:gd name="T15" fmla="*/ 7 h 12"/>
              <a:gd name="T16" fmla="*/ 11 w 21"/>
              <a:gd name="T17" fmla="*/ 11 h 12"/>
              <a:gd name="T18" fmla="*/ 0 w 21"/>
              <a:gd name="T19" fmla="*/ 8 h 12"/>
              <a:gd name="T20" fmla="*/ 0 w 21"/>
              <a:gd name="T21" fmla="*/ 8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1" h="12">
                <a:moveTo>
                  <a:pt x="0" y="8"/>
                </a:moveTo>
                <a:cubicBezTo>
                  <a:pt x="1" y="7"/>
                  <a:pt x="5" y="8"/>
                  <a:pt x="6" y="8"/>
                </a:cubicBezTo>
                <a:cubicBezTo>
                  <a:pt x="7" y="8"/>
                  <a:pt x="8" y="6"/>
                  <a:pt x="9" y="7"/>
                </a:cubicBezTo>
                <a:cubicBezTo>
                  <a:pt x="10" y="8"/>
                  <a:pt x="12" y="8"/>
                  <a:pt x="13" y="7"/>
                </a:cubicBezTo>
                <a:cubicBezTo>
                  <a:pt x="13" y="6"/>
                  <a:pt x="14" y="5"/>
                  <a:pt x="14" y="5"/>
                </a:cubicBezTo>
                <a:cubicBezTo>
                  <a:pt x="15" y="5"/>
                  <a:pt x="17" y="5"/>
                  <a:pt x="17" y="3"/>
                </a:cubicBezTo>
                <a:cubicBezTo>
                  <a:pt x="17" y="0"/>
                  <a:pt x="21" y="2"/>
                  <a:pt x="20" y="4"/>
                </a:cubicBezTo>
                <a:cubicBezTo>
                  <a:pt x="19" y="5"/>
                  <a:pt x="18" y="7"/>
                  <a:pt x="18" y="7"/>
                </a:cubicBezTo>
                <a:cubicBezTo>
                  <a:pt x="15" y="8"/>
                  <a:pt x="14" y="10"/>
                  <a:pt x="11" y="11"/>
                </a:cubicBezTo>
                <a:cubicBezTo>
                  <a:pt x="9" y="12"/>
                  <a:pt x="0" y="11"/>
                  <a:pt x="0" y="8"/>
                </a:cubicBezTo>
                <a:cubicBezTo>
                  <a:pt x="0" y="7"/>
                  <a:pt x="0" y="10"/>
                  <a:pt x="0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78" name="Freeform 473">
            <a:extLst>
              <a:ext uri="{FF2B5EF4-FFF2-40B4-BE49-F238E27FC236}">
                <a16:creationId xmlns:a16="http://schemas.microsoft.com/office/drawing/2014/main" id="{5D0E315D-BE15-A94D-8E33-74A538F1AEAD}"/>
              </a:ext>
            </a:extLst>
          </p:cNvPr>
          <p:cNvSpPr>
            <a:spLocks/>
          </p:cNvSpPr>
          <p:nvPr/>
        </p:nvSpPr>
        <p:spPr bwMode="auto">
          <a:xfrm>
            <a:off x="9801014" y="5037218"/>
            <a:ext cx="45886" cy="56489"/>
          </a:xfrm>
          <a:custGeom>
            <a:avLst/>
            <a:gdLst>
              <a:gd name="T0" fmla="*/ 1 w 9"/>
              <a:gd name="T1" fmla="*/ 0 h 11"/>
              <a:gd name="T2" fmla="*/ 8 w 9"/>
              <a:gd name="T3" fmla="*/ 8 h 11"/>
              <a:gd name="T4" fmla="*/ 5 w 9"/>
              <a:gd name="T5" fmla="*/ 4 h 11"/>
              <a:gd name="T6" fmla="*/ 1 w 9"/>
              <a:gd name="T7" fmla="*/ 0 h 11"/>
              <a:gd name="T8" fmla="*/ 1 w 9"/>
              <a:gd name="T9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11">
                <a:moveTo>
                  <a:pt x="1" y="0"/>
                </a:moveTo>
                <a:cubicBezTo>
                  <a:pt x="0" y="1"/>
                  <a:pt x="5" y="11"/>
                  <a:pt x="8" y="8"/>
                </a:cubicBezTo>
                <a:cubicBezTo>
                  <a:pt x="9" y="6"/>
                  <a:pt x="6" y="4"/>
                  <a:pt x="5" y="4"/>
                </a:cubicBezTo>
                <a:cubicBezTo>
                  <a:pt x="4" y="3"/>
                  <a:pt x="1" y="0"/>
                  <a:pt x="1" y="0"/>
                </a:cubicBezTo>
                <a:cubicBezTo>
                  <a:pt x="0" y="1"/>
                  <a:pt x="2" y="0"/>
                  <a:pt x="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79" name="Freeform 474">
            <a:extLst>
              <a:ext uri="{FF2B5EF4-FFF2-40B4-BE49-F238E27FC236}">
                <a16:creationId xmlns:a16="http://schemas.microsoft.com/office/drawing/2014/main" id="{12614A2E-0867-144C-9E84-A2476A0CD8F7}"/>
              </a:ext>
            </a:extLst>
          </p:cNvPr>
          <p:cNvSpPr>
            <a:spLocks/>
          </p:cNvSpPr>
          <p:nvPr/>
        </p:nvSpPr>
        <p:spPr bwMode="auto">
          <a:xfrm>
            <a:off x="9935141" y="5141373"/>
            <a:ext cx="30002" cy="30009"/>
          </a:xfrm>
          <a:custGeom>
            <a:avLst/>
            <a:gdLst>
              <a:gd name="T0" fmla="*/ 6 w 6"/>
              <a:gd name="T1" fmla="*/ 4 h 6"/>
              <a:gd name="T2" fmla="*/ 1 w 6"/>
              <a:gd name="T3" fmla="*/ 2 h 6"/>
              <a:gd name="T4" fmla="*/ 6 w 6"/>
              <a:gd name="T5" fmla="*/ 4 h 6"/>
              <a:gd name="T6" fmla="*/ 6 w 6"/>
              <a:gd name="T7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6">
                <a:moveTo>
                  <a:pt x="6" y="4"/>
                </a:moveTo>
                <a:cubicBezTo>
                  <a:pt x="6" y="2"/>
                  <a:pt x="0" y="0"/>
                  <a:pt x="1" y="2"/>
                </a:cubicBezTo>
                <a:cubicBezTo>
                  <a:pt x="1" y="3"/>
                  <a:pt x="6" y="5"/>
                  <a:pt x="6" y="4"/>
                </a:cubicBezTo>
                <a:cubicBezTo>
                  <a:pt x="6" y="3"/>
                  <a:pt x="6" y="6"/>
                  <a:pt x="6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80" name="Freeform 475">
            <a:extLst>
              <a:ext uri="{FF2B5EF4-FFF2-40B4-BE49-F238E27FC236}">
                <a16:creationId xmlns:a16="http://schemas.microsoft.com/office/drawing/2014/main" id="{626D609F-517A-7049-9BDB-A8E3300D781E}"/>
              </a:ext>
            </a:extLst>
          </p:cNvPr>
          <p:cNvSpPr>
            <a:spLocks/>
          </p:cNvSpPr>
          <p:nvPr/>
        </p:nvSpPr>
        <p:spPr bwMode="auto">
          <a:xfrm>
            <a:off x="9903374" y="5093709"/>
            <a:ext cx="47651" cy="31774"/>
          </a:xfrm>
          <a:custGeom>
            <a:avLst/>
            <a:gdLst>
              <a:gd name="T0" fmla="*/ 8 w 9"/>
              <a:gd name="T1" fmla="*/ 6 h 6"/>
              <a:gd name="T2" fmla="*/ 0 w 9"/>
              <a:gd name="T3" fmla="*/ 1 h 6"/>
              <a:gd name="T4" fmla="*/ 3 w 9"/>
              <a:gd name="T5" fmla="*/ 4 h 6"/>
              <a:gd name="T6" fmla="*/ 8 w 9"/>
              <a:gd name="T7" fmla="*/ 6 h 6"/>
              <a:gd name="T8" fmla="*/ 8 w 9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6">
                <a:moveTo>
                  <a:pt x="8" y="6"/>
                </a:moveTo>
                <a:cubicBezTo>
                  <a:pt x="6" y="5"/>
                  <a:pt x="3" y="0"/>
                  <a:pt x="0" y="1"/>
                </a:cubicBezTo>
                <a:cubicBezTo>
                  <a:pt x="0" y="2"/>
                  <a:pt x="3" y="3"/>
                  <a:pt x="3" y="4"/>
                </a:cubicBezTo>
                <a:cubicBezTo>
                  <a:pt x="5" y="4"/>
                  <a:pt x="6" y="5"/>
                  <a:pt x="8" y="6"/>
                </a:cubicBezTo>
                <a:cubicBezTo>
                  <a:pt x="9" y="6"/>
                  <a:pt x="6" y="5"/>
                  <a:pt x="8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81" name="Freeform 476">
            <a:extLst>
              <a:ext uri="{FF2B5EF4-FFF2-40B4-BE49-F238E27FC236}">
                <a16:creationId xmlns:a16="http://schemas.microsoft.com/office/drawing/2014/main" id="{DFEA60EE-E953-F949-8F9F-7C7C7E4D9A8B}"/>
              </a:ext>
            </a:extLst>
          </p:cNvPr>
          <p:cNvSpPr>
            <a:spLocks/>
          </p:cNvSpPr>
          <p:nvPr/>
        </p:nvSpPr>
        <p:spPr bwMode="auto">
          <a:xfrm>
            <a:off x="9857488" y="5072524"/>
            <a:ext cx="21178" cy="26481"/>
          </a:xfrm>
          <a:custGeom>
            <a:avLst/>
            <a:gdLst>
              <a:gd name="T0" fmla="*/ 4 w 4"/>
              <a:gd name="T1" fmla="*/ 4 h 5"/>
              <a:gd name="T2" fmla="*/ 0 w 4"/>
              <a:gd name="T3" fmla="*/ 0 h 5"/>
              <a:gd name="T4" fmla="*/ 4 w 4"/>
              <a:gd name="T5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" h="5">
                <a:moveTo>
                  <a:pt x="4" y="4"/>
                </a:moveTo>
                <a:cubicBezTo>
                  <a:pt x="4" y="2"/>
                  <a:pt x="0" y="0"/>
                  <a:pt x="0" y="0"/>
                </a:cubicBezTo>
                <a:cubicBezTo>
                  <a:pt x="0" y="1"/>
                  <a:pt x="4" y="5"/>
                  <a:pt x="4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82" name="Freeform 477">
            <a:extLst>
              <a:ext uri="{FF2B5EF4-FFF2-40B4-BE49-F238E27FC236}">
                <a16:creationId xmlns:a16="http://schemas.microsoft.com/office/drawing/2014/main" id="{CB434E06-F8B0-2240-8607-66A66FE45316}"/>
              </a:ext>
            </a:extLst>
          </p:cNvPr>
          <p:cNvSpPr>
            <a:spLocks/>
          </p:cNvSpPr>
          <p:nvPr/>
        </p:nvSpPr>
        <p:spPr bwMode="auto">
          <a:xfrm>
            <a:off x="10048091" y="5436178"/>
            <a:ext cx="82947" cy="61786"/>
          </a:xfrm>
          <a:custGeom>
            <a:avLst/>
            <a:gdLst>
              <a:gd name="T0" fmla="*/ 15 w 16"/>
              <a:gd name="T1" fmla="*/ 11 h 12"/>
              <a:gd name="T2" fmla="*/ 2 w 16"/>
              <a:gd name="T3" fmla="*/ 0 h 12"/>
              <a:gd name="T4" fmla="*/ 15 w 16"/>
              <a:gd name="T5" fmla="*/ 11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2">
                <a:moveTo>
                  <a:pt x="15" y="11"/>
                </a:moveTo>
                <a:cubicBezTo>
                  <a:pt x="16" y="12"/>
                  <a:pt x="3" y="0"/>
                  <a:pt x="2" y="0"/>
                </a:cubicBezTo>
                <a:cubicBezTo>
                  <a:pt x="0" y="0"/>
                  <a:pt x="7" y="9"/>
                  <a:pt x="15" y="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83" name="Freeform 478">
            <a:extLst>
              <a:ext uri="{FF2B5EF4-FFF2-40B4-BE49-F238E27FC236}">
                <a16:creationId xmlns:a16="http://schemas.microsoft.com/office/drawing/2014/main" id="{22E55C9F-11A4-E644-8A6E-CD2B0CA771E2}"/>
              </a:ext>
            </a:extLst>
          </p:cNvPr>
          <p:cNvSpPr>
            <a:spLocks/>
          </p:cNvSpPr>
          <p:nvPr/>
        </p:nvSpPr>
        <p:spPr bwMode="auto">
          <a:xfrm>
            <a:off x="10270461" y="5829840"/>
            <a:ext cx="58240" cy="72378"/>
          </a:xfrm>
          <a:custGeom>
            <a:avLst/>
            <a:gdLst>
              <a:gd name="T0" fmla="*/ 11 w 11"/>
              <a:gd name="T1" fmla="*/ 14 h 14"/>
              <a:gd name="T2" fmla="*/ 9 w 11"/>
              <a:gd name="T3" fmla="*/ 10 h 14"/>
              <a:gd name="T4" fmla="*/ 9 w 11"/>
              <a:gd name="T5" fmla="*/ 7 h 14"/>
              <a:gd name="T6" fmla="*/ 0 w 11"/>
              <a:gd name="T7" fmla="*/ 0 h 14"/>
              <a:gd name="T8" fmla="*/ 3 w 11"/>
              <a:gd name="T9" fmla="*/ 4 h 14"/>
              <a:gd name="T10" fmla="*/ 5 w 11"/>
              <a:gd name="T11" fmla="*/ 8 h 14"/>
              <a:gd name="T12" fmla="*/ 8 w 11"/>
              <a:gd name="T13" fmla="*/ 11 h 14"/>
              <a:gd name="T14" fmla="*/ 11 w 11"/>
              <a:gd name="T1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14">
                <a:moveTo>
                  <a:pt x="11" y="14"/>
                </a:moveTo>
                <a:cubicBezTo>
                  <a:pt x="10" y="12"/>
                  <a:pt x="11" y="11"/>
                  <a:pt x="9" y="10"/>
                </a:cubicBezTo>
                <a:cubicBezTo>
                  <a:pt x="8" y="8"/>
                  <a:pt x="9" y="8"/>
                  <a:pt x="9" y="7"/>
                </a:cubicBezTo>
                <a:cubicBezTo>
                  <a:pt x="8" y="5"/>
                  <a:pt x="0" y="1"/>
                  <a:pt x="0" y="0"/>
                </a:cubicBezTo>
                <a:cubicBezTo>
                  <a:pt x="0" y="1"/>
                  <a:pt x="3" y="3"/>
                  <a:pt x="3" y="4"/>
                </a:cubicBezTo>
                <a:cubicBezTo>
                  <a:pt x="4" y="6"/>
                  <a:pt x="4" y="7"/>
                  <a:pt x="5" y="8"/>
                </a:cubicBezTo>
                <a:cubicBezTo>
                  <a:pt x="6" y="9"/>
                  <a:pt x="9" y="10"/>
                  <a:pt x="8" y="11"/>
                </a:cubicBezTo>
                <a:cubicBezTo>
                  <a:pt x="8" y="13"/>
                  <a:pt x="9" y="13"/>
                  <a:pt x="11" y="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84" name="Freeform 479">
            <a:extLst>
              <a:ext uri="{FF2B5EF4-FFF2-40B4-BE49-F238E27FC236}">
                <a16:creationId xmlns:a16="http://schemas.microsoft.com/office/drawing/2014/main" id="{0CD4F076-ADCF-8C4F-A304-4B962CE7F397}"/>
              </a:ext>
            </a:extLst>
          </p:cNvPr>
          <p:cNvSpPr>
            <a:spLocks/>
          </p:cNvSpPr>
          <p:nvPr/>
        </p:nvSpPr>
        <p:spPr bwMode="auto">
          <a:xfrm>
            <a:off x="10286346" y="5896923"/>
            <a:ext cx="134127" cy="157112"/>
          </a:xfrm>
          <a:custGeom>
            <a:avLst/>
            <a:gdLst>
              <a:gd name="T0" fmla="*/ 8 w 26"/>
              <a:gd name="T1" fmla="*/ 2 h 30"/>
              <a:gd name="T2" fmla="*/ 7 w 26"/>
              <a:gd name="T3" fmla="*/ 11 h 30"/>
              <a:gd name="T4" fmla="*/ 5 w 26"/>
              <a:gd name="T5" fmla="*/ 18 h 30"/>
              <a:gd name="T6" fmla="*/ 9 w 26"/>
              <a:gd name="T7" fmla="*/ 25 h 30"/>
              <a:gd name="T8" fmla="*/ 14 w 26"/>
              <a:gd name="T9" fmla="*/ 26 h 30"/>
              <a:gd name="T10" fmla="*/ 17 w 26"/>
              <a:gd name="T11" fmla="*/ 22 h 30"/>
              <a:gd name="T12" fmla="*/ 18 w 26"/>
              <a:gd name="T13" fmla="*/ 16 h 30"/>
              <a:gd name="T14" fmla="*/ 22 w 26"/>
              <a:gd name="T15" fmla="*/ 14 h 30"/>
              <a:gd name="T16" fmla="*/ 26 w 26"/>
              <a:gd name="T17" fmla="*/ 10 h 30"/>
              <a:gd name="T18" fmla="*/ 25 w 26"/>
              <a:gd name="T19" fmla="*/ 6 h 30"/>
              <a:gd name="T20" fmla="*/ 20 w 26"/>
              <a:gd name="T21" fmla="*/ 8 h 30"/>
              <a:gd name="T22" fmla="*/ 14 w 26"/>
              <a:gd name="T23" fmla="*/ 5 h 30"/>
              <a:gd name="T24" fmla="*/ 11 w 26"/>
              <a:gd name="T25" fmla="*/ 0 h 30"/>
              <a:gd name="T26" fmla="*/ 11 w 26"/>
              <a:gd name="T27" fmla="*/ 3 h 30"/>
              <a:gd name="T28" fmla="*/ 8 w 26"/>
              <a:gd name="T29" fmla="*/ 2 h 30"/>
              <a:gd name="T30" fmla="*/ 8 w 26"/>
              <a:gd name="T31" fmla="*/ 2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6" h="30">
                <a:moveTo>
                  <a:pt x="8" y="2"/>
                </a:moveTo>
                <a:cubicBezTo>
                  <a:pt x="7" y="2"/>
                  <a:pt x="7" y="9"/>
                  <a:pt x="7" y="11"/>
                </a:cubicBezTo>
                <a:cubicBezTo>
                  <a:pt x="6" y="13"/>
                  <a:pt x="0" y="16"/>
                  <a:pt x="5" y="18"/>
                </a:cubicBezTo>
                <a:cubicBezTo>
                  <a:pt x="8" y="19"/>
                  <a:pt x="11" y="21"/>
                  <a:pt x="9" y="25"/>
                </a:cubicBezTo>
                <a:cubicBezTo>
                  <a:pt x="6" y="30"/>
                  <a:pt x="11" y="29"/>
                  <a:pt x="14" y="26"/>
                </a:cubicBezTo>
                <a:cubicBezTo>
                  <a:pt x="15" y="25"/>
                  <a:pt x="16" y="23"/>
                  <a:pt x="17" y="22"/>
                </a:cubicBezTo>
                <a:cubicBezTo>
                  <a:pt x="19" y="19"/>
                  <a:pt x="18" y="19"/>
                  <a:pt x="18" y="16"/>
                </a:cubicBezTo>
                <a:cubicBezTo>
                  <a:pt x="19" y="14"/>
                  <a:pt x="21" y="14"/>
                  <a:pt x="22" y="14"/>
                </a:cubicBezTo>
                <a:cubicBezTo>
                  <a:pt x="23" y="15"/>
                  <a:pt x="25" y="11"/>
                  <a:pt x="26" y="10"/>
                </a:cubicBezTo>
                <a:cubicBezTo>
                  <a:pt x="26" y="9"/>
                  <a:pt x="26" y="6"/>
                  <a:pt x="25" y="6"/>
                </a:cubicBezTo>
                <a:cubicBezTo>
                  <a:pt x="23" y="6"/>
                  <a:pt x="21" y="8"/>
                  <a:pt x="20" y="8"/>
                </a:cubicBezTo>
                <a:cubicBezTo>
                  <a:pt x="18" y="8"/>
                  <a:pt x="15" y="7"/>
                  <a:pt x="14" y="5"/>
                </a:cubicBezTo>
                <a:cubicBezTo>
                  <a:pt x="13" y="4"/>
                  <a:pt x="13" y="0"/>
                  <a:pt x="11" y="0"/>
                </a:cubicBezTo>
                <a:cubicBezTo>
                  <a:pt x="11" y="0"/>
                  <a:pt x="11" y="3"/>
                  <a:pt x="11" y="3"/>
                </a:cubicBezTo>
                <a:cubicBezTo>
                  <a:pt x="10" y="3"/>
                  <a:pt x="9" y="1"/>
                  <a:pt x="8" y="2"/>
                </a:cubicBezTo>
                <a:cubicBezTo>
                  <a:pt x="7" y="2"/>
                  <a:pt x="9" y="1"/>
                  <a:pt x="8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85" name="Freeform 480">
            <a:extLst>
              <a:ext uri="{FF2B5EF4-FFF2-40B4-BE49-F238E27FC236}">
                <a16:creationId xmlns:a16="http://schemas.microsoft.com/office/drawing/2014/main" id="{9CBD1066-03E6-CD45-9CC0-9EEA802E5366}"/>
              </a:ext>
            </a:extLst>
          </p:cNvPr>
          <p:cNvSpPr>
            <a:spLocks/>
          </p:cNvSpPr>
          <p:nvPr/>
        </p:nvSpPr>
        <p:spPr bwMode="auto">
          <a:xfrm>
            <a:off x="10109862" y="6011667"/>
            <a:ext cx="202958" cy="197714"/>
          </a:xfrm>
          <a:custGeom>
            <a:avLst/>
            <a:gdLst>
              <a:gd name="T0" fmla="*/ 33 w 39"/>
              <a:gd name="T1" fmla="*/ 4 h 38"/>
              <a:gd name="T2" fmla="*/ 30 w 39"/>
              <a:gd name="T3" fmla="*/ 1 h 38"/>
              <a:gd name="T4" fmla="*/ 26 w 39"/>
              <a:gd name="T5" fmla="*/ 8 h 38"/>
              <a:gd name="T6" fmla="*/ 22 w 39"/>
              <a:gd name="T7" fmla="*/ 13 h 38"/>
              <a:gd name="T8" fmla="*/ 15 w 39"/>
              <a:gd name="T9" fmla="*/ 18 h 38"/>
              <a:gd name="T10" fmla="*/ 9 w 39"/>
              <a:gd name="T11" fmla="*/ 22 h 38"/>
              <a:gd name="T12" fmla="*/ 4 w 39"/>
              <a:gd name="T13" fmla="*/ 27 h 38"/>
              <a:gd name="T14" fmla="*/ 2 w 39"/>
              <a:gd name="T15" fmla="*/ 33 h 38"/>
              <a:gd name="T16" fmla="*/ 1 w 39"/>
              <a:gd name="T17" fmla="*/ 34 h 38"/>
              <a:gd name="T18" fmla="*/ 3 w 39"/>
              <a:gd name="T19" fmla="*/ 35 h 38"/>
              <a:gd name="T20" fmla="*/ 10 w 39"/>
              <a:gd name="T21" fmla="*/ 37 h 38"/>
              <a:gd name="T22" fmla="*/ 19 w 39"/>
              <a:gd name="T23" fmla="*/ 34 h 38"/>
              <a:gd name="T24" fmla="*/ 22 w 39"/>
              <a:gd name="T25" fmla="*/ 27 h 38"/>
              <a:gd name="T26" fmla="*/ 27 w 39"/>
              <a:gd name="T27" fmla="*/ 22 h 38"/>
              <a:gd name="T28" fmla="*/ 29 w 39"/>
              <a:gd name="T29" fmla="*/ 21 h 38"/>
              <a:gd name="T30" fmla="*/ 33 w 39"/>
              <a:gd name="T31" fmla="*/ 21 h 38"/>
              <a:gd name="T32" fmla="*/ 32 w 39"/>
              <a:gd name="T33" fmla="*/ 19 h 38"/>
              <a:gd name="T34" fmla="*/ 32 w 39"/>
              <a:gd name="T35" fmla="*/ 17 h 38"/>
              <a:gd name="T36" fmla="*/ 38 w 39"/>
              <a:gd name="T37" fmla="*/ 9 h 38"/>
              <a:gd name="T38" fmla="*/ 38 w 39"/>
              <a:gd name="T39" fmla="*/ 6 h 38"/>
              <a:gd name="T40" fmla="*/ 38 w 39"/>
              <a:gd name="T41" fmla="*/ 4 h 38"/>
              <a:gd name="T42" fmla="*/ 37 w 39"/>
              <a:gd name="T43" fmla="*/ 4 h 38"/>
              <a:gd name="T44" fmla="*/ 37 w 39"/>
              <a:gd name="T45" fmla="*/ 2 h 38"/>
              <a:gd name="T46" fmla="*/ 33 w 39"/>
              <a:gd name="T47" fmla="*/ 4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9" h="38">
                <a:moveTo>
                  <a:pt x="33" y="4"/>
                </a:moveTo>
                <a:cubicBezTo>
                  <a:pt x="33" y="4"/>
                  <a:pt x="32" y="0"/>
                  <a:pt x="30" y="1"/>
                </a:cubicBezTo>
                <a:cubicBezTo>
                  <a:pt x="27" y="3"/>
                  <a:pt x="28" y="5"/>
                  <a:pt x="26" y="8"/>
                </a:cubicBezTo>
                <a:cubicBezTo>
                  <a:pt x="25" y="9"/>
                  <a:pt x="24" y="12"/>
                  <a:pt x="22" y="13"/>
                </a:cubicBezTo>
                <a:cubicBezTo>
                  <a:pt x="20" y="16"/>
                  <a:pt x="18" y="17"/>
                  <a:pt x="15" y="18"/>
                </a:cubicBezTo>
                <a:cubicBezTo>
                  <a:pt x="13" y="19"/>
                  <a:pt x="12" y="21"/>
                  <a:pt x="9" y="22"/>
                </a:cubicBezTo>
                <a:cubicBezTo>
                  <a:pt x="7" y="23"/>
                  <a:pt x="7" y="27"/>
                  <a:pt x="4" y="27"/>
                </a:cubicBezTo>
                <a:cubicBezTo>
                  <a:pt x="0" y="28"/>
                  <a:pt x="4" y="31"/>
                  <a:pt x="2" y="33"/>
                </a:cubicBezTo>
                <a:cubicBezTo>
                  <a:pt x="1" y="33"/>
                  <a:pt x="0" y="33"/>
                  <a:pt x="1" y="34"/>
                </a:cubicBezTo>
                <a:cubicBezTo>
                  <a:pt x="1" y="35"/>
                  <a:pt x="1" y="35"/>
                  <a:pt x="3" y="35"/>
                </a:cubicBezTo>
                <a:cubicBezTo>
                  <a:pt x="5" y="35"/>
                  <a:pt x="8" y="37"/>
                  <a:pt x="10" y="37"/>
                </a:cubicBezTo>
                <a:cubicBezTo>
                  <a:pt x="14" y="38"/>
                  <a:pt x="16" y="36"/>
                  <a:pt x="19" y="34"/>
                </a:cubicBezTo>
                <a:cubicBezTo>
                  <a:pt x="21" y="32"/>
                  <a:pt x="22" y="30"/>
                  <a:pt x="22" y="27"/>
                </a:cubicBezTo>
                <a:cubicBezTo>
                  <a:pt x="23" y="24"/>
                  <a:pt x="24" y="24"/>
                  <a:pt x="27" y="22"/>
                </a:cubicBezTo>
                <a:cubicBezTo>
                  <a:pt x="28" y="22"/>
                  <a:pt x="28" y="21"/>
                  <a:pt x="29" y="21"/>
                </a:cubicBezTo>
                <a:cubicBezTo>
                  <a:pt x="30" y="21"/>
                  <a:pt x="31" y="21"/>
                  <a:pt x="33" y="21"/>
                </a:cubicBezTo>
                <a:cubicBezTo>
                  <a:pt x="34" y="20"/>
                  <a:pt x="33" y="19"/>
                  <a:pt x="32" y="19"/>
                </a:cubicBezTo>
                <a:cubicBezTo>
                  <a:pt x="31" y="18"/>
                  <a:pt x="31" y="18"/>
                  <a:pt x="32" y="17"/>
                </a:cubicBezTo>
                <a:cubicBezTo>
                  <a:pt x="34" y="14"/>
                  <a:pt x="36" y="12"/>
                  <a:pt x="38" y="9"/>
                </a:cubicBezTo>
                <a:cubicBezTo>
                  <a:pt x="38" y="8"/>
                  <a:pt x="38" y="7"/>
                  <a:pt x="38" y="6"/>
                </a:cubicBezTo>
                <a:cubicBezTo>
                  <a:pt x="38" y="5"/>
                  <a:pt x="38" y="5"/>
                  <a:pt x="38" y="4"/>
                </a:cubicBezTo>
                <a:cubicBezTo>
                  <a:pt x="39" y="3"/>
                  <a:pt x="37" y="4"/>
                  <a:pt x="37" y="4"/>
                </a:cubicBezTo>
                <a:cubicBezTo>
                  <a:pt x="37" y="3"/>
                  <a:pt x="37" y="3"/>
                  <a:pt x="37" y="2"/>
                </a:cubicBezTo>
                <a:cubicBezTo>
                  <a:pt x="36" y="3"/>
                  <a:pt x="35" y="5"/>
                  <a:pt x="33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86" name="Freeform 481">
            <a:extLst>
              <a:ext uri="{FF2B5EF4-FFF2-40B4-BE49-F238E27FC236}">
                <a16:creationId xmlns:a16="http://schemas.microsoft.com/office/drawing/2014/main" id="{DCA775A3-0493-7D43-92C6-D056601AAB99}"/>
              </a:ext>
            </a:extLst>
          </p:cNvPr>
          <p:cNvSpPr>
            <a:spLocks/>
          </p:cNvSpPr>
          <p:nvPr/>
        </p:nvSpPr>
        <p:spPr bwMode="auto">
          <a:xfrm>
            <a:off x="10141628" y="6209383"/>
            <a:ext cx="10589" cy="10592"/>
          </a:xfrm>
          <a:custGeom>
            <a:avLst/>
            <a:gdLst>
              <a:gd name="T0" fmla="*/ 2 w 2"/>
              <a:gd name="T1" fmla="*/ 2 h 2"/>
              <a:gd name="T2" fmla="*/ 1 w 2"/>
              <a:gd name="T3" fmla="*/ 0 h 2"/>
              <a:gd name="T4" fmla="*/ 0 w 2"/>
              <a:gd name="T5" fmla="*/ 2 h 2"/>
              <a:gd name="T6" fmla="*/ 2 w 2"/>
              <a:gd name="T7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2">
                <a:moveTo>
                  <a:pt x="2" y="2"/>
                </a:moveTo>
                <a:cubicBezTo>
                  <a:pt x="2" y="1"/>
                  <a:pt x="1" y="1"/>
                  <a:pt x="1" y="0"/>
                </a:cubicBezTo>
                <a:cubicBezTo>
                  <a:pt x="0" y="1"/>
                  <a:pt x="0" y="1"/>
                  <a:pt x="0" y="2"/>
                </a:cubicBezTo>
                <a:cubicBezTo>
                  <a:pt x="1" y="2"/>
                  <a:pt x="2" y="2"/>
                  <a:pt x="2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87" name="Freeform 482">
            <a:extLst>
              <a:ext uri="{FF2B5EF4-FFF2-40B4-BE49-F238E27FC236}">
                <a16:creationId xmlns:a16="http://schemas.microsoft.com/office/drawing/2014/main" id="{29573D4E-AE42-6B40-9E13-AA0C445E7BB8}"/>
              </a:ext>
            </a:extLst>
          </p:cNvPr>
          <p:cNvSpPr>
            <a:spLocks/>
          </p:cNvSpPr>
          <p:nvPr/>
        </p:nvSpPr>
        <p:spPr bwMode="auto">
          <a:xfrm>
            <a:off x="9546876" y="6016964"/>
            <a:ext cx="98832" cy="93562"/>
          </a:xfrm>
          <a:custGeom>
            <a:avLst/>
            <a:gdLst>
              <a:gd name="T0" fmla="*/ 0 w 19"/>
              <a:gd name="T1" fmla="*/ 2 h 18"/>
              <a:gd name="T2" fmla="*/ 2 w 19"/>
              <a:gd name="T3" fmla="*/ 7 h 18"/>
              <a:gd name="T4" fmla="*/ 4 w 19"/>
              <a:gd name="T5" fmla="*/ 10 h 18"/>
              <a:gd name="T6" fmla="*/ 3 w 19"/>
              <a:gd name="T7" fmla="*/ 12 h 18"/>
              <a:gd name="T8" fmla="*/ 9 w 19"/>
              <a:gd name="T9" fmla="*/ 18 h 18"/>
              <a:gd name="T10" fmla="*/ 12 w 19"/>
              <a:gd name="T11" fmla="*/ 15 h 18"/>
              <a:gd name="T12" fmla="*/ 13 w 19"/>
              <a:gd name="T13" fmla="*/ 17 h 18"/>
              <a:gd name="T14" fmla="*/ 14 w 19"/>
              <a:gd name="T15" fmla="*/ 14 h 18"/>
              <a:gd name="T16" fmla="*/ 16 w 19"/>
              <a:gd name="T17" fmla="*/ 15 h 18"/>
              <a:gd name="T18" fmla="*/ 18 w 19"/>
              <a:gd name="T19" fmla="*/ 7 h 18"/>
              <a:gd name="T20" fmla="*/ 16 w 19"/>
              <a:gd name="T21" fmla="*/ 1 h 18"/>
              <a:gd name="T22" fmla="*/ 7 w 19"/>
              <a:gd name="T23" fmla="*/ 3 h 18"/>
              <a:gd name="T24" fmla="*/ 0 w 19"/>
              <a:gd name="T25" fmla="*/ 2 h 18"/>
              <a:gd name="T26" fmla="*/ 0 w 19"/>
              <a:gd name="T27" fmla="*/ 2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18">
                <a:moveTo>
                  <a:pt x="0" y="2"/>
                </a:moveTo>
                <a:cubicBezTo>
                  <a:pt x="0" y="3"/>
                  <a:pt x="2" y="6"/>
                  <a:pt x="2" y="7"/>
                </a:cubicBezTo>
                <a:cubicBezTo>
                  <a:pt x="3" y="8"/>
                  <a:pt x="4" y="9"/>
                  <a:pt x="4" y="10"/>
                </a:cubicBezTo>
                <a:cubicBezTo>
                  <a:pt x="4" y="11"/>
                  <a:pt x="3" y="11"/>
                  <a:pt x="3" y="12"/>
                </a:cubicBezTo>
                <a:cubicBezTo>
                  <a:pt x="4" y="15"/>
                  <a:pt x="7" y="17"/>
                  <a:pt x="9" y="18"/>
                </a:cubicBezTo>
                <a:cubicBezTo>
                  <a:pt x="11" y="18"/>
                  <a:pt x="11" y="16"/>
                  <a:pt x="12" y="15"/>
                </a:cubicBezTo>
                <a:cubicBezTo>
                  <a:pt x="12" y="15"/>
                  <a:pt x="13" y="17"/>
                  <a:pt x="13" y="17"/>
                </a:cubicBezTo>
                <a:cubicBezTo>
                  <a:pt x="13" y="16"/>
                  <a:pt x="13" y="14"/>
                  <a:pt x="14" y="14"/>
                </a:cubicBezTo>
                <a:cubicBezTo>
                  <a:pt x="15" y="13"/>
                  <a:pt x="15" y="15"/>
                  <a:pt x="16" y="15"/>
                </a:cubicBezTo>
                <a:cubicBezTo>
                  <a:pt x="15" y="15"/>
                  <a:pt x="18" y="8"/>
                  <a:pt x="18" y="7"/>
                </a:cubicBezTo>
                <a:cubicBezTo>
                  <a:pt x="18" y="6"/>
                  <a:pt x="19" y="0"/>
                  <a:pt x="16" y="1"/>
                </a:cubicBezTo>
                <a:cubicBezTo>
                  <a:pt x="13" y="2"/>
                  <a:pt x="10" y="4"/>
                  <a:pt x="7" y="3"/>
                </a:cubicBezTo>
                <a:cubicBezTo>
                  <a:pt x="6" y="3"/>
                  <a:pt x="1" y="0"/>
                  <a:pt x="0" y="2"/>
                </a:cubicBezTo>
                <a:cubicBezTo>
                  <a:pt x="0" y="3"/>
                  <a:pt x="1" y="0"/>
                  <a:pt x="0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88" name="Freeform 483">
            <a:extLst>
              <a:ext uri="{FF2B5EF4-FFF2-40B4-BE49-F238E27FC236}">
                <a16:creationId xmlns:a16="http://schemas.microsoft.com/office/drawing/2014/main" id="{8F47D8B3-8D9A-AD4A-B7D0-99D37767EC23}"/>
              </a:ext>
            </a:extLst>
          </p:cNvPr>
          <p:cNvSpPr>
            <a:spLocks/>
          </p:cNvSpPr>
          <p:nvPr/>
        </p:nvSpPr>
        <p:spPr bwMode="auto">
          <a:xfrm>
            <a:off x="9624529" y="5990484"/>
            <a:ext cx="15883" cy="26481"/>
          </a:xfrm>
          <a:custGeom>
            <a:avLst/>
            <a:gdLst>
              <a:gd name="T0" fmla="*/ 3 w 3"/>
              <a:gd name="T1" fmla="*/ 4 h 5"/>
              <a:gd name="T2" fmla="*/ 1 w 3"/>
              <a:gd name="T3" fmla="*/ 0 h 5"/>
              <a:gd name="T4" fmla="*/ 3 w 3"/>
              <a:gd name="T5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" h="5">
                <a:moveTo>
                  <a:pt x="3" y="4"/>
                </a:moveTo>
                <a:cubicBezTo>
                  <a:pt x="3" y="5"/>
                  <a:pt x="0" y="1"/>
                  <a:pt x="1" y="0"/>
                </a:cubicBezTo>
                <a:cubicBezTo>
                  <a:pt x="2" y="0"/>
                  <a:pt x="3" y="1"/>
                  <a:pt x="3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89" name="Freeform 484">
            <a:extLst>
              <a:ext uri="{FF2B5EF4-FFF2-40B4-BE49-F238E27FC236}">
                <a16:creationId xmlns:a16="http://schemas.microsoft.com/office/drawing/2014/main" id="{64F6E7EA-24E3-C441-BE84-D6EE2ACE91D5}"/>
              </a:ext>
            </a:extLst>
          </p:cNvPr>
          <p:cNvSpPr>
            <a:spLocks/>
          </p:cNvSpPr>
          <p:nvPr/>
        </p:nvSpPr>
        <p:spPr bwMode="auto">
          <a:xfrm>
            <a:off x="9520403" y="5990484"/>
            <a:ext cx="10589" cy="10592"/>
          </a:xfrm>
          <a:custGeom>
            <a:avLst/>
            <a:gdLst>
              <a:gd name="T0" fmla="*/ 1 w 2"/>
              <a:gd name="T1" fmla="*/ 2 h 2"/>
              <a:gd name="T2" fmla="*/ 1 w 2"/>
              <a:gd name="T3" fmla="*/ 0 h 2"/>
              <a:gd name="T4" fmla="*/ 1 w 2"/>
              <a:gd name="T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2">
                <a:moveTo>
                  <a:pt x="1" y="2"/>
                </a:moveTo>
                <a:cubicBezTo>
                  <a:pt x="0" y="2"/>
                  <a:pt x="0" y="0"/>
                  <a:pt x="1" y="0"/>
                </a:cubicBezTo>
                <a:cubicBezTo>
                  <a:pt x="2" y="0"/>
                  <a:pt x="2" y="2"/>
                  <a:pt x="1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90" name="Freeform 485">
            <a:extLst>
              <a:ext uri="{FF2B5EF4-FFF2-40B4-BE49-F238E27FC236}">
                <a16:creationId xmlns:a16="http://schemas.microsoft.com/office/drawing/2014/main" id="{63C01DBF-D125-5C46-81F6-24489E4091E0}"/>
              </a:ext>
            </a:extLst>
          </p:cNvPr>
          <p:cNvSpPr>
            <a:spLocks/>
          </p:cNvSpPr>
          <p:nvPr/>
        </p:nvSpPr>
        <p:spPr bwMode="auto">
          <a:xfrm>
            <a:off x="7907333" y="4647087"/>
            <a:ext cx="56474" cy="93562"/>
          </a:xfrm>
          <a:custGeom>
            <a:avLst/>
            <a:gdLst>
              <a:gd name="T0" fmla="*/ 2 w 11"/>
              <a:gd name="T1" fmla="*/ 0 h 18"/>
              <a:gd name="T2" fmla="*/ 1 w 11"/>
              <a:gd name="T3" fmla="*/ 0 h 18"/>
              <a:gd name="T4" fmla="*/ 1 w 11"/>
              <a:gd name="T5" fmla="*/ 3 h 18"/>
              <a:gd name="T6" fmla="*/ 0 w 11"/>
              <a:gd name="T7" fmla="*/ 8 h 18"/>
              <a:gd name="T8" fmla="*/ 4 w 11"/>
              <a:gd name="T9" fmla="*/ 18 h 18"/>
              <a:gd name="T10" fmla="*/ 9 w 11"/>
              <a:gd name="T11" fmla="*/ 15 h 18"/>
              <a:gd name="T12" fmla="*/ 9 w 11"/>
              <a:gd name="T13" fmla="*/ 8 h 18"/>
              <a:gd name="T14" fmla="*/ 2 w 11"/>
              <a:gd name="T15" fmla="*/ 0 h 18"/>
              <a:gd name="T16" fmla="*/ 2 w 11"/>
              <a:gd name="T17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8">
                <a:moveTo>
                  <a:pt x="2" y="0"/>
                </a:moveTo>
                <a:cubicBezTo>
                  <a:pt x="2" y="0"/>
                  <a:pt x="2" y="0"/>
                  <a:pt x="1" y="0"/>
                </a:cubicBezTo>
                <a:cubicBezTo>
                  <a:pt x="1" y="0"/>
                  <a:pt x="1" y="3"/>
                  <a:pt x="1" y="3"/>
                </a:cubicBezTo>
                <a:cubicBezTo>
                  <a:pt x="1" y="5"/>
                  <a:pt x="0" y="6"/>
                  <a:pt x="0" y="8"/>
                </a:cubicBezTo>
                <a:cubicBezTo>
                  <a:pt x="0" y="11"/>
                  <a:pt x="0" y="18"/>
                  <a:pt x="4" y="18"/>
                </a:cubicBezTo>
                <a:cubicBezTo>
                  <a:pt x="6" y="18"/>
                  <a:pt x="9" y="17"/>
                  <a:pt x="9" y="15"/>
                </a:cubicBezTo>
                <a:cubicBezTo>
                  <a:pt x="11" y="13"/>
                  <a:pt x="9" y="10"/>
                  <a:pt x="9" y="8"/>
                </a:cubicBezTo>
                <a:cubicBezTo>
                  <a:pt x="7" y="6"/>
                  <a:pt x="5" y="0"/>
                  <a:pt x="2" y="0"/>
                </a:cubicBezTo>
                <a:cubicBezTo>
                  <a:pt x="1" y="0"/>
                  <a:pt x="3" y="0"/>
                  <a:pt x="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91" name="Freeform 486">
            <a:extLst>
              <a:ext uri="{FF2B5EF4-FFF2-40B4-BE49-F238E27FC236}">
                <a16:creationId xmlns:a16="http://schemas.microsoft.com/office/drawing/2014/main" id="{F7358D82-2061-7A49-8D08-356FDE175466}"/>
              </a:ext>
            </a:extLst>
          </p:cNvPr>
          <p:cNvSpPr>
            <a:spLocks/>
          </p:cNvSpPr>
          <p:nvPr/>
        </p:nvSpPr>
        <p:spPr bwMode="auto">
          <a:xfrm>
            <a:off x="6954317" y="5208455"/>
            <a:ext cx="187073" cy="361887"/>
          </a:xfrm>
          <a:custGeom>
            <a:avLst/>
            <a:gdLst>
              <a:gd name="T0" fmla="*/ 31 w 36"/>
              <a:gd name="T1" fmla="*/ 2 h 70"/>
              <a:gd name="T2" fmla="*/ 29 w 36"/>
              <a:gd name="T3" fmla="*/ 0 h 70"/>
              <a:gd name="T4" fmla="*/ 28 w 36"/>
              <a:gd name="T5" fmla="*/ 3 h 70"/>
              <a:gd name="T6" fmla="*/ 26 w 36"/>
              <a:gd name="T7" fmla="*/ 8 h 70"/>
              <a:gd name="T8" fmla="*/ 23 w 36"/>
              <a:gd name="T9" fmla="*/ 8 h 70"/>
              <a:gd name="T10" fmla="*/ 23 w 36"/>
              <a:gd name="T11" fmla="*/ 10 h 70"/>
              <a:gd name="T12" fmla="*/ 22 w 36"/>
              <a:gd name="T13" fmla="*/ 12 h 70"/>
              <a:gd name="T14" fmla="*/ 23 w 36"/>
              <a:gd name="T15" fmla="*/ 13 h 70"/>
              <a:gd name="T16" fmla="*/ 21 w 36"/>
              <a:gd name="T17" fmla="*/ 14 h 70"/>
              <a:gd name="T18" fmla="*/ 19 w 36"/>
              <a:gd name="T19" fmla="*/ 16 h 70"/>
              <a:gd name="T20" fmla="*/ 15 w 36"/>
              <a:gd name="T21" fmla="*/ 18 h 70"/>
              <a:gd name="T22" fmla="*/ 15 w 36"/>
              <a:gd name="T23" fmla="*/ 19 h 70"/>
              <a:gd name="T24" fmla="*/ 13 w 36"/>
              <a:gd name="T25" fmla="*/ 19 h 70"/>
              <a:gd name="T26" fmla="*/ 8 w 36"/>
              <a:gd name="T27" fmla="*/ 21 h 70"/>
              <a:gd name="T28" fmla="*/ 6 w 36"/>
              <a:gd name="T29" fmla="*/ 21 h 70"/>
              <a:gd name="T30" fmla="*/ 4 w 36"/>
              <a:gd name="T31" fmla="*/ 27 h 70"/>
              <a:gd name="T32" fmla="*/ 4 w 36"/>
              <a:gd name="T33" fmla="*/ 44 h 70"/>
              <a:gd name="T34" fmla="*/ 0 w 36"/>
              <a:gd name="T35" fmla="*/ 51 h 70"/>
              <a:gd name="T36" fmla="*/ 0 w 36"/>
              <a:gd name="T37" fmla="*/ 55 h 70"/>
              <a:gd name="T38" fmla="*/ 2 w 36"/>
              <a:gd name="T39" fmla="*/ 59 h 70"/>
              <a:gd name="T40" fmla="*/ 5 w 36"/>
              <a:gd name="T41" fmla="*/ 68 h 70"/>
              <a:gd name="T42" fmla="*/ 16 w 36"/>
              <a:gd name="T43" fmla="*/ 68 h 70"/>
              <a:gd name="T44" fmla="*/ 24 w 36"/>
              <a:gd name="T45" fmla="*/ 50 h 70"/>
              <a:gd name="T46" fmla="*/ 31 w 36"/>
              <a:gd name="T47" fmla="*/ 30 h 70"/>
              <a:gd name="T48" fmla="*/ 32 w 36"/>
              <a:gd name="T49" fmla="*/ 23 h 70"/>
              <a:gd name="T50" fmla="*/ 34 w 36"/>
              <a:gd name="T51" fmla="*/ 19 h 70"/>
              <a:gd name="T52" fmla="*/ 36 w 36"/>
              <a:gd name="T53" fmla="*/ 17 h 70"/>
              <a:gd name="T54" fmla="*/ 35 w 36"/>
              <a:gd name="T55" fmla="*/ 11 h 70"/>
              <a:gd name="T56" fmla="*/ 31 w 36"/>
              <a:gd name="T57" fmla="*/ 2 h 70"/>
              <a:gd name="T58" fmla="*/ 31 w 36"/>
              <a:gd name="T59" fmla="*/ 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6" h="70">
                <a:moveTo>
                  <a:pt x="31" y="2"/>
                </a:moveTo>
                <a:cubicBezTo>
                  <a:pt x="31" y="2"/>
                  <a:pt x="30" y="0"/>
                  <a:pt x="29" y="0"/>
                </a:cubicBezTo>
                <a:cubicBezTo>
                  <a:pt x="29" y="1"/>
                  <a:pt x="28" y="2"/>
                  <a:pt x="28" y="3"/>
                </a:cubicBezTo>
                <a:cubicBezTo>
                  <a:pt x="27" y="5"/>
                  <a:pt x="27" y="6"/>
                  <a:pt x="26" y="8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8"/>
                  <a:pt x="24" y="9"/>
                  <a:pt x="23" y="10"/>
                </a:cubicBezTo>
                <a:cubicBezTo>
                  <a:pt x="23" y="11"/>
                  <a:pt x="22" y="11"/>
                  <a:pt x="22" y="12"/>
                </a:cubicBezTo>
                <a:cubicBezTo>
                  <a:pt x="22" y="12"/>
                  <a:pt x="23" y="13"/>
                  <a:pt x="23" y="13"/>
                </a:cubicBezTo>
                <a:cubicBezTo>
                  <a:pt x="23" y="14"/>
                  <a:pt x="22" y="13"/>
                  <a:pt x="21" y="14"/>
                </a:cubicBezTo>
                <a:cubicBezTo>
                  <a:pt x="20" y="14"/>
                  <a:pt x="20" y="15"/>
                  <a:pt x="19" y="16"/>
                </a:cubicBezTo>
                <a:cubicBezTo>
                  <a:pt x="18" y="17"/>
                  <a:pt x="17" y="17"/>
                  <a:pt x="15" y="18"/>
                </a:cubicBezTo>
                <a:cubicBezTo>
                  <a:pt x="14" y="18"/>
                  <a:pt x="16" y="19"/>
                  <a:pt x="15" y="19"/>
                </a:cubicBezTo>
                <a:cubicBezTo>
                  <a:pt x="15" y="20"/>
                  <a:pt x="13" y="18"/>
                  <a:pt x="13" y="19"/>
                </a:cubicBezTo>
                <a:cubicBezTo>
                  <a:pt x="11" y="20"/>
                  <a:pt x="10" y="20"/>
                  <a:pt x="8" y="21"/>
                </a:cubicBezTo>
                <a:cubicBezTo>
                  <a:pt x="7" y="21"/>
                  <a:pt x="6" y="20"/>
                  <a:pt x="6" y="21"/>
                </a:cubicBezTo>
                <a:cubicBezTo>
                  <a:pt x="5" y="23"/>
                  <a:pt x="5" y="25"/>
                  <a:pt x="4" y="27"/>
                </a:cubicBezTo>
                <a:cubicBezTo>
                  <a:pt x="3" y="32"/>
                  <a:pt x="8" y="39"/>
                  <a:pt x="4" y="44"/>
                </a:cubicBezTo>
                <a:cubicBezTo>
                  <a:pt x="3" y="46"/>
                  <a:pt x="1" y="48"/>
                  <a:pt x="0" y="51"/>
                </a:cubicBezTo>
                <a:cubicBezTo>
                  <a:pt x="0" y="52"/>
                  <a:pt x="0" y="54"/>
                  <a:pt x="0" y="55"/>
                </a:cubicBezTo>
                <a:cubicBezTo>
                  <a:pt x="1" y="56"/>
                  <a:pt x="3" y="57"/>
                  <a:pt x="2" y="59"/>
                </a:cubicBezTo>
                <a:cubicBezTo>
                  <a:pt x="1" y="62"/>
                  <a:pt x="2" y="66"/>
                  <a:pt x="5" y="68"/>
                </a:cubicBezTo>
                <a:cubicBezTo>
                  <a:pt x="8" y="70"/>
                  <a:pt x="11" y="70"/>
                  <a:pt x="16" y="68"/>
                </a:cubicBezTo>
                <a:cubicBezTo>
                  <a:pt x="21" y="66"/>
                  <a:pt x="22" y="55"/>
                  <a:pt x="24" y="50"/>
                </a:cubicBezTo>
                <a:cubicBezTo>
                  <a:pt x="26" y="43"/>
                  <a:pt x="29" y="37"/>
                  <a:pt x="31" y="30"/>
                </a:cubicBezTo>
                <a:cubicBezTo>
                  <a:pt x="31" y="28"/>
                  <a:pt x="31" y="25"/>
                  <a:pt x="32" y="23"/>
                </a:cubicBezTo>
                <a:cubicBezTo>
                  <a:pt x="33" y="22"/>
                  <a:pt x="31" y="14"/>
                  <a:pt x="34" y="19"/>
                </a:cubicBezTo>
                <a:cubicBezTo>
                  <a:pt x="35" y="20"/>
                  <a:pt x="35" y="18"/>
                  <a:pt x="36" y="17"/>
                </a:cubicBezTo>
                <a:cubicBezTo>
                  <a:pt x="36" y="15"/>
                  <a:pt x="35" y="13"/>
                  <a:pt x="35" y="11"/>
                </a:cubicBezTo>
                <a:cubicBezTo>
                  <a:pt x="34" y="9"/>
                  <a:pt x="33" y="4"/>
                  <a:pt x="31" y="2"/>
                </a:cubicBezTo>
                <a:cubicBezTo>
                  <a:pt x="30" y="1"/>
                  <a:pt x="32" y="2"/>
                  <a:pt x="31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92" name="Freeform 487">
            <a:extLst>
              <a:ext uri="{FF2B5EF4-FFF2-40B4-BE49-F238E27FC236}">
                <a16:creationId xmlns:a16="http://schemas.microsoft.com/office/drawing/2014/main" id="{D16EE8DD-3018-3942-A3C8-BA463C7BFFCF}"/>
              </a:ext>
            </a:extLst>
          </p:cNvPr>
          <p:cNvSpPr>
            <a:spLocks/>
          </p:cNvSpPr>
          <p:nvPr/>
        </p:nvSpPr>
        <p:spPr bwMode="auto">
          <a:xfrm>
            <a:off x="7369055" y="2671709"/>
            <a:ext cx="56474" cy="42367"/>
          </a:xfrm>
          <a:custGeom>
            <a:avLst/>
            <a:gdLst>
              <a:gd name="T0" fmla="*/ 9 w 11"/>
              <a:gd name="T1" fmla="*/ 7 h 8"/>
              <a:gd name="T2" fmla="*/ 8 w 11"/>
              <a:gd name="T3" fmla="*/ 4 h 8"/>
              <a:gd name="T4" fmla="*/ 3 w 11"/>
              <a:gd name="T5" fmla="*/ 0 h 8"/>
              <a:gd name="T6" fmla="*/ 1 w 11"/>
              <a:gd name="T7" fmla="*/ 2 h 8"/>
              <a:gd name="T8" fmla="*/ 3 w 11"/>
              <a:gd name="T9" fmla="*/ 5 h 8"/>
              <a:gd name="T10" fmla="*/ 9 w 11"/>
              <a:gd name="T11" fmla="*/ 7 h 8"/>
              <a:gd name="T12" fmla="*/ 9 w 11"/>
              <a:gd name="T13" fmla="*/ 7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" h="8">
                <a:moveTo>
                  <a:pt x="9" y="7"/>
                </a:moveTo>
                <a:cubicBezTo>
                  <a:pt x="11" y="8"/>
                  <a:pt x="9" y="5"/>
                  <a:pt x="8" y="4"/>
                </a:cubicBezTo>
                <a:cubicBezTo>
                  <a:pt x="7" y="3"/>
                  <a:pt x="4" y="1"/>
                  <a:pt x="3" y="0"/>
                </a:cubicBezTo>
                <a:cubicBezTo>
                  <a:pt x="2" y="0"/>
                  <a:pt x="1" y="1"/>
                  <a:pt x="1" y="2"/>
                </a:cubicBezTo>
                <a:cubicBezTo>
                  <a:pt x="0" y="3"/>
                  <a:pt x="2" y="4"/>
                  <a:pt x="3" y="5"/>
                </a:cubicBezTo>
                <a:cubicBezTo>
                  <a:pt x="5" y="6"/>
                  <a:pt x="7" y="7"/>
                  <a:pt x="9" y="7"/>
                </a:cubicBezTo>
                <a:cubicBezTo>
                  <a:pt x="10" y="7"/>
                  <a:pt x="7" y="7"/>
                  <a:pt x="9" y="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93" name="Freeform 488">
            <a:extLst>
              <a:ext uri="{FF2B5EF4-FFF2-40B4-BE49-F238E27FC236}">
                <a16:creationId xmlns:a16="http://schemas.microsoft.com/office/drawing/2014/main" id="{E022618F-D3D5-BB42-A5A6-F5D85DE21FBD}"/>
              </a:ext>
            </a:extLst>
          </p:cNvPr>
          <p:cNvSpPr>
            <a:spLocks/>
          </p:cNvSpPr>
          <p:nvPr/>
        </p:nvSpPr>
        <p:spPr bwMode="auto">
          <a:xfrm>
            <a:off x="7099033" y="2703485"/>
            <a:ext cx="56474" cy="51193"/>
          </a:xfrm>
          <a:custGeom>
            <a:avLst/>
            <a:gdLst>
              <a:gd name="T0" fmla="*/ 10 w 11"/>
              <a:gd name="T1" fmla="*/ 6 h 10"/>
              <a:gd name="T2" fmla="*/ 6 w 11"/>
              <a:gd name="T3" fmla="*/ 10 h 10"/>
              <a:gd name="T4" fmla="*/ 0 w 11"/>
              <a:gd name="T5" fmla="*/ 6 h 10"/>
              <a:gd name="T6" fmla="*/ 10 w 11"/>
              <a:gd name="T7" fmla="*/ 6 h 10"/>
              <a:gd name="T8" fmla="*/ 10 w 11"/>
              <a:gd name="T9" fmla="*/ 6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" h="10">
                <a:moveTo>
                  <a:pt x="10" y="6"/>
                </a:moveTo>
                <a:cubicBezTo>
                  <a:pt x="10" y="8"/>
                  <a:pt x="7" y="9"/>
                  <a:pt x="6" y="10"/>
                </a:cubicBezTo>
                <a:cubicBezTo>
                  <a:pt x="4" y="10"/>
                  <a:pt x="0" y="9"/>
                  <a:pt x="0" y="6"/>
                </a:cubicBezTo>
                <a:cubicBezTo>
                  <a:pt x="1" y="0"/>
                  <a:pt x="11" y="6"/>
                  <a:pt x="10" y="6"/>
                </a:cubicBezTo>
                <a:cubicBezTo>
                  <a:pt x="10" y="7"/>
                  <a:pt x="11" y="5"/>
                  <a:pt x="10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94" name="Freeform 489">
            <a:extLst>
              <a:ext uri="{FF2B5EF4-FFF2-40B4-BE49-F238E27FC236}">
                <a16:creationId xmlns:a16="http://schemas.microsoft.com/office/drawing/2014/main" id="{DF600069-E172-5D46-8241-9C2B4DB345A6}"/>
              </a:ext>
            </a:extLst>
          </p:cNvPr>
          <p:cNvSpPr>
            <a:spLocks/>
          </p:cNvSpPr>
          <p:nvPr/>
        </p:nvSpPr>
        <p:spPr bwMode="auto">
          <a:xfrm>
            <a:off x="7663784" y="2526954"/>
            <a:ext cx="45886" cy="26481"/>
          </a:xfrm>
          <a:custGeom>
            <a:avLst/>
            <a:gdLst>
              <a:gd name="T0" fmla="*/ 9 w 9"/>
              <a:gd name="T1" fmla="*/ 3 h 5"/>
              <a:gd name="T2" fmla="*/ 4 w 9"/>
              <a:gd name="T3" fmla="*/ 5 h 5"/>
              <a:gd name="T4" fmla="*/ 1 w 9"/>
              <a:gd name="T5" fmla="*/ 1 h 5"/>
              <a:gd name="T6" fmla="*/ 6 w 9"/>
              <a:gd name="T7" fmla="*/ 1 h 5"/>
              <a:gd name="T8" fmla="*/ 9 w 9"/>
              <a:gd name="T9" fmla="*/ 3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5">
                <a:moveTo>
                  <a:pt x="9" y="3"/>
                </a:moveTo>
                <a:cubicBezTo>
                  <a:pt x="7" y="4"/>
                  <a:pt x="6" y="4"/>
                  <a:pt x="4" y="5"/>
                </a:cubicBezTo>
                <a:cubicBezTo>
                  <a:pt x="2" y="5"/>
                  <a:pt x="0" y="3"/>
                  <a:pt x="1" y="1"/>
                </a:cubicBezTo>
                <a:cubicBezTo>
                  <a:pt x="1" y="0"/>
                  <a:pt x="5" y="0"/>
                  <a:pt x="6" y="1"/>
                </a:cubicBezTo>
                <a:cubicBezTo>
                  <a:pt x="7" y="1"/>
                  <a:pt x="8" y="3"/>
                  <a:pt x="9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95" name="Freeform 490">
            <a:extLst>
              <a:ext uri="{FF2B5EF4-FFF2-40B4-BE49-F238E27FC236}">
                <a16:creationId xmlns:a16="http://schemas.microsoft.com/office/drawing/2014/main" id="{57B003A6-1266-5E48-BDBC-FF628CA29313}"/>
              </a:ext>
            </a:extLst>
          </p:cNvPr>
          <p:cNvSpPr>
            <a:spLocks/>
          </p:cNvSpPr>
          <p:nvPr/>
        </p:nvSpPr>
        <p:spPr bwMode="auto">
          <a:xfrm>
            <a:off x="8697983" y="2475760"/>
            <a:ext cx="51180" cy="24714"/>
          </a:xfrm>
          <a:custGeom>
            <a:avLst/>
            <a:gdLst>
              <a:gd name="T0" fmla="*/ 6 w 10"/>
              <a:gd name="T1" fmla="*/ 5 h 5"/>
              <a:gd name="T2" fmla="*/ 1 w 10"/>
              <a:gd name="T3" fmla="*/ 4 h 5"/>
              <a:gd name="T4" fmla="*/ 4 w 10"/>
              <a:gd name="T5" fmla="*/ 1 h 5"/>
              <a:gd name="T6" fmla="*/ 9 w 10"/>
              <a:gd name="T7" fmla="*/ 1 h 5"/>
              <a:gd name="T8" fmla="*/ 6 w 10"/>
              <a:gd name="T9" fmla="*/ 5 h 5"/>
              <a:gd name="T10" fmla="*/ 6 w 10"/>
              <a:gd name="T1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" h="5">
                <a:moveTo>
                  <a:pt x="6" y="5"/>
                </a:moveTo>
                <a:cubicBezTo>
                  <a:pt x="4" y="5"/>
                  <a:pt x="2" y="4"/>
                  <a:pt x="1" y="4"/>
                </a:cubicBezTo>
                <a:cubicBezTo>
                  <a:pt x="0" y="3"/>
                  <a:pt x="3" y="1"/>
                  <a:pt x="4" y="1"/>
                </a:cubicBezTo>
                <a:cubicBezTo>
                  <a:pt x="5" y="0"/>
                  <a:pt x="8" y="0"/>
                  <a:pt x="9" y="1"/>
                </a:cubicBezTo>
                <a:cubicBezTo>
                  <a:pt x="10" y="2"/>
                  <a:pt x="7" y="5"/>
                  <a:pt x="6" y="5"/>
                </a:cubicBezTo>
                <a:cubicBezTo>
                  <a:pt x="4" y="5"/>
                  <a:pt x="6" y="5"/>
                  <a:pt x="6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96" name="Freeform 491">
            <a:extLst>
              <a:ext uri="{FF2B5EF4-FFF2-40B4-BE49-F238E27FC236}">
                <a16:creationId xmlns:a16="http://schemas.microsoft.com/office/drawing/2014/main" id="{438DB032-1E26-9642-9F66-22EEEB757B85}"/>
              </a:ext>
            </a:extLst>
          </p:cNvPr>
          <p:cNvSpPr>
            <a:spLocks/>
          </p:cNvSpPr>
          <p:nvPr/>
        </p:nvSpPr>
        <p:spPr bwMode="auto">
          <a:xfrm>
            <a:off x="8175590" y="2101516"/>
            <a:ext cx="31766" cy="10592"/>
          </a:xfrm>
          <a:custGeom>
            <a:avLst/>
            <a:gdLst>
              <a:gd name="T0" fmla="*/ 6 w 6"/>
              <a:gd name="T1" fmla="*/ 1 h 2"/>
              <a:gd name="T2" fmla="*/ 0 w 6"/>
              <a:gd name="T3" fmla="*/ 1 h 2"/>
              <a:gd name="T4" fmla="*/ 6 w 6"/>
              <a:gd name="T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" h="2">
                <a:moveTo>
                  <a:pt x="6" y="1"/>
                </a:moveTo>
                <a:cubicBezTo>
                  <a:pt x="6" y="2"/>
                  <a:pt x="0" y="2"/>
                  <a:pt x="0" y="1"/>
                </a:cubicBezTo>
                <a:cubicBezTo>
                  <a:pt x="0" y="0"/>
                  <a:pt x="6" y="0"/>
                  <a:pt x="6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97" name="Freeform 492">
            <a:extLst>
              <a:ext uri="{FF2B5EF4-FFF2-40B4-BE49-F238E27FC236}">
                <a16:creationId xmlns:a16="http://schemas.microsoft.com/office/drawing/2014/main" id="{E3576F53-4871-6541-9173-34696C7E30CA}"/>
              </a:ext>
            </a:extLst>
          </p:cNvPr>
          <p:cNvSpPr>
            <a:spLocks/>
          </p:cNvSpPr>
          <p:nvPr/>
        </p:nvSpPr>
        <p:spPr bwMode="auto">
          <a:xfrm>
            <a:off x="7886156" y="2548139"/>
            <a:ext cx="30002" cy="21184"/>
          </a:xfrm>
          <a:custGeom>
            <a:avLst/>
            <a:gdLst>
              <a:gd name="T0" fmla="*/ 5 w 6"/>
              <a:gd name="T1" fmla="*/ 4 h 4"/>
              <a:gd name="T2" fmla="*/ 2 w 6"/>
              <a:gd name="T3" fmla="*/ 1 h 4"/>
              <a:gd name="T4" fmla="*/ 5 w 6"/>
              <a:gd name="T5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" h="4">
                <a:moveTo>
                  <a:pt x="5" y="4"/>
                </a:moveTo>
                <a:cubicBezTo>
                  <a:pt x="4" y="4"/>
                  <a:pt x="0" y="3"/>
                  <a:pt x="2" y="1"/>
                </a:cubicBezTo>
                <a:cubicBezTo>
                  <a:pt x="5" y="0"/>
                  <a:pt x="6" y="4"/>
                  <a:pt x="5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98" name="Freeform 493">
            <a:extLst>
              <a:ext uri="{FF2B5EF4-FFF2-40B4-BE49-F238E27FC236}">
                <a16:creationId xmlns:a16="http://schemas.microsoft.com/office/drawing/2014/main" id="{3FCFBA93-21EF-A64D-B5A4-2D1B4F471427}"/>
              </a:ext>
            </a:extLst>
          </p:cNvPr>
          <p:cNvSpPr>
            <a:spLocks/>
          </p:cNvSpPr>
          <p:nvPr/>
        </p:nvSpPr>
        <p:spPr bwMode="auto">
          <a:xfrm>
            <a:off x="6086011" y="3704413"/>
            <a:ext cx="30002" cy="56489"/>
          </a:xfrm>
          <a:custGeom>
            <a:avLst/>
            <a:gdLst>
              <a:gd name="T0" fmla="*/ 5 w 6"/>
              <a:gd name="T1" fmla="*/ 1 h 11"/>
              <a:gd name="T2" fmla="*/ 5 w 6"/>
              <a:gd name="T3" fmla="*/ 7 h 11"/>
              <a:gd name="T4" fmla="*/ 3 w 6"/>
              <a:gd name="T5" fmla="*/ 10 h 11"/>
              <a:gd name="T6" fmla="*/ 1 w 6"/>
              <a:gd name="T7" fmla="*/ 4 h 11"/>
              <a:gd name="T8" fmla="*/ 5 w 6"/>
              <a:gd name="T9" fmla="*/ 1 h 11"/>
              <a:gd name="T10" fmla="*/ 5 w 6"/>
              <a:gd name="T11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" h="11">
                <a:moveTo>
                  <a:pt x="5" y="1"/>
                </a:moveTo>
                <a:cubicBezTo>
                  <a:pt x="5" y="3"/>
                  <a:pt x="6" y="5"/>
                  <a:pt x="5" y="7"/>
                </a:cubicBezTo>
                <a:cubicBezTo>
                  <a:pt x="4" y="8"/>
                  <a:pt x="5" y="11"/>
                  <a:pt x="3" y="10"/>
                </a:cubicBezTo>
                <a:cubicBezTo>
                  <a:pt x="1" y="8"/>
                  <a:pt x="0" y="6"/>
                  <a:pt x="1" y="4"/>
                </a:cubicBezTo>
                <a:cubicBezTo>
                  <a:pt x="1" y="3"/>
                  <a:pt x="5" y="0"/>
                  <a:pt x="5" y="1"/>
                </a:cubicBezTo>
                <a:cubicBezTo>
                  <a:pt x="5" y="2"/>
                  <a:pt x="5" y="0"/>
                  <a:pt x="5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99" name="Freeform 494">
            <a:extLst>
              <a:ext uri="{FF2B5EF4-FFF2-40B4-BE49-F238E27FC236}">
                <a16:creationId xmlns:a16="http://schemas.microsoft.com/office/drawing/2014/main" id="{D2901260-4CD7-B34A-8411-E826B98C94FB}"/>
              </a:ext>
            </a:extLst>
          </p:cNvPr>
          <p:cNvSpPr>
            <a:spLocks/>
          </p:cNvSpPr>
          <p:nvPr/>
        </p:nvSpPr>
        <p:spPr bwMode="auto">
          <a:xfrm>
            <a:off x="6075421" y="3755608"/>
            <a:ext cx="45886" cy="77673"/>
          </a:xfrm>
          <a:custGeom>
            <a:avLst/>
            <a:gdLst>
              <a:gd name="T0" fmla="*/ 7 w 9"/>
              <a:gd name="T1" fmla="*/ 3 h 15"/>
              <a:gd name="T2" fmla="*/ 5 w 9"/>
              <a:gd name="T3" fmla="*/ 2 h 15"/>
              <a:gd name="T4" fmla="*/ 0 w 9"/>
              <a:gd name="T5" fmla="*/ 2 h 15"/>
              <a:gd name="T6" fmla="*/ 1 w 9"/>
              <a:gd name="T7" fmla="*/ 8 h 15"/>
              <a:gd name="T8" fmla="*/ 2 w 9"/>
              <a:gd name="T9" fmla="*/ 13 h 15"/>
              <a:gd name="T10" fmla="*/ 4 w 9"/>
              <a:gd name="T11" fmla="*/ 14 h 15"/>
              <a:gd name="T12" fmla="*/ 8 w 9"/>
              <a:gd name="T13" fmla="*/ 10 h 15"/>
              <a:gd name="T14" fmla="*/ 7 w 9"/>
              <a:gd name="T15" fmla="*/ 3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5">
                <a:moveTo>
                  <a:pt x="7" y="3"/>
                </a:moveTo>
                <a:cubicBezTo>
                  <a:pt x="6" y="3"/>
                  <a:pt x="7" y="0"/>
                  <a:pt x="5" y="2"/>
                </a:cubicBezTo>
                <a:cubicBezTo>
                  <a:pt x="2" y="4"/>
                  <a:pt x="3" y="4"/>
                  <a:pt x="0" y="2"/>
                </a:cubicBezTo>
                <a:cubicBezTo>
                  <a:pt x="0" y="2"/>
                  <a:pt x="1" y="8"/>
                  <a:pt x="1" y="8"/>
                </a:cubicBezTo>
                <a:cubicBezTo>
                  <a:pt x="2" y="10"/>
                  <a:pt x="2" y="11"/>
                  <a:pt x="2" y="13"/>
                </a:cubicBezTo>
                <a:cubicBezTo>
                  <a:pt x="2" y="14"/>
                  <a:pt x="2" y="15"/>
                  <a:pt x="4" y="14"/>
                </a:cubicBezTo>
                <a:cubicBezTo>
                  <a:pt x="6" y="13"/>
                  <a:pt x="8" y="13"/>
                  <a:pt x="8" y="10"/>
                </a:cubicBezTo>
                <a:cubicBezTo>
                  <a:pt x="8" y="9"/>
                  <a:pt x="9" y="3"/>
                  <a:pt x="7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00" name="Freeform 495">
            <a:extLst>
              <a:ext uri="{FF2B5EF4-FFF2-40B4-BE49-F238E27FC236}">
                <a16:creationId xmlns:a16="http://schemas.microsoft.com/office/drawing/2014/main" id="{B6AD6C76-E0FD-7648-AFD1-207E110C8B93}"/>
              </a:ext>
            </a:extLst>
          </p:cNvPr>
          <p:cNvSpPr>
            <a:spLocks/>
          </p:cNvSpPr>
          <p:nvPr/>
        </p:nvSpPr>
        <p:spPr bwMode="auto">
          <a:xfrm>
            <a:off x="6183079" y="3849169"/>
            <a:ext cx="82947" cy="51193"/>
          </a:xfrm>
          <a:custGeom>
            <a:avLst/>
            <a:gdLst>
              <a:gd name="T0" fmla="*/ 5 w 16"/>
              <a:gd name="T1" fmla="*/ 1 h 10"/>
              <a:gd name="T2" fmla="*/ 0 w 16"/>
              <a:gd name="T3" fmla="*/ 2 h 10"/>
              <a:gd name="T4" fmla="*/ 3 w 16"/>
              <a:gd name="T5" fmla="*/ 5 h 10"/>
              <a:gd name="T6" fmla="*/ 8 w 16"/>
              <a:gd name="T7" fmla="*/ 7 h 10"/>
              <a:gd name="T8" fmla="*/ 14 w 16"/>
              <a:gd name="T9" fmla="*/ 8 h 10"/>
              <a:gd name="T10" fmla="*/ 13 w 16"/>
              <a:gd name="T11" fmla="*/ 4 h 10"/>
              <a:gd name="T12" fmla="*/ 15 w 16"/>
              <a:gd name="T13" fmla="*/ 1 h 10"/>
              <a:gd name="T14" fmla="*/ 11 w 16"/>
              <a:gd name="T15" fmla="*/ 1 h 10"/>
              <a:gd name="T16" fmla="*/ 5 w 16"/>
              <a:gd name="T17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0">
                <a:moveTo>
                  <a:pt x="5" y="1"/>
                </a:moveTo>
                <a:cubicBezTo>
                  <a:pt x="4" y="1"/>
                  <a:pt x="1" y="1"/>
                  <a:pt x="0" y="2"/>
                </a:cubicBezTo>
                <a:cubicBezTo>
                  <a:pt x="0" y="3"/>
                  <a:pt x="2" y="4"/>
                  <a:pt x="3" y="5"/>
                </a:cubicBezTo>
                <a:cubicBezTo>
                  <a:pt x="5" y="5"/>
                  <a:pt x="7" y="6"/>
                  <a:pt x="8" y="7"/>
                </a:cubicBezTo>
                <a:cubicBezTo>
                  <a:pt x="10" y="8"/>
                  <a:pt x="12" y="10"/>
                  <a:pt x="14" y="8"/>
                </a:cubicBezTo>
                <a:cubicBezTo>
                  <a:pt x="16" y="7"/>
                  <a:pt x="12" y="6"/>
                  <a:pt x="13" y="4"/>
                </a:cubicBezTo>
                <a:cubicBezTo>
                  <a:pt x="13" y="4"/>
                  <a:pt x="16" y="2"/>
                  <a:pt x="15" y="1"/>
                </a:cubicBezTo>
                <a:cubicBezTo>
                  <a:pt x="15" y="0"/>
                  <a:pt x="11" y="1"/>
                  <a:pt x="11" y="1"/>
                </a:cubicBezTo>
                <a:cubicBezTo>
                  <a:pt x="9" y="2"/>
                  <a:pt x="7" y="1"/>
                  <a:pt x="5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01" name="Freeform 496">
            <a:extLst>
              <a:ext uri="{FF2B5EF4-FFF2-40B4-BE49-F238E27FC236}">
                <a16:creationId xmlns:a16="http://schemas.microsoft.com/office/drawing/2014/main" id="{D220BB61-7F99-8042-8349-C5AC8413DB5C}"/>
              </a:ext>
            </a:extLst>
          </p:cNvPr>
          <p:cNvSpPr>
            <a:spLocks/>
          </p:cNvSpPr>
          <p:nvPr/>
        </p:nvSpPr>
        <p:spPr bwMode="auto">
          <a:xfrm>
            <a:off x="6675469" y="3921546"/>
            <a:ext cx="67063" cy="37071"/>
          </a:xfrm>
          <a:custGeom>
            <a:avLst/>
            <a:gdLst>
              <a:gd name="T0" fmla="*/ 12 w 13"/>
              <a:gd name="T1" fmla="*/ 1 h 7"/>
              <a:gd name="T2" fmla="*/ 10 w 13"/>
              <a:gd name="T3" fmla="*/ 2 h 7"/>
              <a:gd name="T4" fmla="*/ 10 w 13"/>
              <a:gd name="T5" fmla="*/ 5 h 7"/>
              <a:gd name="T6" fmla="*/ 6 w 13"/>
              <a:gd name="T7" fmla="*/ 6 h 7"/>
              <a:gd name="T8" fmla="*/ 2 w 13"/>
              <a:gd name="T9" fmla="*/ 6 h 7"/>
              <a:gd name="T10" fmla="*/ 5 w 13"/>
              <a:gd name="T11" fmla="*/ 3 h 7"/>
              <a:gd name="T12" fmla="*/ 12 w 13"/>
              <a:gd name="T13" fmla="*/ 1 h 7"/>
              <a:gd name="T14" fmla="*/ 12 w 13"/>
              <a:gd name="T15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7">
                <a:moveTo>
                  <a:pt x="12" y="1"/>
                </a:moveTo>
                <a:cubicBezTo>
                  <a:pt x="12" y="1"/>
                  <a:pt x="10" y="2"/>
                  <a:pt x="10" y="2"/>
                </a:cubicBezTo>
                <a:cubicBezTo>
                  <a:pt x="9" y="3"/>
                  <a:pt x="10" y="5"/>
                  <a:pt x="10" y="5"/>
                </a:cubicBezTo>
                <a:cubicBezTo>
                  <a:pt x="9" y="5"/>
                  <a:pt x="7" y="5"/>
                  <a:pt x="6" y="6"/>
                </a:cubicBezTo>
                <a:cubicBezTo>
                  <a:pt x="4" y="7"/>
                  <a:pt x="3" y="7"/>
                  <a:pt x="2" y="6"/>
                </a:cubicBezTo>
                <a:cubicBezTo>
                  <a:pt x="0" y="4"/>
                  <a:pt x="4" y="3"/>
                  <a:pt x="5" y="3"/>
                </a:cubicBezTo>
                <a:cubicBezTo>
                  <a:pt x="7" y="3"/>
                  <a:pt x="10" y="2"/>
                  <a:pt x="12" y="1"/>
                </a:cubicBezTo>
                <a:cubicBezTo>
                  <a:pt x="13" y="0"/>
                  <a:pt x="11" y="2"/>
                  <a:pt x="12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02" name="Freeform 497">
            <a:extLst>
              <a:ext uri="{FF2B5EF4-FFF2-40B4-BE49-F238E27FC236}">
                <a16:creationId xmlns:a16="http://schemas.microsoft.com/office/drawing/2014/main" id="{176E4910-6DA5-364C-8C59-6229ECEAFEEA}"/>
              </a:ext>
            </a:extLst>
          </p:cNvPr>
          <p:cNvSpPr>
            <a:spLocks/>
          </p:cNvSpPr>
          <p:nvPr/>
        </p:nvSpPr>
        <p:spPr bwMode="auto">
          <a:xfrm>
            <a:off x="6453100" y="3926841"/>
            <a:ext cx="77653" cy="21184"/>
          </a:xfrm>
          <a:custGeom>
            <a:avLst/>
            <a:gdLst>
              <a:gd name="T0" fmla="*/ 8 w 15"/>
              <a:gd name="T1" fmla="*/ 4 h 4"/>
              <a:gd name="T2" fmla="*/ 1 w 15"/>
              <a:gd name="T3" fmla="*/ 1 h 4"/>
              <a:gd name="T4" fmla="*/ 7 w 15"/>
              <a:gd name="T5" fmla="*/ 1 h 4"/>
              <a:gd name="T6" fmla="*/ 15 w 15"/>
              <a:gd name="T7" fmla="*/ 2 h 4"/>
              <a:gd name="T8" fmla="*/ 13 w 15"/>
              <a:gd name="T9" fmla="*/ 3 h 4"/>
              <a:gd name="T10" fmla="*/ 8 w 15"/>
              <a:gd name="T11" fmla="*/ 4 h 4"/>
              <a:gd name="T12" fmla="*/ 8 w 15"/>
              <a:gd name="T13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" h="4">
                <a:moveTo>
                  <a:pt x="8" y="4"/>
                </a:moveTo>
                <a:cubicBezTo>
                  <a:pt x="7" y="4"/>
                  <a:pt x="0" y="2"/>
                  <a:pt x="1" y="1"/>
                </a:cubicBezTo>
                <a:cubicBezTo>
                  <a:pt x="1" y="0"/>
                  <a:pt x="7" y="1"/>
                  <a:pt x="7" y="1"/>
                </a:cubicBezTo>
                <a:cubicBezTo>
                  <a:pt x="10" y="2"/>
                  <a:pt x="12" y="2"/>
                  <a:pt x="15" y="2"/>
                </a:cubicBezTo>
                <a:cubicBezTo>
                  <a:pt x="15" y="2"/>
                  <a:pt x="13" y="3"/>
                  <a:pt x="13" y="3"/>
                </a:cubicBezTo>
                <a:cubicBezTo>
                  <a:pt x="12" y="4"/>
                  <a:pt x="10" y="4"/>
                  <a:pt x="8" y="4"/>
                </a:cubicBezTo>
                <a:cubicBezTo>
                  <a:pt x="6" y="4"/>
                  <a:pt x="9" y="4"/>
                  <a:pt x="8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03" name="Freeform 498">
            <a:extLst>
              <a:ext uri="{FF2B5EF4-FFF2-40B4-BE49-F238E27FC236}">
                <a16:creationId xmlns:a16="http://schemas.microsoft.com/office/drawing/2014/main" id="{272F4104-4B30-5B47-887D-3D54A8D073E2}"/>
              </a:ext>
            </a:extLst>
          </p:cNvPr>
          <p:cNvSpPr>
            <a:spLocks/>
          </p:cNvSpPr>
          <p:nvPr/>
        </p:nvSpPr>
        <p:spPr bwMode="auto">
          <a:xfrm>
            <a:off x="6416038" y="3164230"/>
            <a:ext cx="37062" cy="37071"/>
          </a:xfrm>
          <a:custGeom>
            <a:avLst/>
            <a:gdLst>
              <a:gd name="T0" fmla="*/ 1 w 7"/>
              <a:gd name="T1" fmla="*/ 4 h 7"/>
              <a:gd name="T2" fmla="*/ 1 w 7"/>
              <a:gd name="T3" fmla="*/ 1 h 7"/>
              <a:gd name="T4" fmla="*/ 7 w 7"/>
              <a:gd name="T5" fmla="*/ 1 h 7"/>
              <a:gd name="T6" fmla="*/ 1 w 7"/>
              <a:gd name="T7" fmla="*/ 4 h 7"/>
              <a:gd name="T8" fmla="*/ 1 w 7"/>
              <a:gd name="T9" fmla="*/ 4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7">
                <a:moveTo>
                  <a:pt x="1" y="4"/>
                </a:moveTo>
                <a:cubicBezTo>
                  <a:pt x="1" y="3"/>
                  <a:pt x="0" y="1"/>
                  <a:pt x="1" y="1"/>
                </a:cubicBezTo>
                <a:cubicBezTo>
                  <a:pt x="2" y="1"/>
                  <a:pt x="7" y="0"/>
                  <a:pt x="7" y="1"/>
                </a:cubicBezTo>
                <a:cubicBezTo>
                  <a:pt x="7" y="2"/>
                  <a:pt x="2" y="6"/>
                  <a:pt x="1" y="4"/>
                </a:cubicBezTo>
                <a:cubicBezTo>
                  <a:pt x="1" y="1"/>
                  <a:pt x="2" y="7"/>
                  <a:pt x="1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04" name="Freeform 499">
            <a:extLst>
              <a:ext uri="{FF2B5EF4-FFF2-40B4-BE49-F238E27FC236}">
                <a16:creationId xmlns:a16="http://schemas.microsoft.com/office/drawing/2014/main" id="{AC2AD6EA-A5BF-9B47-AB8B-88EEE22BE141}"/>
              </a:ext>
            </a:extLst>
          </p:cNvPr>
          <p:cNvSpPr>
            <a:spLocks/>
          </p:cNvSpPr>
          <p:nvPr/>
        </p:nvSpPr>
        <p:spPr bwMode="auto">
          <a:xfrm>
            <a:off x="6421333" y="3150108"/>
            <a:ext cx="26472" cy="14122"/>
          </a:xfrm>
          <a:custGeom>
            <a:avLst/>
            <a:gdLst>
              <a:gd name="T0" fmla="*/ 3 w 5"/>
              <a:gd name="T1" fmla="*/ 2 h 3"/>
              <a:gd name="T2" fmla="*/ 0 w 5"/>
              <a:gd name="T3" fmla="*/ 1 h 3"/>
              <a:gd name="T4" fmla="*/ 4 w 5"/>
              <a:gd name="T5" fmla="*/ 1 h 3"/>
              <a:gd name="T6" fmla="*/ 3 w 5"/>
              <a:gd name="T7" fmla="*/ 2 h 3"/>
              <a:gd name="T8" fmla="*/ 3 w 5"/>
              <a:gd name="T9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3">
                <a:moveTo>
                  <a:pt x="3" y="2"/>
                </a:moveTo>
                <a:cubicBezTo>
                  <a:pt x="2" y="2"/>
                  <a:pt x="0" y="1"/>
                  <a:pt x="0" y="1"/>
                </a:cubicBezTo>
                <a:cubicBezTo>
                  <a:pt x="0" y="1"/>
                  <a:pt x="4" y="0"/>
                  <a:pt x="4" y="1"/>
                </a:cubicBezTo>
                <a:cubicBezTo>
                  <a:pt x="5" y="2"/>
                  <a:pt x="4" y="3"/>
                  <a:pt x="3" y="2"/>
                </a:cubicBezTo>
                <a:cubicBezTo>
                  <a:pt x="1" y="2"/>
                  <a:pt x="5" y="3"/>
                  <a:pt x="3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05" name="Freeform 500">
            <a:extLst>
              <a:ext uri="{FF2B5EF4-FFF2-40B4-BE49-F238E27FC236}">
                <a16:creationId xmlns:a16="http://schemas.microsoft.com/office/drawing/2014/main" id="{C73882F4-D5D0-4848-B216-04DE92BCE3D0}"/>
              </a:ext>
            </a:extLst>
          </p:cNvPr>
          <p:cNvSpPr>
            <a:spLocks/>
          </p:cNvSpPr>
          <p:nvPr/>
        </p:nvSpPr>
        <p:spPr bwMode="auto">
          <a:xfrm>
            <a:off x="6313676" y="3185413"/>
            <a:ext cx="30002" cy="51193"/>
          </a:xfrm>
          <a:custGeom>
            <a:avLst/>
            <a:gdLst>
              <a:gd name="T0" fmla="*/ 6 w 6"/>
              <a:gd name="T1" fmla="*/ 2 h 10"/>
              <a:gd name="T2" fmla="*/ 3 w 6"/>
              <a:gd name="T3" fmla="*/ 9 h 10"/>
              <a:gd name="T4" fmla="*/ 6 w 6"/>
              <a:gd name="T5" fmla="*/ 2 h 10"/>
              <a:gd name="T6" fmla="*/ 6 w 6"/>
              <a:gd name="T7" fmla="*/ 2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10">
                <a:moveTo>
                  <a:pt x="6" y="2"/>
                </a:moveTo>
                <a:cubicBezTo>
                  <a:pt x="6" y="0"/>
                  <a:pt x="0" y="10"/>
                  <a:pt x="3" y="9"/>
                </a:cubicBezTo>
                <a:cubicBezTo>
                  <a:pt x="4" y="9"/>
                  <a:pt x="6" y="3"/>
                  <a:pt x="6" y="2"/>
                </a:cubicBezTo>
                <a:cubicBezTo>
                  <a:pt x="6" y="1"/>
                  <a:pt x="6" y="3"/>
                  <a:pt x="6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06" name="Freeform 501">
            <a:extLst>
              <a:ext uri="{FF2B5EF4-FFF2-40B4-BE49-F238E27FC236}">
                <a16:creationId xmlns:a16="http://schemas.microsoft.com/office/drawing/2014/main" id="{A38E5F0B-89E4-A848-87DB-E3CAD2B8E34C}"/>
              </a:ext>
            </a:extLst>
          </p:cNvPr>
          <p:cNvSpPr>
            <a:spLocks/>
          </p:cNvSpPr>
          <p:nvPr/>
        </p:nvSpPr>
        <p:spPr bwMode="auto">
          <a:xfrm>
            <a:off x="6359564" y="3097148"/>
            <a:ext cx="21178" cy="21184"/>
          </a:xfrm>
          <a:custGeom>
            <a:avLst/>
            <a:gdLst>
              <a:gd name="T0" fmla="*/ 3 w 4"/>
              <a:gd name="T1" fmla="*/ 3 h 4"/>
              <a:gd name="T2" fmla="*/ 1 w 4"/>
              <a:gd name="T3" fmla="*/ 1 h 4"/>
              <a:gd name="T4" fmla="*/ 3 w 4"/>
              <a:gd name="T5" fmla="*/ 0 h 4"/>
              <a:gd name="T6" fmla="*/ 3 w 4"/>
              <a:gd name="T7" fmla="*/ 3 h 4"/>
              <a:gd name="T8" fmla="*/ 3 w 4"/>
              <a:gd name="T9" fmla="*/ 3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4">
                <a:moveTo>
                  <a:pt x="3" y="3"/>
                </a:moveTo>
                <a:cubicBezTo>
                  <a:pt x="2" y="3"/>
                  <a:pt x="0" y="2"/>
                  <a:pt x="1" y="1"/>
                </a:cubicBezTo>
                <a:cubicBezTo>
                  <a:pt x="2" y="1"/>
                  <a:pt x="3" y="0"/>
                  <a:pt x="3" y="0"/>
                </a:cubicBezTo>
                <a:cubicBezTo>
                  <a:pt x="4" y="0"/>
                  <a:pt x="4" y="2"/>
                  <a:pt x="3" y="3"/>
                </a:cubicBezTo>
                <a:cubicBezTo>
                  <a:pt x="2" y="4"/>
                  <a:pt x="4" y="2"/>
                  <a:pt x="3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07" name="Freeform 502">
            <a:extLst>
              <a:ext uri="{FF2B5EF4-FFF2-40B4-BE49-F238E27FC236}">
                <a16:creationId xmlns:a16="http://schemas.microsoft.com/office/drawing/2014/main" id="{31B072EA-6A19-144A-9CA7-14059E558D6E}"/>
              </a:ext>
            </a:extLst>
          </p:cNvPr>
          <p:cNvSpPr>
            <a:spLocks/>
          </p:cNvSpPr>
          <p:nvPr/>
        </p:nvSpPr>
        <p:spPr bwMode="auto">
          <a:xfrm>
            <a:off x="6153075" y="3257790"/>
            <a:ext cx="30002" cy="47663"/>
          </a:xfrm>
          <a:custGeom>
            <a:avLst/>
            <a:gdLst>
              <a:gd name="T0" fmla="*/ 6 w 6"/>
              <a:gd name="T1" fmla="*/ 2 h 9"/>
              <a:gd name="T2" fmla="*/ 6 w 6"/>
              <a:gd name="T3" fmla="*/ 4 h 9"/>
              <a:gd name="T4" fmla="*/ 5 w 6"/>
              <a:gd name="T5" fmla="*/ 9 h 9"/>
              <a:gd name="T6" fmla="*/ 0 w 6"/>
              <a:gd name="T7" fmla="*/ 3 h 9"/>
              <a:gd name="T8" fmla="*/ 3 w 6"/>
              <a:gd name="T9" fmla="*/ 3 h 9"/>
              <a:gd name="T10" fmla="*/ 6 w 6"/>
              <a:gd name="T11" fmla="*/ 2 h 9"/>
              <a:gd name="T12" fmla="*/ 6 w 6"/>
              <a:gd name="T13" fmla="*/ 2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9">
                <a:moveTo>
                  <a:pt x="6" y="2"/>
                </a:moveTo>
                <a:cubicBezTo>
                  <a:pt x="6" y="1"/>
                  <a:pt x="6" y="4"/>
                  <a:pt x="6" y="4"/>
                </a:cubicBezTo>
                <a:cubicBezTo>
                  <a:pt x="6" y="6"/>
                  <a:pt x="6" y="8"/>
                  <a:pt x="5" y="9"/>
                </a:cubicBezTo>
                <a:cubicBezTo>
                  <a:pt x="5" y="9"/>
                  <a:pt x="0" y="5"/>
                  <a:pt x="0" y="3"/>
                </a:cubicBezTo>
                <a:cubicBezTo>
                  <a:pt x="0" y="3"/>
                  <a:pt x="2" y="2"/>
                  <a:pt x="3" y="3"/>
                </a:cubicBezTo>
                <a:cubicBezTo>
                  <a:pt x="4" y="4"/>
                  <a:pt x="5" y="4"/>
                  <a:pt x="6" y="2"/>
                </a:cubicBezTo>
                <a:cubicBezTo>
                  <a:pt x="6" y="0"/>
                  <a:pt x="6" y="3"/>
                  <a:pt x="6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08" name="Freeform 503">
            <a:extLst>
              <a:ext uri="{FF2B5EF4-FFF2-40B4-BE49-F238E27FC236}">
                <a16:creationId xmlns:a16="http://schemas.microsoft.com/office/drawing/2014/main" id="{9EB4726F-E096-CD4F-BAB5-8540D827C77E}"/>
              </a:ext>
            </a:extLst>
          </p:cNvPr>
          <p:cNvSpPr>
            <a:spLocks/>
          </p:cNvSpPr>
          <p:nvPr/>
        </p:nvSpPr>
        <p:spPr bwMode="auto">
          <a:xfrm>
            <a:off x="6116015" y="3268382"/>
            <a:ext cx="42356" cy="42367"/>
          </a:xfrm>
          <a:custGeom>
            <a:avLst/>
            <a:gdLst>
              <a:gd name="T0" fmla="*/ 6 w 8"/>
              <a:gd name="T1" fmla="*/ 7 h 8"/>
              <a:gd name="T2" fmla="*/ 1 w 8"/>
              <a:gd name="T3" fmla="*/ 4 h 8"/>
              <a:gd name="T4" fmla="*/ 6 w 8"/>
              <a:gd name="T5" fmla="*/ 7 h 8"/>
              <a:gd name="T6" fmla="*/ 6 w 8"/>
              <a:gd name="T7" fmla="*/ 7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8">
                <a:moveTo>
                  <a:pt x="6" y="7"/>
                </a:moveTo>
                <a:cubicBezTo>
                  <a:pt x="5" y="8"/>
                  <a:pt x="0" y="5"/>
                  <a:pt x="1" y="4"/>
                </a:cubicBezTo>
                <a:cubicBezTo>
                  <a:pt x="3" y="0"/>
                  <a:pt x="8" y="5"/>
                  <a:pt x="6" y="7"/>
                </a:cubicBezTo>
                <a:cubicBezTo>
                  <a:pt x="5" y="8"/>
                  <a:pt x="7" y="6"/>
                  <a:pt x="6" y="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09" name="Freeform 504">
            <a:extLst>
              <a:ext uri="{FF2B5EF4-FFF2-40B4-BE49-F238E27FC236}">
                <a16:creationId xmlns:a16="http://schemas.microsoft.com/office/drawing/2014/main" id="{E892005B-54E9-2B40-87D7-DB98B7BC8216}"/>
              </a:ext>
            </a:extLst>
          </p:cNvPr>
          <p:cNvSpPr>
            <a:spLocks/>
          </p:cNvSpPr>
          <p:nvPr/>
        </p:nvSpPr>
        <p:spPr bwMode="auto">
          <a:xfrm>
            <a:off x="5930705" y="3803270"/>
            <a:ext cx="24708" cy="19419"/>
          </a:xfrm>
          <a:custGeom>
            <a:avLst/>
            <a:gdLst>
              <a:gd name="T0" fmla="*/ 4 w 5"/>
              <a:gd name="T1" fmla="*/ 2 h 4"/>
              <a:gd name="T2" fmla="*/ 3 w 5"/>
              <a:gd name="T3" fmla="*/ 3 h 4"/>
              <a:gd name="T4" fmla="*/ 0 w 5"/>
              <a:gd name="T5" fmla="*/ 2 h 4"/>
              <a:gd name="T6" fmla="*/ 4 w 5"/>
              <a:gd name="T7" fmla="*/ 0 h 4"/>
              <a:gd name="T8" fmla="*/ 4 w 5"/>
              <a:gd name="T9" fmla="*/ 2 h 4"/>
              <a:gd name="T10" fmla="*/ 4 w 5"/>
              <a:gd name="T11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4">
                <a:moveTo>
                  <a:pt x="4" y="2"/>
                </a:moveTo>
                <a:cubicBezTo>
                  <a:pt x="5" y="1"/>
                  <a:pt x="4" y="4"/>
                  <a:pt x="3" y="3"/>
                </a:cubicBezTo>
                <a:cubicBezTo>
                  <a:pt x="3" y="3"/>
                  <a:pt x="0" y="2"/>
                  <a:pt x="0" y="2"/>
                </a:cubicBezTo>
                <a:cubicBezTo>
                  <a:pt x="0" y="2"/>
                  <a:pt x="3" y="0"/>
                  <a:pt x="4" y="0"/>
                </a:cubicBezTo>
                <a:cubicBezTo>
                  <a:pt x="4" y="0"/>
                  <a:pt x="3" y="2"/>
                  <a:pt x="4" y="2"/>
                </a:cubicBezTo>
                <a:cubicBezTo>
                  <a:pt x="5" y="1"/>
                  <a:pt x="3" y="2"/>
                  <a:pt x="4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10" name="Freeform 505">
            <a:extLst>
              <a:ext uri="{FF2B5EF4-FFF2-40B4-BE49-F238E27FC236}">
                <a16:creationId xmlns:a16="http://schemas.microsoft.com/office/drawing/2014/main" id="{ABC0AF38-301A-384E-854E-08764893B78E}"/>
              </a:ext>
            </a:extLst>
          </p:cNvPr>
          <p:cNvSpPr>
            <a:spLocks/>
          </p:cNvSpPr>
          <p:nvPr/>
        </p:nvSpPr>
        <p:spPr bwMode="auto">
          <a:xfrm>
            <a:off x="5676565" y="3169525"/>
            <a:ext cx="31766" cy="31774"/>
          </a:xfrm>
          <a:custGeom>
            <a:avLst/>
            <a:gdLst>
              <a:gd name="T0" fmla="*/ 5 w 6"/>
              <a:gd name="T1" fmla="*/ 1 h 6"/>
              <a:gd name="T2" fmla="*/ 4 w 6"/>
              <a:gd name="T3" fmla="*/ 5 h 6"/>
              <a:gd name="T4" fmla="*/ 1 w 6"/>
              <a:gd name="T5" fmla="*/ 5 h 6"/>
              <a:gd name="T6" fmla="*/ 5 w 6"/>
              <a:gd name="T7" fmla="*/ 1 h 6"/>
              <a:gd name="T8" fmla="*/ 5 w 6"/>
              <a:gd name="T9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6">
                <a:moveTo>
                  <a:pt x="5" y="1"/>
                </a:moveTo>
                <a:cubicBezTo>
                  <a:pt x="6" y="2"/>
                  <a:pt x="4" y="3"/>
                  <a:pt x="4" y="5"/>
                </a:cubicBezTo>
                <a:cubicBezTo>
                  <a:pt x="3" y="6"/>
                  <a:pt x="2" y="6"/>
                  <a:pt x="1" y="5"/>
                </a:cubicBezTo>
                <a:cubicBezTo>
                  <a:pt x="0" y="4"/>
                  <a:pt x="5" y="0"/>
                  <a:pt x="5" y="1"/>
                </a:cubicBezTo>
                <a:cubicBezTo>
                  <a:pt x="6" y="2"/>
                  <a:pt x="5" y="0"/>
                  <a:pt x="5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11" name="Freeform 506">
            <a:extLst>
              <a:ext uri="{FF2B5EF4-FFF2-40B4-BE49-F238E27FC236}">
                <a16:creationId xmlns:a16="http://schemas.microsoft.com/office/drawing/2014/main" id="{026F08C3-5A12-3748-AACC-31524EA48F6D}"/>
              </a:ext>
            </a:extLst>
          </p:cNvPr>
          <p:cNvSpPr>
            <a:spLocks/>
          </p:cNvSpPr>
          <p:nvPr/>
        </p:nvSpPr>
        <p:spPr bwMode="auto">
          <a:xfrm>
            <a:off x="5692452" y="3206597"/>
            <a:ext cx="15883" cy="15887"/>
          </a:xfrm>
          <a:custGeom>
            <a:avLst/>
            <a:gdLst>
              <a:gd name="T0" fmla="*/ 3 w 3"/>
              <a:gd name="T1" fmla="*/ 1 h 3"/>
              <a:gd name="T2" fmla="*/ 0 w 3"/>
              <a:gd name="T3" fmla="*/ 2 h 3"/>
              <a:gd name="T4" fmla="*/ 2 w 3"/>
              <a:gd name="T5" fmla="*/ 3 h 3"/>
              <a:gd name="T6" fmla="*/ 3 w 3"/>
              <a:gd name="T7" fmla="*/ 1 h 3"/>
              <a:gd name="T8" fmla="*/ 3 w 3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3" y="1"/>
                </a:moveTo>
                <a:cubicBezTo>
                  <a:pt x="2" y="1"/>
                  <a:pt x="0" y="1"/>
                  <a:pt x="0" y="2"/>
                </a:cubicBezTo>
                <a:cubicBezTo>
                  <a:pt x="0" y="3"/>
                  <a:pt x="2" y="3"/>
                  <a:pt x="2" y="3"/>
                </a:cubicBezTo>
                <a:cubicBezTo>
                  <a:pt x="3" y="3"/>
                  <a:pt x="3" y="0"/>
                  <a:pt x="3" y="1"/>
                </a:cubicBezTo>
                <a:cubicBezTo>
                  <a:pt x="2" y="1"/>
                  <a:pt x="3" y="1"/>
                  <a:pt x="3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12" name="Freeform 507">
            <a:extLst>
              <a:ext uri="{FF2B5EF4-FFF2-40B4-BE49-F238E27FC236}">
                <a16:creationId xmlns:a16="http://schemas.microsoft.com/office/drawing/2014/main" id="{5A0D94B7-798E-C346-BF18-CA72C4249836}"/>
              </a:ext>
            </a:extLst>
          </p:cNvPr>
          <p:cNvSpPr>
            <a:spLocks/>
          </p:cNvSpPr>
          <p:nvPr/>
        </p:nvSpPr>
        <p:spPr bwMode="auto">
          <a:xfrm>
            <a:off x="5708334" y="3222486"/>
            <a:ext cx="8824" cy="5296"/>
          </a:xfrm>
          <a:custGeom>
            <a:avLst/>
            <a:gdLst>
              <a:gd name="T0" fmla="*/ 2 w 2"/>
              <a:gd name="T1" fmla="*/ 0 h 1"/>
              <a:gd name="T2" fmla="*/ 1 w 2"/>
              <a:gd name="T3" fmla="*/ 1 h 1"/>
              <a:gd name="T4" fmla="*/ 2 w 2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1">
                <a:moveTo>
                  <a:pt x="2" y="0"/>
                </a:moveTo>
                <a:cubicBezTo>
                  <a:pt x="1" y="0"/>
                  <a:pt x="0" y="1"/>
                  <a:pt x="1" y="1"/>
                </a:cubicBezTo>
                <a:cubicBezTo>
                  <a:pt x="2" y="1"/>
                  <a:pt x="2" y="0"/>
                  <a:pt x="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13" name="Freeform 508">
            <a:extLst>
              <a:ext uri="{FF2B5EF4-FFF2-40B4-BE49-F238E27FC236}">
                <a16:creationId xmlns:a16="http://schemas.microsoft.com/office/drawing/2014/main" id="{D94055BE-0DE5-894D-8FF0-8B1A89A6A399}"/>
              </a:ext>
            </a:extLst>
          </p:cNvPr>
          <p:cNvSpPr>
            <a:spLocks/>
          </p:cNvSpPr>
          <p:nvPr/>
        </p:nvSpPr>
        <p:spPr bwMode="auto">
          <a:xfrm>
            <a:off x="5708334" y="3236608"/>
            <a:ext cx="5294" cy="10592"/>
          </a:xfrm>
          <a:custGeom>
            <a:avLst/>
            <a:gdLst>
              <a:gd name="T0" fmla="*/ 1 w 1"/>
              <a:gd name="T1" fmla="*/ 0 h 2"/>
              <a:gd name="T2" fmla="*/ 0 w 1"/>
              <a:gd name="T3" fmla="*/ 2 h 2"/>
              <a:gd name="T4" fmla="*/ 1 w 1"/>
              <a:gd name="T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2">
                <a:moveTo>
                  <a:pt x="1" y="0"/>
                </a:moveTo>
                <a:cubicBezTo>
                  <a:pt x="1" y="1"/>
                  <a:pt x="0" y="2"/>
                  <a:pt x="0" y="2"/>
                </a:cubicBezTo>
                <a:cubicBezTo>
                  <a:pt x="1" y="2"/>
                  <a:pt x="1" y="0"/>
                  <a:pt x="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14" name="Freeform 509">
            <a:extLst>
              <a:ext uri="{FF2B5EF4-FFF2-40B4-BE49-F238E27FC236}">
                <a16:creationId xmlns:a16="http://schemas.microsoft.com/office/drawing/2014/main" id="{43BE0708-3F54-114D-80CA-95E5F1B73D8A}"/>
              </a:ext>
            </a:extLst>
          </p:cNvPr>
          <p:cNvSpPr>
            <a:spLocks/>
          </p:cNvSpPr>
          <p:nvPr/>
        </p:nvSpPr>
        <p:spPr bwMode="auto">
          <a:xfrm>
            <a:off x="5708334" y="3247198"/>
            <a:ext cx="8824" cy="5296"/>
          </a:xfrm>
          <a:custGeom>
            <a:avLst/>
            <a:gdLst>
              <a:gd name="T0" fmla="*/ 2 w 2"/>
              <a:gd name="T1" fmla="*/ 0 h 1"/>
              <a:gd name="T2" fmla="*/ 1 w 2"/>
              <a:gd name="T3" fmla="*/ 1 h 1"/>
              <a:gd name="T4" fmla="*/ 2 w 2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1">
                <a:moveTo>
                  <a:pt x="2" y="0"/>
                </a:moveTo>
                <a:cubicBezTo>
                  <a:pt x="1" y="0"/>
                  <a:pt x="0" y="1"/>
                  <a:pt x="1" y="1"/>
                </a:cubicBezTo>
                <a:cubicBezTo>
                  <a:pt x="2" y="1"/>
                  <a:pt x="2" y="0"/>
                  <a:pt x="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15" name="Freeform 510">
            <a:extLst>
              <a:ext uri="{FF2B5EF4-FFF2-40B4-BE49-F238E27FC236}">
                <a16:creationId xmlns:a16="http://schemas.microsoft.com/office/drawing/2014/main" id="{9D3EC880-FA85-AF41-A443-177B66E22D1C}"/>
              </a:ext>
            </a:extLst>
          </p:cNvPr>
          <p:cNvSpPr>
            <a:spLocks/>
          </p:cNvSpPr>
          <p:nvPr/>
        </p:nvSpPr>
        <p:spPr bwMode="auto">
          <a:xfrm>
            <a:off x="5748926" y="3324871"/>
            <a:ext cx="5294" cy="10592"/>
          </a:xfrm>
          <a:custGeom>
            <a:avLst/>
            <a:gdLst>
              <a:gd name="T0" fmla="*/ 0 w 1"/>
              <a:gd name="T1" fmla="*/ 0 h 2"/>
              <a:gd name="T2" fmla="*/ 0 w 1"/>
              <a:gd name="T3" fmla="*/ 2 h 2"/>
              <a:gd name="T4" fmla="*/ 0 w 1"/>
              <a:gd name="T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2">
                <a:moveTo>
                  <a:pt x="0" y="0"/>
                </a:moveTo>
                <a:cubicBezTo>
                  <a:pt x="0" y="1"/>
                  <a:pt x="0" y="2"/>
                  <a:pt x="0" y="2"/>
                </a:cubicBezTo>
                <a:cubicBezTo>
                  <a:pt x="0" y="2"/>
                  <a:pt x="1" y="0"/>
                  <a:pt x="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16" name="Freeform 511">
            <a:extLst>
              <a:ext uri="{FF2B5EF4-FFF2-40B4-BE49-F238E27FC236}">
                <a16:creationId xmlns:a16="http://schemas.microsoft.com/office/drawing/2014/main" id="{F4FE7439-591D-184D-B54D-6856E302DE78}"/>
              </a:ext>
            </a:extLst>
          </p:cNvPr>
          <p:cNvSpPr>
            <a:spLocks/>
          </p:cNvSpPr>
          <p:nvPr/>
        </p:nvSpPr>
        <p:spPr bwMode="auto">
          <a:xfrm>
            <a:off x="5826580" y="3091853"/>
            <a:ext cx="10589" cy="21184"/>
          </a:xfrm>
          <a:custGeom>
            <a:avLst/>
            <a:gdLst>
              <a:gd name="T0" fmla="*/ 1 w 2"/>
              <a:gd name="T1" fmla="*/ 4 h 4"/>
              <a:gd name="T2" fmla="*/ 2 w 2"/>
              <a:gd name="T3" fmla="*/ 1 h 4"/>
              <a:gd name="T4" fmla="*/ 1 w 2"/>
              <a:gd name="T5" fmla="*/ 4 h 4"/>
              <a:gd name="T6" fmla="*/ 1 w 2"/>
              <a:gd name="T7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4">
                <a:moveTo>
                  <a:pt x="1" y="4"/>
                </a:moveTo>
                <a:cubicBezTo>
                  <a:pt x="0" y="3"/>
                  <a:pt x="0" y="1"/>
                  <a:pt x="2" y="1"/>
                </a:cubicBezTo>
                <a:cubicBezTo>
                  <a:pt x="2" y="0"/>
                  <a:pt x="2" y="4"/>
                  <a:pt x="1" y="4"/>
                </a:cubicBezTo>
                <a:cubicBezTo>
                  <a:pt x="0" y="3"/>
                  <a:pt x="1" y="4"/>
                  <a:pt x="1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17" name="Freeform 512">
            <a:extLst>
              <a:ext uri="{FF2B5EF4-FFF2-40B4-BE49-F238E27FC236}">
                <a16:creationId xmlns:a16="http://schemas.microsoft.com/office/drawing/2014/main" id="{D7AD5870-24F7-3044-B690-A1F586E33CFD}"/>
              </a:ext>
            </a:extLst>
          </p:cNvPr>
          <p:cNvSpPr>
            <a:spLocks/>
          </p:cNvSpPr>
          <p:nvPr/>
        </p:nvSpPr>
        <p:spPr bwMode="auto">
          <a:xfrm>
            <a:off x="3959371" y="6394739"/>
            <a:ext cx="61770" cy="31774"/>
          </a:xfrm>
          <a:custGeom>
            <a:avLst/>
            <a:gdLst>
              <a:gd name="T0" fmla="*/ 10 w 12"/>
              <a:gd name="T1" fmla="*/ 3 h 6"/>
              <a:gd name="T2" fmla="*/ 8 w 12"/>
              <a:gd name="T3" fmla="*/ 2 h 6"/>
              <a:gd name="T4" fmla="*/ 5 w 12"/>
              <a:gd name="T5" fmla="*/ 2 h 6"/>
              <a:gd name="T6" fmla="*/ 3 w 12"/>
              <a:gd name="T7" fmla="*/ 1 h 6"/>
              <a:gd name="T8" fmla="*/ 0 w 12"/>
              <a:gd name="T9" fmla="*/ 3 h 6"/>
              <a:gd name="T10" fmla="*/ 2 w 12"/>
              <a:gd name="T11" fmla="*/ 5 h 6"/>
              <a:gd name="T12" fmla="*/ 6 w 12"/>
              <a:gd name="T13" fmla="*/ 5 h 6"/>
              <a:gd name="T14" fmla="*/ 11 w 12"/>
              <a:gd name="T15" fmla="*/ 3 h 6"/>
              <a:gd name="T16" fmla="*/ 10 w 12"/>
              <a:gd name="T17" fmla="*/ 3 h 6"/>
              <a:gd name="T18" fmla="*/ 10 w 12"/>
              <a:gd name="T19" fmla="*/ 3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6">
                <a:moveTo>
                  <a:pt x="10" y="3"/>
                </a:moveTo>
                <a:cubicBezTo>
                  <a:pt x="9" y="3"/>
                  <a:pt x="9" y="2"/>
                  <a:pt x="8" y="2"/>
                </a:cubicBezTo>
                <a:cubicBezTo>
                  <a:pt x="7" y="2"/>
                  <a:pt x="6" y="2"/>
                  <a:pt x="5" y="2"/>
                </a:cubicBezTo>
                <a:cubicBezTo>
                  <a:pt x="4" y="2"/>
                  <a:pt x="4" y="0"/>
                  <a:pt x="3" y="1"/>
                </a:cubicBezTo>
                <a:cubicBezTo>
                  <a:pt x="3" y="1"/>
                  <a:pt x="0" y="3"/>
                  <a:pt x="0" y="3"/>
                </a:cubicBezTo>
                <a:cubicBezTo>
                  <a:pt x="0" y="3"/>
                  <a:pt x="2" y="5"/>
                  <a:pt x="2" y="5"/>
                </a:cubicBezTo>
                <a:cubicBezTo>
                  <a:pt x="3" y="6"/>
                  <a:pt x="5" y="5"/>
                  <a:pt x="6" y="5"/>
                </a:cubicBezTo>
                <a:cubicBezTo>
                  <a:pt x="7" y="5"/>
                  <a:pt x="11" y="4"/>
                  <a:pt x="11" y="3"/>
                </a:cubicBezTo>
                <a:cubicBezTo>
                  <a:pt x="10" y="3"/>
                  <a:pt x="10" y="3"/>
                  <a:pt x="10" y="3"/>
                </a:cubicBezTo>
                <a:cubicBezTo>
                  <a:pt x="9" y="3"/>
                  <a:pt x="12" y="2"/>
                  <a:pt x="10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18" name="Freeform 513">
            <a:extLst>
              <a:ext uri="{FF2B5EF4-FFF2-40B4-BE49-F238E27FC236}">
                <a16:creationId xmlns:a16="http://schemas.microsoft.com/office/drawing/2014/main" id="{4BE8EDAA-DF9D-EF4B-B304-8CD9A8C90B8B}"/>
              </a:ext>
            </a:extLst>
          </p:cNvPr>
          <p:cNvSpPr>
            <a:spLocks/>
          </p:cNvSpPr>
          <p:nvPr/>
        </p:nvSpPr>
        <p:spPr bwMode="auto">
          <a:xfrm>
            <a:off x="3954076" y="6426514"/>
            <a:ext cx="45886" cy="31774"/>
          </a:xfrm>
          <a:custGeom>
            <a:avLst/>
            <a:gdLst>
              <a:gd name="T0" fmla="*/ 7 w 9"/>
              <a:gd name="T1" fmla="*/ 3 h 6"/>
              <a:gd name="T2" fmla="*/ 0 w 9"/>
              <a:gd name="T3" fmla="*/ 1 h 6"/>
              <a:gd name="T4" fmla="*/ 2 w 9"/>
              <a:gd name="T5" fmla="*/ 2 h 6"/>
              <a:gd name="T6" fmla="*/ 1 w 9"/>
              <a:gd name="T7" fmla="*/ 5 h 6"/>
              <a:gd name="T8" fmla="*/ 3 w 9"/>
              <a:gd name="T9" fmla="*/ 5 h 6"/>
              <a:gd name="T10" fmla="*/ 4 w 9"/>
              <a:gd name="T11" fmla="*/ 5 h 6"/>
              <a:gd name="T12" fmla="*/ 7 w 9"/>
              <a:gd name="T13" fmla="*/ 3 h 6"/>
              <a:gd name="T14" fmla="*/ 7 w 9"/>
              <a:gd name="T15" fmla="*/ 3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6">
                <a:moveTo>
                  <a:pt x="7" y="3"/>
                </a:moveTo>
                <a:cubicBezTo>
                  <a:pt x="7" y="2"/>
                  <a:pt x="0" y="0"/>
                  <a:pt x="0" y="1"/>
                </a:cubicBezTo>
                <a:cubicBezTo>
                  <a:pt x="0" y="1"/>
                  <a:pt x="2" y="2"/>
                  <a:pt x="2" y="2"/>
                </a:cubicBezTo>
                <a:cubicBezTo>
                  <a:pt x="3" y="3"/>
                  <a:pt x="1" y="4"/>
                  <a:pt x="1" y="5"/>
                </a:cubicBezTo>
                <a:cubicBezTo>
                  <a:pt x="1" y="6"/>
                  <a:pt x="3" y="5"/>
                  <a:pt x="3" y="5"/>
                </a:cubicBezTo>
                <a:cubicBezTo>
                  <a:pt x="4" y="4"/>
                  <a:pt x="3" y="5"/>
                  <a:pt x="4" y="5"/>
                </a:cubicBezTo>
                <a:cubicBezTo>
                  <a:pt x="5" y="6"/>
                  <a:pt x="9" y="4"/>
                  <a:pt x="7" y="3"/>
                </a:cubicBezTo>
                <a:cubicBezTo>
                  <a:pt x="6" y="2"/>
                  <a:pt x="8" y="3"/>
                  <a:pt x="7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19" name="Freeform 514">
            <a:extLst>
              <a:ext uri="{FF2B5EF4-FFF2-40B4-BE49-F238E27FC236}">
                <a16:creationId xmlns:a16="http://schemas.microsoft.com/office/drawing/2014/main" id="{59497C0B-4C38-0543-AD72-3A39BF37F857}"/>
              </a:ext>
            </a:extLst>
          </p:cNvPr>
          <p:cNvSpPr>
            <a:spLocks/>
          </p:cNvSpPr>
          <p:nvPr/>
        </p:nvSpPr>
        <p:spPr bwMode="auto">
          <a:xfrm>
            <a:off x="3948783" y="6385913"/>
            <a:ext cx="40591" cy="24714"/>
          </a:xfrm>
          <a:custGeom>
            <a:avLst/>
            <a:gdLst>
              <a:gd name="T0" fmla="*/ 6 w 8"/>
              <a:gd name="T1" fmla="*/ 0 h 5"/>
              <a:gd name="T2" fmla="*/ 3 w 8"/>
              <a:gd name="T3" fmla="*/ 1 h 5"/>
              <a:gd name="T4" fmla="*/ 0 w 8"/>
              <a:gd name="T5" fmla="*/ 1 h 5"/>
              <a:gd name="T6" fmla="*/ 0 w 8"/>
              <a:gd name="T7" fmla="*/ 3 h 5"/>
              <a:gd name="T8" fmla="*/ 5 w 8"/>
              <a:gd name="T9" fmla="*/ 2 h 5"/>
              <a:gd name="T10" fmla="*/ 6 w 8"/>
              <a:gd name="T11" fmla="*/ 0 h 5"/>
              <a:gd name="T12" fmla="*/ 6 w 8"/>
              <a:gd name="T13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" h="5">
                <a:moveTo>
                  <a:pt x="6" y="0"/>
                </a:moveTo>
                <a:cubicBezTo>
                  <a:pt x="5" y="0"/>
                  <a:pt x="4" y="1"/>
                  <a:pt x="3" y="1"/>
                </a:cubicBezTo>
                <a:cubicBezTo>
                  <a:pt x="2" y="0"/>
                  <a:pt x="0" y="1"/>
                  <a:pt x="0" y="1"/>
                </a:cubicBezTo>
                <a:cubicBezTo>
                  <a:pt x="1" y="0"/>
                  <a:pt x="0" y="4"/>
                  <a:pt x="0" y="3"/>
                </a:cubicBezTo>
                <a:cubicBezTo>
                  <a:pt x="1" y="5"/>
                  <a:pt x="4" y="3"/>
                  <a:pt x="5" y="2"/>
                </a:cubicBezTo>
                <a:cubicBezTo>
                  <a:pt x="6" y="2"/>
                  <a:pt x="8" y="0"/>
                  <a:pt x="6" y="0"/>
                </a:cubicBezTo>
                <a:cubicBezTo>
                  <a:pt x="5" y="0"/>
                  <a:pt x="8" y="0"/>
                  <a:pt x="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20" name="Freeform 515">
            <a:extLst>
              <a:ext uri="{FF2B5EF4-FFF2-40B4-BE49-F238E27FC236}">
                <a16:creationId xmlns:a16="http://schemas.microsoft.com/office/drawing/2014/main" id="{BFB71735-2DB4-EB4D-BAEC-2C6410132158}"/>
              </a:ext>
            </a:extLst>
          </p:cNvPr>
          <p:cNvSpPr>
            <a:spLocks/>
          </p:cNvSpPr>
          <p:nvPr/>
        </p:nvSpPr>
        <p:spPr bwMode="auto">
          <a:xfrm>
            <a:off x="3927605" y="6405331"/>
            <a:ext cx="42356" cy="26481"/>
          </a:xfrm>
          <a:custGeom>
            <a:avLst/>
            <a:gdLst>
              <a:gd name="T0" fmla="*/ 7 w 8"/>
              <a:gd name="T1" fmla="*/ 4 h 5"/>
              <a:gd name="T2" fmla="*/ 1 w 8"/>
              <a:gd name="T3" fmla="*/ 1 h 5"/>
              <a:gd name="T4" fmla="*/ 7 w 8"/>
              <a:gd name="T5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" h="5">
                <a:moveTo>
                  <a:pt x="7" y="4"/>
                </a:moveTo>
                <a:cubicBezTo>
                  <a:pt x="6" y="3"/>
                  <a:pt x="0" y="0"/>
                  <a:pt x="1" y="1"/>
                </a:cubicBezTo>
                <a:cubicBezTo>
                  <a:pt x="2" y="2"/>
                  <a:pt x="8" y="5"/>
                  <a:pt x="7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21" name="Freeform 516">
            <a:extLst>
              <a:ext uri="{FF2B5EF4-FFF2-40B4-BE49-F238E27FC236}">
                <a16:creationId xmlns:a16="http://schemas.microsoft.com/office/drawing/2014/main" id="{7C446A91-F7B7-2F47-8BAF-69D99BFC4099}"/>
              </a:ext>
            </a:extLst>
          </p:cNvPr>
          <p:cNvSpPr>
            <a:spLocks/>
          </p:cNvSpPr>
          <p:nvPr/>
        </p:nvSpPr>
        <p:spPr bwMode="auto">
          <a:xfrm>
            <a:off x="3917015" y="6370024"/>
            <a:ext cx="15883" cy="15887"/>
          </a:xfrm>
          <a:custGeom>
            <a:avLst/>
            <a:gdLst>
              <a:gd name="T0" fmla="*/ 2 w 3"/>
              <a:gd name="T1" fmla="*/ 2 h 3"/>
              <a:gd name="T2" fmla="*/ 0 w 3"/>
              <a:gd name="T3" fmla="*/ 1 h 3"/>
              <a:gd name="T4" fmla="*/ 2 w 3"/>
              <a:gd name="T5" fmla="*/ 2 h 3"/>
              <a:gd name="T6" fmla="*/ 2 w 3"/>
              <a:gd name="T7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3">
                <a:moveTo>
                  <a:pt x="2" y="2"/>
                </a:moveTo>
                <a:cubicBezTo>
                  <a:pt x="2" y="3"/>
                  <a:pt x="1" y="2"/>
                  <a:pt x="0" y="1"/>
                </a:cubicBezTo>
                <a:cubicBezTo>
                  <a:pt x="0" y="0"/>
                  <a:pt x="3" y="0"/>
                  <a:pt x="2" y="2"/>
                </a:cubicBezTo>
                <a:cubicBezTo>
                  <a:pt x="2" y="3"/>
                  <a:pt x="2" y="1"/>
                  <a:pt x="2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22" name="Freeform 517">
            <a:extLst>
              <a:ext uri="{FF2B5EF4-FFF2-40B4-BE49-F238E27FC236}">
                <a16:creationId xmlns:a16="http://schemas.microsoft.com/office/drawing/2014/main" id="{7C1B7361-209A-0D48-8F5F-495DFC624AC3}"/>
              </a:ext>
            </a:extLst>
          </p:cNvPr>
          <p:cNvSpPr>
            <a:spLocks/>
          </p:cNvSpPr>
          <p:nvPr/>
        </p:nvSpPr>
        <p:spPr bwMode="auto">
          <a:xfrm>
            <a:off x="3917015" y="6327657"/>
            <a:ext cx="37062" cy="37071"/>
          </a:xfrm>
          <a:custGeom>
            <a:avLst/>
            <a:gdLst>
              <a:gd name="T0" fmla="*/ 5 w 7"/>
              <a:gd name="T1" fmla="*/ 2 h 7"/>
              <a:gd name="T2" fmla="*/ 4 w 7"/>
              <a:gd name="T3" fmla="*/ 0 h 7"/>
              <a:gd name="T4" fmla="*/ 2 w 7"/>
              <a:gd name="T5" fmla="*/ 1 h 7"/>
              <a:gd name="T6" fmla="*/ 0 w 7"/>
              <a:gd name="T7" fmla="*/ 1 h 7"/>
              <a:gd name="T8" fmla="*/ 2 w 7"/>
              <a:gd name="T9" fmla="*/ 4 h 7"/>
              <a:gd name="T10" fmla="*/ 0 w 7"/>
              <a:gd name="T11" fmla="*/ 6 h 7"/>
              <a:gd name="T12" fmla="*/ 3 w 7"/>
              <a:gd name="T13" fmla="*/ 5 h 7"/>
              <a:gd name="T14" fmla="*/ 4 w 7"/>
              <a:gd name="T15" fmla="*/ 2 h 7"/>
              <a:gd name="T16" fmla="*/ 4 w 7"/>
              <a:gd name="T17" fmla="*/ 4 h 7"/>
              <a:gd name="T18" fmla="*/ 6 w 7"/>
              <a:gd name="T19" fmla="*/ 2 h 7"/>
              <a:gd name="T20" fmla="*/ 5 w 7"/>
              <a:gd name="T21" fmla="*/ 2 h 7"/>
              <a:gd name="T22" fmla="*/ 5 w 7"/>
              <a:gd name="T23" fmla="*/ 2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" h="7">
                <a:moveTo>
                  <a:pt x="5" y="2"/>
                </a:moveTo>
                <a:cubicBezTo>
                  <a:pt x="5" y="1"/>
                  <a:pt x="4" y="1"/>
                  <a:pt x="4" y="0"/>
                </a:cubicBezTo>
                <a:cubicBezTo>
                  <a:pt x="3" y="0"/>
                  <a:pt x="1" y="0"/>
                  <a:pt x="2" y="1"/>
                </a:cubicBezTo>
                <a:cubicBezTo>
                  <a:pt x="4" y="3"/>
                  <a:pt x="1" y="2"/>
                  <a:pt x="0" y="1"/>
                </a:cubicBezTo>
                <a:cubicBezTo>
                  <a:pt x="1" y="3"/>
                  <a:pt x="2" y="3"/>
                  <a:pt x="2" y="4"/>
                </a:cubicBezTo>
                <a:cubicBezTo>
                  <a:pt x="3" y="6"/>
                  <a:pt x="1" y="5"/>
                  <a:pt x="0" y="6"/>
                </a:cubicBezTo>
                <a:cubicBezTo>
                  <a:pt x="0" y="7"/>
                  <a:pt x="4" y="6"/>
                  <a:pt x="3" y="5"/>
                </a:cubicBezTo>
                <a:cubicBezTo>
                  <a:pt x="3" y="5"/>
                  <a:pt x="4" y="3"/>
                  <a:pt x="4" y="2"/>
                </a:cubicBezTo>
                <a:cubicBezTo>
                  <a:pt x="4" y="2"/>
                  <a:pt x="4" y="3"/>
                  <a:pt x="4" y="4"/>
                </a:cubicBezTo>
                <a:cubicBezTo>
                  <a:pt x="4" y="3"/>
                  <a:pt x="6" y="2"/>
                  <a:pt x="6" y="2"/>
                </a:cubicBezTo>
                <a:cubicBezTo>
                  <a:pt x="6" y="2"/>
                  <a:pt x="6" y="2"/>
                  <a:pt x="5" y="2"/>
                </a:cubicBezTo>
                <a:cubicBezTo>
                  <a:pt x="5" y="1"/>
                  <a:pt x="7" y="2"/>
                  <a:pt x="5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23" name="Freeform 518">
            <a:extLst>
              <a:ext uri="{FF2B5EF4-FFF2-40B4-BE49-F238E27FC236}">
                <a16:creationId xmlns:a16="http://schemas.microsoft.com/office/drawing/2014/main" id="{060FE2D0-3DA5-7F49-9E3B-8AB503BFF84E}"/>
              </a:ext>
            </a:extLst>
          </p:cNvPr>
          <p:cNvSpPr>
            <a:spLocks/>
          </p:cNvSpPr>
          <p:nvPr/>
        </p:nvSpPr>
        <p:spPr bwMode="auto">
          <a:xfrm>
            <a:off x="3911720" y="6260576"/>
            <a:ext cx="26472" cy="56489"/>
          </a:xfrm>
          <a:custGeom>
            <a:avLst/>
            <a:gdLst>
              <a:gd name="T0" fmla="*/ 5 w 5"/>
              <a:gd name="T1" fmla="*/ 7 h 11"/>
              <a:gd name="T2" fmla="*/ 2 w 5"/>
              <a:gd name="T3" fmla="*/ 2 h 11"/>
              <a:gd name="T4" fmla="*/ 1 w 5"/>
              <a:gd name="T5" fmla="*/ 6 h 11"/>
              <a:gd name="T6" fmla="*/ 0 w 5"/>
              <a:gd name="T7" fmla="*/ 9 h 11"/>
              <a:gd name="T8" fmla="*/ 2 w 5"/>
              <a:gd name="T9" fmla="*/ 7 h 11"/>
              <a:gd name="T10" fmla="*/ 5 w 5"/>
              <a:gd name="T11" fmla="*/ 7 h 11"/>
              <a:gd name="T12" fmla="*/ 5 w 5"/>
              <a:gd name="T13" fmla="*/ 7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11">
                <a:moveTo>
                  <a:pt x="5" y="7"/>
                </a:moveTo>
                <a:cubicBezTo>
                  <a:pt x="5" y="6"/>
                  <a:pt x="4" y="0"/>
                  <a:pt x="2" y="2"/>
                </a:cubicBezTo>
                <a:cubicBezTo>
                  <a:pt x="2" y="3"/>
                  <a:pt x="3" y="6"/>
                  <a:pt x="1" y="6"/>
                </a:cubicBezTo>
                <a:cubicBezTo>
                  <a:pt x="0" y="6"/>
                  <a:pt x="0" y="7"/>
                  <a:pt x="0" y="9"/>
                </a:cubicBezTo>
                <a:cubicBezTo>
                  <a:pt x="1" y="9"/>
                  <a:pt x="2" y="7"/>
                  <a:pt x="2" y="7"/>
                </a:cubicBezTo>
                <a:cubicBezTo>
                  <a:pt x="1" y="7"/>
                  <a:pt x="5" y="11"/>
                  <a:pt x="5" y="7"/>
                </a:cubicBezTo>
                <a:cubicBezTo>
                  <a:pt x="5" y="6"/>
                  <a:pt x="5" y="8"/>
                  <a:pt x="5" y="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24" name="Freeform 519">
            <a:extLst>
              <a:ext uri="{FF2B5EF4-FFF2-40B4-BE49-F238E27FC236}">
                <a16:creationId xmlns:a16="http://schemas.microsoft.com/office/drawing/2014/main" id="{BCBEA284-E4B1-A84D-9C19-7A10C301115C}"/>
              </a:ext>
            </a:extLst>
          </p:cNvPr>
          <p:cNvSpPr>
            <a:spLocks/>
          </p:cNvSpPr>
          <p:nvPr/>
        </p:nvSpPr>
        <p:spPr bwMode="auto">
          <a:xfrm>
            <a:off x="3906426" y="6306473"/>
            <a:ext cx="15883" cy="31774"/>
          </a:xfrm>
          <a:custGeom>
            <a:avLst/>
            <a:gdLst>
              <a:gd name="T0" fmla="*/ 3 w 3"/>
              <a:gd name="T1" fmla="*/ 2 h 6"/>
              <a:gd name="T2" fmla="*/ 1 w 3"/>
              <a:gd name="T3" fmla="*/ 6 h 6"/>
              <a:gd name="T4" fmla="*/ 3 w 3"/>
              <a:gd name="T5" fmla="*/ 2 h 6"/>
              <a:gd name="T6" fmla="*/ 3 w 3"/>
              <a:gd name="T7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6">
                <a:moveTo>
                  <a:pt x="3" y="2"/>
                </a:moveTo>
                <a:cubicBezTo>
                  <a:pt x="2" y="0"/>
                  <a:pt x="0" y="5"/>
                  <a:pt x="1" y="6"/>
                </a:cubicBezTo>
                <a:cubicBezTo>
                  <a:pt x="0" y="5"/>
                  <a:pt x="3" y="3"/>
                  <a:pt x="3" y="2"/>
                </a:cubicBezTo>
                <a:cubicBezTo>
                  <a:pt x="2" y="1"/>
                  <a:pt x="3" y="2"/>
                  <a:pt x="3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25" name="Freeform 520">
            <a:extLst>
              <a:ext uri="{FF2B5EF4-FFF2-40B4-BE49-F238E27FC236}">
                <a16:creationId xmlns:a16="http://schemas.microsoft.com/office/drawing/2014/main" id="{92147887-26BD-344D-B215-A02F868F0732}"/>
              </a:ext>
            </a:extLst>
          </p:cNvPr>
          <p:cNvSpPr>
            <a:spLocks/>
          </p:cNvSpPr>
          <p:nvPr/>
        </p:nvSpPr>
        <p:spPr bwMode="auto">
          <a:xfrm>
            <a:off x="3906426" y="6239392"/>
            <a:ext cx="26472" cy="37071"/>
          </a:xfrm>
          <a:custGeom>
            <a:avLst/>
            <a:gdLst>
              <a:gd name="T0" fmla="*/ 4 w 5"/>
              <a:gd name="T1" fmla="*/ 2 h 7"/>
              <a:gd name="T2" fmla="*/ 3 w 5"/>
              <a:gd name="T3" fmla="*/ 0 h 7"/>
              <a:gd name="T4" fmla="*/ 2 w 5"/>
              <a:gd name="T5" fmla="*/ 3 h 7"/>
              <a:gd name="T6" fmla="*/ 1 w 5"/>
              <a:gd name="T7" fmla="*/ 2 h 7"/>
              <a:gd name="T8" fmla="*/ 0 w 5"/>
              <a:gd name="T9" fmla="*/ 5 h 7"/>
              <a:gd name="T10" fmla="*/ 2 w 5"/>
              <a:gd name="T11" fmla="*/ 7 h 7"/>
              <a:gd name="T12" fmla="*/ 5 w 5"/>
              <a:gd name="T13" fmla="*/ 5 h 7"/>
              <a:gd name="T14" fmla="*/ 4 w 5"/>
              <a:gd name="T15" fmla="*/ 2 h 7"/>
              <a:gd name="T16" fmla="*/ 4 w 5"/>
              <a:gd name="T17" fmla="*/ 2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7">
                <a:moveTo>
                  <a:pt x="4" y="2"/>
                </a:moveTo>
                <a:cubicBezTo>
                  <a:pt x="3" y="3"/>
                  <a:pt x="3" y="0"/>
                  <a:pt x="3" y="0"/>
                </a:cubicBezTo>
                <a:cubicBezTo>
                  <a:pt x="3" y="0"/>
                  <a:pt x="3" y="3"/>
                  <a:pt x="2" y="3"/>
                </a:cubicBezTo>
                <a:cubicBezTo>
                  <a:pt x="2" y="3"/>
                  <a:pt x="2" y="2"/>
                  <a:pt x="1" y="2"/>
                </a:cubicBezTo>
                <a:cubicBezTo>
                  <a:pt x="2" y="2"/>
                  <a:pt x="0" y="5"/>
                  <a:pt x="0" y="5"/>
                </a:cubicBezTo>
                <a:cubicBezTo>
                  <a:pt x="0" y="4"/>
                  <a:pt x="4" y="5"/>
                  <a:pt x="2" y="7"/>
                </a:cubicBezTo>
                <a:cubicBezTo>
                  <a:pt x="3" y="6"/>
                  <a:pt x="5" y="6"/>
                  <a:pt x="5" y="5"/>
                </a:cubicBezTo>
                <a:cubicBezTo>
                  <a:pt x="5" y="4"/>
                  <a:pt x="4" y="1"/>
                  <a:pt x="4" y="2"/>
                </a:cubicBezTo>
                <a:cubicBezTo>
                  <a:pt x="3" y="3"/>
                  <a:pt x="4" y="1"/>
                  <a:pt x="4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26" name="Freeform 521">
            <a:extLst>
              <a:ext uri="{FF2B5EF4-FFF2-40B4-BE49-F238E27FC236}">
                <a16:creationId xmlns:a16="http://schemas.microsoft.com/office/drawing/2014/main" id="{B5E3BC61-6EC1-594F-BFAE-8BD65B0845BA}"/>
              </a:ext>
            </a:extLst>
          </p:cNvPr>
          <p:cNvSpPr>
            <a:spLocks/>
          </p:cNvSpPr>
          <p:nvPr/>
        </p:nvSpPr>
        <p:spPr bwMode="auto">
          <a:xfrm>
            <a:off x="3932900" y="6137004"/>
            <a:ext cx="26472" cy="24714"/>
          </a:xfrm>
          <a:custGeom>
            <a:avLst/>
            <a:gdLst>
              <a:gd name="T0" fmla="*/ 3 w 5"/>
              <a:gd name="T1" fmla="*/ 4 h 5"/>
              <a:gd name="T2" fmla="*/ 3 w 5"/>
              <a:gd name="T3" fmla="*/ 0 h 5"/>
              <a:gd name="T4" fmla="*/ 0 w 5"/>
              <a:gd name="T5" fmla="*/ 0 h 5"/>
              <a:gd name="T6" fmla="*/ 2 w 5"/>
              <a:gd name="T7" fmla="*/ 1 h 5"/>
              <a:gd name="T8" fmla="*/ 3 w 5"/>
              <a:gd name="T9" fmla="*/ 4 h 5"/>
              <a:gd name="T10" fmla="*/ 3 w 5"/>
              <a:gd name="T11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5">
                <a:moveTo>
                  <a:pt x="3" y="4"/>
                </a:moveTo>
                <a:cubicBezTo>
                  <a:pt x="5" y="2"/>
                  <a:pt x="2" y="2"/>
                  <a:pt x="3" y="0"/>
                </a:cubicBezTo>
                <a:cubicBezTo>
                  <a:pt x="3" y="0"/>
                  <a:pt x="1" y="0"/>
                  <a:pt x="0" y="0"/>
                </a:cubicBezTo>
                <a:cubicBezTo>
                  <a:pt x="0" y="0"/>
                  <a:pt x="2" y="1"/>
                  <a:pt x="2" y="1"/>
                </a:cubicBezTo>
                <a:cubicBezTo>
                  <a:pt x="2" y="2"/>
                  <a:pt x="3" y="4"/>
                  <a:pt x="3" y="4"/>
                </a:cubicBezTo>
                <a:cubicBezTo>
                  <a:pt x="4" y="3"/>
                  <a:pt x="2" y="5"/>
                  <a:pt x="3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27" name="Freeform 522">
            <a:extLst>
              <a:ext uri="{FF2B5EF4-FFF2-40B4-BE49-F238E27FC236}">
                <a16:creationId xmlns:a16="http://schemas.microsoft.com/office/drawing/2014/main" id="{8373FA63-5702-9E46-9C10-2ACFDD6CA2D9}"/>
              </a:ext>
            </a:extLst>
          </p:cNvPr>
          <p:cNvSpPr>
            <a:spLocks/>
          </p:cNvSpPr>
          <p:nvPr/>
        </p:nvSpPr>
        <p:spPr bwMode="auto">
          <a:xfrm>
            <a:off x="3938194" y="6043443"/>
            <a:ext cx="31766" cy="56489"/>
          </a:xfrm>
          <a:custGeom>
            <a:avLst/>
            <a:gdLst>
              <a:gd name="T0" fmla="*/ 3 w 6"/>
              <a:gd name="T1" fmla="*/ 10 h 11"/>
              <a:gd name="T2" fmla="*/ 0 w 6"/>
              <a:gd name="T3" fmla="*/ 9 h 11"/>
              <a:gd name="T4" fmla="*/ 1 w 6"/>
              <a:gd name="T5" fmla="*/ 2 h 11"/>
              <a:gd name="T6" fmla="*/ 4 w 6"/>
              <a:gd name="T7" fmla="*/ 3 h 11"/>
              <a:gd name="T8" fmla="*/ 3 w 6"/>
              <a:gd name="T9" fmla="*/ 10 h 11"/>
              <a:gd name="T10" fmla="*/ 3 w 6"/>
              <a:gd name="T11" fmla="*/ 1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" h="11">
                <a:moveTo>
                  <a:pt x="3" y="10"/>
                </a:moveTo>
                <a:cubicBezTo>
                  <a:pt x="1" y="11"/>
                  <a:pt x="0" y="11"/>
                  <a:pt x="0" y="9"/>
                </a:cubicBezTo>
                <a:cubicBezTo>
                  <a:pt x="1" y="7"/>
                  <a:pt x="1" y="4"/>
                  <a:pt x="1" y="2"/>
                </a:cubicBezTo>
                <a:cubicBezTo>
                  <a:pt x="1" y="0"/>
                  <a:pt x="5" y="0"/>
                  <a:pt x="4" y="3"/>
                </a:cubicBezTo>
                <a:cubicBezTo>
                  <a:pt x="4" y="5"/>
                  <a:pt x="6" y="8"/>
                  <a:pt x="3" y="10"/>
                </a:cubicBezTo>
                <a:cubicBezTo>
                  <a:pt x="2" y="10"/>
                  <a:pt x="4" y="9"/>
                  <a:pt x="3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28" name="Freeform 523">
            <a:extLst>
              <a:ext uri="{FF2B5EF4-FFF2-40B4-BE49-F238E27FC236}">
                <a16:creationId xmlns:a16="http://schemas.microsoft.com/office/drawing/2014/main" id="{2FA28039-C006-E242-AD79-5FA9A12D27B5}"/>
              </a:ext>
            </a:extLst>
          </p:cNvPr>
          <p:cNvSpPr>
            <a:spLocks/>
          </p:cNvSpPr>
          <p:nvPr/>
        </p:nvSpPr>
        <p:spPr bwMode="auto">
          <a:xfrm>
            <a:off x="4042320" y="4574708"/>
            <a:ext cx="24708" cy="21184"/>
          </a:xfrm>
          <a:custGeom>
            <a:avLst/>
            <a:gdLst>
              <a:gd name="T0" fmla="*/ 3 w 5"/>
              <a:gd name="T1" fmla="*/ 3 h 4"/>
              <a:gd name="T2" fmla="*/ 1 w 5"/>
              <a:gd name="T3" fmla="*/ 1 h 4"/>
              <a:gd name="T4" fmla="*/ 3 w 5"/>
              <a:gd name="T5" fmla="*/ 3 h 4"/>
              <a:gd name="T6" fmla="*/ 3 w 5"/>
              <a:gd name="T7" fmla="*/ 3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4">
                <a:moveTo>
                  <a:pt x="3" y="3"/>
                </a:moveTo>
                <a:cubicBezTo>
                  <a:pt x="2" y="4"/>
                  <a:pt x="0" y="3"/>
                  <a:pt x="1" y="1"/>
                </a:cubicBezTo>
                <a:cubicBezTo>
                  <a:pt x="1" y="0"/>
                  <a:pt x="5" y="2"/>
                  <a:pt x="3" y="3"/>
                </a:cubicBezTo>
                <a:cubicBezTo>
                  <a:pt x="2" y="4"/>
                  <a:pt x="5" y="2"/>
                  <a:pt x="3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29" name="Freeform 524">
            <a:extLst>
              <a:ext uri="{FF2B5EF4-FFF2-40B4-BE49-F238E27FC236}">
                <a16:creationId xmlns:a16="http://schemas.microsoft.com/office/drawing/2014/main" id="{EFF36EBE-5644-384A-A3FB-BD8EF0C7F666}"/>
              </a:ext>
            </a:extLst>
          </p:cNvPr>
          <p:cNvSpPr>
            <a:spLocks/>
          </p:cNvSpPr>
          <p:nvPr/>
        </p:nvSpPr>
        <p:spPr bwMode="auto">
          <a:xfrm>
            <a:off x="4264690" y="4606484"/>
            <a:ext cx="30002" cy="40603"/>
          </a:xfrm>
          <a:custGeom>
            <a:avLst/>
            <a:gdLst>
              <a:gd name="T0" fmla="*/ 1 w 6"/>
              <a:gd name="T1" fmla="*/ 5 h 8"/>
              <a:gd name="T2" fmla="*/ 2 w 6"/>
              <a:gd name="T3" fmla="*/ 4 h 8"/>
              <a:gd name="T4" fmla="*/ 4 w 6"/>
              <a:gd name="T5" fmla="*/ 2 h 8"/>
              <a:gd name="T6" fmla="*/ 1 w 6"/>
              <a:gd name="T7" fmla="*/ 5 h 8"/>
              <a:gd name="T8" fmla="*/ 1 w 6"/>
              <a:gd name="T9" fmla="*/ 5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8">
                <a:moveTo>
                  <a:pt x="1" y="5"/>
                </a:moveTo>
                <a:cubicBezTo>
                  <a:pt x="0" y="4"/>
                  <a:pt x="2" y="4"/>
                  <a:pt x="2" y="4"/>
                </a:cubicBezTo>
                <a:cubicBezTo>
                  <a:pt x="3" y="4"/>
                  <a:pt x="3" y="0"/>
                  <a:pt x="4" y="2"/>
                </a:cubicBezTo>
                <a:cubicBezTo>
                  <a:pt x="6" y="4"/>
                  <a:pt x="2" y="8"/>
                  <a:pt x="1" y="5"/>
                </a:cubicBezTo>
                <a:cubicBezTo>
                  <a:pt x="0" y="4"/>
                  <a:pt x="1" y="6"/>
                  <a:pt x="1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30" name="Freeform 525">
            <a:extLst>
              <a:ext uri="{FF2B5EF4-FFF2-40B4-BE49-F238E27FC236}">
                <a16:creationId xmlns:a16="http://schemas.microsoft.com/office/drawing/2014/main" id="{FD54B6F0-07F9-9D40-A9B0-B98445375C8C}"/>
              </a:ext>
            </a:extLst>
          </p:cNvPr>
          <p:cNvSpPr>
            <a:spLocks/>
          </p:cNvSpPr>
          <p:nvPr/>
        </p:nvSpPr>
        <p:spPr bwMode="auto">
          <a:xfrm>
            <a:off x="4548831" y="4887168"/>
            <a:ext cx="72359" cy="67081"/>
          </a:xfrm>
          <a:custGeom>
            <a:avLst/>
            <a:gdLst>
              <a:gd name="T0" fmla="*/ 12 w 14"/>
              <a:gd name="T1" fmla="*/ 4 h 13"/>
              <a:gd name="T2" fmla="*/ 10 w 14"/>
              <a:gd name="T3" fmla="*/ 3 h 13"/>
              <a:gd name="T4" fmla="*/ 6 w 14"/>
              <a:gd name="T5" fmla="*/ 1 h 13"/>
              <a:gd name="T6" fmla="*/ 2 w 14"/>
              <a:gd name="T7" fmla="*/ 1 h 13"/>
              <a:gd name="T8" fmla="*/ 1 w 14"/>
              <a:gd name="T9" fmla="*/ 2 h 13"/>
              <a:gd name="T10" fmla="*/ 2 w 14"/>
              <a:gd name="T11" fmla="*/ 4 h 13"/>
              <a:gd name="T12" fmla="*/ 1 w 14"/>
              <a:gd name="T13" fmla="*/ 7 h 13"/>
              <a:gd name="T14" fmla="*/ 2 w 14"/>
              <a:gd name="T15" fmla="*/ 10 h 13"/>
              <a:gd name="T16" fmla="*/ 4 w 14"/>
              <a:gd name="T17" fmla="*/ 10 h 13"/>
              <a:gd name="T18" fmla="*/ 7 w 14"/>
              <a:gd name="T19" fmla="*/ 12 h 13"/>
              <a:gd name="T20" fmla="*/ 10 w 14"/>
              <a:gd name="T21" fmla="*/ 10 h 13"/>
              <a:gd name="T22" fmla="*/ 12 w 14"/>
              <a:gd name="T23" fmla="*/ 4 h 13"/>
              <a:gd name="T24" fmla="*/ 12 w 14"/>
              <a:gd name="T25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" h="13">
                <a:moveTo>
                  <a:pt x="12" y="4"/>
                </a:moveTo>
                <a:cubicBezTo>
                  <a:pt x="12" y="3"/>
                  <a:pt x="11" y="3"/>
                  <a:pt x="10" y="3"/>
                </a:cubicBezTo>
                <a:cubicBezTo>
                  <a:pt x="8" y="2"/>
                  <a:pt x="8" y="1"/>
                  <a:pt x="6" y="1"/>
                </a:cubicBezTo>
                <a:cubicBezTo>
                  <a:pt x="5" y="0"/>
                  <a:pt x="3" y="0"/>
                  <a:pt x="2" y="1"/>
                </a:cubicBezTo>
                <a:cubicBezTo>
                  <a:pt x="2" y="1"/>
                  <a:pt x="2" y="2"/>
                  <a:pt x="1" y="2"/>
                </a:cubicBezTo>
                <a:cubicBezTo>
                  <a:pt x="0" y="4"/>
                  <a:pt x="1" y="3"/>
                  <a:pt x="2" y="4"/>
                </a:cubicBezTo>
                <a:cubicBezTo>
                  <a:pt x="2" y="4"/>
                  <a:pt x="1" y="7"/>
                  <a:pt x="1" y="7"/>
                </a:cubicBezTo>
                <a:cubicBezTo>
                  <a:pt x="1" y="9"/>
                  <a:pt x="1" y="9"/>
                  <a:pt x="2" y="10"/>
                </a:cubicBezTo>
                <a:cubicBezTo>
                  <a:pt x="3" y="11"/>
                  <a:pt x="3" y="10"/>
                  <a:pt x="4" y="10"/>
                </a:cubicBezTo>
                <a:cubicBezTo>
                  <a:pt x="6" y="10"/>
                  <a:pt x="5" y="12"/>
                  <a:pt x="7" y="12"/>
                </a:cubicBezTo>
                <a:cubicBezTo>
                  <a:pt x="9" y="13"/>
                  <a:pt x="8" y="11"/>
                  <a:pt x="10" y="10"/>
                </a:cubicBezTo>
                <a:cubicBezTo>
                  <a:pt x="12" y="8"/>
                  <a:pt x="14" y="7"/>
                  <a:pt x="12" y="4"/>
                </a:cubicBezTo>
                <a:cubicBezTo>
                  <a:pt x="12" y="2"/>
                  <a:pt x="14" y="8"/>
                  <a:pt x="12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31" name="Freeform 526">
            <a:extLst>
              <a:ext uri="{FF2B5EF4-FFF2-40B4-BE49-F238E27FC236}">
                <a16:creationId xmlns:a16="http://schemas.microsoft.com/office/drawing/2014/main" id="{977A10DF-C1E9-134C-BDDB-CBF7336D6FB5}"/>
              </a:ext>
            </a:extLst>
          </p:cNvPr>
          <p:cNvSpPr>
            <a:spLocks/>
          </p:cNvSpPr>
          <p:nvPr/>
        </p:nvSpPr>
        <p:spPr bwMode="auto">
          <a:xfrm>
            <a:off x="4125267" y="4408770"/>
            <a:ext cx="51180" cy="21184"/>
          </a:xfrm>
          <a:custGeom>
            <a:avLst/>
            <a:gdLst>
              <a:gd name="T0" fmla="*/ 9 w 10"/>
              <a:gd name="T1" fmla="*/ 2 h 4"/>
              <a:gd name="T2" fmla="*/ 4 w 10"/>
              <a:gd name="T3" fmla="*/ 0 h 4"/>
              <a:gd name="T4" fmla="*/ 1 w 10"/>
              <a:gd name="T5" fmla="*/ 3 h 4"/>
              <a:gd name="T6" fmla="*/ 9 w 10"/>
              <a:gd name="T7" fmla="*/ 2 h 4"/>
              <a:gd name="T8" fmla="*/ 9 w 10"/>
              <a:gd name="T9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4">
                <a:moveTo>
                  <a:pt x="9" y="2"/>
                </a:moveTo>
                <a:cubicBezTo>
                  <a:pt x="7" y="1"/>
                  <a:pt x="6" y="0"/>
                  <a:pt x="4" y="0"/>
                </a:cubicBezTo>
                <a:cubicBezTo>
                  <a:pt x="3" y="0"/>
                  <a:pt x="0" y="1"/>
                  <a:pt x="1" y="3"/>
                </a:cubicBezTo>
                <a:cubicBezTo>
                  <a:pt x="2" y="4"/>
                  <a:pt x="9" y="2"/>
                  <a:pt x="9" y="2"/>
                </a:cubicBezTo>
                <a:cubicBezTo>
                  <a:pt x="6" y="1"/>
                  <a:pt x="10" y="3"/>
                  <a:pt x="9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32" name="Freeform 527">
            <a:extLst>
              <a:ext uri="{FF2B5EF4-FFF2-40B4-BE49-F238E27FC236}">
                <a16:creationId xmlns:a16="http://schemas.microsoft.com/office/drawing/2014/main" id="{25D12A5E-0094-9D48-B63A-F432F06C3687}"/>
              </a:ext>
            </a:extLst>
          </p:cNvPr>
          <p:cNvSpPr>
            <a:spLocks/>
          </p:cNvSpPr>
          <p:nvPr/>
        </p:nvSpPr>
        <p:spPr bwMode="auto">
          <a:xfrm>
            <a:off x="3834067" y="4403474"/>
            <a:ext cx="58240" cy="26481"/>
          </a:xfrm>
          <a:custGeom>
            <a:avLst/>
            <a:gdLst>
              <a:gd name="T0" fmla="*/ 10 w 11"/>
              <a:gd name="T1" fmla="*/ 4 h 5"/>
              <a:gd name="T2" fmla="*/ 0 w 11"/>
              <a:gd name="T3" fmla="*/ 2 h 5"/>
              <a:gd name="T4" fmla="*/ 5 w 11"/>
              <a:gd name="T5" fmla="*/ 5 h 5"/>
              <a:gd name="T6" fmla="*/ 10 w 11"/>
              <a:gd name="T7" fmla="*/ 4 h 5"/>
              <a:gd name="T8" fmla="*/ 10 w 11"/>
              <a:gd name="T9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" h="5">
                <a:moveTo>
                  <a:pt x="10" y="4"/>
                </a:moveTo>
                <a:cubicBezTo>
                  <a:pt x="10" y="1"/>
                  <a:pt x="2" y="0"/>
                  <a:pt x="0" y="2"/>
                </a:cubicBezTo>
                <a:cubicBezTo>
                  <a:pt x="0" y="2"/>
                  <a:pt x="4" y="5"/>
                  <a:pt x="5" y="5"/>
                </a:cubicBezTo>
                <a:cubicBezTo>
                  <a:pt x="6" y="5"/>
                  <a:pt x="11" y="4"/>
                  <a:pt x="10" y="4"/>
                </a:cubicBezTo>
                <a:cubicBezTo>
                  <a:pt x="10" y="3"/>
                  <a:pt x="11" y="5"/>
                  <a:pt x="10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33" name="Freeform 528">
            <a:extLst>
              <a:ext uri="{FF2B5EF4-FFF2-40B4-BE49-F238E27FC236}">
                <a16:creationId xmlns:a16="http://schemas.microsoft.com/office/drawing/2014/main" id="{357F2210-D088-2D4D-A886-ED47C387357B}"/>
              </a:ext>
            </a:extLst>
          </p:cNvPr>
          <p:cNvSpPr>
            <a:spLocks/>
          </p:cNvSpPr>
          <p:nvPr/>
        </p:nvSpPr>
        <p:spPr bwMode="auto">
          <a:xfrm>
            <a:off x="3675233" y="4285199"/>
            <a:ext cx="268257" cy="93562"/>
          </a:xfrm>
          <a:custGeom>
            <a:avLst/>
            <a:gdLst>
              <a:gd name="T0" fmla="*/ 52 w 52"/>
              <a:gd name="T1" fmla="*/ 16 h 18"/>
              <a:gd name="T2" fmla="*/ 41 w 52"/>
              <a:gd name="T3" fmla="*/ 17 h 18"/>
              <a:gd name="T4" fmla="*/ 35 w 52"/>
              <a:gd name="T5" fmla="*/ 17 h 18"/>
              <a:gd name="T6" fmla="*/ 37 w 52"/>
              <a:gd name="T7" fmla="*/ 14 h 18"/>
              <a:gd name="T8" fmla="*/ 32 w 52"/>
              <a:gd name="T9" fmla="*/ 11 h 18"/>
              <a:gd name="T10" fmla="*/ 28 w 52"/>
              <a:gd name="T11" fmla="*/ 8 h 18"/>
              <a:gd name="T12" fmla="*/ 20 w 52"/>
              <a:gd name="T13" fmla="*/ 5 h 18"/>
              <a:gd name="T14" fmla="*/ 14 w 52"/>
              <a:gd name="T15" fmla="*/ 5 h 18"/>
              <a:gd name="T16" fmla="*/ 16 w 52"/>
              <a:gd name="T17" fmla="*/ 3 h 18"/>
              <a:gd name="T18" fmla="*/ 8 w 52"/>
              <a:gd name="T19" fmla="*/ 3 h 18"/>
              <a:gd name="T20" fmla="*/ 0 w 52"/>
              <a:gd name="T21" fmla="*/ 6 h 18"/>
              <a:gd name="T22" fmla="*/ 6 w 52"/>
              <a:gd name="T23" fmla="*/ 2 h 18"/>
              <a:gd name="T24" fmla="*/ 16 w 52"/>
              <a:gd name="T25" fmla="*/ 0 h 18"/>
              <a:gd name="T26" fmla="*/ 24 w 52"/>
              <a:gd name="T27" fmla="*/ 1 h 18"/>
              <a:gd name="T28" fmla="*/ 31 w 52"/>
              <a:gd name="T29" fmla="*/ 4 h 18"/>
              <a:gd name="T30" fmla="*/ 32 w 52"/>
              <a:gd name="T31" fmla="*/ 4 h 18"/>
              <a:gd name="T32" fmla="*/ 34 w 52"/>
              <a:gd name="T33" fmla="*/ 5 h 18"/>
              <a:gd name="T34" fmla="*/ 38 w 52"/>
              <a:gd name="T35" fmla="*/ 8 h 18"/>
              <a:gd name="T36" fmla="*/ 45 w 52"/>
              <a:gd name="T37" fmla="*/ 11 h 18"/>
              <a:gd name="T38" fmla="*/ 52 w 52"/>
              <a:gd name="T39" fmla="*/ 16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2" h="18">
                <a:moveTo>
                  <a:pt x="52" y="16"/>
                </a:moveTo>
                <a:cubicBezTo>
                  <a:pt x="52" y="17"/>
                  <a:pt x="42" y="17"/>
                  <a:pt x="41" y="17"/>
                </a:cubicBezTo>
                <a:cubicBezTo>
                  <a:pt x="39" y="17"/>
                  <a:pt x="37" y="18"/>
                  <a:pt x="35" y="17"/>
                </a:cubicBezTo>
                <a:cubicBezTo>
                  <a:pt x="34" y="16"/>
                  <a:pt x="41" y="15"/>
                  <a:pt x="37" y="14"/>
                </a:cubicBezTo>
                <a:cubicBezTo>
                  <a:pt x="35" y="13"/>
                  <a:pt x="33" y="13"/>
                  <a:pt x="32" y="11"/>
                </a:cubicBezTo>
                <a:cubicBezTo>
                  <a:pt x="30" y="9"/>
                  <a:pt x="31" y="8"/>
                  <a:pt x="28" y="8"/>
                </a:cubicBezTo>
                <a:cubicBezTo>
                  <a:pt x="24" y="9"/>
                  <a:pt x="23" y="6"/>
                  <a:pt x="20" y="5"/>
                </a:cubicBezTo>
                <a:cubicBezTo>
                  <a:pt x="19" y="5"/>
                  <a:pt x="15" y="6"/>
                  <a:pt x="14" y="5"/>
                </a:cubicBezTo>
                <a:cubicBezTo>
                  <a:pt x="14" y="4"/>
                  <a:pt x="16" y="4"/>
                  <a:pt x="16" y="3"/>
                </a:cubicBezTo>
                <a:cubicBezTo>
                  <a:pt x="16" y="2"/>
                  <a:pt x="9" y="3"/>
                  <a:pt x="8" y="3"/>
                </a:cubicBezTo>
                <a:cubicBezTo>
                  <a:pt x="8" y="4"/>
                  <a:pt x="0" y="7"/>
                  <a:pt x="0" y="6"/>
                </a:cubicBezTo>
                <a:cubicBezTo>
                  <a:pt x="0" y="4"/>
                  <a:pt x="4" y="2"/>
                  <a:pt x="6" y="2"/>
                </a:cubicBezTo>
                <a:cubicBezTo>
                  <a:pt x="9" y="0"/>
                  <a:pt x="12" y="0"/>
                  <a:pt x="16" y="0"/>
                </a:cubicBezTo>
                <a:cubicBezTo>
                  <a:pt x="18" y="0"/>
                  <a:pt x="22" y="0"/>
                  <a:pt x="24" y="1"/>
                </a:cubicBezTo>
                <a:cubicBezTo>
                  <a:pt x="26" y="2"/>
                  <a:pt x="28" y="4"/>
                  <a:pt x="31" y="4"/>
                </a:cubicBezTo>
                <a:cubicBezTo>
                  <a:pt x="31" y="4"/>
                  <a:pt x="31" y="3"/>
                  <a:pt x="32" y="4"/>
                </a:cubicBezTo>
                <a:cubicBezTo>
                  <a:pt x="33" y="5"/>
                  <a:pt x="33" y="5"/>
                  <a:pt x="34" y="5"/>
                </a:cubicBezTo>
                <a:cubicBezTo>
                  <a:pt x="35" y="6"/>
                  <a:pt x="37" y="7"/>
                  <a:pt x="38" y="8"/>
                </a:cubicBezTo>
                <a:cubicBezTo>
                  <a:pt x="40" y="9"/>
                  <a:pt x="44" y="9"/>
                  <a:pt x="45" y="11"/>
                </a:cubicBezTo>
                <a:cubicBezTo>
                  <a:pt x="47" y="13"/>
                  <a:pt x="52" y="13"/>
                  <a:pt x="52" y="1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34" name="Freeform 529">
            <a:extLst>
              <a:ext uri="{FF2B5EF4-FFF2-40B4-BE49-F238E27FC236}">
                <a16:creationId xmlns:a16="http://schemas.microsoft.com/office/drawing/2014/main" id="{7F4C1333-F432-4A45-BCD4-D1A22984258C}"/>
              </a:ext>
            </a:extLst>
          </p:cNvPr>
          <p:cNvSpPr>
            <a:spLocks/>
          </p:cNvSpPr>
          <p:nvPr/>
        </p:nvSpPr>
        <p:spPr bwMode="auto">
          <a:xfrm>
            <a:off x="3834067" y="4228709"/>
            <a:ext cx="21178" cy="19419"/>
          </a:xfrm>
          <a:custGeom>
            <a:avLst/>
            <a:gdLst>
              <a:gd name="T0" fmla="*/ 2 w 4"/>
              <a:gd name="T1" fmla="*/ 4 h 4"/>
              <a:gd name="T2" fmla="*/ 1 w 4"/>
              <a:gd name="T3" fmla="*/ 0 h 4"/>
              <a:gd name="T4" fmla="*/ 2 w 4"/>
              <a:gd name="T5" fmla="*/ 4 h 4"/>
              <a:gd name="T6" fmla="*/ 2 w 4"/>
              <a:gd name="T7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4">
                <a:moveTo>
                  <a:pt x="2" y="4"/>
                </a:moveTo>
                <a:cubicBezTo>
                  <a:pt x="0" y="4"/>
                  <a:pt x="1" y="1"/>
                  <a:pt x="1" y="0"/>
                </a:cubicBezTo>
                <a:cubicBezTo>
                  <a:pt x="2" y="0"/>
                  <a:pt x="4" y="4"/>
                  <a:pt x="2" y="4"/>
                </a:cubicBezTo>
                <a:cubicBezTo>
                  <a:pt x="1" y="4"/>
                  <a:pt x="4" y="4"/>
                  <a:pt x="2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35" name="Freeform 530">
            <a:extLst>
              <a:ext uri="{FF2B5EF4-FFF2-40B4-BE49-F238E27FC236}">
                <a16:creationId xmlns:a16="http://schemas.microsoft.com/office/drawing/2014/main" id="{F05170BE-4DBA-5547-9F7E-B69552FD10FC}"/>
              </a:ext>
            </a:extLst>
          </p:cNvPr>
          <p:cNvSpPr>
            <a:spLocks/>
          </p:cNvSpPr>
          <p:nvPr/>
        </p:nvSpPr>
        <p:spPr bwMode="auto">
          <a:xfrm>
            <a:off x="3964667" y="4336393"/>
            <a:ext cx="10589" cy="10592"/>
          </a:xfrm>
          <a:custGeom>
            <a:avLst/>
            <a:gdLst>
              <a:gd name="T0" fmla="*/ 2 w 2"/>
              <a:gd name="T1" fmla="*/ 1 h 2"/>
              <a:gd name="T2" fmla="*/ 0 w 2"/>
              <a:gd name="T3" fmla="*/ 1 h 2"/>
              <a:gd name="T4" fmla="*/ 2 w 2"/>
              <a:gd name="T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2">
                <a:moveTo>
                  <a:pt x="2" y="1"/>
                </a:moveTo>
                <a:cubicBezTo>
                  <a:pt x="2" y="0"/>
                  <a:pt x="0" y="0"/>
                  <a:pt x="0" y="1"/>
                </a:cubicBezTo>
                <a:cubicBezTo>
                  <a:pt x="0" y="1"/>
                  <a:pt x="2" y="2"/>
                  <a:pt x="2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36" name="Freeform 531">
            <a:extLst>
              <a:ext uri="{FF2B5EF4-FFF2-40B4-BE49-F238E27FC236}">
                <a16:creationId xmlns:a16="http://schemas.microsoft.com/office/drawing/2014/main" id="{8830603F-EA91-664C-A946-78019A041C2E}"/>
              </a:ext>
            </a:extLst>
          </p:cNvPr>
          <p:cNvSpPr>
            <a:spLocks/>
          </p:cNvSpPr>
          <p:nvPr/>
        </p:nvSpPr>
        <p:spPr bwMode="auto">
          <a:xfrm>
            <a:off x="4275279" y="3573782"/>
            <a:ext cx="30002" cy="52959"/>
          </a:xfrm>
          <a:custGeom>
            <a:avLst/>
            <a:gdLst>
              <a:gd name="T0" fmla="*/ 3 w 6"/>
              <a:gd name="T1" fmla="*/ 8 h 10"/>
              <a:gd name="T2" fmla="*/ 0 w 6"/>
              <a:gd name="T3" fmla="*/ 7 h 10"/>
              <a:gd name="T4" fmla="*/ 4 w 6"/>
              <a:gd name="T5" fmla="*/ 2 h 10"/>
              <a:gd name="T6" fmla="*/ 6 w 6"/>
              <a:gd name="T7" fmla="*/ 4 h 10"/>
              <a:gd name="T8" fmla="*/ 3 w 6"/>
              <a:gd name="T9" fmla="*/ 8 h 10"/>
              <a:gd name="T10" fmla="*/ 3 w 6"/>
              <a:gd name="T11" fmla="*/ 8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" h="10">
                <a:moveTo>
                  <a:pt x="3" y="8"/>
                </a:moveTo>
                <a:cubicBezTo>
                  <a:pt x="2" y="10"/>
                  <a:pt x="0" y="9"/>
                  <a:pt x="0" y="7"/>
                </a:cubicBezTo>
                <a:cubicBezTo>
                  <a:pt x="1" y="6"/>
                  <a:pt x="3" y="3"/>
                  <a:pt x="4" y="2"/>
                </a:cubicBezTo>
                <a:cubicBezTo>
                  <a:pt x="6" y="0"/>
                  <a:pt x="6" y="3"/>
                  <a:pt x="6" y="4"/>
                </a:cubicBezTo>
                <a:cubicBezTo>
                  <a:pt x="6" y="6"/>
                  <a:pt x="3" y="6"/>
                  <a:pt x="3" y="8"/>
                </a:cubicBezTo>
                <a:cubicBezTo>
                  <a:pt x="2" y="10"/>
                  <a:pt x="3" y="8"/>
                  <a:pt x="3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37" name="Freeform 532">
            <a:extLst>
              <a:ext uri="{FF2B5EF4-FFF2-40B4-BE49-F238E27FC236}">
                <a16:creationId xmlns:a16="http://schemas.microsoft.com/office/drawing/2014/main" id="{73155FDD-9188-874A-A873-C1FF5DFAD02C}"/>
              </a:ext>
            </a:extLst>
          </p:cNvPr>
          <p:cNvSpPr>
            <a:spLocks/>
          </p:cNvSpPr>
          <p:nvPr/>
        </p:nvSpPr>
        <p:spPr bwMode="auto">
          <a:xfrm>
            <a:off x="4289398" y="3600261"/>
            <a:ext cx="37062" cy="21184"/>
          </a:xfrm>
          <a:custGeom>
            <a:avLst/>
            <a:gdLst>
              <a:gd name="T0" fmla="*/ 3 w 7"/>
              <a:gd name="T1" fmla="*/ 4 h 4"/>
              <a:gd name="T2" fmla="*/ 5 w 7"/>
              <a:gd name="T3" fmla="*/ 1 h 4"/>
              <a:gd name="T4" fmla="*/ 3 w 7"/>
              <a:gd name="T5" fmla="*/ 4 h 4"/>
              <a:gd name="T6" fmla="*/ 3 w 7"/>
              <a:gd name="T7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4">
                <a:moveTo>
                  <a:pt x="3" y="4"/>
                </a:moveTo>
                <a:cubicBezTo>
                  <a:pt x="0" y="4"/>
                  <a:pt x="3" y="0"/>
                  <a:pt x="5" y="1"/>
                </a:cubicBezTo>
                <a:cubicBezTo>
                  <a:pt x="7" y="1"/>
                  <a:pt x="4" y="4"/>
                  <a:pt x="3" y="4"/>
                </a:cubicBezTo>
                <a:cubicBezTo>
                  <a:pt x="2" y="4"/>
                  <a:pt x="4" y="4"/>
                  <a:pt x="3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38" name="Freeform 533">
            <a:extLst>
              <a:ext uri="{FF2B5EF4-FFF2-40B4-BE49-F238E27FC236}">
                <a16:creationId xmlns:a16="http://schemas.microsoft.com/office/drawing/2014/main" id="{D62A5533-C361-D043-86E3-13A9951D1200}"/>
              </a:ext>
            </a:extLst>
          </p:cNvPr>
          <p:cNvSpPr>
            <a:spLocks/>
          </p:cNvSpPr>
          <p:nvPr/>
        </p:nvSpPr>
        <p:spPr bwMode="auto">
          <a:xfrm>
            <a:off x="4187035" y="3579077"/>
            <a:ext cx="77653" cy="37071"/>
          </a:xfrm>
          <a:custGeom>
            <a:avLst/>
            <a:gdLst>
              <a:gd name="T0" fmla="*/ 11 w 15"/>
              <a:gd name="T1" fmla="*/ 6 h 7"/>
              <a:gd name="T2" fmla="*/ 10 w 15"/>
              <a:gd name="T3" fmla="*/ 5 h 7"/>
              <a:gd name="T4" fmla="*/ 7 w 15"/>
              <a:gd name="T5" fmla="*/ 5 h 7"/>
              <a:gd name="T6" fmla="*/ 3 w 15"/>
              <a:gd name="T7" fmla="*/ 0 h 7"/>
              <a:gd name="T8" fmla="*/ 6 w 15"/>
              <a:gd name="T9" fmla="*/ 2 h 7"/>
              <a:gd name="T10" fmla="*/ 8 w 15"/>
              <a:gd name="T11" fmla="*/ 3 h 7"/>
              <a:gd name="T12" fmla="*/ 15 w 15"/>
              <a:gd name="T13" fmla="*/ 3 h 7"/>
              <a:gd name="T14" fmla="*/ 11 w 15"/>
              <a:gd name="T15" fmla="*/ 6 h 7"/>
              <a:gd name="T16" fmla="*/ 11 w 15"/>
              <a:gd name="T17" fmla="*/ 6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7">
                <a:moveTo>
                  <a:pt x="11" y="6"/>
                </a:moveTo>
                <a:cubicBezTo>
                  <a:pt x="10" y="6"/>
                  <a:pt x="10" y="6"/>
                  <a:pt x="10" y="5"/>
                </a:cubicBezTo>
                <a:cubicBezTo>
                  <a:pt x="10" y="5"/>
                  <a:pt x="8" y="6"/>
                  <a:pt x="7" y="5"/>
                </a:cubicBezTo>
                <a:cubicBezTo>
                  <a:pt x="7" y="4"/>
                  <a:pt x="0" y="1"/>
                  <a:pt x="3" y="0"/>
                </a:cubicBezTo>
                <a:cubicBezTo>
                  <a:pt x="4" y="0"/>
                  <a:pt x="5" y="2"/>
                  <a:pt x="6" y="2"/>
                </a:cubicBezTo>
                <a:cubicBezTo>
                  <a:pt x="7" y="3"/>
                  <a:pt x="7" y="2"/>
                  <a:pt x="8" y="3"/>
                </a:cubicBezTo>
                <a:cubicBezTo>
                  <a:pt x="9" y="4"/>
                  <a:pt x="13" y="2"/>
                  <a:pt x="15" y="3"/>
                </a:cubicBezTo>
                <a:cubicBezTo>
                  <a:pt x="14" y="3"/>
                  <a:pt x="12" y="6"/>
                  <a:pt x="11" y="6"/>
                </a:cubicBezTo>
                <a:cubicBezTo>
                  <a:pt x="9" y="7"/>
                  <a:pt x="12" y="6"/>
                  <a:pt x="11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39" name="Freeform 534">
            <a:extLst>
              <a:ext uri="{FF2B5EF4-FFF2-40B4-BE49-F238E27FC236}">
                <a16:creationId xmlns:a16="http://schemas.microsoft.com/office/drawing/2014/main" id="{0E220532-63BC-3F42-B45C-F8B376D44288}"/>
              </a:ext>
            </a:extLst>
          </p:cNvPr>
          <p:cNvSpPr>
            <a:spLocks/>
          </p:cNvSpPr>
          <p:nvPr/>
        </p:nvSpPr>
        <p:spPr bwMode="auto">
          <a:xfrm>
            <a:off x="4202922" y="3476688"/>
            <a:ext cx="81182" cy="40603"/>
          </a:xfrm>
          <a:custGeom>
            <a:avLst/>
            <a:gdLst>
              <a:gd name="T0" fmla="*/ 13 w 16"/>
              <a:gd name="T1" fmla="*/ 6 h 8"/>
              <a:gd name="T2" fmla="*/ 0 w 16"/>
              <a:gd name="T3" fmla="*/ 2 h 8"/>
              <a:gd name="T4" fmla="*/ 13 w 16"/>
              <a:gd name="T5" fmla="*/ 6 h 8"/>
              <a:gd name="T6" fmla="*/ 13 w 16"/>
              <a:gd name="T7" fmla="*/ 6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" h="8">
                <a:moveTo>
                  <a:pt x="13" y="6"/>
                </a:moveTo>
                <a:cubicBezTo>
                  <a:pt x="11" y="8"/>
                  <a:pt x="1" y="4"/>
                  <a:pt x="0" y="2"/>
                </a:cubicBezTo>
                <a:cubicBezTo>
                  <a:pt x="0" y="0"/>
                  <a:pt x="16" y="4"/>
                  <a:pt x="13" y="6"/>
                </a:cubicBezTo>
                <a:cubicBezTo>
                  <a:pt x="12" y="7"/>
                  <a:pt x="14" y="5"/>
                  <a:pt x="13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40" name="Freeform 535">
            <a:extLst>
              <a:ext uri="{FF2B5EF4-FFF2-40B4-BE49-F238E27FC236}">
                <a16:creationId xmlns:a16="http://schemas.microsoft.com/office/drawing/2014/main" id="{0BDD8044-94A2-5A42-A093-3116C72822C7}"/>
              </a:ext>
            </a:extLst>
          </p:cNvPr>
          <p:cNvSpPr>
            <a:spLocks/>
          </p:cNvSpPr>
          <p:nvPr/>
        </p:nvSpPr>
        <p:spPr bwMode="auto">
          <a:xfrm>
            <a:off x="4331755" y="3423730"/>
            <a:ext cx="165896" cy="160642"/>
          </a:xfrm>
          <a:custGeom>
            <a:avLst/>
            <a:gdLst>
              <a:gd name="T0" fmla="*/ 19 w 32"/>
              <a:gd name="T1" fmla="*/ 1 h 31"/>
              <a:gd name="T2" fmla="*/ 17 w 32"/>
              <a:gd name="T3" fmla="*/ 0 h 31"/>
              <a:gd name="T4" fmla="*/ 14 w 32"/>
              <a:gd name="T5" fmla="*/ 2 h 31"/>
              <a:gd name="T6" fmla="*/ 11 w 32"/>
              <a:gd name="T7" fmla="*/ 5 h 31"/>
              <a:gd name="T8" fmla="*/ 9 w 32"/>
              <a:gd name="T9" fmla="*/ 7 h 31"/>
              <a:gd name="T10" fmla="*/ 7 w 32"/>
              <a:gd name="T11" fmla="*/ 13 h 31"/>
              <a:gd name="T12" fmla="*/ 5 w 32"/>
              <a:gd name="T13" fmla="*/ 17 h 31"/>
              <a:gd name="T14" fmla="*/ 2 w 32"/>
              <a:gd name="T15" fmla="*/ 19 h 31"/>
              <a:gd name="T16" fmla="*/ 4 w 32"/>
              <a:gd name="T17" fmla="*/ 21 h 31"/>
              <a:gd name="T18" fmla="*/ 0 w 32"/>
              <a:gd name="T19" fmla="*/ 25 h 31"/>
              <a:gd name="T20" fmla="*/ 4 w 32"/>
              <a:gd name="T21" fmla="*/ 25 h 31"/>
              <a:gd name="T22" fmla="*/ 10 w 32"/>
              <a:gd name="T23" fmla="*/ 26 h 31"/>
              <a:gd name="T24" fmla="*/ 19 w 32"/>
              <a:gd name="T25" fmla="*/ 27 h 31"/>
              <a:gd name="T26" fmla="*/ 22 w 32"/>
              <a:gd name="T27" fmla="*/ 26 h 31"/>
              <a:gd name="T28" fmla="*/ 19 w 32"/>
              <a:gd name="T29" fmla="*/ 30 h 31"/>
              <a:gd name="T30" fmla="*/ 22 w 32"/>
              <a:gd name="T31" fmla="*/ 28 h 31"/>
              <a:gd name="T32" fmla="*/ 27 w 32"/>
              <a:gd name="T33" fmla="*/ 26 h 31"/>
              <a:gd name="T34" fmla="*/ 32 w 32"/>
              <a:gd name="T35" fmla="*/ 20 h 31"/>
              <a:gd name="T36" fmla="*/ 29 w 32"/>
              <a:gd name="T37" fmla="*/ 20 h 31"/>
              <a:gd name="T38" fmla="*/ 26 w 32"/>
              <a:gd name="T39" fmla="*/ 18 h 31"/>
              <a:gd name="T40" fmla="*/ 29 w 32"/>
              <a:gd name="T41" fmla="*/ 15 h 31"/>
              <a:gd name="T42" fmla="*/ 26 w 32"/>
              <a:gd name="T43" fmla="*/ 15 h 31"/>
              <a:gd name="T44" fmla="*/ 24 w 32"/>
              <a:gd name="T45" fmla="*/ 13 h 31"/>
              <a:gd name="T46" fmla="*/ 21 w 32"/>
              <a:gd name="T47" fmla="*/ 16 h 31"/>
              <a:gd name="T48" fmla="*/ 18 w 32"/>
              <a:gd name="T49" fmla="*/ 13 h 31"/>
              <a:gd name="T50" fmla="*/ 19 w 32"/>
              <a:gd name="T51" fmla="*/ 11 h 31"/>
              <a:gd name="T52" fmla="*/ 16 w 32"/>
              <a:gd name="T53" fmla="*/ 9 h 31"/>
              <a:gd name="T54" fmla="*/ 14 w 32"/>
              <a:gd name="T55" fmla="*/ 12 h 31"/>
              <a:gd name="T56" fmla="*/ 16 w 32"/>
              <a:gd name="T57" fmla="*/ 7 h 31"/>
              <a:gd name="T58" fmla="*/ 18 w 32"/>
              <a:gd name="T59" fmla="*/ 4 h 31"/>
              <a:gd name="T60" fmla="*/ 18 w 32"/>
              <a:gd name="T61" fmla="*/ 2 h 31"/>
              <a:gd name="T62" fmla="*/ 19 w 32"/>
              <a:gd name="T63" fmla="*/ 1 h 31"/>
              <a:gd name="T64" fmla="*/ 19 w 32"/>
              <a:gd name="T65" fmla="*/ 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2" h="31">
                <a:moveTo>
                  <a:pt x="19" y="1"/>
                </a:moveTo>
                <a:cubicBezTo>
                  <a:pt x="20" y="0"/>
                  <a:pt x="17" y="0"/>
                  <a:pt x="17" y="0"/>
                </a:cubicBezTo>
                <a:cubicBezTo>
                  <a:pt x="16" y="0"/>
                  <a:pt x="15" y="1"/>
                  <a:pt x="14" y="2"/>
                </a:cubicBezTo>
                <a:cubicBezTo>
                  <a:pt x="13" y="3"/>
                  <a:pt x="12" y="4"/>
                  <a:pt x="11" y="5"/>
                </a:cubicBezTo>
                <a:cubicBezTo>
                  <a:pt x="11" y="6"/>
                  <a:pt x="10" y="7"/>
                  <a:pt x="9" y="7"/>
                </a:cubicBezTo>
                <a:cubicBezTo>
                  <a:pt x="9" y="9"/>
                  <a:pt x="8" y="11"/>
                  <a:pt x="7" y="13"/>
                </a:cubicBezTo>
                <a:cubicBezTo>
                  <a:pt x="7" y="15"/>
                  <a:pt x="6" y="16"/>
                  <a:pt x="5" y="17"/>
                </a:cubicBezTo>
                <a:cubicBezTo>
                  <a:pt x="4" y="18"/>
                  <a:pt x="2" y="19"/>
                  <a:pt x="2" y="19"/>
                </a:cubicBezTo>
                <a:cubicBezTo>
                  <a:pt x="2" y="20"/>
                  <a:pt x="4" y="20"/>
                  <a:pt x="4" y="21"/>
                </a:cubicBezTo>
                <a:cubicBezTo>
                  <a:pt x="4" y="22"/>
                  <a:pt x="0" y="24"/>
                  <a:pt x="0" y="25"/>
                </a:cubicBezTo>
                <a:cubicBezTo>
                  <a:pt x="0" y="27"/>
                  <a:pt x="3" y="26"/>
                  <a:pt x="4" y="25"/>
                </a:cubicBezTo>
                <a:cubicBezTo>
                  <a:pt x="6" y="25"/>
                  <a:pt x="8" y="26"/>
                  <a:pt x="10" y="26"/>
                </a:cubicBezTo>
                <a:cubicBezTo>
                  <a:pt x="13" y="27"/>
                  <a:pt x="16" y="26"/>
                  <a:pt x="19" y="27"/>
                </a:cubicBezTo>
                <a:cubicBezTo>
                  <a:pt x="19" y="27"/>
                  <a:pt x="22" y="25"/>
                  <a:pt x="22" y="26"/>
                </a:cubicBezTo>
                <a:cubicBezTo>
                  <a:pt x="22" y="27"/>
                  <a:pt x="19" y="30"/>
                  <a:pt x="19" y="30"/>
                </a:cubicBezTo>
                <a:cubicBezTo>
                  <a:pt x="20" y="31"/>
                  <a:pt x="22" y="28"/>
                  <a:pt x="22" y="28"/>
                </a:cubicBezTo>
                <a:cubicBezTo>
                  <a:pt x="24" y="27"/>
                  <a:pt x="26" y="27"/>
                  <a:pt x="27" y="26"/>
                </a:cubicBezTo>
                <a:cubicBezTo>
                  <a:pt x="27" y="25"/>
                  <a:pt x="32" y="20"/>
                  <a:pt x="32" y="20"/>
                </a:cubicBezTo>
                <a:cubicBezTo>
                  <a:pt x="31" y="19"/>
                  <a:pt x="30" y="20"/>
                  <a:pt x="29" y="20"/>
                </a:cubicBezTo>
                <a:cubicBezTo>
                  <a:pt x="29" y="20"/>
                  <a:pt x="26" y="18"/>
                  <a:pt x="26" y="18"/>
                </a:cubicBezTo>
                <a:cubicBezTo>
                  <a:pt x="26" y="17"/>
                  <a:pt x="30" y="16"/>
                  <a:pt x="29" y="15"/>
                </a:cubicBezTo>
                <a:cubicBezTo>
                  <a:pt x="29" y="14"/>
                  <a:pt x="27" y="15"/>
                  <a:pt x="26" y="15"/>
                </a:cubicBezTo>
                <a:cubicBezTo>
                  <a:pt x="25" y="15"/>
                  <a:pt x="25" y="13"/>
                  <a:pt x="24" y="13"/>
                </a:cubicBezTo>
                <a:cubicBezTo>
                  <a:pt x="24" y="13"/>
                  <a:pt x="21" y="16"/>
                  <a:pt x="21" y="16"/>
                </a:cubicBezTo>
                <a:cubicBezTo>
                  <a:pt x="20" y="14"/>
                  <a:pt x="20" y="14"/>
                  <a:pt x="18" y="13"/>
                </a:cubicBezTo>
                <a:cubicBezTo>
                  <a:pt x="16" y="12"/>
                  <a:pt x="19" y="12"/>
                  <a:pt x="19" y="11"/>
                </a:cubicBezTo>
                <a:cubicBezTo>
                  <a:pt x="19" y="11"/>
                  <a:pt x="17" y="9"/>
                  <a:pt x="16" y="9"/>
                </a:cubicBezTo>
                <a:cubicBezTo>
                  <a:pt x="16" y="10"/>
                  <a:pt x="14" y="13"/>
                  <a:pt x="14" y="12"/>
                </a:cubicBezTo>
                <a:cubicBezTo>
                  <a:pt x="12" y="11"/>
                  <a:pt x="15" y="7"/>
                  <a:pt x="16" y="7"/>
                </a:cubicBezTo>
                <a:cubicBezTo>
                  <a:pt x="17" y="6"/>
                  <a:pt x="17" y="5"/>
                  <a:pt x="18" y="4"/>
                </a:cubicBezTo>
                <a:cubicBezTo>
                  <a:pt x="18" y="3"/>
                  <a:pt x="18" y="2"/>
                  <a:pt x="18" y="2"/>
                </a:cubicBezTo>
                <a:cubicBezTo>
                  <a:pt x="18" y="2"/>
                  <a:pt x="19" y="1"/>
                  <a:pt x="19" y="1"/>
                </a:cubicBezTo>
                <a:cubicBezTo>
                  <a:pt x="20" y="0"/>
                  <a:pt x="19" y="1"/>
                  <a:pt x="19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41" name="Freeform 536">
            <a:extLst>
              <a:ext uri="{FF2B5EF4-FFF2-40B4-BE49-F238E27FC236}">
                <a16:creationId xmlns:a16="http://schemas.microsoft.com/office/drawing/2014/main" id="{2A2D92B9-1B59-6C4E-AF39-EFF059A690BB}"/>
              </a:ext>
            </a:extLst>
          </p:cNvPr>
          <p:cNvSpPr>
            <a:spLocks/>
          </p:cNvSpPr>
          <p:nvPr/>
        </p:nvSpPr>
        <p:spPr bwMode="auto">
          <a:xfrm>
            <a:off x="4465883" y="3538474"/>
            <a:ext cx="42356" cy="51193"/>
          </a:xfrm>
          <a:custGeom>
            <a:avLst/>
            <a:gdLst>
              <a:gd name="T0" fmla="*/ 6 w 8"/>
              <a:gd name="T1" fmla="*/ 1 h 10"/>
              <a:gd name="T2" fmla="*/ 1 w 8"/>
              <a:gd name="T3" fmla="*/ 9 h 10"/>
              <a:gd name="T4" fmla="*/ 4 w 8"/>
              <a:gd name="T5" fmla="*/ 7 h 10"/>
              <a:gd name="T6" fmla="*/ 3 w 8"/>
              <a:gd name="T7" fmla="*/ 10 h 10"/>
              <a:gd name="T8" fmla="*/ 6 w 8"/>
              <a:gd name="T9" fmla="*/ 8 h 10"/>
              <a:gd name="T10" fmla="*/ 8 w 8"/>
              <a:gd name="T11" fmla="*/ 4 h 10"/>
              <a:gd name="T12" fmla="*/ 5 w 8"/>
              <a:gd name="T13" fmla="*/ 4 h 10"/>
              <a:gd name="T14" fmla="*/ 6 w 8"/>
              <a:gd name="T15" fmla="*/ 1 h 10"/>
              <a:gd name="T16" fmla="*/ 6 w 8"/>
              <a:gd name="T17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" h="10">
                <a:moveTo>
                  <a:pt x="6" y="1"/>
                </a:moveTo>
                <a:cubicBezTo>
                  <a:pt x="5" y="2"/>
                  <a:pt x="0" y="6"/>
                  <a:pt x="1" y="9"/>
                </a:cubicBezTo>
                <a:cubicBezTo>
                  <a:pt x="1" y="9"/>
                  <a:pt x="3" y="6"/>
                  <a:pt x="4" y="7"/>
                </a:cubicBezTo>
                <a:cubicBezTo>
                  <a:pt x="4" y="7"/>
                  <a:pt x="3" y="10"/>
                  <a:pt x="3" y="10"/>
                </a:cubicBezTo>
                <a:cubicBezTo>
                  <a:pt x="4" y="10"/>
                  <a:pt x="6" y="9"/>
                  <a:pt x="6" y="8"/>
                </a:cubicBezTo>
                <a:cubicBezTo>
                  <a:pt x="6" y="7"/>
                  <a:pt x="7" y="6"/>
                  <a:pt x="8" y="4"/>
                </a:cubicBezTo>
                <a:cubicBezTo>
                  <a:pt x="8" y="2"/>
                  <a:pt x="6" y="4"/>
                  <a:pt x="5" y="4"/>
                </a:cubicBezTo>
                <a:cubicBezTo>
                  <a:pt x="6" y="4"/>
                  <a:pt x="6" y="0"/>
                  <a:pt x="6" y="1"/>
                </a:cubicBezTo>
                <a:cubicBezTo>
                  <a:pt x="5" y="1"/>
                  <a:pt x="7" y="0"/>
                  <a:pt x="6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42" name="Freeform 537">
            <a:extLst>
              <a:ext uri="{FF2B5EF4-FFF2-40B4-BE49-F238E27FC236}">
                <a16:creationId xmlns:a16="http://schemas.microsoft.com/office/drawing/2014/main" id="{35F65876-4C3B-B74A-B706-D110A951D180}"/>
              </a:ext>
            </a:extLst>
          </p:cNvPr>
          <p:cNvSpPr>
            <a:spLocks/>
          </p:cNvSpPr>
          <p:nvPr/>
        </p:nvSpPr>
        <p:spPr bwMode="auto">
          <a:xfrm>
            <a:off x="4176449" y="3040658"/>
            <a:ext cx="15883" cy="30009"/>
          </a:xfrm>
          <a:custGeom>
            <a:avLst/>
            <a:gdLst>
              <a:gd name="T0" fmla="*/ 3 w 3"/>
              <a:gd name="T1" fmla="*/ 4 h 6"/>
              <a:gd name="T2" fmla="*/ 1 w 3"/>
              <a:gd name="T3" fmla="*/ 1 h 6"/>
              <a:gd name="T4" fmla="*/ 1 w 3"/>
              <a:gd name="T5" fmla="*/ 2 h 6"/>
              <a:gd name="T6" fmla="*/ 0 w 3"/>
              <a:gd name="T7" fmla="*/ 2 h 6"/>
              <a:gd name="T8" fmla="*/ 3 w 3"/>
              <a:gd name="T9" fmla="*/ 4 h 6"/>
              <a:gd name="T10" fmla="*/ 3 w 3"/>
              <a:gd name="T11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6">
                <a:moveTo>
                  <a:pt x="3" y="4"/>
                </a:moveTo>
                <a:cubicBezTo>
                  <a:pt x="3" y="3"/>
                  <a:pt x="1" y="0"/>
                  <a:pt x="1" y="1"/>
                </a:cubicBezTo>
                <a:cubicBezTo>
                  <a:pt x="1" y="1"/>
                  <a:pt x="1" y="1"/>
                  <a:pt x="1" y="2"/>
                </a:cubicBezTo>
                <a:cubicBezTo>
                  <a:pt x="1" y="2"/>
                  <a:pt x="0" y="2"/>
                  <a:pt x="0" y="2"/>
                </a:cubicBezTo>
                <a:cubicBezTo>
                  <a:pt x="0" y="2"/>
                  <a:pt x="3" y="6"/>
                  <a:pt x="3" y="4"/>
                </a:cubicBezTo>
                <a:cubicBezTo>
                  <a:pt x="3" y="3"/>
                  <a:pt x="3" y="6"/>
                  <a:pt x="3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43" name="Freeform 538">
            <a:extLst>
              <a:ext uri="{FF2B5EF4-FFF2-40B4-BE49-F238E27FC236}">
                <a16:creationId xmlns:a16="http://schemas.microsoft.com/office/drawing/2014/main" id="{E8910FC4-44D3-9A41-BA2B-998935A1B349}"/>
              </a:ext>
            </a:extLst>
          </p:cNvPr>
          <p:cNvSpPr>
            <a:spLocks/>
          </p:cNvSpPr>
          <p:nvPr/>
        </p:nvSpPr>
        <p:spPr bwMode="auto">
          <a:xfrm>
            <a:off x="4098796" y="3091853"/>
            <a:ext cx="15883" cy="15887"/>
          </a:xfrm>
          <a:custGeom>
            <a:avLst/>
            <a:gdLst>
              <a:gd name="T0" fmla="*/ 2 w 3"/>
              <a:gd name="T1" fmla="*/ 1 h 3"/>
              <a:gd name="T2" fmla="*/ 0 w 3"/>
              <a:gd name="T3" fmla="*/ 2 h 3"/>
              <a:gd name="T4" fmla="*/ 2 w 3"/>
              <a:gd name="T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" h="3">
                <a:moveTo>
                  <a:pt x="2" y="1"/>
                </a:moveTo>
                <a:cubicBezTo>
                  <a:pt x="2" y="0"/>
                  <a:pt x="0" y="2"/>
                  <a:pt x="0" y="2"/>
                </a:cubicBezTo>
                <a:cubicBezTo>
                  <a:pt x="1" y="3"/>
                  <a:pt x="3" y="2"/>
                  <a:pt x="2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44" name="Freeform 539">
            <a:extLst>
              <a:ext uri="{FF2B5EF4-FFF2-40B4-BE49-F238E27FC236}">
                <a16:creationId xmlns:a16="http://schemas.microsoft.com/office/drawing/2014/main" id="{4E6A75E3-2F34-6B44-8FD5-A357155269B4}"/>
              </a:ext>
            </a:extLst>
          </p:cNvPr>
          <p:cNvSpPr>
            <a:spLocks/>
          </p:cNvSpPr>
          <p:nvPr/>
        </p:nvSpPr>
        <p:spPr bwMode="auto">
          <a:xfrm>
            <a:off x="3742296" y="3367241"/>
            <a:ext cx="35297" cy="21184"/>
          </a:xfrm>
          <a:custGeom>
            <a:avLst/>
            <a:gdLst>
              <a:gd name="T0" fmla="*/ 7 w 7"/>
              <a:gd name="T1" fmla="*/ 3 h 4"/>
              <a:gd name="T2" fmla="*/ 1 w 7"/>
              <a:gd name="T3" fmla="*/ 1 h 4"/>
              <a:gd name="T4" fmla="*/ 7 w 7"/>
              <a:gd name="T5" fmla="*/ 3 h 4"/>
              <a:gd name="T6" fmla="*/ 7 w 7"/>
              <a:gd name="T7" fmla="*/ 3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4">
                <a:moveTo>
                  <a:pt x="7" y="3"/>
                </a:moveTo>
                <a:cubicBezTo>
                  <a:pt x="7" y="0"/>
                  <a:pt x="3" y="0"/>
                  <a:pt x="1" y="1"/>
                </a:cubicBezTo>
                <a:cubicBezTo>
                  <a:pt x="0" y="1"/>
                  <a:pt x="7" y="4"/>
                  <a:pt x="7" y="3"/>
                </a:cubicBezTo>
                <a:cubicBezTo>
                  <a:pt x="7" y="0"/>
                  <a:pt x="7" y="4"/>
                  <a:pt x="7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45" name="Freeform 540">
            <a:extLst>
              <a:ext uri="{FF2B5EF4-FFF2-40B4-BE49-F238E27FC236}">
                <a16:creationId xmlns:a16="http://schemas.microsoft.com/office/drawing/2014/main" id="{CDDE9EE8-7430-B945-A48C-2DB04155810A}"/>
              </a:ext>
            </a:extLst>
          </p:cNvPr>
          <p:cNvSpPr>
            <a:spLocks/>
          </p:cNvSpPr>
          <p:nvPr/>
        </p:nvSpPr>
        <p:spPr bwMode="auto">
          <a:xfrm>
            <a:off x="3798770" y="3241904"/>
            <a:ext cx="31766" cy="31774"/>
          </a:xfrm>
          <a:custGeom>
            <a:avLst/>
            <a:gdLst>
              <a:gd name="T0" fmla="*/ 3 w 6"/>
              <a:gd name="T1" fmla="*/ 5 h 6"/>
              <a:gd name="T2" fmla="*/ 0 w 6"/>
              <a:gd name="T3" fmla="*/ 3 h 6"/>
              <a:gd name="T4" fmla="*/ 4 w 6"/>
              <a:gd name="T5" fmla="*/ 2 h 6"/>
              <a:gd name="T6" fmla="*/ 3 w 6"/>
              <a:gd name="T7" fmla="*/ 5 h 6"/>
              <a:gd name="T8" fmla="*/ 3 w 6"/>
              <a:gd name="T9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6">
                <a:moveTo>
                  <a:pt x="3" y="5"/>
                </a:moveTo>
                <a:cubicBezTo>
                  <a:pt x="2" y="4"/>
                  <a:pt x="1" y="4"/>
                  <a:pt x="0" y="3"/>
                </a:cubicBezTo>
                <a:cubicBezTo>
                  <a:pt x="1" y="3"/>
                  <a:pt x="3" y="0"/>
                  <a:pt x="4" y="2"/>
                </a:cubicBezTo>
                <a:cubicBezTo>
                  <a:pt x="6" y="3"/>
                  <a:pt x="5" y="6"/>
                  <a:pt x="3" y="5"/>
                </a:cubicBezTo>
                <a:cubicBezTo>
                  <a:pt x="2" y="4"/>
                  <a:pt x="4" y="6"/>
                  <a:pt x="3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46" name="Freeform 541">
            <a:extLst>
              <a:ext uri="{FF2B5EF4-FFF2-40B4-BE49-F238E27FC236}">
                <a16:creationId xmlns:a16="http://schemas.microsoft.com/office/drawing/2014/main" id="{3935A592-6DD4-DB4B-9FCC-97EB3942F56B}"/>
              </a:ext>
            </a:extLst>
          </p:cNvPr>
          <p:cNvSpPr>
            <a:spLocks/>
          </p:cNvSpPr>
          <p:nvPr/>
        </p:nvSpPr>
        <p:spPr bwMode="auto">
          <a:xfrm>
            <a:off x="3782887" y="3019474"/>
            <a:ext cx="31766" cy="37071"/>
          </a:xfrm>
          <a:custGeom>
            <a:avLst/>
            <a:gdLst>
              <a:gd name="T0" fmla="*/ 3 w 6"/>
              <a:gd name="T1" fmla="*/ 6 h 7"/>
              <a:gd name="T2" fmla="*/ 4 w 6"/>
              <a:gd name="T3" fmla="*/ 1 h 7"/>
              <a:gd name="T4" fmla="*/ 3 w 6"/>
              <a:gd name="T5" fmla="*/ 6 h 7"/>
              <a:gd name="T6" fmla="*/ 3 w 6"/>
              <a:gd name="T7" fmla="*/ 6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7">
                <a:moveTo>
                  <a:pt x="3" y="6"/>
                </a:moveTo>
                <a:cubicBezTo>
                  <a:pt x="0" y="7"/>
                  <a:pt x="1" y="0"/>
                  <a:pt x="4" y="1"/>
                </a:cubicBezTo>
                <a:cubicBezTo>
                  <a:pt x="6" y="1"/>
                  <a:pt x="5" y="6"/>
                  <a:pt x="3" y="6"/>
                </a:cubicBezTo>
                <a:cubicBezTo>
                  <a:pt x="2" y="6"/>
                  <a:pt x="6" y="6"/>
                  <a:pt x="3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47" name="Freeform 542">
            <a:extLst>
              <a:ext uri="{FF2B5EF4-FFF2-40B4-BE49-F238E27FC236}">
                <a16:creationId xmlns:a16="http://schemas.microsoft.com/office/drawing/2014/main" id="{F01A3202-BB7C-B744-87D7-BC600112F8C3}"/>
              </a:ext>
            </a:extLst>
          </p:cNvPr>
          <p:cNvSpPr>
            <a:spLocks/>
          </p:cNvSpPr>
          <p:nvPr/>
        </p:nvSpPr>
        <p:spPr bwMode="auto">
          <a:xfrm>
            <a:off x="3694645" y="2998291"/>
            <a:ext cx="61770" cy="31774"/>
          </a:xfrm>
          <a:custGeom>
            <a:avLst/>
            <a:gdLst>
              <a:gd name="T0" fmla="*/ 4 w 12"/>
              <a:gd name="T1" fmla="*/ 6 h 6"/>
              <a:gd name="T2" fmla="*/ 1 w 12"/>
              <a:gd name="T3" fmla="*/ 3 h 6"/>
              <a:gd name="T4" fmla="*/ 8 w 12"/>
              <a:gd name="T5" fmla="*/ 0 h 6"/>
              <a:gd name="T6" fmla="*/ 4 w 12"/>
              <a:gd name="T7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" h="6">
                <a:moveTo>
                  <a:pt x="4" y="6"/>
                </a:moveTo>
                <a:cubicBezTo>
                  <a:pt x="2" y="6"/>
                  <a:pt x="0" y="5"/>
                  <a:pt x="1" y="3"/>
                </a:cubicBezTo>
                <a:cubicBezTo>
                  <a:pt x="2" y="1"/>
                  <a:pt x="5" y="1"/>
                  <a:pt x="8" y="0"/>
                </a:cubicBezTo>
                <a:cubicBezTo>
                  <a:pt x="12" y="0"/>
                  <a:pt x="6" y="6"/>
                  <a:pt x="4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48" name="Freeform 543">
            <a:extLst>
              <a:ext uri="{FF2B5EF4-FFF2-40B4-BE49-F238E27FC236}">
                <a16:creationId xmlns:a16="http://schemas.microsoft.com/office/drawing/2014/main" id="{307A63C8-A97A-094F-ACD6-475416F5A8BF}"/>
              </a:ext>
            </a:extLst>
          </p:cNvPr>
          <p:cNvSpPr>
            <a:spLocks/>
          </p:cNvSpPr>
          <p:nvPr/>
        </p:nvSpPr>
        <p:spPr bwMode="auto">
          <a:xfrm>
            <a:off x="3825243" y="2978872"/>
            <a:ext cx="35297" cy="14122"/>
          </a:xfrm>
          <a:custGeom>
            <a:avLst/>
            <a:gdLst>
              <a:gd name="T0" fmla="*/ 5 w 7"/>
              <a:gd name="T1" fmla="*/ 3 h 3"/>
              <a:gd name="T2" fmla="*/ 3 w 7"/>
              <a:gd name="T3" fmla="*/ 0 h 3"/>
              <a:gd name="T4" fmla="*/ 7 w 7"/>
              <a:gd name="T5" fmla="*/ 1 h 3"/>
              <a:gd name="T6" fmla="*/ 5 w 7"/>
              <a:gd name="T7" fmla="*/ 3 h 3"/>
              <a:gd name="T8" fmla="*/ 5 w 7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3">
                <a:moveTo>
                  <a:pt x="5" y="3"/>
                </a:moveTo>
                <a:cubicBezTo>
                  <a:pt x="4" y="3"/>
                  <a:pt x="0" y="0"/>
                  <a:pt x="3" y="0"/>
                </a:cubicBezTo>
                <a:cubicBezTo>
                  <a:pt x="4" y="0"/>
                  <a:pt x="6" y="0"/>
                  <a:pt x="7" y="1"/>
                </a:cubicBezTo>
                <a:cubicBezTo>
                  <a:pt x="7" y="1"/>
                  <a:pt x="6" y="3"/>
                  <a:pt x="5" y="3"/>
                </a:cubicBezTo>
                <a:cubicBezTo>
                  <a:pt x="4" y="3"/>
                  <a:pt x="7" y="3"/>
                  <a:pt x="5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49" name="Freeform 544">
            <a:extLst>
              <a:ext uri="{FF2B5EF4-FFF2-40B4-BE49-F238E27FC236}">
                <a16:creationId xmlns:a16="http://schemas.microsoft.com/office/drawing/2014/main" id="{590D0F61-60DA-F045-A9A3-37893D9F0BC2}"/>
              </a:ext>
            </a:extLst>
          </p:cNvPr>
          <p:cNvSpPr>
            <a:spLocks/>
          </p:cNvSpPr>
          <p:nvPr/>
        </p:nvSpPr>
        <p:spPr bwMode="auto">
          <a:xfrm>
            <a:off x="3606402" y="2874720"/>
            <a:ext cx="176485" cy="123572"/>
          </a:xfrm>
          <a:custGeom>
            <a:avLst/>
            <a:gdLst>
              <a:gd name="T0" fmla="*/ 31 w 34"/>
              <a:gd name="T1" fmla="*/ 21 h 24"/>
              <a:gd name="T2" fmla="*/ 25 w 34"/>
              <a:gd name="T3" fmla="*/ 18 h 24"/>
              <a:gd name="T4" fmla="*/ 24 w 34"/>
              <a:gd name="T5" fmla="*/ 16 h 24"/>
              <a:gd name="T6" fmla="*/ 22 w 34"/>
              <a:gd name="T7" fmla="*/ 17 h 24"/>
              <a:gd name="T8" fmla="*/ 18 w 34"/>
              <a:gd name="T9" fmla="*/ 16 h 24"/>
              <a:gd name="T10" fmla="*/ 16 w 34"/>
              <a:gd name="T11" fmla="*/ 19 h 24"/>
              <a:gd name="T12" fmla="*/ 11 w 34"/>
              <a:gd name="T13" fmla="*/ 23 h 24"/>
              <a:gd name="T14" fmla="*/ 8 w 34"/>
              <a:gd name="T15" fmla="*/ 19 h 24"/>
              <a:gd name="T16" fmla="*/ 2 w 34"/>
              <a:gd name="T17" fmla="*/ 19 h 24"/>
              <a:gd name="T18" fmla="*/ 4 w 34"/>
              <a:gd name="T19" fmla="*/ 16 h 24"/>
              <a:gd name="T20" fmla="*/ 5 w 34"/>
              <a:gd name="T21" fmla="*/ 10 h 24"/>
              <a:gd name="T22" fmla="*/ 6 w 34"/>
              <a:gd name="T23" fmla="*/ 3 h 24"/>
              <a:gd name="T24" fmla="*/ 11 w 34"/>
              <a:gd name="T25" fmla="*/ 3 h 24"/>
              <a:gd name="T26" fmla="*/ 12 w 34"/>
              <a:gd name="T27" fmla="*/ 5 h 24"/>
              <a:gd name="T28" fmla="*/ 14 w 34"/>
              <a:gd name="T29" fmla="*/ 4 h 24"/>
              <a:gd name="T30" fmla="*/ 17 w 34"/>
              <a:gd name="T31" fmla="*/ 6 h 24"/>
              <a:gd name="T32" fmla="*/ 20 w 34"/>
              <a:gd name="T33" fmla="*/ 7 h 24"/>
              <a:gd name="T34" fmla="*/ 25 w 34"/>
              <a:gd name="T35" fmla="*/ 10 h 24"/>
              <a:gd name="T36" fmla="*/ 28 w 34"/>
              <a:gd name="T37" fmla="*/ 15 h 24"/>
              <a:gd name="T38" fmla="*/ 30 w 34"/>
              <a:gd name="T39" fmla="*/ 15 h 24"/>
              <a:gd name="T40" fmla="*/ 33 w 34"/>
              <a:gd name="T41" fmla="*/ 17 h 24"/>
              <a:gd name="T42" fmla="*/ 34 w 34"/>
              <a:gd name="T43" fmla="*/ 18 h 24"/>
              <a:gd name="T44" fmla="*/ 31 w 34"/>
              <a:gd name="T45" fmla="*/ 21 h 24"/>
              <a:gd name="T46" fmla="*/ 31 w 34"/>
              <a:gd name="T47" fmla="*/ 2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4" h="24">
                <a:moveTo>
                  <a:pt x="31" y="21"/>
                </a:moveTo>
                <a:cubicBezTo>
                  <a:pt x="30" y="20"/>
                  <a:pt x="27" y="19"/>
                  <a:pt x="25" y="18"/>
                </a:cubicBezTo>
                <a:cubicBezTo>
                  <a:pt x="24" y="18"/>
                  <a:pt x="25" y="17"/>
                  <a:pt x="24" y="16"/>
                </a:cubicBezTo>
                <a:cubicBezTo>
                  <a:pt x="24" y="16"/>
                  <a:pt x="22" y="17"/>
                  <a:pt x="22" y="17"/>
                </a:cubicBezTo>
                <a:cubicBezTo>
                  <a:pt x="20" y="17"/>
                  <a:pt x="20" y="15"/>
                  <a:pt x="18" y="16"/>
                </a:cubicBezTo>
                <a:cubicBezTo>
                  <a:pt x="18" y="17"/>
                  <a:pt x="17" y="18"/>
                  <a:pt x="16" y="19"/>
                </a:cubicBezTo>
                <a:cubicBezTo>
                  <a:pt x="14" y="20"/>
                  <a:pt x="13" y="22"/>
                  <a:pt x="11" y="23"/>
                </a:cubicBezTo>
                <a:cubicBezTo>
                  <a:pt x="8" y="24"/>
                  <a:pt x="10" y="20"/>
                  <a:pt x="8" y="19"/>
                </a:cubicBezTo>
                <a:cubicBezTo>
                  <a:pt x="8" y="18"/>
                  <a:pt x="3" y="19"/>
                  <a:pt x="2" y="19"/>
                </a:cubicBezTo>
                <a:cubicBezTo>
                  <a:pt x="0" y="19"/>
                  <a:pt x="4" y="16"/>
                  <a:pt x="4" y="16"/>
                </a:cubicBezTo>
                <a:cubicBezTo>
                  <a:pt x="6" y="14"/>
                  <a:pt x="5" y="12"/>
                  <a:pt x="5" y="10"/>
                </a:cubicBezTo>
                <a:cubicBezTo>
                  <a:pt x="5" y="8"/>
                  <a:pt x="5" y="5"/>
                  <a:pt x="6" y="3"/>
                </a:cubicBezTo>
                <a:cubicBezTo>
                  <a:pt x="7" y="0"/>
                  <a:pt x="10" y="0"/>
                  <a:pt x="11" y="3"/>
                </a:cubicBezTo>
                <a:cubicBezTo>
                  <a:pt x="11" y="4"/>
                  <a:pt x="11" y="6"/>
                  <a:pt x="12" y="5"/>
                </a:cubicBezTo>
                <a:cubicBezTo>
                  <a:pt x="13" y="5"/>
                  <a:pt x="13" y="4"/>
                  <a:pt x="14" y="4"/>
                </a:cubicBezTo>
                <a:cubicBezTo>
                  <a:pt x="15" y="5"/>
                  <a:pt x="16" y="6"/>
                  <a:pt x="17" y="6"/>
                </a:cubicBezTo>
                <a:cubicBezTo>
                  <a:pt x="18" y="7"/>
                  <a:pt x="19" y="7"/>
                  <a:pt x="20" y="7"/>
                </a:cubicBezTo>
                <a:cubicBezTo>
                  <a:pt x="21" y="8"/>
                  <a:pt x="23" y="9"/>
                  <a:pt x="25" y="10"/>
                </a:cubicBezTo>
                <a:cubicBezTo>
                  <a:pt x="28" y="11"/>
                  <a:pt x="28" y="12"/>
                  <a:pt x="28" y="15"/>
                </a:cubicBezTo>
                <a:cubicBezTo>
                  <a:pt x="28" y="16"/>
                  <a:pt x="30" y="16"/>
                  <a:pt x="30" y="15"/>
                </a:cubicBezTo>
                <a:cubicBezTo>
                  <a:pt x="32" y="15"/>
                  <a:pt x="32" y="16"/>
                  <a:pt x="33" y="17"/>
                </a:cubicBezTo>
                <a:cubicBezTo>
                  <a:pt x="34" y="17"/>
                  <a:pt x="34" y="17"/>
                  <a:pt x="34" y="18"/>
                </a:cubicBezTo>
                <a:cubicBezTo>
                  <a:pt x="33" y="19"/>
                  <a:pt x="33" y="21"/>
                  <a:pt x="31" y="21"/>
                </a:cubicBezTo>
                <a:cubicBezTo>
                  <a:pt x="30" y="20"/>
                  <a:pt x="33" y="21"/>
                  <a:pt x="31" y="2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50" name="Freeform 545">
            <a:extLst>
              <a:ext uri="{FF2B5EF4-FFF2-40B4-BE49-F238E27FC236}">
                <a16:creationId xmlns:a16="http://schemas.microsoft.com/office/drawing/2014/main" id="{62063F6B-9A9B-6543-B03B-51E704A3837F}"/>
              </a:ext>
            </a:extLst>
          </p:cNvPr>
          <p:cNvSpPr>
            <a:spLocks/>
          </p:cNvSpPr>
          <p:nvPr/>
        </p:nvSpPr>
        <p:spPr bwMode="auto">
          <a:xfrm>
            <a:off x="3675233" y="2864126"/>
            <a:ext cx="35297" cy="26481"/>
          </a:xfrm>
          <a:custGeom>
            <a:avLst/>
            <a:gdLst>
              <a:gd name="T0" fmla="*/ 5 w 7"/>
              <a:gd name="T1" fmla="*/ 4 h 5"/>
              <a:gd name="T2" fmla="*/ 1 w 7"/>
              <a:gd name="T3" fmla="*/ 0 h 5"/>
              <a:gd name="T4" fmla="*/ 5 w 7"/>
              <a:gd name="T5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5">
                <a:moveTo>
                  <a:pt x="5" y="4"/>
                </a:moveTo>
                <a:cubicBezTo>
                  <a:pt x="3" y="5"/>
                  <a:pt x="0" y="0"/>
                  <a:pt x="1" y="0"/>
                </a:cubicBezTo>
                <a:cubicBezTo>
                  <a:pt x="2" y="1"/>
                  <a:pt x="7" y="3"/>
                  <a:pt x="5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51" name="Freeform 546">
            <a:extLst>
              <a:ext uri="{FF2B5EF4-FFF2-40B4-BE49-F238E27FC236}">
                <a16:creationId xmlns:a16="http://schemas.microsoft.com/office/drawing/2014/main" id="{D575703D-F0A8-1144-92B3-3DC6BE2B0EFE}"/>
              </a:ext>
            </a:extLst>
          </p:cNvPr>
          <p:cNvSpPr>
            <a:spLocks/>
          </p:cNvSpPr>
          <p:nvPr/>
        </p:nvSpPr>
        <p:spPr bwMode="auto">
          <a:xfrm>
            <a:off x="3664642" y="2869423"/>
            <a:ext cx="19414" cy="26481"/>
          </a:xfrm>
          <a:custGeom>
            <a:avLst/>
            <a:gdLst>
              <a:gd name="T0" fmla="*/ 3 w 4"/>
              <a:gd name="T1" fmla="*/ 4 h 5"/>
              <a:gd name="T2" fmla="*/ 0 w 4"/>
              <a:gd name="T3" fmla="*/ 1 h 5"/>
              <a:gd name="T4" fmla="*/ 3 w 4"/>
              <a:gd name="T5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" h="5">
                <a:moveTo>
                  <a:pt x="3" y="4"/>
                </a:moveTo>
                <a:cubicBezTo>
                  <a:pt x="1" y="5"/>
                  <a:pt x="0" y="2"/>
                  <a:pt x="0" y="1"/>
                </a:cubicBezTo>
                <a:cubicBezTo>
                  <a:pt x="1" y="0"/>
                  <a:pt x="4" y="3"/>
                  <a:pt x="3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52" name="Freeform 547">
            <a:extLst>
              <a:ext uri="{FF2B5EF4-FFF2-40B4-BE49-F238E27FC236}">
                <a16:creationId xmlns:a16="http://schemas.microsoft.com/office/drawing/2014/main" id="{89255CB1-A7E9-BB48-96E4-3237A51D3509}"/>
              </a:ext>
            </a:extLst>
          </p:cNvPr>
          <p:cNvSpPr>
            <a:spLocks/>
          </p:cNvSpPr>
          <p:nvPr/>
        </p:nvSpPr>
        <p:spPr bwMode="auto">
          <a:xfrm>
            <a:off x="3616991" y="2770567"/>
            <a:ext cx="15883" cy="31774"/>
          </a:xfrm>
          <a:custGeom>
            <a:avLst/>
            <a:gdLst>
              <a:gd name="T0" fmla="*/ 3 w 3"/>
              <a:gd name="T1" fmla="*/ 5 h 6"/>
              <a:gd name="T2" fmla="*/ 3 w 3"/>
              <a:gd name="T3" fmla="*/ 2 h 6"/>
              <a:gd name="T4" fmla="*/ 1 w 3"/>
              <a:gd name="T5" fmla="*/ 1 h 6"/>
              <a:gd name="T6" fmla="*/ 1 w 3"/>
              <a:gd name="T7" fmla="*/ 4 h 6"/>
              <a:gd name="T8" fmla="*/ 3 w 3"/>
              <a:gd name="T9" fmla="*/ 5 h 6"/>
              <a:gd name="T10" fmla="*/ 3 w 3"/>
              <a:gd name="T11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6">
                <a:moveTo>
                  <a:pt x="3" y="5"/>
                </a:moveTo>
                <a:cubicBezTo>
                  <a:pt x="3" y="4"/>
                  <a:pt x="3" y="3"/>
                  <a:pt x="3" y="2"/>
                </a:cubicBezTo>
                <a:cubicBezTo>
                  <a:pt x="3" y="2"/>
                  <a:pt x="1" y="0"/>
                  <a:pt x="1" y="1"/>
                </a:cubicBezTo>
                <a:cubicBezTo>
                  <a:pt x="1" y="2"/>
                  <a:pt x="0" y="4"/>
                  <a:pt x="1" y="4"/>
                </a:cubicBezTo>
                <a:cubicBezTo>
                  <a:pt x="1" y="5"/>
                  <a:pt x="2" y="6"/>
                  <a:pt x="3" y="5"/>
                </a:cubicBezTo>
                <a:cubicBezTo>
                  <a:pt x="3" y="4"/>
                  <a:pt x="2" y="6"/>
                  <a:pt x="3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53" name="Freeform 548">
            <a:extLst>
              <a:ext uri="{FF2B5EF4-FFF2-40B4-BE49-F238E27FC236}">
                <a16:creationId xmlns:a16="http://schemas.microsoft.com/office/drawing/2014/main" id="{63AEF874-8A45-5342-AF53-97CEE4AA17B4}"/>
              </a:ext>
            </a:extLst>
          </p:cNvPr>
          <p:cNvSpPr>
            <a:spLocks/>
          </p:cNvSpPr>
          <p:nvPr/>
        </p:nvSpPr>
        <p:spPr bwMode="auto">
          <a:xfrm>
            <a:off x="3539338" y="2500476"/>
            <a:ext cx="744766" cy="545478"/>
          </a:xfrm>
          <a:custGeom>
            <a:avLst/>
            <a:gdLst>
              <a:gd name="T0" fmla="*/ 63 w 144"/>
              <a:gd name="T1" fmla="*/ 86 h 105"/>
              <a:gd name="T2" fmla="*/ 81 w 144"/>
              <a:gd name="T3" fmla="*/ 76 h 105"/>
              <a:gd name="T4" fmla="*/ 91 w 144"/>
              <a:gd name="T5" fmla="*/ 67 h 105"/>
              <a:gd name="T6" fmla="*/ 103 w 144"/>
              <a:gd name="T7" fmla="*/ 68 h 105"/>
              <a:gd name="T8" fmla="*/ 87 w 144"/>
              <a:gd name="T9" fmla="*/ 66 h 105"/>
              <a:gd name="T10" fmla="*/ 80 w 144"/>
              <a:gd name="T11" fmla="*/ 48 h 105"/>
              <a:gd name="T12" fmla="*/ 67 w 144"/>
              <a:gd name="T13" fmla="*/ 49 h 105"/>
              <a:gd name="T14" fmla="*/ 64 w 144"/>
              <a:gd name="T15" fmla="*/ 40 h 105"/>
              <a:gd name="T16" fmla="*/ 54 w 144"/>
              <a:gd name="T17" fmla="*/ 32 h 105"/>
              <a:gd name="T18" fmla="*/ 53 w 144"/>
              <a:gd name="T19" fmla="*/ 38 h 105"/>
              <a:gd name="T20" fmla="*/ 52 w 144"/>
              <a:gd name="T21" fmla="*/ 39 h 105"/>
              <a:gd name="T22" fmla="*/ 37 w 144"/>
              <a:gd name="T23" fmla="*/ 38 h 105"/>
              <a:gd name="T24" fmla="*/ 5 w 144"/>
              <a:gd name="T25" fmla="*/ 32 h 105"/>
              <a:gd name="T26" fmla="*/ 8 w 144"/>
              <a:gd name="T27" fmla="*/ 26 h 105"/>
              <a:gd name="T28" fmla="*/ 16 w 144"/>
              <a:gd name="T29" fmla="*/ 2 h 105"/>
              <a:gd name="T30" fmla="*/ 18 w 144"/>
              <a:gd name="T31" fmla="*/ 18 h 105"/>
              <a:gd name="T32" fmla="*/ 26 w 144"/>
              <a:gd name="T33" fmla="*/ 29 h 105"/>
              <a:gd name="T34" fmla="*/ 20 w 144"/>
              <a:gd name="T35" fmla="*/ 19 h 105"/>
              <a:gd name="T36" fmla="*/ 22 w 144"/>
              <a:gd name="T37" fmla="*/ 13 h 105"/>
              <a:gd name="T38" fmla="*/ 25 w 144"/>
              <a:gd name="T39" fmla="*/ 7 h 105"/>
              <a:gd name="T40" fmla="*/ 34 w 144"/>
              <a:gd name="T41" fmla="*/ 3 h 105"/>
              <a:gd name="T42" fmla="*/ 43 w 144"/>
              <a:gd name="T43" fmla="*/ 16 h 105"/>
              <a:gd name="T44" fmla="*/ 52 w 144"/>
              <a:gd name="T45" fmla="*/ 16 h 105"/>
              <a:gd name="T46" fmla="*/ 54 w 144"/>
              <a:gd name="T47" fmla="*/ 15 h 105"/>
              <a:gd name="T48" fmla="*/ 66 w 144"/>
              <a:gd name="T49" fmla="*/ 13 h 105"/>
              <a:gd name="T50" fmla="*/ 70 w 144"/>
              <a:gd name="T51" fmla="*/ 21 h 105"/>
              <a:gd name="T52" fmla="*/ 76 w 144"/>
              <a:gd name="T53" fmla="*/ 22 h 105"/>
              <a:gd name="T54" fmla="*/ 81 w 144"/>
              <a:gd name="T55" fmla="*/ 23 h 105"/>
              <a:gd name="T56" fmla="*/ 86 w 144"/>
              <a:gd name="T57" fmla="*/ 23 h 105"/>
              <a:gd name="T58" fmla="*/ 92 w 144"/>
              <a:gd name="T59" fmla="*/ 28 h 105"/>
              <a:gd name="T60" fmla="*/ 94 w 144"/>
              <a:gd name="T61" fmla="*/ 31 h 105"/>
              <a:gd name="T62" fmla="*/ 100 w 144"/>
              <a:gd name="T63" fmla="*/ 29 h 105"/>
              <a:gd name="T64" fmla="*/ 99 w 144"/>
              <a:gd name="T65" fmla="*/ 38 h 105"/>
              <a:gd name="T66" fmla="*/ 104 w 144"/>
              <a:gd name="T67" fmla="*/ 38 h 105"/>
              <a:gd name="T68" fmla="*/ 109 w 144"/>
              <a:gd name="T69" fmla="*/ 40 h 105"/>
              <a:gd name="T70" fmla="*/ 106 w 144"/>
              <a:gd name="T71" fmla="*/ 45 h 105"/>
              <a:gd name="T72" fmla="*/ 118 w 144"/>
              <a:gd name="T73" fmla="*/ 54 h 105"/>
              <a:gd name="T74" fmla="*/ 124 w 144"/>
              <a:gd name="T75" fmla="*/ 55 h 105"/>
              <a:gd name="T76" fmla="*/ 128 w 144"/>
              <a:gd name="T77" fmla="*/ 60 h 105"/>
              <a:gd name="T78" fmla="*/ 141 w 144"/>
              <a:gd name="T79" fmla="*/ 64 h 105"/>
              <a:gd name="T80" fmla="*/ 139 w 144"/>
              <a:gd name="T81" fmla="*/ 69 h 105"/>
              <a:gd name="T82" fmla="*/ 133 w 144"/>
              <a:gd name="T83" fmla="*/ 73 h 105"/>
              <a:gd name="T84" fmla="*/ 128 w 144"/>
              <a:gd name="T85" fmla="*/ 77 h 105"/>
              <a:gd name="T86" fmla="*/ 125 w 144"/>
              <a:gd name="T87" fmla="*/ 74 h 105"/>
              <a:gd name="T88" fmla="*/ 120 w 144"/>
              <a:gd name="T89" fmla="*/ 72 h 105"/>
              <a:gd name="T90" fmla="*/ 113 w 144"/>
              <a:gd name="T91" fmla="*/ 67 h 105"/>
              <a:gd name="T92" fmla="*/ 108 w 144"/>
              <a:gd name="T93" fmla="*/ 70 h 105"/>
              <a:gd name="T94" fmla="*/ 118 w 144"/>
              <a:gd name="T95" fmla="*/ 80 h 105"/>
              <a:gd name="T96" fmla="*/ 123 w 144"/>
              <a:gd name="T97" fmla="*/ 82 h 105"/>
              <a:gd name="T98" fmla="*/ 128 w 144"/>
              <a:gd name="T99" fmla="*/ 93 h 105"/>
              <a:gd name="T100" fmla="*/ 126 w 144"/>
              <a:gd name="T101" fmla="*/ 95 h 105"/>
              <a:gd name="T102" fmla="*/ 118 w 144"/>
              <a:gd name="T103" fmla="*/ 96 h 105"/>
              <a:gd name="T104" fmla="*/ 110 w 144"/>
              <a:gd name="T105" fmla="*/ 93 h 105"/>
              <a:gd name="T106" fmla="*/ 109 w 144"/>
              <a:gd name="T107" fmla="*/ 94 h 105"/>
              <a:gd name="T108" fmla="*/ 103 w 144"/>
              <a:gd name="T109" fmla="*/ 99 h 105"/>
              <a:gd name="T110" fmla="*/ 91 w 144"/>
              <a:gd name="T111" fmla="*/ 90 h 105"/>
              <a:gd name="T112" fmla="*/ 77 w 144"/>
              <a:gd name="T113" fmla="*/ 83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44" h="105">
                <a:moveTo>
                  <a:pt x="77" y="83"/>
                </a:moveTo>
                <a:cubicBezTo>
                  <a:pt x="76" y="86"/>
                  <a:pt x="74" y="83"/>
                  <a:pt x="71" y="84"/>
                </a:cubicBezTo>
                <a:cubicBezTo>
                  <a:pt x="70" y="84"/>
                  <a:pt x="69" y="85"/>
                  <a:pt x="68" y="86"/>
                </a:cubicBezTo>
                <a:cubicBezTo>
                  <a:pt x="66" y="87"/>
                  <a:pt x="65" y="86"/>
                  <a:pt x="63" y="86"/>
                </a:cubicBezTo>
                <a:cubicBezTo>
                  <a:pt x="60" y="85"/>
                  <a:pt x="56" y="83"/>
                  <a:pt x="60" y="80"/>
                </a:cubicBezTo>
                <a:cubicBezTo>
                  <a:pt x="62" y="78"/>
                  <a:pt x="62" y="76"/>
                  <a:pt x="65" y="76"/>
                </a:cubicBezTo>
                <a:cubicBezTo>
                  <a:pt x="68" y="77"/>
                  <a:pt x="71" y="78"/>
                  <a:pt x="75" y="77"/>
                </a:cubicBezTo>
                <a:cubicBezTo>
                  <a:pt x="77" y="77"/>
                  <a:pt x="79" y="76"/>
                  <a:pt x="81" y="76"/>
                </a:cubicBezTo>
                <a:cubicBezTo>
                  <a:pt x="82" y="76"/>
                  <a:pt x="81" y="75"/>
                  <a:pt x="81" y="74"/>
                </a:cubicBezTo>
                <a:cubicBezTo>
                  <a:pt x="78" y="72"/>
                  <a:pt x="77" y="71"/>
                  <a:pt x="80" y="69"/>
                </a:cubicBezTo>
                <a:cubicBezTo>
                  <a:pt x="82" y="66"/>
                  <a:pt x="84" y="66"/>
                  <a:pt x="87" y="66"/>
                </a:cubicBezTo>
                <a:cubicBezTo>
                  <a:pt x="88" y="66"/>
                  <a:pt x="90" y="66"/>
                  <a:pt x="91" y="67"/>
                </a:cubicBezTo>
                <a:cubicBezTo>
                  <a:pt x="93" y="68"/>
                  <a:pt x="93" y="69"/>
                  <a:pt x="93" y="71"/>
                </a:cubicBezTo>
                <a:cubicBezTo>
                  <a:pt x="94" y="73"/>
                  <a:pt x="95" y="70"/>
                  <a:pt x="96" y="70"/>
                </a:cubicBezTo>
                <a:cubicBezTo>
                  <a:pt x="96" y="69"/>
                  <a:pt x="99" y="70"/>
                  <a:pt x="99" y="70"/>
                </a:cubicBezTo>
                <a:cubicBezTo>
                  <a:pt x="100" y="70"/>
                  <a:pt x="103" y="70"/>
                  <a:pt x="103" y="68"/>
                </a:cubicBezTo>
                <a:cubicBezTo>
                  <a:pt x="103" y="67"/>
                  <a:pt x="100" y="66"/>
                  <a:pt x="99" y="66"/>
                </a:cubicBezTo>
                <a:cubicBezTo>
                  <a:pt x="97" y="65"/>
                  <a:pt x="96" y="64"/>
                  <a:pt x="95" y="63"/>
                </a:cubicBezTo>
                <a:cubicBezTo>
                  <a:pt x="94" y="63"/>
                  <a:pt x="93" y="65"/>
                  <a:pt x="93" y="66"/>
                </a:cubicBezTo>
                <a:cubicBezTo>
                  <a:pt x="92" y="67"/>
                  <a:pt x="88" y="66"/>
                  <a:pt x="87" y="66"/>
                </a:cubicBezTo>
                <a:cubicBezTo>
                  <a:pt x="81" y="65"/>
                  <a:pt x="89" y="63"/>
                  <a:pt x="88" y="61"/>
                </a:cubicBezTo>
                <a:cubicBezTo>
                  <a:pt x="87" y="58"/>
                  <a:pt x="86" y="54"/>
                  <a:pt x="84" y="52"/>
                </a:cubicBezTo>
                <a:cubicBezTo>
                  <a:pt x="83" y="52"/>
                  <a:pt x="81" y="53"/>
                  <a:pt x="81" y="52"/>
                </a:cubicBezTo>
                <a:cubicBezTo>
                  <a:pt x="81" y="51"/>
                  <a:pt x="81" y="49"/>
                  <a:pt x="80" y="48"/>
                </a:cubicBezTo>
                <a:cubicBezTo>
                  <a:pt x="79" y="47"/>
                  <a:pt x="78" y="53"/>
                  <a:pt x="79" y="53"/>
                </a:cubicBezTo>
                <a:cubicBezTo>
                  <a:pt x="78" y="53"/>
                  <a:pt x="75" y="46"/>
                  <a:pt x="75" y="46"/>
                </a:cubicBezTo>
                <a:cubicBezTo>
                  <a:pt x="73" y="46"/>
                  <a:pt x="72" y="47"/>
                  <a:pt x="71" y="48"/>
                </a:cubicBezTo>
                <a:cubicBezTo>
                  <a:pt x="70" y="48"/>
                  <a:pt x="67" y="50"/>
                  <a:pt x="67" y="49"/>
                </a:cubicBezTo>
                <a:cubicBezTo>
                  <a:pt x="67" y="46"/>
                  <a:pt x="66" y="46"/>
                  <a:pt x="69" y="46"/>
                </a:cubicBezTo>
                <a:cubicBezTo>
                  <a:pt x="70" y="46"/>
                  <a:pt x="71" y="45"/>
                  <a:pt x="71" y="44"/>
                </a:cubicBezTo>
                <a:cubicBezTo>
                  <a:pt x="72" y="43"/>
                  <a:pt x="69" y="43"/>
                  <a:pt x="69" y="43"/>
                </a:cubicBezTo>
                <a:cubicBezTo>
                  <a:pt x="68" y="42"/>
                  <a:pt x="64" y="40"/>
                  <a:pt x="64" y="40"/>
                </a:cubicBezTo>
                <a:cubicBezTo>
                  <a:pt x="64" y="37"/>
                  <a:pt x="63" y="39"/>
                  <a:pt x="62" y="39"/>
                </a:cubicBezTo>
                <a:cubicBezTo>
                  <a:pt x="61" y="39"/>
                  <a:pt x="62" y="34"/>
                  <a:pt x="60" y="35"/>
                </a:cubicBezTo>
                <a:cubicBezTo>
                  <a:pt x="59" y="35"/>
                  <a:pt x="59" y="36"/>
                  <a:pt x="57" y="34"/>
                </a:cubicBezTo>
                <a:cubicBezTo>
                  <a:pt x="56" y="34"/>
                  <a:pt x="55" y="32"/>
                  <a:pt x="54" y="32"/>
                </a:cubicBezTo>
                <a:cubicBezTo>
                  <a:pt x="54" y="32"/>
                  <a:pt x="55" y="33"/>
                  <a:pt x="55" y="33"/>
                </a:cubicBezTo>
                <a:cubicBezTo>
                  <a:pt x="55" y="33"/>
                  <a:pt x="52" y="33"/>
                  <a:pt x="52" y="34"/>
                </a:cubicBezTo>
                <a:cubicBezTo>
                  <a:pt x="53" y="35"/>
                  <a:pt x="55" y="34"/>
                  <a:pt x="56" y="36"/>
                </a:cubicBezTo>
                <a:cubicBezTo>
                  <a:pt x="56" y="38"/>
                  <a:pt x="54" y="38"/>
                  <a:pt x="53" y="38"/>
                </a:cubicBezTo>
                <a:cubicBezTo>
                  <a:pt x="51" y="39"/>
                  <a:pt x="46" y="35"/>
                  <a:pt x="44" y="37"/>
                </a:cubicBezTo>
                <a:cubicBezTo>
                  <a:pt x="43" y="37"/>
                  <a:pt x="45" y="38"/>
                  <a:pt x="46" y="39"/>
                </a:cubicBezTo>
                <a:cubicBezTo>
                  <a:pt x="46" y="40"/>
                  <a:pt x="47" y="39"/>
                  <a:pt x="48" y="39"/>
                </a:cubicBezTo>
                <a:cubicBezTo>
                  <a:pt x="49" y="39"/>
                  <a:pt x="52" y="38"/>
                  <a:pt x="52" y="39"/>
                </a:cubicBezTo>
                <a:cubicBezTo>
                  <a:pt x="52" y="40"/>
                  <a:pt x="51" y="41"/>
                  <a:pt x="50" y="42"/>
                </a:cubicBezTo>
                <a:cubicBezTo>
                  <a:pt x="50" y="42"/>
                  <a:pt x="39" y="35"/>
                  <a:pt x="37" y="36"/>
                </a:cubicBezTo>
                <a:cubicBezTo>
                  <a:pt x="38" y="36"/>
                  <a:pt x="39" y="37"/>
                  <a:pt x="40" y="37"/>
                </a:cubicBezTo>
                <a:cubicBezTo>
                  <a:pt x="42" y="39"/>
                  <a:pt x="37" y="38"/>
                  <a:pt x="37" y="38"/>
                </a:cubicBezTo>
                <a:cubicBezTo>
                  <a:pt x="34" y="36"/>
                  <a:pt x="30" y="38"/>
                  <a:pt x="27" y="37"/>
                </a:cubicBezTo>
                <a:cubicBezTo>
                  <a:pt x="23" y="36"/>
                  <a:pt x="20" y="37"/>
                  <a:pt x="17" y="34"/>
                </a:cubicBezTo>
                <a:cubicBezTo>
                  <a:pt x="14" y="32"/>
                  <a:pt x="12" y="35"/>
                  <a:pt x="9" y="34"/>
                </a:cubicBezTo>
                <a:cubicBezTo>
                  <a:pt x="8" y="33"/>
                  <a:pt x="6" y="33"/>
                  <a:pt x="5" y="32"/>
                </a:cubicBezTo>
                <a:cubicBezTo>
                  <a:pt x="5" y="31"/>
                  <a:pt x="2" y="28"/>
                  <a:pt x="4" y="28"/>
                </a:cubicBezTo>
                <a:cubicBezTo>
                  <a:pt x="7" y="28"/>
                  <a:pt x="11" y="31"/>
                  <a:pt x="14" y="29"/>
                </a:cubicBezTo>
                <a:cubicBezTo>
                  <a:pt x="15" y="28"/>
                  <a:pt x="13" y="27"/>
                  <a:pt x="13" y="27"/>
                </a:cubicBezTo>
                <a:cubicBezTo>
                  <a:pt x="11" y="26"/>
                  <a:pt x="9" y="26"/>
                  <a:pt x="8" y="26"/>
                </a:cubicBezTo>
                <a:cubicBezTo>
                  <a:pt x="5" y="26"/>
                  <a:pt x="0" y="26"/>
                  <a:pt x="0" y="23"/>
                </a:cubicBezTo>
                <a:cubicBezTo>
                  <a:pt x="0" y="19"/>
                  <a:pt x="0" y="16"/>
                  <a:pt x="2" y="12"/>
                </a:cubicBezTo>
                <a:cubicBezTo>
                  <a:pt x="3" y="9"/>
                  <a:pt x="6" y="7"/>
                  <a:pt x="9" y="5"/>
                </a:cubicBezTo>
                <a:cubicBezTo>
                  <a:pt x="11" y="3"/>
                  <a:pt x="13" y="3"/>
                  <a:pt x="16" y="2"/>
                </a:cubicBezTo>
                <a:cubicBezTo>
                  <a:pt x="18" y="2"/>
                  <a:pt x="24" y="0"/>
                  <a:pt x="25" y="3"/>
                </a:cubicBezTo>
                <a:cubicBezTo>
                  <a:pt x="25" y="2"/>
                  <a:pt x="20" y="7"/>
                  <a:pt x="19" y="7"/>
                </a:cubicBezTo>
                <a:cubicBezTo>
                  <a:pt x="17" y="9"/>
                  <a:pt x="15" y="11"/>
                  <a:pt x="17" y="13"/>
                </a:cubicBezTo>
                <a:cubicBezTo>
                  <a:pt x="19" y="15"/>
                  <a:pt x="17" y="16"/>
                  <a:pt x="18" y="18"/>
                </a:cubicBezTo>
                <a:cubicBezTo>
                  <a:pt x="18" y="20"/>
                  <a:pt x="20" y="21"/>
                  <a:pt x="21" y="22"/>
                </a:cubicBezTo>
                <a:cubicBezTo>
                  <a:pt x="22" y="23"/>
                  <a:pt x="24" y="24"/>
                  <a:pt x="25" y="25"/>
                </a:cubicBezTo>
                <a:cubicBezTo>
                  <a:pt x="26" y="26"/>
                  <a:pt x="22" y="26"/>
                  <a:pt x="22" y="27"/>
                </a:cubicBezTo>
                <a:cubicBezTo>
                  <a:pt x="22" y="26"/>
                  <a:pt x="26" y="29"/>
                  <a:pt x="26" y="29"/>
                </a:cubicBezTo>
                <a:cubicBezTo>
                  <a:pt x="27" y="28"/>
                  <a:pt x="26" y="26"/>
                  <a:pt x="26" y="25"/>
                </a:cubicBezTo>
                <a:cubicBezTo>
                  <a:pt x="26" y="25"/>
                  <a:pt x="28" y="24"/>
                  <a:pt x="27" y="23"/>
                </a:cubicBezTo>
                <a:cubicBezTo>
                  <a:pt x="26" y="22"/>
                  <a:pt x="22" y="21"/>
                  <a:pt x="21" y="20"/>
                </a:cubicBezTo>
                <a:cubicBezTo>
                  <a:pt x="20" y="20"/>
                  <a:pt x="19" y="19"/>
                  <a:pt x="20" y="19"/>
                </a:cubicBezTo>
                <a:cubicBezTo>
                  <a:pt x="22" y="19"/>
                  <a:pt x="22" y="18"/>
                  <a:pt x="23" y="17"/>
                </a:cubicBezTo>
                <a:cubicBezTo>
                  <a:pt x="25" y="16"/>
                  <a:pt x="28" y="18"/>
                  <a:pt x="29" y="19"/>
                </a:cubicBezTo>
                <a:cubicBezTo>
                  <a:pt x="28" y="18"/>
                  <a:pt x="27" y="17"/>
                  <a:pt x="27" y="16"/>
                </a:cubicBezTo>
                <a:cubicBezTo>
                  <a:pt x="27" y="14"/>
                  <a:pt x="22" y="15"/>
                  <a:pt x="22" y="13"/>
                </a:cubicBezTo>
                <a:cubicBezTo>
                  <a:pt x="20" y="7"/>
                  <a:pt x="29" y="12"/>
                  <a:pt x="29" y="12"/>
                </a:cubicBezTo>
                <a:cubicBezTo>
                  <a:pt x="29" y="11"/>
                  <a:pt x="23" y="9"/>
                  <a:pt x="23" y="9"/>
                </a:cubicBezTo>
                <a:cubicBezTo>
                  <a:pt x="23" y="8"/>
                  <a:pt x="28" y="9"/>
                  <a:pt x="28" y="9"/>
                </a:cubicBezTo>
                <a:cubicBezTo>
                  <a:pt x="28" y="8"/>
                  <a:pt x="25" y="7"/>
                  <a:pt x="25" y="7"/>
                </a:cubicBezTo>
                <a:cubicBezTo>
                  <a:pt x="24" y="6"/>
                  <a:pt x="25" y="6"/>
                  <a:pt x="26" y="6"/>
                </a:cubicBezTo>
                <a:cubicBezTo>
                  <a:pt x="27" y="7"/>
                  <a:pt x="27" y="6"/>
                  <a:pt x="28" y="6"/>
                </a:cubicBezTo>
                <a:cubicBezTo>
                  <a:pt x="30" y="5"/>
                  <a:pt x="30" y="6"/>
                  <a:pt x="32" y="6"/>
                </a:cubicBezTo>
                <a:cubicBezTo>
                  <a:pt x="29" y="5"/>
                  <a:pt x="33" y="3"/>
                  <a:pt x="34" y="3"/>
                </a:cubicBezTo>
                <a:cubicBezTo>
                  <a:pt x="36" y="2"/>
                  <a:pt x="42" y="2"/>
                  <a:pt x="43" y="4"/>
                </a:cubicBezTo>
                <a:cubicBezTo>
                  <a:pt x="44" y="5"/>
                  <a:pt x="44" y="6"/>
                  <a:pt x="44" y="7"/>
                </a:cubicBezTo>
                <a:cubicBezTo>
                  <a:pt x="45" y="8"/>
                  <a:pt x="46" y="9"/>
                  <a:pt x="47" y="10"/>
                </a:cubicBezTo>
                <a:cubicBezTo>
                  <a:pt x="48" y="12"/>
                  <a:pt x="43" y="16"/>
                  <a:pt x="43" y="16"/>
                </a:cubicBezTo>
                <a:cubicBezTo>
                  <a:pt x="44" y="17"/>
                  <a:pt x="46" y="14"/>
                  <a:pt x="47" y="14"/>
                </a:cubicBezTo>
                <a:cubicBezTo>
                  <a:pt x="47" y="14"/>
                  <a:pt x="45" y="20"/>
                  <a:pt x="46" y="19"/>
                </a:cubicBezTo>
                <a:cubicBezTo>
                  <a:pt x="47" y="19"/>
                  <a:pt x="47" y="17"/>
                  <a:pt x="48" y="17"/>
                </a:cubicBezTo>
                <a:cubicBezTo>
                  <a:pt x="50" y="17"/>
                  <a:pt x="50" y="18"/>
                  <a:pt x="52" y="16"/>
                </a:cubicBezTo>
                <a:cubicBezTo>
                  <a:pt x="53" y="15"/>
                  <a:pt x="53" y="16"/>
                  <a:pt x="54" y="17"/>
                </a:cubicBezTo>
                <a:cubicBezTo>
                  <a:pt x="55" y="18"/>
                  <a:pt x="54" y="18"/>
                  <a:pt x="54" y="19"/>
                </a:cubicBezTo>
                <a:cubicBezTo>
                  <a:pt x="54" y="20"/>
                  <a:pt x="59" y="21"/>
                  <a:pt x="60" y="21"/>
                </a:cubicBezTo>
                <a:cubicBezTo>
                  <a:pt x="60" y="21"/>
                  <a:pt x="55" y="16"/>
                  <a:pt x="54" y="15"/>
                </a:cubicBezTo>
                <a:cubicBezTo>
                  <a:pt x="54" y="15"/>
                  <a:pt x="63" y="18"/>
                  <a:pt x="63" y="17"/>
                </a:cubicBezTo>
                <a:cubicBezTo>
                  <a:pt x="63" y="17"/>
                  <a:pt x="57" y="16"/>
                  <a:pt x="57" y="14"/>
                </a:cubicBezTo>
                <a:cubicBezTo>
                  <a:pt x="57" y="13"/>
                  <a:pt x="60" y="12"/>
                  <a:pt x="61" y="12"/>
                </a:cubicBezTo>
                <a:cubicBezTo>
                  <a:pt x="63" y="11"/>
                  <a:pt x="64" y="12"/>
                  <a:pt x="66" y="13"/>
                </a:cubicBezTo>
                <a:cubicBezTo>
                  <a:pt x="69" y="14"/>
                  <a:pt x="73" y="13"/>
                  <a:pt x="74" y="17"/>
                </a:cubicBezTo>
                <a:cubicBezTo>
                  <a:pt x="74" y="17"/>
                  <a:pt x="67" y="17"/>
                  <a:pt x="68" y="20"/>
                </a:cubicBezTo>
                <a:cubicBezTo>
                  <a:pt x="68" y="19"/>
                  <a:pt x="71" y="18"/>
                  <a:pt x="71" y="18"/>
                </a:cubicBezTo>
                <a:cubicBezTo>
                  <a:pt x="73" y="18"/>
                  <a:pt x="70" y="20"/>
                  <a:pt x="70" y="21"/>
                </a:cubicBezTo>
                <a:cubicBezTo>
                  <a:pt x="70" y="21"/>
                  <a:pt x="73" y="19"/>
                  <a:pt x="73" y="19"/>
                </a:cubicBezTo>
                <a:cubicBezTo>
                  <a:pt x="73" y="18"/>
                  <a:pt x="77" y="18"/>
                  <a:pt x="78" y="19"/>
                </a:cubicBezTo>
                <a:cubicBezTo>
                  <a:pt x="82" y="19"/>
                  <a:pt x="73" y="22"/>
                  <a:pt x="74" y="23"/>
                </a:cubicBezTo>
                <a:cubicBezTo>
                  <a:pt x="74" y="23"/>
                  <a:pt x="76" y="21"/>
                  <a:pt x="76" y="22"/>
                </a:cubicBezTo>
                <a:cubicBezTo>
                  <a:pt x="76" y="23"/>
                  <a:pt x="74" y="25"/>
                  <a:pt x="75" y="26"/>
                </a:cubicBezTo>
                <a:cubicBezTo>
                  <a:pt x="74" y="25"/>
                  <a:pt x="78" y="21"/>
                  <a:pt x="79" y="22"/>
                </a:cubicBezTo>
                <a:cubicBezTo>
                  <a:pt x="79" y="24"/>
                  <a:pt x="78" y="26"/>
                  <a:pt x="79" y="27"/>
                </a:cubicBezTo>
                <a:cubicBezTo>
                  <a:pt x="79" y="27"/>
                  <a:pt x="79" y="23"/>
                  <a:pt x="81" y="23"/>
                </a:cubicBezTo>
                <a:cubicBezTo>
                  <a:pt x="83" y="24"/>
                  <a:pt x="80" y="27"/>
                  <a:pt x="81" y="28"/>
                </a:cubicBezTo>
                <a:cubicBezTo>
                  <a:pt x="81" y="28"/>
                  <a:pt x="82" y="25"/>
                  <a:pt x="83" y="25"/>
                </a:cubicBezTo>
                <a:cubicBezTo>
                  <a:pt x="83" y="25"/>
                  <a:pt x="82" y="28"/>
                  <a:pt x="83" y="28"/>
                </a:cubicBezTo>
                <a:cubicBezTo>
                  <a:pt x="82" y="28"/>
                  <a:pt x="85" y="24"/>
                  <a:pt x="86" y="23"/>
                </a:cubicBezTo>
                <a:cubicBezTo>
                  <a:pt x="87" y="22"/>
                  <a:pt x="90" y="23"/>
                  <a:pt x="91" y="24"/>
                </a:cubicBezTo>
                <a:cubicBezTo>
                  <a:pt x="93" y="25"/>
                  <a:pt x="94" y="27"/>
                  <a:pt x="91" y="27"/>
                </a:cubicBezTo>
                <a:cubicBezTo>
                  <a:pt x="90" y="27"/>
                  <a:pt x="86" y="27"/>
                  <a:pt x="86" y="30"/>
                </a:cubicBezTo>
                <a:cubicBezTo>
                  <a:pt x="86" y="29"/>
                  <a:pt x="92" y="27"/>
                  <a:pt x="92" y="28"/>
                </a:cubicBezTo>
                <a:cubicBezTo>
                  <a:pt x="92" y="28"/>
                  <a:pt x="88" y="30"/>
                  <a:pt x="88" y="31"/>
                </a:cubicBezTo>
                <a:cubicBezTo>
                  <a:pt x="88" y="30"/>
                  <a:pt x="92" y="30"/>
                  <a:pt x="92" y="30"/>
                </a:cubicBezTo>
                <a:cubicBezTo>
                  <a:pt x="93" y="29"/>
                  <a:pt x="95" y="26"/>
                  <a:pt x="96" y="27"/>
                </a:cubicBezTo>
                <a:cubicBezTo>
                  <a:pt x="97" y="29"/>
                  <a:pt x="96" y="31"/>
                  <a:pt x="94" y="31"/>
                </a:cubicBezTo>
                <a:cubicBezTo>
                  <a:pt x="93" y="32"/>
                  <a:pt x="92" y="33"/>
                  <a:pt x="91" y="34"/>
                </a:cubicBezTo>
                <a:cubicBezTo>
                  <a:pt x="91" y="34"/>
                  <a:pt x="93" y="32"/>
                  <a:pt x="94" y="32"/>
                </a:cubicBezTo>
                <a:cubicBezTo>
                  <a:pt x="94" y="32"/>
                  <a:pt x="93" y="36"/>
                  <a:pt x="93" y="36"/>
                </a:cubicBezTo>
                <a:cubicBezTo>
                  <a:pt x="92" y="34"/>
                  <a:pt x="99" y="27"/>
                  <a:pt x="100" y="29"/>
                </a:cubicBezTo>
                <a:cubicBezTo>
                  <a:pt x="101" y="30"/>
                  <a:pt x="99" y="31"/>
                  <a:pt x="98" y="31"/>
                </a:cubicBezTo>
                <a:cubicBezTo>
                  <a:pt x="99" y="31"/>
                  <a:pt x="102" y="31"/>
                  <a:pt x="103" y="31"/>
                </a:cubicBezTo>
                <a:cubicBezTo>
                  <a:pt x="104" y="31"/>
                  <a:pt x="106" y="31"/>
                  <a:pt x="107" y="32"/>
                </a:cubicBezTo>
                <a:cubicBezTo>
                  <a:pt x="108" y="35"/>
                  <a:pt x="98" y="35"/>
                  <a:pt x="99" y="38"/>
                </a:cubicBezTo>
                <a:cubicBezTo>
                  <a:pt x="99" y="38"/>
                  <a:pt x="102" y="35"/>
                  <a:pt x="103" y="35"/>
                </a:cubicBezTo>
                <a:cubicBezTo>
                  <a:pt x="104" y="35"/>
                  <a:pt x="106" y="35"/>
                  <a:pt x="106" y="36"/>
                </a:cubicBezTo>
                <a:cubicBezTo>
                  <a:pt x="107" y="37"/>
                  <a:pt x="101" y="39"/>
                  <a:pt x="101" y="39"/>
                </a:cubicBezTo>
                <a:cubicBezTo>
                  <a:pt x="101" y="39"/>
                  <a:pt x="104" y="38"/>
                  <a:pt x="104" y="38"/>
                </a:cubicBezTo>
                <a:cubicBezTo>
                  <a:pt x="105" y="38"/>
                  <a:pt x="107" y="37"/>
                  <a:pt x="108" y="36"/>
                </a:cubicBezTo>
                <a:cubicBezTo>
                  <a:pt x="109" y="36"/>
                  <a:pt x="108" y="35"/>
                  <a:pt x="109" y="34"/>
                </a:cubicBezTo>
                <a:cubicBezTo>
                  <a:pt x="110" y="34"/>
                  <a:pt x="112" y="36"/>
                  <a:pt x="112" y="37"/>
                </a:cubicBezTo>
                <a:cubicBezTo>
                  <a:pt x="116" y="40"/>
                  <a:pt x="112" y="39"/>
                  <a:pt x="109" y="40"/>
                </a:cubicBezTo>
                <a:cubicBezTo>
                  <a:pt x="109" y="40"/>
                  <a:pt x="102" y="42"/>
                  <a:pt x="102" y="41"/>
                </a:cubicBezTo>
                <a:cubicBezTo>
                  <a:pt x="102" y="42"/>
                  <a:pt x="118" y="42"/>
                  <a:pt x="117" y="44"/>
                </a:cubicBezTo>
                <a:cubicBezTo>
                  <a:pt x="116" y="45"/>
                  <a:pt x="111" y="45"/>
                  <a:pt x="110" y="44"/>
                </a:cubicBezTo>
                <a:cubicBezTo>
                  <a:pt x="110" y="44"/>
                  <a:pt x="106" y="45"/>
                  <a:pt x="106" y="45"/>
                </a:cubicBezTo>
                <a:cubicBezTo>
                  <a:pt x="107" y="46"/>
                  <a:pt x="110" y="45"/>
                  <a:pt x="110" y="46"/>
                </a:cubicBezTo>
                <a:cubicBezTo>
                  <a:pt x="111" y="46"/>
                  <a:pt x="107" y="47"/>
                  <a:pt x="107" y="48"/>
                </a:cubicBezTo>
                <a:cubicBezTo>
                  <a:pt x="107" y="50"/>
                  <a:pt x="111" y="51"/>
                  <a:pt x="112" y="51"/>
                </a:cubicBezTo>
                <a:cubicBezTo>
                  <a:pt x="114" y="52"/>
                  <a:pt x="117" y="52"/>
                  <a:pt x="118" y="54"/>
                </a:cubicBezTo>
                <a:cubicBezTo>
                  <a:pt x="119" y="55"/>
                  <a:pt x="119" y="56"/>
                  <a:pt x="120" y="56"/>
                </a:cubicBezTo>
                <a:cubicBezTo>
                  <a:pt x="120" y="56"/>
                  <a:pt x="122" y="55"/>
                  <a:pt x="122" y="55"/>
                </a:cubicBezTo>
                <a:cubicBezTo>
                  <a:pt x="122" y="55"/>
                  <a:pt x="122" y="57"/>
                  <a:pt x="123" y="57"/>
                </a:cubicBezTo>
                <a:cubicBezTo>
                  <a:pt x="123" y="57"/>
                  <a:pt x="123" y="55"/>
                  <a:pt x="124" y="55"/>
                </a:cubicBezTo>
                <a:cubicBezTo>
                  <a:pt x="124" y="55"/>
                  <a:pt x="124" y="57"/>
                  <a:pt x="124" y="57"/>
                </a:cubicBezTo>
                <a:cubicBezTo>
                  <a:pt x="124" y="58"/>
                  <a:pt x="126" y="57"/>
                  <a:pt x="127" y="57"/>
                </a:cubicBezTo>
                <a:cubicBezTo>
                  <a:pt x="127" y="57"/>
                  <a:pt x="129" y="58"/>
                  <a:pt x="129" y="59"/>
                </a:cubicBezTo>
                <a:cubicBezTo>
                  <a:pt x="129" y="60"/>
                  <a:pt x="128" y="59"/>
                  <a:pt x="128" y="60"/>
                </a:cubicBezTo>
                <a:cubicBezTo>
                  <a:pt x="129" y="59"/>
                  <a:pt x="138" y="62"/>
                  <a:pt x="138" y="62"/>
                </a:cubicBezTo>
                <a:cubicBezTo>
                  <a:pt x="137" y="63"/>
                  <a:pt x="137" y="63"/>
                  <a:pt x="137" y="63"/>
                </a:cubicBezTo>
                <a:cubicBezTo>
                  <a:pt x="137" y="64"/>
                  <a:pt x="139" y="63"/>
                  <a:pt x="139" y="63"/>
                </a:cubicBezTo>
                <a:cubicBezTo>
                  <a:pt x="140" y="62"/>
                  <a:pt x="140" y="63"/>
                  <a:pt x="141" y="64"/>
                </a:cubicBezTo>
                <a:cubicBezTo>
                  <a:pt x="142" y="64"/>
                  <a:pt x="144" y="66"/>
                  <a:pt x="143" y="67"/>
                </a:cubicBezTo>
                <a:cubicBezTo>
                  <a:pt x="143" y="67"/>
                  <a:pt x="141" y="67"/>
                  <a:pt x="141" y="67"/>
                </a:cubicBezTo>
                <a:cubicBezTo>
                  <a:pt x="141" y="68"/>
                  <a:pt x="143" y="68"/>
                  <a:pt x="142" y="69"/>
                </a:cubicBezTo>
                <a:cubicBezTo>
                  <a:pt x="142" y="69"/>
                  <a:pt x="139" y="69"/>
                  <a:pt x="139" y="69"/>
                </a:cubicBezTo>
                <a:cubicBezTo>
                  <a:pt x="137" y="70"/>
                  <a:pt x="139" y="70"/>
                  <a:pt x="139" y="71"/>
                </a:cubicBezTo>
                <a:cubicBezTo>
                  <a:pt x="140" y="73"/>
                  <a:pt x="136" y="71"/>
                  <a:pt x="135" y="71"/>
                </a:cubicBezTo>
                <a:cubicBezTo>
                  <a:pt x="136" y="72"/>
                  <a:pt x="138" y="73"/>
                  <a:pt x="137" y="74"/>
                </a:cubicBezTo>
                <a:cubicBezTo>
                  <a:pt x="136" y="74"/>
                  <a:pt x="132" y="74"/>
                  <a:pt x="133" y="73"/>
                </a:cubicBezTo>
                <a:cubicBezTo>
                  <a:pt x="132" y="74"/>
                  <a:pt x="135" y="76"/>
                  <a:pt x="134" y="77"/>
                </a:cubicBezTo>
                <a:cubicBezTo>
                  <a:pt x="133" y="77"/>
                  <a:pt x="133" y="75"/>
                  <a:pt x="132" y="76"/>
                </a:cubicBezTo>
                <a:cubicBezTo>
                  <a:pt x="131" y="77"/>
                  <a:pt x="135" y="82"/>
                  <a:pt x="131" y="79"/>
                </a:cubicBezTo>
                <a:cubicBezTo>
                  <a:pt x="131" y="79"/>
                  <a:pt x="128" y="77"/>
                  <a:pt x="128" y="77"/>
                </a:cubicBezTo>
                <a:cubicBezTo>
                  <a:pt x="127" y="78"/>
                  <a:pt x="127" y="79"/>
                  <a:pt x="126" y="79"/>
                </a:cubicBezTo>
                <a:cubicBezTo>
                  <a:pt x="126" y="78"/>
                  <a:pt x="127" y="77"/>
                  <a:pt x="127" y="76"/>
                </a:cubicBezTo>
                <a:cubicBezTo>
                  <a:pt x="127" y="77"/>
                  <a:pt x="125" y="77"/>
                  <a:pt x="125" y="77"/>
                </a:cubicBezTo>
                <a:cubicBezTo>
                  <a:pt x="124" y="76"/>
                  <a:pt x="126" y="75"/>
                  <a:pt x="125" y="74"/>
                </a:cubicBezTo>
                <a:cubicBezTo>
                  <a:pt x="125" y="74"/>
                  <a:pt x="123" y="75"/>
                  <a:pt x="123" y="75"/>
                </a:cubicBezTo>
                <a:cubicBezTo>
                  <a:pt x="122" y="74"/>
                  <a:pt x="123" y="72"/>
                  <a:pt x="123" y="72"/>
                </a:cubicBezTo>
                <a:cubicBezTo>
                  <a:pt x="124" y="72"/>
                  <a:pt x="128" y="70"/>
                  <a:pt x="127" y="70"/>
                </a:cubicBezTo>
                <a:cubicBezTo>
                  <a:pt x="126" y="69"/>
                  <a:pt x="122" y="73"/>
                  <a:pt x="120" y="72"/>
                </a:cubicBezTo>
                <a:cubicBezTo>
                  <a:pt x="120" y="72"/>
                  <a:pt x="123" y="69"/>
                  <a:pt x="122" y="69"/>
                </a:cubicBezTo>
                <a:cubicBezTo>
                  <a:pt x="121" y="69"/>
                  <a:pt x="120" y="71"/>
                  <a:pt x="119" y="70"/>
                </a:cubicBezTo>
                <a:cubicBezTo>
                  <a:pt x="118" y="69"/>
                  <a:pt x="117" y="69"/>
                  <a:pt x="116" y="68"/>
                </a:cubicBezTo>
                <a:cubicBezTo>
                  <a:pt x="115" y="67"/>
                  <a:pt x="114" y="66"/>
                  <a:pt x="113" y="67"/>
                </a:cubicBezTo>
                <a:cubicBezTo>
                  <a:pt x="113" y="68"/>
                  <a:pt x="113" y="68"/>
                  <a:pt x="113" y="69"/>
                </a:cubicBezTo>
                <a:cubicBezTo>
                  <a:pt x="113" y="69"/>
                  <a:pt x="112" y="69"/>
                  <a:pt x="112" y="69"/>
                </a:cubicBezTo>
                <a:cubicBezTo>
                  <a:pt x="112" y="70"/>
                  <a:pt x="116" y="72"/>
                  <a:pt x="112" y="72"/>
                </a:cubicBezTo>
                <a:cubicBezTo>
                  <a:pt x="111" y="72"/>
                  <a:pt x="107" y="71"/>
                  <a:pt x="108" y="70"/>
                </a:cubicBezTo>
                <a:cubicBezTo>
                  <a:pt x="107" y="72"/>
                  <a:pt x="111" y="74"/>
                  <a:pt x="112" y="75"/>
                </a:cubicBezTo>
                <a:cubicBezTo>
                  <a:pt x="114" y="75"/>
                  <a:pt x="114" y="78"/>
                  <a:pt x="115" y="79"/>
                </a:cubicBezTo>
                <a:cubicBezTo>
                  <a:pt x="116" y="80"/>
                  <a:pt x="116" y="81"/>
                  <a:pt x="117" y="81"/>
                </a:cubicBezTo>
                <a:cubicBezTo>
                  <a:pt x="118" y="81"/>
                  <a:pt x="117" y="80"/>
                  <a:pt x="118" y="80"/>
                </a:cubicBezTo>
                <a:cubicBezTo>
                  <a:pt x="118" y="80"/>
                  <a:pt x="119" y="81"/>
                  <a:pt x="119" y="82"/>
                </a:cubicBezTo>
                <a:cubicBezTo>
                  <a:pt x="120" y="83"/>
                  <a:pt x="120" y="82"/>
                  <a:pt x="121" y="81"/>
                </a:cubicBezTo>
                <a:cubicBezTo>
                  <a:pt x="122" y="81"/>
                  <a:pt x="121" y="85"/>
                  <a:pt x="122" y="84"/>
                </a:cubicBezTo>
                <a:cubicBezTo>
                  <a:pt x="123" y="84"/>
                  <a:pt x="122" y="83"/>
                  <a:pt x="123" y="82"/>
                </a:cubicBezTo>
                <a:cubicBezTo>
                  <a:pt x="123" y="82"/>
                  <a:pt x="123" y="84"/>
                  <a:pt x="123" y="85"/>
                </a:cubicBezTo>
                <a:cubicBezTo>
                  <a:pt x="123" y="86"/>
                  <a:pt x="123" y="86"/>
                  <a:pt x="124" y="87"/>
                </a:cubicBezTo>
                <a:cubicBezTo>
                  <a:pt x="125" y="87"/>
                  <a:pt x="126" y="88"/>
                  <a:pt x="126" y="89"/>
                </a:cubicBezTo>
                <a:cubicBezTo>
                  <a:pt x="127" y="89"/>
                  <a:pt x="128" y="93"/>
                  <a:pt x="128" y="93"/>
                </a:cubicBezTo>
                <a:cubicBezTo>
                  <a:pt x="127" y="92"/>
                  <a:pt x="127" y="91"/>
                  <a:pt x="127" y="91"/>
                </a:cubicBezTo>
                <a:cubicBezTo>
                  <a:pt x="126" y="91"/>
                  <a:pt x="127" y="95"/>
                  <a:pt x="127" y="95"/>
                </a:cubicBezTo>
                <a:cubicBezTo>
                  <a:pt x="127" y="95"/>
                  <a:pt x="125" y="91"/>
                  <a:pt x="124" y="90"/>
                </a:cubicBezTo>
                <a:cubicBezTo>
                  <a:pt x="124" y="90"/>
                  <a:pt x="125" y="94"/>
                  <a:pt x="126" y="95"/>
                </a:cubicBezTo>
                <a:cubicBezTo>
                  <a:pt x="126" y="98"/>
                  <a:pt x="124" y="95"/>
                  <a:pt x="124" y="96"/>
                </a:cubicBezTo>
                <a:cubicBezTo>
                  <a:pt x="123" y="97"/>
                  <a:pt x="128" y="99"/>
                  <a:pt x="128" y="100"/>
                </a:cubicBezTo>
                <a:cubicBezTo>
                  <a:pt x="128" y="101"/>
                  <a:pt x="119" y="95"/>
                  <a:pt x="118" y="95"/>
                </a:cubicBezTo>
                <a:cubicBezTo>
                  <a:pt x="118" y="95"/>
                  <a:pt x="118" y="96"/>
                  <a:pt x="118" y="96"/>
                </a:cubicBezTo>
                <a:cubicBezTo>
                  <a:pt x="118" y="97"/>
                  <a:pt x="116" y="93"/>
                  <a:pt x="115" y="93"/>
                </a:cubicBezTo>
                <a:cubicBezTo>
                  <a:pt x="115" y="93"/>
                  <a:pt x="116" y="95"/>
                  <a:pt x="116" y="95"/>
                </a:cubicBezTo>
                <a:cubicBezTo>
                  <a:pt x="115" y="96"/>
                  <a:pt x="113" y="92"/>
                  <a:pt x="112" y="91"/>
                </a:cubicBezTo>
                <a:cubicBezTo>
                  <a:pt x="111" y="90"/>
                  <a:pt x="111" y="92"/>
                  <a:pt x="110" y="93"/>
                </a:cubicBezTo>
                <a:cubicBezTo>
                  <a:pt x="110" y="94"/>
                  <a:pt x="108" y="90"/>
                  <a:pt x="108" y="90"/>
                </a:cubicBezTo>
                <a:cubicBezTo>
                  <a:pt x="108" y="90"/>
                  <a:pt x="105" y="90"/>
                  <a:pt x="105" y="90"/>
                </a:cubicBezTo>
                <a:cubicBezTo>
                  <a:pt x="105" y="91"/>
                  <a:pt x="106" y="92"/>
                  <a:pt x="107" y="92"/>
                </a:cubicBezTo>
                <a:cubicBezTo>
                  <a:pt x="108" y="93"/>
                  <a:pt x="108" y="93"/>
                  <a:pt x="109" y="94"/>
                </a:cubicBezTo>
                <a:cubicBezTo>
                  <a:pt x="110" y="95"/>
                  <a:pt x="112" y="96"/>
                  <a:pt x="114" y="97"/>
                </a:cubicBezTo>
                <a:cubicBezTo>
                  <a:pt x="116" y="99"/>
                  <a:pt x="117" y="100"/>
                  <a:pt x="118" y="102"/>
                </a:cubicBezTo>
                <a:cubicBezTo>
                  <a:pt x="120" y="105"/>
                  <a:pt x="120" y="105"/>
                  <a:pt x="117" y="104"/>
                </a:cubicBezTo>
                <a:cubicBezTo>
                  <a:pt x="113" y="102"/>
                  <a:pt x="106" y="103"/>
                  <a:pt x="103" y="99"/>
                </a:cubicBezTo>
                <a:cubicBezTo>
                  <a:pt x="102" y="97"/>
                  <a:pt x="99" y="99"/>
                  <a:pt x="97" y="97"/>
                </a:cubicBezTo>
                <a:cubicBezTo>
                  <a:pt x="96" y="96"/>
                  <a:pt x="90" y="94"/>
                  <a:pt x="90" y="93"/>
                </a:cubicBezTo>
                <a:cubicBezTo>
                  <a:pt x="90" y="92"/>
                  <a:pt x="93" y="93"/>
                  <a:pt x="93" y="92"/>
                </a:cubicBezTo>
                <a:cubicBezTo>
                  <a:pt x="94" y="91"/>
                  <a:pt x="91" y="90"/>
                  <a:pt x="91" y="90"/>
                </a:cubicBezTo>
                <a:cubicBezTo>
                  <a:pt x="88" y="89"/>
                  <a:pt x="86" y="87"/>
                  <a:pt x="84" y="86"/>
                </a:cubicBezTo>
                <a:cubicBezTo>
                  <a:pt x="83" y="85"/>
                  <a:pt x="84" y="84"/>
                  <a:pt x="82" y="84"/>
                </a:cubicBezTo>
                <a:cubicBezTo>
                  <a:pt x="82" y="83"/>
                  <a:pt x="77" y="83"/>
                  <a:pt x="77" y="83"/>
                </a:cubicBezTo>
                <a:cubicBezTo>
                  <a:pt x="77" y="84"/>
                  <a:pt x="78" y="82"/>
                  <a:pt x="77" y="8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54" name="Freeform 549">
            <a:extLst>
              <a:ext uri="{FF2B5EF4-FFF2-40B4-BE49-F238E27FC236}">
                <a16:creationId xmlns:a16="http://schemas.microsoft.com/office/drawing/2014/main" id="{C06C2905-F8A2-794F-91C0-5DC07B0926D9}"/>
              </a:ext>
            </a:extLst>
          </p:cNvPr>
          <p:cNvSpPr>
            <a:spLocks/>
          </p:cNvSpPr>
          <p:nvPr/>
        </p:nvSpPr>
        <p:spPr bwMode="auto">
          <a:xfrm>
            <a:off x="4021141" y="3008884"/>
            <a:ext cx="31766" cy="10592"/>
          </a:xfrm>
          <a:custGeom>
            <a:avLst/>
            <a:gdLst>
              <a:gd name="T0" fmla="*/ 5 w 6"/>
              <a:gd name="T1" fmla="*/ 1 h 2"/>
              <a:gd name="T2" fmla="*/ 1 w 6"/>
              <a:gd name="T3" fmla="*/ 0 h 2"/>
              <a:gd name="T4" fmla="*/ 5 w 6"/>
              <a:gd name="T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" h="2">
                <a:moveTo>
                  <a:pt x="5" y="1"/>
                </a:moveTo>
                <a:cubicBezTo>
                  <a:pt x="5" y="2"/>
                  <a:pt x="0" y="0"/>
                  <a:pt x="1" y="0"/>
                </a:cubicBezTo>
                <a:cubicBezTo>
                  <a:pt x="3" y="0"/>
                  <a:pt x="6" y="0"/>
                  <a:pt x="5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55" name="Freeform 550">
            <a:extLst>
              <a:ext uri="{FF2B5EF4-FFF2-40B4-BE49-F238E27FC236}">
                <a16:creationId xmlns:a16="http://schemas.microsoft.com/office/drawing/2014/main" id="{DC59ADFD-7C9C-7C46-8AFF-58E7F4E6D3C6}"/>
              </a:ext>
            </a:extLst>
          </p:cNvPr>
          <p:cNvSpPr>
            <a:spLocks/>
          </p:cNvSpPr>
          <p:nvPr/>
        </p:nvSpPr>
        <p:spPr bwMode="auto">
          <a:xfrm>
            <a:off x="3927605" y="2781159"/>
            <a:ext cx="42356" cy="10592"/>
          </a:xfrm>
          <a:custGeom>
            <a:avLst/>
            <a:gdLst>
              <a:gd name="T0" fmla="*/ 7 w 8"/>
              <a:gd name="T1" fmla="*/ 1 h 2"/>
              <a:gd name="T2" fmla="*/ 2 w 8"/>
              <a:gd name="T3" fmla="*/ 2 h 2"/>
              <a:gd name="T4" fmla="*/ 3 w 8"/>
              <a:gd name="T5" fmla="*/ 0 h 2"/>
              <a:gd name="T6" fmla="*/ 7 w 8"/>
              <a:gd name="T7" fmla="*/ 1 h 2"/>
              <a:gd name="T8" fmla="*/ 7 w 8"/>
              <a:gd name="T9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2">
                <a:moveTo>
                  <a:pt x="7" y="1"/>
                </a:moveTo>
                <a:cubicBezTo>
                  <a:pt x="8" y="2"/>
                  <a:pt x="3" y="2"/>
                  <a:pt x="2" y="2"/>
                </a:cubicBezTo>
                <a:cubicBezTo>
                  <a:pt x="0" y="1"/>
                  <a:pt x="2" y="0"/>
                  <a:pt x="3" y="0"/>
                </a:cubicBezTo>
                <a:cubicBezTo>
                  <a:pt x="5" y="0"/>
                  <a:pt x="7" y="0"/>
                  <a:pt x="7" y="1"/>
                </a:cubicBezTo>
                <a:cubicBezTo>
                  <a:pt x="8" y="2"/>
                  <a:pt x="7" y="0"/>
                  <a:pt x="7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56" name="Freeform 551">
            <a:extLst>
              <a:ext uri="{FF2B5EF4-FFF2-40B4-BE49-F238E27FC236}">
                <a16:creationId xmlns:a16="http://schemas.microsoft.com/office/drawing/2014/main" id="{96CFC096-A809-AF41-83B7-4031C38C99C1}"/>
              </a:ext>
            </a:extLst>
          </p:cNvPr>
          <p:cNvSpPr>
            <a:spLocks/>
          </p:cNvSpPr>
          <p:nvPr/>
        </p:nvSpPr>
        <p:spPr bwMode="auto">
          <a:xfrm>
            <a:off x="3865835" y="2770567"/>
            <a:ext cx="61770" cy="51193"/>
          </a:xfrm>
          <a:custGeom>
            <a:avLst/>
            <a:gdLst>
              <a:gd name="T0" fmla="*/ 10 w 12"/>
              <a:gd name="T1" fmla="*/ 7 h 10"/>
              <a:gd name="T2" fmla="*/ 3 w 12"/>
              <a:gd name="T3" fmla="*/ 9 h 10"/>
              <a:gd name="T4" fmla="*/ 2 w 12"/>
              <a:gd name="T5" fmla="*/ 2 h 10"/>
              <a:gd name="T6" fmla="*/ 9 w 12"/>
              <a:gd name="T7" fmla="*/ 0 h 10"/>
              <a:gd name="T8" fmla="*/ 10 w 12"/>
              <a:gd name="T9" fmla="*/ 7 h 10"/>
              <a:gd name="T10" fmla="*/ 10 w 12"/>
              <a:gd name="T11" fmla="*/ 7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" h="10">
                <a:moveTo>
                  <a:pt x="10" y="7"/>
                </a:moveTo>
                <a:cubicBezTo>
                  <a:pt x="8" y="8"/>
                  <a:pt x="6" y="10"/>
                  <a:pt x="3" y="9"/>
                </a:cubicBezTo>
                <a:cubicBezTo>
                  <a:pt x="0" y="7"/>
                  <a:pt x="0" y="4"/>
                  <a:pt x="2" y="2"/>
                </a:cubicBezTo>
                <a:cubicBezTo>
                  <a:pt x="3" y="0"/>
                  <a:pt x="7" y="0"/>
                  <a:pt x="9" y="0"/>
                </a:cubicBezTo>
                <a:cubicBezTo>
                  <a:pt x="11" y="0"/>
                  <a:pt x="12" y="5"/>
                  <a:pt x="10" y="7"/>
                </a:cubicBezTo>
                <a:cubicBezTo>
                  <a:pt x="9" y="8"/>
                  <a:pt x="12" y="6"/>
                  <a:pt x="10" y="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57" name="Freeform 552">
            <a:extLst>
              <a:ext uri="{FF2B5EF4-FFF2-40B4-BE49-F238E27FC236}">
                <a16:creationId xmlns:a16="http://schemas.microsoft.com/office/drawing/2014/main" id="{5954DEA9-44AE-244C-A54A-8361AD1F2E5B}"/>
              </a:ext>
            </a:extLst>
          </p:cNvPr>
          <p:cNvSpPr>
            <a:spLocks/>
          </p:cNvSpPr>
          <p:nvPr/>
        </p:nvSpPr>
        <p:spPr bwMode="auto">
          <a:xfrm>
            <a:off x="3809360" y="2724669"/>
            <a:ext cx="35297" cy="19419"/>
          </a:xfrm>
          <a:custGeom>
            <a:avLst/>
            <a:gdLst>
              <a:gd name="T0" fmla="*/ 1 w 7"/>
              <a:gd name="T1" fmla="*/ 4 h 4"/>
              <a:gd name="T2" fmla="*/ 5 w 7"/>
              <a:gd name="T3" fmla="*/ 0 h 4"/>
              <a:gd name="T4" fmla="*/ 1 w 7"/>
              <a:gd name="T5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4">
                <a:moveTo>
                  <a:pt x="1" y="4"/>
                </a:moveTo>
                <a:cubicBezTo>
                  <a:pt x="0" y="4"/>
                  <a:pt x="4" y="0"/>
                  <a:pt x="5" y="0"/>
                </a:cubicBezTo>
                <a:cubicBezTo>
                  <a:pt x="7" y="1"/>
                  <a:pt x="3" y="4"/>
                  <a:pt x="1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58" name="Freeform 553">
            <a:extLst>
              <a:ext uri="{FF2B5EF4-FFF2-40B4-BE49-F238E27FC236}">
                <a16:creationId xmlns:a16="http://schemas.microsoft.com/office/drawing/2014/main" id="{0A8488FD-D955-E74A-ADFC-A3C3CC265E43}"/>
              </a:ext>
            </a:extLst>
          </p:cNvPr>
          <p:cNvSpPr>
            <a:spLocks/>
          </p:cNvSpPr>
          <p:nvPr/>
        </p:nvSpPr>
        <p:spPr bwMode="auto">
          <a:xfrm>
            <a:off x="3860541" y="2719372"/>
            <a:ext cx="31766" cy="15887"/>
          </a:xfrm>
          <a:custGeom>
            <a:avLst/>
            <a:gdLst>
              <a:gd name="T0" fmla="*/ 2 w 6"/>
              <a:gd name="T1" fmla="*/ 3 h 3"/>
              <a:gd name="T2" fmla="*/ 2 w 6"/>
              <a:gd name="T3" fmla="*/ 1 h 3"/>
              <a:gd name="T4" fmla="*/ 2 w 6"/>
              <a:gd name="T5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" h="3">
                <a:moveTo>
                  <a:pt x="2" y="3"/>
                </a:moveTo>
                <a:cubicBezTo>
                  <a:pt x="2" y="3"/>
                  <a:pt x="0" y="1"/>
                  <a:pt x="2" y="1"/>
                </a:cubicBezTo>
                <a:cubicBezTo>
                  <a:pt x="3" y="0"/>
                  <a:pt x="6" y="3"/>
                  <a:pt x="2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59" name="Freeform 554">
            <a:extLst>
              <a:ext uri="{FF2B5EF4-FFF2-40B4-BE49-F238E27FC236}">
                <a16:creationId xmlns:a16="http://schemas.microsoft.com/office/drawing/2014/main" id="{EBBA146C-95E5-8847-B847-3969D2A89AAA}"/>
              </a:ext>
            </a:extLst>
          </p:cNvPr>
          <p:cNvSpPr>
            <a:spLocks/>
          </p:cNvSpPr>
          <p:nvPr/>
        </p:nvSpPr>
        <p:spPr bwMode="auto">
          <a:xfrm>
            <a:off x="3830538" y="2708782"/>
            <a:ext cx="24708" cy="10592"/>
          </a:xfrm>
          <a:custGeom>
            <a:avLst/>
            <a:gdLst>
              <a:gd name="T0" fmla="*/ 0 w 5"/>
              <a:gd name="T1" fmla="*/ 1 h 2"/>
              <a:gd name="T2" fmla="*/ 4 w 5"/>
              <a:gd name="T3" fmla="*/ 0 h 2"/>
              <a:gd name="T4" fmla="*/ 0 w 5"/>
              <a:gd name="T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" h="2">
                <a:moveTo>
                  <a:pt x="0" y="1"/>
                </a:moveTo>
                <a:cubicBezTo>
                  <a:pt x="2" y="2"/>
                  <a:pt x="5" y="1"/>
                  <a:pt x="4" y="0"/>
                </a:cubicBezTo>
                <a:cubicBezTo>
                  <a:pt x="2" y="0"/>
                  <a:pt x="0" y="1"/>
                  <a:pt x="0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60" name="Freeform 555">
            <a:extLst>
              <a:ext uri="{FF2B5EF4-FFF2-40B4-BE49-F238E27FC236}">
                <a16:creationId xmlns:a16="http://schemas.microsoft.com/office/drawing/2014/main" id="{E3C77525-C01F-2546-BC9E-1E260BD3B646}"/>
              </a:ext>
            </a:extLst>
          </p:cNvPr>
          <p:cNvSpPr>
            <a:spLocks/>
          </p:cNvSpPr>
          <p:nvPr/>
        </p:nvSpPr>
        <p:spPr bwMode="auto">
          <a:xfrm>
            <a:off x="3767004" y="2511066"/>
            <a:ext cx="135893" cy="58256"/>
          </a:xfrm>
          <a:custGeom>
            <a:avLst/>
            <a:gdLst>
              <a:gd name="T0" fmla="*/ 25 w 26"/>
              <a:gd name="T1" fmla="*/ 9 h 11"/>
              <a:gd name="T2" fmla="*/ 18 w 26"/>
              <a:gd name="T3" fmla="*/ 8 h 11"/>
              <a:gd name="T4" fmla="*/ 10 w 26"/>
              <a:gd name="T5" fmla="*/ 10 h 11"/>
              <a:gd name="T6" fmla="*/ 3 w 26"/>
              <a:gd name="T7" fmla="*/ 6 h 11"/>
              <a:gd name="T8" fmla="*/ 2 w 26"/>
              <a:gd name="T9" fmla="*/ 1 h 11"/>
              <a:gd name="T10" fmla="*/ 8 w 26"/>
              <a:gd name="T11" fmla="*/ 2 h 11"/>
              <a:gd name="T12" fmla="*/ 17 w 26"/>
              <a:gd name="T13" fmla="*/ 2 h 11"/>
              <a:gd name="T14" fmla="*/ 22 w 26"/>
              <a:gd name="T15" fmla="*/ 5 h 11"/>
              <a:gd name="T16" fmla="*/ 25 w 26"/>
              <a:gd name="T17" fmla="*/ 9 h 11"/>
              <a:gd name="T18" fmla="*/ 25 w 26"/>
              <a:gd name="T19" fmla="*/ 9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6" h="11">
                <a:moveTo>
                  <a:pt x="25" y="9"/>
                </a:moveTo>
                <a:cubicBezTo>
                  <a:pt x="22" y="9"/>
                  <a:pt x="20" y="8"/>
                  <a:pt x="18" y="8"/>
                </a:cubicBezTo>
                <a:cubicBezTo>
                  <a:pt x="15" y="8"/>
                  <a:pt x="13" y="10"/>
                  <a:pt x="10" y="10"/>
                </a:cubicBezTo>
                <a:cubicBezTo>
                  <a:pt x="7" y="11"/>
                  <a:pt x="6" y="7"/>
                  <a:pt x="3" y="6"/>
                </a:cubicBezTo>
                <a:cubicBezTo>
                  <a:pt x="2" y="5"/>
                  <a:pt x="0" y="3"/>
                  <a:pt x="2" y="1"/>
                </a:cubicBezTo>
                <a:cubicBezTo>
                  <a:pt x="3" y="0"/>
                  <a:pt x="7" y="2"/>
                  <a:pt x="8" y="2"/>
                </a:cubicBezTo>
                <a:cubicBezTo>
                  <a:pt x="11" y="3"/>
                  <a:pt x="14" y="1"/>
                  <a:pt x="17" y="2"/>
                </a:cubicBezTo>
                <a:cubicBezTo>
                  <a:pt x="19" y="2"/>
                  <a:pt x="20" y="4"/>
                  <a:pt x="22" y="5"/>
                </a:cubicBezTo>
                <a:cubicBezTo>
                  <a:pt x="22" y="6"/>
                  <a:pt x="25" y="9"/>
                  <a:pt x="25" y="9"/>
                </a:cubicBezTo>
                <a:cubicBezTo>
                  <a:pt x="23" y="9"/>
                  <a:pt x="26" y="9"/>
                  <a:pt x="25" y="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61" name="Freeform 556">
            <a:extLst>
              <a:ext uri="{FF2B5EF4-FFF2-40B4-BE49-F238E27FC236}">
                <a16:creationId xmlns:a16="http://schemas.microsoft.com/office/drawing/2014/main" id="{FA288CC5-F1FD-654E-ACA9-FA228B8B69D9}"/>
              </a:ext>
            </a:extLst>
          </p:cNvPr>
          <p:cNvSpPr>
            <a:spLocks/>
          </p:cNvSpPr>
          <p:nvPr/>
        </p:nvSpPr>
        <p:spPr bwMode="auto">
          <a:xfrm>
            <a:off x="2545730" y="3450210"/>
            <a:ext cx="150011" cy="98858"/>
          </a:xfrm>
          <a:custGeom>
            <a:avLst/>
            <a:gdLst>
              <a:gd name="T0" fmla="*/ 27 w 29"/>
              <a:gd name="T1" fmla="*/ 16 h 19"/>
              <a:gd name="T2" fmla="*/ 24 w 29"/>
              <a:gd name="T3" fmla="*/ 12 h 19"/>
              <a:gd name="T4" fmla="*/ 19 w 29"/>
              <a:gd name="T5" fmla="*/ 10 h 19"/>
              <a:gd name="T6" fmla="*/ 14 w 29"/>
              <a:gd name="T7" fmla="*/ 3 h 19"/>
              <a:gd name="T8" fmla="*/ 8 w 29"/>
              <a:gd name="T9" fmla="*/ 2 h 19"/>
              <a:gd name="T10" fmla="*/ 2 w 29"/>
              <a:gd name="T11" fmla="*/ 0 h 19"/>
              <a:gd name="T12" fmla="*/ 3 w 29"/>
              <a:gd name="T13" fmla="*/ 2 h 19"/>
              <a:gd name="T14" fmla="*/ 5 w 29"/>
              <a:gd name="T15" fmla="*/ 3 h 19"/>
              <a:gd name="T16" fmla="*/ 6 w 29"/>
              <a:gd name="T17" fmla="*/ 4 h 19"/>
              <a:gd name="T18" fmla="*/ 4 w 29"/>
              <a:gd name="T19" fmla="*/ 2 h 19"/>
              <a:gd name="T20" fmla="*/ 4 w 29"/>
              <a:gd name="T21" fmla="*/ 4 h 19"/>
              <a:gd name="T22" fmla="*/ 7 w 29"/>
              <a:gd name="T23" fmla="*/ 6 h 19"/>
              <a:gd name="T24" fmla="*/ 12 w 29"/>
              <a:gd name="T25" fmla="*/ 9 h 19"/>
              <a:gd name="T26" fmla="*/ 10 w 29"/>
              <a:gd name="T27" fmla="*/ 10 h 19"/>
              <a:gd name="T28" fmla="*/ 14 w 29"/>
              <a:gd name="T29" fmla="*/ 10 h 19"/>
              <a:gd name="T30" fmla="*/ 14 w 29"/>
              <a:gd name="T31" fmla="*/ 12 h 19"/>
              <a:gd name="T32" fmla="*/ 19 w 29"/>
              <a:gd name="T33" fmla="*/ 12 h 19"/>
              <a:gd name="T34" fmla="*/ 27 w 29"/>
              <a:gd name="T35" fmla="*/ 16 h 19"/>
              <a:gd name="T36" fmla="*/ 27 w 29"/>
              <a:gd name="T37" fmla="*/ 16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9" h="19">
                <a:moveTo>
                  <a:pt x="27" y="16"/>
                </a:moveTo>
                <a:cubicBezTo>
                  <a:pt x="26" y="15"/>
                  <a:pt x="25" y="13"/>
                  <a:pt x="24" y="12"/>
                </a:cubicBezTo>
                <a:cubicBezTo>
                  <a:pt x="23" y="10"/>
                  <a:pt x="21" y="10"/>
                  <a:pt x="19" y="10"/>
                </a:cubicBezTo>
                <a:cubicBezTo>
                  <a:pt x="17" y="8"/>
                  <a:pt x="17" y="4"/>
                  <a:pt x="14" y="3"/>
                </a:cubicBezTo>
                <a:cubicBezTo>
                  <a:pt x="13" y="3"/>
                  <a:pt x="10" y="3"/>
                  <a:pt x="8" y="2"/>
                </a:cubicBezTo>
                <a:cubicBezTo>
                  <a:pt x="7" y="1"/>
                  <a:pt x="5" y="0"/>
                  <a:pt x="2" y="0"/>
                </a:cubicBezTo>
                <a:cubicBezTo>
                  <a:pt x="0" y="0"/>
                  <a:pt x="1" y="2"/>
                  <a:pt x="3" y="2"/>
                </a:cubicBezTo>
                <a:cubicBezTo>
                  <a:pt x="4" y="2"/>
                  <a:pt x="4" y="2"/>
                  <a:pt x="5" y="3"/>
                </a:cubicBezTo>
                <a:cubicBezTo>
                  <a:pt x="5" y="3"/>
                  <a:pt x="6" y="4"/>
                  <a:pt x="6" y="4"/>
                </a:cubicBezTo>
                <a:cubicBezTo>
                  <a:pt x="5" y="4"/>
                  <a:pt x="4" y="3"/>
                  <a:pt x="4" y="2"/>
                </a:cubicBezTo>
                <a:cubicBezTo>
                  <a:pt x="4" y="2"/>
                  <a:pt x="4" y="4"/>
                  <a:pt x="4" y="4"/>
                </a:cubicBezTo>
                <a:cubicBezTo>
                  <a:pt x="4" y="6"/>
                  <a:pt x="6" y="6"/>
                  <a:pt x="7" y="6"/>
                </a:cubicBezTo>
                <a:cubicBezTo>
                  <a:pt x="7" y="6"/>
                  <a:pt x="12" y="9"/>
                  <a:pt x="12" y="9"/>
                </a:cubicBezTo>
                <a:cubicBezTo>
                  <a:pt x="12" y="9"/>
                  <a:pt x="11" y="9"/>
                  <a:pt x="10" y="10"/>
                </a:cubicBezTo>
                <a:cubicBezTo>
                  <a:pt x="10" y="10"/>
                  <a:pt x="14" y="10"/>
                  <a:pt x="14" y="10"/>
                </a:cubicBezTo>
                <a:cubicBezTo>
                  <a:pt x="16" y="11"/>
                  <a:pt x="14" y="12"/>
                  <a:pt x="14" y="12"/>
                </a:cubicBezTo>
                <a:cubicBezTo>
                  <a:pt x="15" y="13"/>
                  <a:pt x="18" y="12"/>
                  <a:pt x="19" y="12"/>
                </a:cubicBezTo>
                <a:cubicBezTo>
                  <a:pt x="14" y="13"/>
                  <a:pt x="29" y="19"/>
                  <a:pt x="27" y="16"/>
                </a:cubicBezTo>
                <a:cubicBezTo>
                  <a:pt x="26" y="15"/>
                  <a:pt x="28" y="18"/>
                  <a:pt x="27" y="1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62" name="Freeform 557">
            <a:extLst>
              <a:ext uri="{FF2B5EF4-FFF2-40B4-BE49-F238E27FC236}">
                <a16:creationId xmlns:a16="http://schemas.microsoft.com/office/drawing/2014/main" id="{5C2E7356-2235-2B40-9D17-459AA9F84BCA}"/>
              </a:ext>
            </a:extLst>
          </p:cNvPr>
          <p:cNvSpPr>
            <a:spLocks/>
          </p:cNvSpPr>
          <p:nvPr/>
        </p:nvSpPr>
        <p:spPr bwMode="auto">
          <a:xfrm>
            <a:off x="2427486" y="3335465"/>
            <a:ext cx="67063" cy="72378"/>
          </a:xfrm>
          <a:custGeom>
            <a:avLst/>
            <a:gdLst>
              <a:gd name="T0" fmla="*/ 11 w 13"/>
              <a:gd name="T1" fmla="*/ 14 h 14"/>
              <a:gd name="T2" fmla="*/ 11 w 13"/>
              <a:gd name="T3" fmla="*/ 14 h 14"/>
              <a:gd name="T4" fmla="*/ 8 w 13"/>
              <a:gd name="T5" fmla="*/ 11 h 14"/>
              <a:gd name="T6" fmla="*/ 7 w 13"/>
              <a:gd name="T7" fmla="*/ 7 h 14"/>
              <a:gd name="T8" fmla="*/ 6 w 13"/>
              <a:gd name="T9" fmla="*/ 5 h 14"/>
              <a:gd name="T10" fmla="*/ 7 w 13"/>
              <a:gd name="T11" fmla="*/ 2 h 14"/>
              <a:gd name="T12" fmla="*/ 4 w 13"/>
              <a:gd name="T13" fmla="*/ 4 h 14"/>
              <a:gd name="T14" fmla="*/ 6 w 13"/>
              <a:gd name="T15" fmla="*/ 1 h 14"/>
              <a:gd name="T16" fmla="*/ 1 w 13"/>
              <a:gd name="T17" fmla="*/ 0 h 14"/>
              <a:gd name="T18" fmla="*/ 3 w 13"/>
              <a:gd name="T19" fmla="*/ 6 h 14"/>
              <a:gd name="T20" fmla="*/ 11 w 13"/>
              <a:gd name="T21" fmla="*/ 14 h 14"/>
              <a:gd name="T22" fmla="*/ 11 w 13"/>
              <a:gd name="T23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3" h="14">
                <a:moveTo>
                  <a:pt x="11" y="14"/>
                </a:moveTo>
                <a:cubicBezTo>
                  <a:pt x="11" y="14"/>
                  <a:pt x="11" y="14"/>
                  <a:pt x="11" y="14"/>
                </a:cubicBezTo>
                <a:cubicBezTo>
                  <a:pt x="11" y="13"/>
                  <a:pt x="9" y="11"/>
                  <a:pt x="8" y="11"/>
                </a:cubicBezTo>
                <a:cubicBezTo>
                  <a:pt x="7" y="9"/>
                  <a:pt x="8" y="8"/>
                  <a:pt x="7" y="7"/>
                </a:cubicBezTo>
                <a:cubicBezTo>
                  <a:pt x="6" y="6"/>
                  <a:pt x="6" y="6"/>
                  <a:pt x="6" y="5"/>
                </a:cubicBezTo>
                <a:cubicBezTo>
                  <a:pt x="5" y="3"/>
                  <a:pt x="6" y="3"/>
                  <a:pt x="7" y="2"/>
                </a:cubicBezTo>
                <a:cubicBezTo>
                  <a:pt x="9" y="0"/>
                  <a:pt x="3" y="3"/>
                  <a:pt x="4" y="4"/>
                </a:cubicBezTo>
                <a:cubicBezTo>
                  <a:pt x="3" y="3"/>
                  <a:pt x="6" y="1"/>
                  <a:pt x="6" y="1"/>
                </a:cubicBezTo>
                <a:cubicBezTo>
                  <a:pt x="5" y="0"/>
                  <a:pt x="1" y="0"/>
                  <a:pt x="1" y="0"/>
                </a:cubicBezTo>
                <a:cubicBezTo>
                  <a:pt x="0" y="1"/>
                  <a:pt x="2" y="5"/>
                  <a:pt x="3" y="6"/>
                </a:cubicBezTo>
                <a:cubicBezTo>
                  <a:pt x="5" y="8"/>
                  <a:pt x="8" y="13"/>
                  <a:pt x="11" y="14"/>
                </a:cubicBezTo>
                <a:cubicBezTo>
                  <a:pt x="13" y="14"/>
                  <a:pt x="8" y="13"/>
                  <a:pt x="11" y="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63" name="Freeform 558">
            <a:extLst>
              <a:ext uri="{FF2B5EF4-FFF2-40B4-BE49-F238E27FC236}">
                <a16:creationId xmlns:a16="http://schemas.microsoft.com/office/drawing/2014/main" id="{79EC9DBB-0831-AC4E-9D82-1318B33A063E}"/>
              </a:ext>
            </a:extLst>
          </p:cNvPr>
          <p:cNvSpPr>
            <a:spLocks/>
          </p:cNvSpPr>
          <p:nvPr/>
        </p:nvSpPr>
        <p:spPr bwMode="auto">
          <a:xfrm>
            <a:off x="2432781" y="3252495"/>
            <a:ext cx="21178" cy="21184"/>
          </a:xfrm>
          <a:custGeom>
            <a:avLst/>
            <a:gdLst>
              <a:gd name="T0" fmla="*/ 3 w 4"/>
              <a:gd name="T1" fmla="*/ 3 h 4"/>
              <a:gd name="T2" fmla="*/ 2 w 4"/>
              <a:gd name="T3" fmla="*/ 1 h 4"/>
              <a:gd name="T4" fmla="*/ 3 w 4"/>
              <a:gd name="T5" fmla="*/ 3 h 4"/>
              <a:gd name="T6" fmla="*/ 3 w 4"/>
              <a:gd name="T7" fmla="*/ 3 h 4"/>
              <a:gd name="T8" fmla="*/ 3 w 4"/>
              <a:gd name="T9" fmla="*/ 3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4">
                <a:moveTo>
                  <a:pt x="3" y="3"/>
                </a:moveTo>
                <a:cubicBezTo>
                  <a:pt x="2" y="2"/>
                  <a:pt x="0" y="2"/>
                  <a:pt x="2" y="1"/>
                </a:cubicBezTo>
                <a:cubicBezTo>
                  <a:pt x="3" y="0"/>
                  <a:pt x="4" y="3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2" y="2"/>
                  <a:pt x="4" y="4"/>
                  <a:pt x="3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64" name="Freeform 559">
            <a:extLst>
              <a:ext uri="{FF2B5EF4-FFF2-40B4-BE49-F238E27FC236}">
                <a16:creationId xmlns:a16="http://schemas.microsoft.com/office/drawing/2014/main" id="{F8CC3984-37E1-6448-9C8F-59464D0AF9DC}"/>
              </a:ext>
            </a:extLst>
          </p:cNvPr>
          <p:cNvSpPr>
            <a:spLocks/>
          </p:cNvSpPr>
          <p:nvPr/>
        </p:nvSpPr>
        <p:spPr bwMode="auto">
          <a:xfrm>
            <a:off x="2406307" y="3227782"/>
            <a:ext cx="31766" cy="30009"/>
          </a:xfrm>
          <a:custGeom>
            <a:avLst/>
            <a:gdLst>
              <a:gd name="T0" fmla="*/ 5 w 6"/>
              <a:gd name="T1" fmla="*/ 2 h 6"/>
              <a:gd name="T2" fmla="*/ 0 w 6"/>
              <a:gd name="T3" fmla="*/ 1 h 6"/>
              <a:gd name="T4" fmla="*/ 1 w 6"/>
              <a:gd name="T5" fmla="*/ 3 h 6"/>
              <a:gd name="T6" fmla="*/ 1 w 6"/>
              <a:gd name="T7" fmla="*/ 6 h 6"/>
              <a:gd name="T8" fmla="*/ 5 w 6"/>
              <a:gd name="T9" fmla="*/ 5 h 6"/>
              <a:gd name="T10" fmla="*/ 3 w 6"/>
              <a:gd name="T11" fmla="*/ 3 h 6"/>
              <a:gd name="T12" fmla="*/ 5 w 6"/>
              <a:gd name="T13" fmla="*/ 2 h 6"/>
              <a:gd name="T14" fmla="*/ 5 w 6"/>
              <a:gd name="T15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6">
                <a:moveTo>
                  <a:pt x="5" y="2"/>
                </a:moveTo>
                <a:cubicBezTo>
                  <a:pt x="4" y="2"/>
                  <a:pt x="1" y="0"/>
                  <a:pt x="0" y="1"/>
                </a:cubicBezTo>
                <a:cubicBezTo>
                  <a:pt x="1" y="0"/>
                  <a:pt x="2" y="4"/>
                  <a:pt x="1" y="3"/>
                </a:cubicBezTo>
                <a:cubicBezTo>
                  <a:pt x="1" y="4"/>
                  <a:pt x="1" y="5"/>
                  <a:pt x="1" y="6"/>
                </a:cubicBezTo>
                <a:cubicBezTo>
                  <a:pt x="1" y="5"/>
                  <a:pt x="5" y="4"/>
                  <a:pt x="5" y="5"/>
                </a:cubicBezTo>
                <a:cubicBezTo>
                  <a:pt x="5" y="4"/>
                  <a:pt x="4" y="4"/>
                  <a:pt x="3" y="3"/>
                </a:cubicBezTo>
                <a:cubicBezTo>
                  <a:pt x="4" y="4"/>
                  <a:pt x="6" y="2"/>
                  <a:pt x="5" y="2"/>
                </a:cubicBezTo>
                <a:cubicBezTo>
                  <a:pt x="4" y="2"/>
                  <a:pt x="6" y="2"/>
                  <a:pt x="5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65" name="Freeform 560">
            <a:extLst>
              <a:ext uri="{FF2B5EF4-FFF2-40B4-BE49-F238E27FC236}">
                <a16:creationId xmlns:a16="http://schemas.microsoft.com/office/drawing/2014/main" id="{AE874FA5-95A0-044C-AA99-8CA01CB78563}"/>
              </a:ext>
            </a:extLst>
          </p:cNvPr>
          <p:cNvSpPr>
            <a:spLocks/>
          </p:cNvSpPr>
          <p:nvPr/>
        </p:nvSpPr>
        <p:spPr bwMode="auto">
          <a:xfrm>
            <a:off x="2392189" y="3236608"/>
            <a:ext cx="19414" cy="31774"/>
          </a:xfrm>
          <a:custGeom>
            <a:avLst/>
            <a:gdLst>
              <a:gd name="T0" fmla="*/ 2 w 4"/>
              <a:gd name="T1" fmla="*/ 0 h 6"/>
              <a:gd name="T2" fmla="*/ 2 w 4"/>
              <a:gd name="T3" fmla="*/ 2 h 6"/>
              <a:gd name="T4" fmla="*/ 2 w 4"/>
              <a:gd name="T5" fmla="*/ 5 h 6"/>
              <a:gd name="T6" fmla="*/ 3 w 4"/>
              <a:gd name="T7" fmla="*/ 3 h 6"/>
              <a:gd name="T8" fmla="*/ 2 w 4"/>
              <a:gd name="T9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6">
                <a:moveTo>
                  <a:pt x="2" y="0"/>
                </a:moveTo>
                <a:cubicBezTo>
                  <a:pt x="0" y="0"/>
                  <a:pt x="2" y="1"/>
                  <a:pt x="2" y="2"/>
                </a:cubicBezTo>
                <a:cubicBezTo>
                  <a:pt x="2" y="3"/>
                  <a:pt x="1" y="5"/>
                  <a:pt x="2" y="5"/>
                </a:cubicBezTo>
                <a:cubicBezTo>
                  <a:pt x="3" y="6"/>
                  <a:pt x="3" y="3"/>
                  <a:pt x="3" y="3"/>
                </a:cubicBezTo>
                <a:cubicBezTo>
                  <a:pt x="3" y="2"/>
                  <a:pt x="4" y="0"/>
                  <a:pt x="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66" name="Freeform 561">
            <a:extLst>
              <a:ext uri="{FF2B5EF4-FFF2-40B4-BE49-F238E27FC236}">
                <a16:creationId xmlns:a16="http://schemas.microsoft.com/office/drawing/2014/main" id="{B469CADB-BAE8-C449-8A21-6CB20FFA2D8C}"/>
              </a:ext>
            </a:extLst>
          </p:cNvPr>
          <p:cNvSpPr>
            <a:spLocks/>
          </p:cNvSpPr>
          <p:nvPr/>
        </p:nvSpPr>
        <p:spPr bwMode="auto">
          <a:xfrm>
            <a:off x="2360421" y="3206597"/>
            <a:ext cx="26472" cy="56489"/>
          </a:xfrm>
          <a:custGeom>
            <a:avLst/>
            <a:gdLst>
              <a:gd name="T0" fmla="*/ 4 w 5"/>
              <a:gd name="T1" fmla="*/ 10 h 11"/>
              <a:gd name="T2" fmla="*/ 2 w 5"/>
              <a:gd name="T3" fmla="*/ 6 h 11"/>
              <a:gd name="T4" fmla="*/ 1 w 5"/>
              <a:gd name="T5" fmla="*/ 3 h 11"/>
              <a:gd name="T6" fmla="*/ 5 w 5"/>
              <a:gd name="T7" fmla="*/ 5 h 11"/>
              <a:gd name="T8" fmla="*/ 4 w 5"/>
              <a:gd name="T9" fmla="*/ 10 h 11"/>
              <a:gd name="T10" fmla="*/ 4 w 5"/>
              <a:gd name="T11" fmla="*/ 1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11">
                <a:moveTo>
                  <a:pt x="4" y="10"/>
                </a:moveTo>
                <a:cubicBezTo>
                  <a:pt x="4" y="9"/>
                  <a:pt x="2" y="6"/>
                  <a:pt x="2" y="6"/>
                </a:cubicBezTo>
                <a:cubicBezTo>
                  <a:pt x="4" y="4"/>
                  <a:pt x="0" y="4"/>
                  <a:pt x="1" y="3"/>
                </a:cubicBezTo>
                <a:cubicBezTo>
                  <a:pt x="2" y="0"/>
                  <a:pt x="5" y="5"/>
                  <a:pt x="5" y="5"/>
                </a:cubicBezTo>
                <a:cubicBezTo>
                  <a:pt x="5" y="6"/>
                  <a:pt x="5" y="11"/>
                  <a:pt x="4" y="10"/>
                </a:cubicBezTo>
                <a:cubicBezTo>
                  <a:pt x="4" y="9"/>
                  <a:pt x="5" y="11"/>
                  <a:pt x="4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67" name="Freeform 562">
            <a:extLst>
              <a:ext uri="{FF2B5EF4-FFF2-40B4-BE49-F238E27FC236}">
                <a16:creationId xmlns:a16="http://schemas.microsoft.com/office/drawing/2014/main" id="{1322531E-AC50-814D-91E1-4807C38CE6CB}"/>
              </a:ext>
            </a:extLst>
          </p:cNvPr>
          <p:cNvSpPr>
            <a:spLocks/>
          </p:cNvSpPr>
          <p:nvPr/>
        </p:nvSpPr>
        <p:spPr bwMode="auto">
          <a:xfrm>
            <a:off x="2339242" y="3185413"/>
            <a:ext cx="37062" cy="37071"/>
          </a:xfrm>
          <a:custGeom>
            <a:avLst/>
            <a:gdLst>
              <a:gd name="T0" fmla="*/ 4 w 7"/>
              <a:gd name="T1" fmla="*/ 6 h 7"/>
              <a:gd name="T2" fmla="*/ 2 w 7"/>
              <a:gd name="T3" fmla="*/ 3 h 7"/>
              <a:gd name="T4" fmla="*/ 0 w 7"/>
              <a:gd name="T5" fmla="*/ 2 h 7"/>
              <a:gd name="T6" fmla="*/ 5 w 7"/>
              <a:gd name="T7" fmla="*/ 1 h 7"/>
              <a:gd name="T8" fmla="*/ 4 w 7"/>
              <a:gd name="T9" fmla="*/ 3 h 7"/>
              <a:gd name="T10" fmla="*/ 7 w 7"/>
              <a:gd name="T11" fmla="*/ 4 h 7"/>
              <a:gd name="T12" fmla="*/ 5 w 7"/>
              <a:gd name="T13" fmla="*/ 5 h 7"/>
              <a:gd name="T14" fmla="*/ 4 w 7"/>
              <a:gd name="T15" fmla="*/ 6 h 7"/>
              <a:gd name="T16" fmla="*/ 4 w 7"/>
              <a:gd name="T17" fmla="*/ 6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7">
                <a:moveTo>
                  <a:pt x="4" y="6"/>
                </a:moveTo>
                <a:cubicBezTo>
                  <a:pt x="2" y="4"/>
                  <a:pt x="1" y="4"/>
                  <a:pt x="2" y="3"/>
                </a:cubicBezTo>
                <a:cubicBezTo>
                  <a:pt x="2" y="2"/>
                  <a:pt x="0" y="2"/>
                  <a:pt x="0" y="2"/>
                </a:cubicBezTo>
                <a:cubicBezTo>
                  <a:pt x="0" y="1"/>
                  <a:pt x="4" y="0"/>
                  <a:pt x="5" y="1"/>
                </a:cubicBezTo>
                <a:cubicBezTo>
                  <a:pt x="5" y="1"/>
                  <a:pt x="3" y="2"/>
                  <a:pt x="4" y="3"/>
                </a:cubicBezTo>
                <a:cubicBezTo>
                  <a:pt x="5" y="3"/>
                  <a:pt x="7" y="4"/>
                  <a:pt x="7" y="4"/>
                </a:cubicBezTo>
                <a:cubicBezTo>
                  <a:pt x="7" y="5"/>
                  <a:pt x="5" y="5"/>
                  <a:pt x="5" y="5"/>
                </a:cubicBezTo>
                <a:cubicBezTo>
                  <a:pt x="4" y="5"/>
                  <a:pt x="5" y="7"/>
                  <a:pt x="4" y="6"/>
                </a:cubicBezTo>
                <a:cubicBezTo>
                  <a:pt x="2" y="5"/>
                  <a:pt x="4" y="6"/>
                  <a:pt x="4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68" name="Freeform 563">
            <a:extLst>
              <a:ext uri="{FF2B5EF4-FFF2-40B4-BE49-F238E27FC236}">
                <a16:creationId xmlns:a16="http://schemas.microsoft.com/office/drawing/2014/main" id="{1C2E61AE-E6E5-B54B-A704-60E6643332A7}"/>
              </a:ext>
            </a:extLst>
          </p:cNvPr>
          <p:cNvSpPr>
            <a:spLocks/>
          </p:cNvSpPr>
          <p:nvPr/>
        </p:nvSpPr>
        <p:spPr bwMode="auto">
          <a:xfrm>
            <a:off x="2376304" y="3185413"/>
            <a:ext cx="35297" cy="47663"/>
          </a:xfrm>
          <a:custGeom>
            <a:avLst/>
            <a:gdLst>
              <a:gd name="T0" fmla="*/ 3 w 7"/>
              <a:gd name="T1" fmla="*/ 8 h 9"/>
              <a:gd name="T2" fmla="*/ 4 w 7"/>
              <a:gd name="T3" fmla="*/ 6 h 9"/>
              <a:gd name="T4" fmla="*/ 2 w 7"/>
              <a:gd name="T5" fmla="*/ 4 h 9"/>
              <a:gd name="T6" fmla="*/ 3 w 7"/>
              <a:gd name="T7" fmla="*/ 1 h 9"/>
              <a:gd name="T8" fmla="*/ 6 w 7"/>
              <a:gd name="T9" fmla="*/ 5 h 9"/>
              <a:gd name="T10" fmla="*/ 3 w 7"/>
              <a:gd name="T11" fmla="*/ 8 h 9"/>
              <a:gd name="T12" fmla="*/ 3 w 7"/>
              <a:gd name="T13" fmla="*/ 8 h 9"/>
              <a:gd name="T14" fmla="*/ 3 w 7"/>
              <a:gd name="T15" fmla="*/ 8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" h="9">
                <a:moveTo>
                  <a:pt x="3" y="8"/>
                </a:moveTo>
                <a:cubicBezTo>
                  <a:pt x="4" y="7"/>
                  <a:pt x="5" y="7"/>
                  <a:pt x="4" y="6"/>
                </a:cubicBezTo>
                <a:cubicBezTo>
                  <a:pt x="4" y="5"/>
                  <a:pt x="2" y="5"/>
                  <a:pt x="2" y="4"/>
                </a:cubicBezTo>
                <a:cubicBezTo>
                  <a:pt x="3" y="3"/>
                  <a:pt x="0" y="0"/>
                  <a:pt x="3" y="1"/>
                </a:cubicBezTo>
                <a:cubicBezTo>
                  <a:pt x="6" y="2"/>
                  <a:pt x="6" y="3"/>
                  <a:pt x="6" y="5"/>
                </a:cubicBezTo>
                <a:cubicBezTo>
                  <a:pt x="7" y="7"/>
                  <a:pt x="3" y="8"/>
                  <a:pt x="3" y="8"/>
                </a:cubicBezTo>
                <a:cubicBezTo>
                  <a:pt x="3" y="8"/>
                  <a:pt x="3" y="8"/>
                  <a:pt x="3" y="8"/>
                </a:cubicBezTo>
                <a:cubicBezTo>
                  <a:pt x="4" y="7"/>
                  <a:pt x="2" y="9"/>
                  <a:pt x="3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69" name="Freeform 564">
            <a:extLst>
              <a:ext uri="{FF2B5EF4-FFF2-40B4-BE49-F238E27FC236}">
                <a16:creationId xmlns:a16="http://schemas.microsoft.com/office/drawing/2014/main" id="{A166F871-D570-2547-B96B-E3C700D301F3}"/>
              </a:ext>
            </a:extLst>
          </p:cNvPr>
          <p:cNvSpPr>
            <a:spLocks/>
          </p:cNvSpPr>
          <p:nvPr/>
        </p:nvSpPr>
        <p:spPr bwMode="auto">
          <a:xfrm>
            <a:off x="2365715" y="3196005"/>
            <a:ext cx="15883" cy="5296"/>
          </a:xfrm>
          <a:custGeom>
            <a:avLst/>
            <a:gdLst>
              <a:gd name="T0" fmla="*/ 2 w 3"/>
              <a:gd name="T1" fmla="*/ 1 h 1"/>
              <a:gd name="T2" fmla="*/ 0 w 3"/>
              <a:gd name="T3" fmla="*/ 0 h 1"/>
              <a:gd name="T4" fmla="*/ 3 w 3"/>
              <a:gd name="T5" fmla="*/ 0 h 1"/>
              <a:gd name="T6" fmla="*/ 2 w 3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1">
                <a:moveTo>
                  <a:pt x="2" y="1"/>
                </a:moveTo>
                <a:cubicBezTo>
                  <a:pt x="1" y="1"/>
                  <a:pt x="0" y="1"/>
                  <a:pt x="0" y="0"/>
                </a:cubicBezTo>
                <a:cubicBezTo>
                  <a:pt x="0" y="0"/>
                  <a:pt x="2" y="0"/>
                  <a:pt x="3" y="0"/>
                </a:cubicBezTo>
                <a:cubicBezTo>
                  <a:pt x="3" y="0"/>
                  <a:pt x="2" y="1"/>
                  <a:pt x="2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70" name="Freeform 565">
            <a:extLst>
              <a:ext uri="{FF2B5EF4-FFF2-40B4-BE49-F238E27FC236}">
                <a16:creationId xmlns:a16="http://schemas.microsoft.com/office/drawing/2014/main" id="{D43B22F2-6F81-544C-80A1-435715B727D4}"/>
              </a:ext>
            </a:extLst>
          </p:cNvPr>
          <p:cNvSpPr>
            <a:spLocks/>
          </p:cNvSpPr>
          <p:nvPr/>
        </p:nvSpPr>
        <p:spPr bwMode="auto">
          <a:xfrm>
            <a:off x="1868029" y="3201302"/>
            <a:ext cx="68828" cy="35306"/>
          </a:xfrm>
          <a:custGeom>
            <a:avLst/>
            <a:gdLst>
              <a:gd name="T0" fmla="*/ 10 w 13"/>
              <a:gd name="T1" fmla="*/ 1 h 7"/>
              <a:gd name="T2" fmla="*/ 7 w 13"/>
              <a:gd name="T3" fmla="*/ 1 h 7"/>
              <a:gd name="T4" fmla="*/ 5 w 13"/>
              <a:gd name="T5" fmla="*/ 1 h 7"/>
              <a:gd name="T6" fmla="*/ 5 w 13"/>
              <a:gd name="T7" fmla="*/ 4 h 7"/>
              <a:gd name="T8" fmla="*/ 1 w 13"/>
              <a:gd name="T9" fmla="*/ 3 h 7"/>
              <a:gd name="T10" fmla="*/ 1 w 13"/>
              <a:gd name="T11" fmla="*/ 6 h 7"/>
              <a:gd name="T12" fmla="*/ 11 w 13"/>
              <a:gd name="T13" fmla="*/ 4 h 7"/>
              <a:gd name="T14" fmla="*/ 9 w 13"/>
              <a:gd name="T15" fmla="*/ 3 h 7"/>
              <a:gd name="T16" fmla="*/ 12 w 13"/>
              <a:gd name="T17" fmla="*/ 3 h 7"/>
              <a:gd name="T18" fmla="*/ 10 w 13"/>
              <a:gd name="T19" fmla="*/ 1 h 7"/>
              <a:gd name="T20" fmla="*/ 10 w 13"/>
              <a:gd name="T21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" h="7">
                <a:moveTo>
                  <a:pt x="10" y="1"/>
                </a:moveTo>
                <a:cubicBezTo>
                  <a:pt x="9" y="1"/>
                  <a:pt x="8" y="1"/>
                  <a:pt x="7" y="1"/>
                </a:cubicBezTo>
                <a:cubicBezTo>
                  <a:pt x="6" y="1"/>
                  <a:pt x="6" y="1"/>
                  <a:pt x="5" y="1"/>
                </a:cubicBezTo>
                <a:cubicBezTo>
                  <a:pt x="3" y="2"/>
                  <a:pt x="4" y="4"/>
                  <a:pt x="5" y="4"/>
                </a:cubicBezTo>
                <a:cubicBezTo>
                  <a:pt x="4" y="4"/>
                  <a:pt x="2" y="1"/>
                  <a:pt x="1" y="3"/>
                </a:cubicBezTo>
                <a:cubicBezTo>
                  <a:pt x="0" y="4"/>
                  <a:pt x="0" y="5"/>
                  <a:pt x="1" y="6"/>
                </a:cubicBezTo>
                <a:cubicBezTo>
                  <a:pt x="2" y="7"/>
                  <a:pt x="10" y="5"/>
                  <a:pt x="11" y="4"/>
                </a:cubicBezTo>
                <a:cubicBezTo>
                  <a:pt x="11" y="4"/>
                  <a:pt x="10" y="3"/>
                  <a:pt x="9" y="3"/>
                </a:cubicBezTo>
                <a:cubicBezTo>
                  <a:pt x="10" y="3"/>
                  <a:pt x="12" y="3"/>
                  <a:pt x="12" y="3"/>
                </a:cubicBezTo>
                <a:cubicBezTo>
                  <a:pt x="13" y="2"/>
                  <a:pt x="11" y="0"/>
                  <a:pt x="10" y="1"/>
                </a:cubicBezTo>
                <a:cubicBezTo>
                  <a:pt x="9" y="1"/>
                  <a:pt x="11" y="0"/>
                  <a:pt x="10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71" name="Freeform 566">
            <a:extLst>
              <a:ext uri="{FF2B5EF4-FFF2-40B4-BE49-F238E27FC236}">
                <a16:creationId xmlns:a16="http://schemas.microsoft.com/office/drawing/2014/main" id="{FD7E47E2-DB38-1A4B-B1D2-C2B867449F64}"/>
              </a:ext>
            </a:extLst>
          </p:cNvPr>
          <p:cNvSpPr>
            <a:spLocks/>
          </p:cNvSpPr>
          <p:nvPr/>
        </p:nvSpPr>
        <p:spPr bwMode="auto">
          <a:xfrm>
            <a:off x="1894501" y="3169525"/>
            <a:ext cx="42356" cy="37071"/>
          </a:xfrm>
          <a:custGeom>
            <a:avLst/>
            <a:gdLst>
              <a:gd name="T0" fmla="*/ 2 w 8"/>
              <a:gd name="T1" fmla="*/ 6 h 7"/>
              <a:gd name="T2" fmla="*/ 5 w 8"/>
              <a:gd name="T3" fmla="*/ 4 h 7"/>
              <a:gd name="T4" fmla="*/ 8 w 8"/>
              <a:gd name="T5" fmla="*/ 4 h 7"/>
              <a:gd name="T6" fmla="*/ 5 w 8"/>
              <a:gd name="T7" fmla="*/ 2 h 7"/>
              <a:gd name="T8" fmla="*/ 2 w 8"/>
              <a:gd name="T9" fmla="*/ 6 h 7"/>
              <a:gd name="T10" fmla="*/ 2 w 8"/>
              <a:gd name="T11" fmla="*/ 6 h 7"/>
              <a:gd name="T12" fmla="*/ 2 w 8"/>
              <a:gd name="T13" fmla="*/ 6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" h="7">
                <a:moveTo>
                  <a:pt x="2" y="6"/>
                </a:moveTo>
                <a:cubicBezTo>
                  <a:pt x="3" y="5"/>
                  <a:pt x="4" y="5"/>
                  <a:pt x="5" y="4"/>
                </a:cubicBezTo>
                <a:cubicBezTo>
                  <a:pt x="6" y="4"/>
                  <a:pt x="8" y="4"/>
                  <a:pt x="8" y="4"/>
                </a:cubicBezTo>
                <a:cubicBezTo>
                  <a:pt x="8" y="4"/>
                  <a:pt x="7" y="0"/>
                  <a:pt x="5" y="2"/>
                </a:cubicBezTo>
                <a:cubicBezTo>
                  <a:pt x="5" y="2"/>
                  <a:pt x="1" y="5"/>
                  <a:pt x="2" y="6"/>
                </a:cubicBezTo>
                <a:cubicBezTo>
                  <a:pt x="2" y="6"/>
                  <a:pt x="2" y="6"/>
                  <a:pt x="2" y="6"/>
                </a:cubicBezTo>
                <a:cubicBezTo>
                  <a:pt x="4" y="5"/>
                  <a:pt x="0" y="7"/>
                  <a:pt x="2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72" name="Freeform 567">
            <a:extLst>
              <a:ext uri="{FF2B5EF4-FFF2-40B4-BE49-F238E27FC236}">
                <a16:creationId xmlns:a16="http://schemas.microsoft.com/office/drawing/2014/main" id="{AF146006-BD88-7847-9293-9AA4579C3056}"/>
              </a:ext>
            </a:extLst>
          </p:cNvPr>
          <p:cNvSpPr>
            <a:spLocks/>
          </p:cNvSpPr>
          <p:nvPr/>
        </p:nvSpPr>
        <p:spPr bwMode="auto">
          <a:xfrm>
            <a:off x="1599772" y="3310749"/>
            <a:ext cx="51180" cy="19419"/>
          </a:xfrm>
          <a:custGeom>
            <a:avLst/>
            <a:gdLst>
              <a:gd name="T0" fmla="*/ 9 w 10"/>
              <a:gd name="T1" fmla="*/ 2 h 4"/>
              <a:gd name="T2" fmla="*/ 9 w 10"/>
              <a:gd name="T3" fmla="*/ 1 h 4"/>
              <a:gd name="T4" fmla="*/ 6 w 10"/>
              <a:gd name="T5" fmla="*/ 0 h 4"/>
              <a:gd name="T6" fmla="*/ 2 w 10"/>
              <a:gd name="T7" fmla="*/ 2 h 4"/>
              <a:gd name="T8" fmla="*/ 3 w 10"/>
              <a:gd name="T9" fmla="*/ 4 h 4"/>
              <a:gd name="T10" fmla="*/ 9 w 10"/>
              <a:gd name="T11" fmla="*/ 2 h 4"/>
              <a:gd name="T12" fmla="*/ 9 w 10"/>
              <a:gd name="T13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" h="4">
                <a:moveTo>
                  <a:pt x="9" y="2"/>
                </a:moveTo>
                <a:cubicBezTo>
                  <a:pt x="10" y="2"/>
                  <a:pt x="8" y="1"/>
                  <a:pt x="9" y="1"/>
                </a:cubicBezTo>
                <a:cubicBezTo>
                  <a:pt x="8" y="0"/>
                  <a:pt x="7" y="0"/>
                  <a:pt x="6" y="0"/>
                </a:cubicBezTo>
                <a:cubicBezTo>
                  <a:pt x="5" y="1"/>
                  <a:pt x="3" y="1"/>
                  <a:pt x="2" y="2"/>
                </a:cubicBezTo>
                <a:cubicBezTo>
                  <a:pt x="0" y="3"/>
                  <a:pt x="2" y="4"/>
                  <a:pt x="3" y="4"/>
                </a:cubicBezTo>
                <a:cubicBezTo>
                  <a:pt x="5" y="4"/>
                  <a:pt x="7" y="1"/>
                  <a:pt x="9" y="2"/>
                </a:cubicBezTo>
                <a:cubicBezTo>
                  <a:pt x="10" y="2"/>
                  <a:pt x="7" y="1"/>
                  <a:pt x="9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73" name="Freeform 568">
            <a:extLst>
              <a:ext uri="{FF2B5EF4-FFF2-40B4-BE49-F238E27FC236}">
                <a16:creationId xmlns:a16="http://schemas.microsoft.com/office/drawing/2014/main" id="{357E36DE-7930-8A45-ACCD-0BF5DA162E92}"/>
              </a:ext>
            </a:extLst>
          </p:cNvPr>
          <p:cNvSpPr>
            <a:spLocks/>
          </p:cNvSpPr>
          <p:nvPr/>
        </p:nvSpPr>
        <p:spPr bwMode="auto">
          <a:xfrm>
            <a:off x="1538002" y="3340760"/>
            <a:ext cx="30002" cy="26481"/>
          </a:xfrm>
          <a:custGeom>
            <a:avLst/>
            <a:gdLst>
              <a:gd name="T0" fmla="*/ 6 w 6"/>
              <a:gd name="T1" fmla="*/ 2 h 5"/>
              <a:gd name="T2" fmla="*/ 3 w 6"/>
              <a:gd name="T3" fmla="*/ 2 h 5"/>
              <a:gd name="T4" fmla="*/ 3 w 6"/>
              <a:gd name="T5" fmla="*/ 4 h 5"/>
              <a:gd name="T6" fmla="*/ 0 w 6"/>
              <a:gd name="T7" fmla="*/ 5 h 5"/>
              <a:gd name="T8" fmla="*/ 6 w 6"/>
              <a:gd name="T9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5">
                <a:moveTo>
                  <a:pt x="6" y="2"/>
                </a:moveTo>
                <a:cubicBezTo>
                  <a:pt x="6" y="0"/>
                  <a:pt x="4" y="1"/>
                  <a:pt x="3" y="2"/>
                </a:cubicBezTo>
                <a:cubicBezTo>
                  <a:pt x="3" y="2"/>
                  <a:pt x="3" y="3"/>
                  <a:pt x="3" y="4"/>
                </a:cubicBezTo>
                <a:cubicBezTo>
                  <a:pt x="2" y="4"/>
                  <a:pt x="0" y="5"/>
                  <a:pt x="0" y="5"/>
                </a:cubicBezTo>
                <a:cubicBezTo>
                  <a:pt x="0" y="5"/>
                  <a:pt x="6" y="5"/>
                  <a:pt x="6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74" name="Freeform 569">
            <a:extLst>
              <a:ext uri="{FF2B5EF4-FFF2-40B4-BE49-F238E27FC236}">
                <a16:creationId xmlns:a16="http://schemas.microsoft.com/office/drawing/2014/main" id="{4B28B8B1-ADCE-584E-BBB0-E2B00872DA81}"/>
              </a:ext>
            </a:extLst>
          </p:cNvPr>
          <p:cNvSpPr>
            <a:spLocks/>
          </p:cNvSpPr>
          <p:nvPr/>
        </p:nvSpPr>
        <p:spPr bwMode="auto">
          <a:xfrm>
            <a:off x="3297554" y="2698188"/>
            <a:ext cx="107656" cy="67081"/>
          </a:xfrm>
          <a:custGeom>
            <a:avLst/>
            <a:gdLst>
              <a:gd name="T0" fmla="*/ 19 w 21"/>
              <a:gd name="T1" fmla="*/ 9 h 13"/>
              <a:gd name="T2" fmla="*/ 18 w 21"/>
              <a:gd name="T3" fmla="*/ 7 h 13"/>
              <a:gd name="T4" fmla="*/ 14 w 21"/>
              <a:gd name="T5" fmla="*/ 4 h 13"/>
              <a:gd name="T6" fmla="*/ 8 w 21"/>
              <a:gd name="T7" fmla="*/ 1 h 13"/>
              <a:gd name="T8" fmla="*/ 5 w 21"/>
              <a:gd name="T9" fmla="*/ 6 h 13"/>
              <a:gd name="T10" fmla="*/ 0 w 21"/>
              <a:gd name="T11" fmla="*/ 8 h 13"/>
              <a:gd name="T12" fmla="*/ 7 w 21"/>
              <a:gd name="T13" fmla="*/ 11 h 13"/>
              <a:gd name="T14" fmla="*/ 15 w 21"/>
              <a:gd name="T15" fmla="*/ 12 h 13"/>
              <a:gd name="T16" fmla="*/ 20 w 21"/>
              <a:gd name="T17" fmla="*/ 9 h 13"/>
              <a:gd name="T18" fmla="*/ 19 w 21"/>
              <a:gd name="T19" fmla="*/ 9 h 13"/>
              <a:gd name="T20" fmla="*/ 19 w 21"/>
              <a:gd name="T21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1" h="13">
                <a:moveTo>
                  <a:pt x="19" y="9"/>
                </a:moveTo>
                <a:cubicBezTo>
                  <a:pt x="15" y="10"/>
                  <a:pt x="19" y="8"/>
                  <a:pt x="18" y="7"/>
                </a:cubicBezTo>
                <a:cubicBezTo>
                  <a:pt x="17" y="7"/>
                  <a:pt x="15" y="4"/>
                  <a:pt x="14" y="4"/>
                </a:cubicBezTo>
                <a:cubicBezTo>
                  <a:pt x="12" y="4"/>
                  <a:pt x="10" y="1"/>
                  <a:pt x="8" y="1"/>
                </a:cubicBezTo>
                <a:cubicBezTo>
                  <a:pt x="6" y="0"/>
                  <a:pt x="6" y="5"/>
                  <a:pt x="5" y="6"/>
                </a:cubicBezTo>
                <a:cubicBezTo>
                  <a:pt x="4" y="6"/>
                  <a:pt x="0" y="6"/>
                  <a:pt x="0" y="8"/>
                </a:cubicBezTo>
                <a:cubicBezTo>
                  <a:pt x="1" y="10"/>
                  <a:pt x="6" y="11"/>
                  <a:pt x="7" y="11"/>
                </a:cubicBezTo>
                <a:cubicBezTo>
                  <a:pt x="9" y="12"/>
                  <a:pt x="13" y="13"/>
                  <a:pt x="15" y="12"/>
                </a:cubicBezTo>
                <a:cubicBezTo>
                  <a:pt x="15" y="12"/>
                  <a:pt x="20" y="10"/>
                  <a:pt x="20" y="9"/>
                </a:cubicBezTo>
                <a:cubicBezTo>
                  <a:pt x="20" y="9"/>
                  <a:pt x="19" y="9"/>
                  <a:pt x="19" y="9"/>
                </a:cubicBezTo>
                <a:cubicBezTo>
                  <a:pt x="18" y="10"/>
                  <a:pt x="21" y="9"/>
                  <a:pt x="19" y="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75" name="Freeform 570">
            <a:extLst>
              <a:ext uri="{FF2B5EF4-FFF2-40B4-BE49-F238E27FC236}">
                <a16:creationId xmlns:a16="http://schemas.microsoft.com/office/drawing/2014/main" id="{729B4CF0-FAD8-884A-A03B-290D3A71B1CB}"/>
              </a:ext>
            </a:extLst>
          </p:cNvPr>
          <p:cNvSpPr>
            <a:spLocks/>
          </p:cNvSpPr>
          <p:nvPr/>
        </p:nvSpPr>
        <p:spPr bwMode="auto">
          <a:xfrm>
            <a:off x="3260493" y="2729964"/>
            <a:ext cx="26472" cy="19419"/>
          </a:xfrm>
          <a:custGeom>
            <a:avLst/>
            <a:gdLst>
              <a:gd name="T0" fmla="*/ 2 w 5"/>
              <a:gd name="T1" fmla="*/ 4 h 4"/>
              <a:gd name="T2" fmla="*/ 4 w 5"/>
              <a:gd name="T3" fmla="*/ 1 h 4"/>
              <a:gd name="T4" fmla="*/ 2 w 5"/>
              <a:gd name="T5" fmla="*/ 4 h 4"/>
              <a:gd name="T6" fmla="*/ 2 w 5"/>
              <a:gd name="T7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4">
                <a:moveTo>
                  <a:pt x="2" y="4"/>
                </a:moveTo>
                <a:cubicBezTo>
                  <a:pt x="0" y="4"/>
                  <a:pt x="4" y="0"/>
                  <a:pt x="4" y="1"/>
                </a:cubicBezTo>
                <a:cubicBezTo>
                  <a:pt x="5" y="1"/>
                  <a:pt x="3" y="4"/>
                  <a:pt x="2" y="4"/>
                </a:cubicBezTo>
                <a:cubicBezTo>
                  <a:pt x="1" y="4"/>
                  <a:pt x="4" y="4"/>
                  <a:pt x="2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76" name="Freeform 571">
            <a:extLst>
              <a:ext uri="{FF2B5EF4-FFF2-40B4-BE49-F238E27FC236}">
                <a16:creationId xmlns:a16="http://schemas.microsoft.com/office/drawing/2014/main" id="{94452B12-AAD1-904D-AF50-E8193AB92B06}"/>
              </a:ext>
            </a:extLst>
          </p:cNvPr>
          <p:cNvSpPr>
            <a:spLocks/>
          </p:cNvSpPr>
          <p:nvPr/>
        </p:nvSpPr>
        <p:spPr bwMode="auto">
          <a:xfrm>
            <a:off x="3228725" y="2749382"/>
            <a:ext cx="10589" cy="10592"/>
          </a:xfrm>
          <a:custGeom>
            <a:avLst/>
            <a:gdLst>
              <a:gd name="T0" fmla="*/ 1 w 2"/>
              <a:gd name="T1" fmla="*/ 2 h 2"/>
              <a:gd name="T2" fmla="*/ 1 w 2"/>
              <a:gd name="T3" fmla="*/ 0 h 2"/>
              <a:gd name="T4" fmla="*/ 1 w 2"/>
              <a:gd name="T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2">
                <a:moveTo>
                  <a:pt x="1" y="2"/>
                </a:moveTo>
                <a:cubicBezTo>
                  <a:pt x="0" y="2"/>
                  <a:pt x="0" y="1"/>
                  <a:pt x="1" y="0"/>
                </a:cubicBezTo>
                <a:cubicBezTo>
                  <a:pt x="2" y="0"/>
                  <a:pt x="2" y="2"/>
                  <a:pt x="1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77" name="Freeform 572">
            <a:extLst>
              <a:ext uri="{FF2B5EF4-FFF2-40B4-BE49-F238E27FC236}">
                <a16:creationId xmlns:a16="http://schemas.microsoft.com/office/drawing/2014/main" id="{6031360E-EC2D-FA49-8473-215B4702EF99}"/>
              </a:ext>
            </a:extLst>
          </p:cNvPr>
          <p:cNvSpPr>
            <a:spLocks/>
          </p:cNvSpPr>
          <p:nvPr/>
        </p:nvSpPr>
        <p:spPr bwMode="auto">
          <a:xfrm>
            <a:off x="2783983" y="2532250"/>
            <a:ext cx="476509" cy="233020"/>
          </a:xfrm>
          <a:custGeom>
            <a:avLst/>
            <a:gdLst>
              <a:gd name="T0" fmla="*/ 76 w 92"/>
              <a:gd name="T1" fmla="*/ 41 h 45"/>
              <a:gd name="T2" fmla="*/ 71 w 92"/>
              <a:gd name="T3" fmla="*/ 39 h 45"/>
              <a:gd name="T4" fmla="*/ 61 w 92"/>
              <a:gd name="T5" fmla="*/ 38 h 45"/>
              <a:gd name="T6" fmla="*/ 45 w 92"/>
              <a:gd name="T7" fmla="*/ 43 h 45"/>
              <a:gd name="T8" fmla="*/ 29 w 92"/>
              <a:gd name="T9" fmla="*/ 41 h 45"/>
              <a:gd name="T10" fmla="*/ 21 w 92"/>
              <a:gd name="T11" fmla="*/ 38 h 45"/>
              <a:gd name="T12" fmla="*/ 10 w 92"/>
              <a:gd name="T13" fmla="*/ 31 h 45"/>
              <a:gd name="T14" fmla="*/ 40 w 92"/>
              <a:gd name="T15" fmla="*/ 29 h 45"/>
              <a:gd name="T16" fmla="*/ 9 w 92"/>
              <a:gd name="T17" fmla="*/ 26 h 45"/>
              <a:gd name="T18" fmla="*/ 16 w 92"/>
              <a:gd name="T19" fmla="*/ 19 h 45"/>
              <a:gd name="T20" fmla="*/ 14 w 92"/>
              <a:gd name="T21" fmla="*/ 18 h 45"/>
              <a:gd name="T22" fmla="*/ 7 w 92"/>
              <a:gd name="T23" fmla="*/ 17 h 45"/>
              <a:gd name="T24" fmla="*/ 4 w 92"/>
              <a:gd name="T25" fmla="*/ 11 h 45"/>
              <a:gd name="T26" fmla="*/ 8 w 92"/>
              <a:gd name="T27" fmla="*/ 7 h 45"/>
              <a:gd name="T28" fmla="*/ 24 w 92"/>
              <a:gd name="T29" fmla="*/ 1 h 45"/>
              <a:gd name="T30" fmla="*/ 29 w 92"/>
              <a:gd name="T31" fmla="*/ 7 h 45"/>
              <a:gd name="T32" fmla="*/ 39 w 92"/>
              <a:gd name="T33" fmla="*/ 6 h 45"/>
              <a:gd name="T34" fmla="*/ 43 w 92"/>
              <a:gd name="T35" fmla="*/ 8 h 45"/>
              <a:gd name="T36" fmla="*/ 47 w 92"/>
              <a:gd name="T37" fmla="*/ 9 h 45"/>
              <a:gd name="T38" fmla="*/ 43 w 92"/>
              <a:gd name="T39" fmla="*/ 4 h 45"/>
              <a:gd name="T40" fmla="*/ 54 w 92"/>
              <a:gd name="T41" fmla="*/ 10 h 45"/>
              <a:gd name="T42" fmla="*/ 60 w 92"/>
              <a:gd name="T43" fmla="*/ 14 h 45"/>
              <a:gd name="T44" fmla="*/ 59 w 92"/>
              <a:gd name="T45" fmla="*/ 1 h 45"/>
              <a:gd name="T46" fmla="*/ 69 w 92"/>
              <a:gd name="T47" fmla="*/ 6 h 45"/>
              <a:gd name="T48" fmla="*/ 74 w 92"/>
              <a:gd name="T49" fmla="*/ 19 h 45"/>
              <a:gd name="T50" fmla="*/ 82 w 92"/>
              <a:gd name="T51" fmla="*/ 26 h 45"/>
              <a:gd name="T52" fmla="*/ 92 w 92"/>
              <a:gd name="T53" fmla="*/ 33 h 45"/>
              <a:gd name="T54" fmla="*/ 83 w 92"/>
              <a:gd name="T55" fmla="*/ 35 h 45"/>
              <a:gd name="T56" fmla="*/ 81 w 92"/>
              <a:gd name="T57" fmla="*/ 36 h 45"/>
              <a:gd name="T58" fmla="*/ 85 w 92"/>
              <a:gd name="T59" fmla="*/ 36 h 45"/>
              <a:gd name="T60" fmla="*/ 89 w 92"/>
              <a:gd name="T61" fmla="*/ 39 h 45"/>
              <a:gd name="T62" fmla="*/ 83 w 92"/>
              <a:gd name="T63" fmla="*/ 4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2" h="45">
                <a:moveTo>
                  <a:pt x="83" y="41"/>
                </a:moveTo>
                <a:cubicBezTo>
                  <a:pt x="81" y="41"/>
                  <a:pt x="79" y="41"/>
                  <a:pt x="76" y="41"/>
                </a:cubicBezTo>
                <a:cubicBezTo>
                  <a:pt x="75" y="41"/>
                  <a:pt x="74" y="41"/>
                  <a:pt x="73" y="41"/>
                </a:cubicBezTo>
                <a:cubicBezTo>
                  <a:pt x="72" y="41"/>
                  <a:pt x="72" y="40"/>
                  <a:pt x="71" y="39"/>
                </a:cubicBezTo>
                <a:cubicBezTo>
                  <a:pt x="70" y="39"/>
                  <a:pt x="66" y="40"/>
                  <a:pt x="65" y="38"/>
                </a:cubicBezTo>
                <a:cubicBezTo>
                  <a:pt x="65" y="35"/>
                  <a:pt x="63" y="37"/>
                  <a:pt x="61" y="38"/>
                </a:cubicBezTo>
                <a:cubicBezTo>
                  <a:pt x="58" y="40"/>
                  <a:pt x="56" y="39"/>
                  <a:pt x="54" y="40"/>
                </a:cubicBezTo>
                <a:cubicBezTo>
                  <a:pt x="51" y="41"/>
                  <a:pt x="48" y="42"/>
                  <a:pt x="45" y="43"/>
                </a:cubicBezTo>
                <a:cubicBezTo>
                  <a:pt x="41" y="43"/>
                  <a:pt x="35" y="45"/>
                  <a:pt x="31" y="43"/>
                </a:cubicBezTo>
                <a:cubicBezTo>
                  <a:pt x="31" y="43"/>
                  <a:pt x="29" y="42"/>
                  <a:pt x="29" y="41"/>
                </a:cubicBezTo>
                <a:cubicBezTo>
                  <a:pt x="29" y="40"/>
                  <a:pt x="29" y="38"/>
                  <a:pt x="27" y="38"/>
                </a:cubicBezTo>
                <a:cubicBezTo>
                  <a:pt x="25" y="38"/>
                  <a:pt x="23" y="38"/>
                  <a:pt x="21" y="38"/>
                </a:cubicBezTo>
                <a:cubicBezTo>
                  <a:pt x="19" y="38"/>
                  <a:pt x="17" y="38"/>
                  <a:pt x="15" y="36"/>
                </a:cubicBezTo>
                <a:cubicBezTo>
                  <a:pt x="14" y="36"/>
                  <a:pt x="9" y="32"/>
                  <a:pt x="10" y="31"/>
                </a:cubicBezTo>
                <a:cubicBezTo>
                  <a:pt x="16" y="28"/>
                  <a:pt x="23" y="29"/>
                  <a:pt x="28" y="29"/>
                </a:cubicBezTo>
                <a:cubicBezTo>
                  <a:pt x="29" y="29"/>
                  <a:pt x="40" y="29"/>
                  <a:pt x="40" y="29"/>
                </a:cubicBezTo>
                <a:cubicBezTo>
                  <a:pt x="40" y="27"/>
                  <a:pt x="26" y="25"/>
                  <a:pt x="25" y="25"/>
                </a:cubicBezTo>
                <a:cubicBezTo>
                  <a:pt x="20" y="25"/>
                  <a:pt x="14" y="28"/>
                  <a:pt x="9" y="26"/>
                </a:cubicBezTo>
                <a:cubicBezTo>
                  <a:pt x="7" y="25"/>
                  <a:pt x="3" y="23"/>
                  <a:pt x="7" y="21"/>
                </a:cubicBezTo>
                <a:cubicBezTo>
                  <a:pt x="10" y="20"/>
                  <a:pt x="13" y="19"/>
                  <a:pt x="16" y="19"/>
                </a:cubicBezTo>
                <a:cubicBezTo>
                  <a:pt x="18" y="18"/>
                  <a:pt x="20" y="18"/>
                  <a:pt x="21" y="18"/>
                </a:cubicBezTo>
                <a:cubicBezTo>
                  <a:pt x="19" y="19"/>
                  <a:pt x="16" y="18"/>
                  <a:pt x="14" y="18"/>
                </a:cubicBezTo>
                <a:cubicBezTo>
                  <a:pt x="13" y="18"/>
                  <a:pt x="7" y="19"/>
                  <a:pt x="6" y="18"/>
                </a:cubicBezTo>
                <a:cubicBezTo>
                  <a:pt x="6" y="18"/>
                  <a:pt x="7" y="17"/>
                  <a:pt x="7" y="17"/>
                </a:cubicBezTo>
                <a:cubicBezTo>
                  <a:pt x="7" y="16"/>
                  <a:pt x="0" y="17"/>
                  <a:pt x="1" y="15"/>
                </a:cubicBezTo>
                <a:cubicBezTo>
                  <a:pt x="2" y="14"/>
                  <a:pt x="3" y="12"/>
                  <a:pt x="4" y="11"/>
                </a:cubicBezTo>
                <a:cubicBezTo>
                  <a:pt x="8" y="10"/>
                  <a:pt x="4" y="10"/>
                  <a:pt x="4" y="9"/>
                </a:cubicBezTo>
                <a:cubicBezTo>
                  <a:pt x="4" y="9"/>
                  <a:pt x="7" y="7"/>
                  <a:pt x="8" y="7"/>
                </a:cubicBezTo>
                <a:cubicBezTo>
                  <a:pt x="10" y="6"/>
                  <a:pt x="11" y="5"/>
                  <a:pt x="13" y="4"/>
                </a:cubicBezTo>
                <a:cubicBezTo>
                  <a:pt x="17" y="2"/>
                  <a:pt x="20" y="1"/>
                  <a:pt x="24" y="1"/>
                </a:cubicBezTo>
                <a:cubicBezTo>
                  <a:pt x="29" y="1"/>
                  <a:pt x="24" y="7"/>
                  <a:pt x="24" y="7"/>
                </a:cubicBezTo>
                <a:cubicBezTo>
                  <a:pt x="26" y="8"/>
                  <a:pt x="28" y="8"/>
                  <a:pt x="29" y="7"/>
                </a:cubicBezTo>
                <a:cubicBezTo>
                  <a:pt x="30" y="7"/>
                  <a:pt x="30" y="4"/>
                  <a:pt x="31" y="4"/>
                </a:cubicBezTo>
                <a:cubicBezTo>
                  <a:pt x="33" y="4"/>
                  <a:pt x="37" y="4"/>
                  <a:pt x="39" y="6"/>
                </a:cubicBezTo>
                <a:cubicBezTo>
                  <a:pt x="42" y="8"/>
                  <a:pt x="35" y="11"/>
                  <a:pt x="40" y="10"/>
                </a:cubicBezTo>
                <a:cubicBezTo>
                  <a:pt x="41" y="10"/>
                  <a:pt x="42" y="9"/>
                  <a:pt x="43" y="8"/>
                </a:cubicBezTo>
                <a:cubicBezTo>
                  <a:pt x="44" y="8"/>
                  <a:pt x="44" y="8"/>
                  <a:pt x="45" y="8"/>
                </a:cubicBezTo>
                <a:cubicBezTo>
                  <a:pt x="46" y="8"/>
                  <a:pt x="46" y="8"/>
                  <a:pt x="47" y="9"/>
                </a:cubicBezTo>
                <a:cubicBezTo>
                  <a:pt x="48" y="9"/>
                  <a:pt x="48" y="7"/>
                  <a:pt x="48" y="6"/>
                </a:cubicBezTo>
                <a:cubicBezTo>
                  <a:pt x="47" y="6"/>
                  <a:pt x="44" y="4"/>
                  <a:pt x="43" y="4"/>
                </a:cubicBezTo>
                <a:cubicBezTo>
                  <a:pt x="45" y="3"/>
                  <a:pt x="49" y="5"/>
                  <a:pt x="50" y="6"/>
                </a:cubicBezTo>
                <a:cubicBezTo>
                  <a:pt x="53" y="7"/>
                  <a:pt x="53" y="8"/>
                  <a:pt x="54" y="10"/>
                </a:cubicBezTo>
                <a:cubicBezTo>
                  <a:pt x="54" y="11"/>
                  <a:pt x="54" y="16"/>
                  <a:pt x="56" y="16"/>
                </a:cubicBezTo>
                <a:cubicBezTo>
                  <a:pt x="57" y="16"/>
                  <a:pt x="61" y="16"/>
                  <a:pt x="60" y="14"/>
                </a:cubicBezTo>
                <a:cubicBezTo>
                  <a:pt x="59" y="10"/>
                  <a:pt x="57" y="7"/>
                  <a:pt x="56" y="3"/>
                </a:cubicBezTo>
                <a:cubicBezTo>
                  <a:pt x="55" y="0"/>
                  <a:pt x="58" y="1"/>
                  <a:pt x="59" y="1"/>
                </a:cubicBezTo>
                <a:cubicBezTo>
                  <a:pt x="62" y="2"/>
                  <a:pt x="62" y="0"/>
                  <a:pt x="64" y="1"/>
                </a:cubicBezTo>
                <a:cubicBezTo>
                  <a:pt x="66" y="3"/>
                  <a:pt x="69" y="4"/>
                  <a:pt x="69" y="6"/>
                </a:cubicBezTo>
                <a:cubicBezTo>
                  <a:pt x="70" y="9"/>
                  <a:pt x="71" y="11"/>
                  <a:pt x="73" y="13"/>
                </a:cubicBezTo>
                <a:cubicBezTo>
                  <a:pt x="74" y="16"/>
                  <a:pt x="75" y="17"/>
                  <a:pt x="74" y="19"/>
                </a:cubicBezTo>
                <a:cubicBezTo>
                  <a:pt x="73" y="22"/>
                  <a:pt x="76" y="25"/>
                  <a:pt x="78" y="26"/>
                </a:cubicBezTo>
                <a:cubicBezTo>
                  <a:pt x="79" y="26"/>
                  <a:pt x="81" y="26"/>
                  <a:pt x="82" y="26"/>
                </a:cubicBezTo>
                <a:cubicBezTo>
                  <a:pt x="83" y="27"/>
                  <a:pt x="84" y="28"/>
                  <a:pt x="85" y="28"/>
                </a:cubicBezTo>
                <a:cubicBezTo>
                  <a:pt x="88" y="29"/>
                  <a:pt x="92" y="29"/>
                  <a:pt x="92" y="33"/>
                </a:cubicBezTo>
                <a:cubicBezTo>
                  <a:pt x="92" y="35"/>
                  <a:pt x="83" y="32"/>
                  <a:pt x="83" y="32"/>
                </a:cubicBezTo>
                <a:cubicBezTo>
                  <a:pt x="83" y="33"/>
                  <a:pt x="83" y="34"/>
                  <a:pt x="83" y="35"/>
                </a:cubicBezTo>
                <a:cubicBezTo>
                  <a:pt x="83" y="35"/>
                  <a:pt x="80" y="35"/>
                  <a:pt x="80" y="35"/>
                </a:cubicBezTo>
                <a:cubicBezTo>
                  <a:pt x="81" y="35"/>
                  <a:pt x="81" y="36"/>
                  <a:pt x="81" y="36"/>
                </a:cubicBezTo>
                <a:cubicBezTo>
                  <a:pt x="81" y="37"/>
                  <a:pt x="81" y="38"/>
                  <a:pt x="81" y="38"/>
                </a:cubicBezTo>
                <a:cubicBezTo>
                  <a:pt x="81" y="38"/>
                  <a:pt x="85" y="36"/>
                  <a:pt x="85" y="36"/>
                </a:cubicBezTo>
                <a:cubicBezTo>
                  <a:pt x="87" y="36"/>
                  <a:pt x="86" y="37"/>
                  <a:pt x="86" y="38"/>
                </a:cubicBezTo>
                <a:cubicBezTo>
                  <a:pt x="86" y="38"/>
                  <a:pt x="88" y="38"/>
                  <a:pt x="89" y="39"/>
                </a:cubicBezTo>
                <a:cubicBezTo>
                  <a:pt x="89" y="39"/>
                  <a:pt x="83" y="41"/>
                  <a:pt x="83" y="41"/>
                </a:cubicBezTo>
                <a:cubicBezTo>
                  <a:pt x="81" y="41"/>
                  <a:pt x="86" y="41"/>
                  <a:pt x="83" y="4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78" name="Freeform 573">
            <a:extLst>
              <a:ext uri="{FF2B5EF4-FFF2-40B4-BE49-F238E27FC236}">
                <a16:creationId xmlns:a16="http://schemas.microsoft.com/office/drawing/2014/main" id="{F77C284E-DD9F-C244-A05E-77ACD5A2B851}"/>
              </a:ext>
            </a:extLst>
          </p:cNvPr>
          <p:cNvSpPr>
            <a:spLocks/>
          </p:cNvSpPr>
          <p:nvPr/>
        </p:nvSpPr>
        <p:spPr bwMode="auto">
          <a:xfrm>
            <a:off x="3099892" y="2511066"/>
            <a:ext cx="72359" cy="47663"/>
          </a:xfrm>
          <a:custGeom>
            <a:avLst/>
            <a:gdLst>
              <a:gd name="T0" fmla="*/ 9 w 14"/>
              <a:gd name="T1" fmla="*/ 8 h 9"/>
              <a:gd name="T2" fmla="*/ 5 w 14"/>
              <a:gd name="T3" fmla="*/ 5 h 9"/>
              <a:gd name="T4" fmla="*/ 0 w 14"/>
              <a:gd name="T5" fmla="*/ 3 h 9"/>
              <a:gd name="T6" fmla="*/ 4 w 14"/>
              <a:gd name="T7" fmla="*/ 0 h 9"/>
              <a:gd name="T8" fmla="*/ 10 w 14"/>
              <a:gd name="T9" fmla="*/ 1 h 9"/>
              <a:gd name="T10" fmla="*/ 12 w 14"/>
              <a:gd name="T11" fmla="*/ 4 h 9"/>
              <a:gd name="T12" fmla="*/ 9 w 14"/>
              <a:gd name="T13" fmla="*/ 8 h 9"/>
              <a:gd name="T14" fmla="*/ 9 w 14"/>
              <a:gd name="T15" fmla="*/ 8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" h="9">
                <a:moveTo>
                  <a:pt x="9" y="8"/>
                </a:moveTo>
                <a:cubicBezTo>
                  <a:pt x="7" y="8"/>
                  <a:pt x="6" y="5"/>
                  <a:pt x="5" y="5"/>
                </a:cubicBezTo>
                <a:cubicBezTo>
                  <a:pt x="4" y="4"/>
                  <a:pt x="0" y="3"/>
                  <a:pt x="0" y="3"/>
                </a:cubicBezTo>
                <a:cubicBezTo>
                  <a:pt x="1" y="2"/>
                  <a:pt x="3" y="1"/>
                  <a:pt x="4" y="0"/>
                </a:cubicBezTo>
                <a:cubicBezTo>
                  <a:pt x="6" y="0"/>
                  <a:pt x="8" y="0"/>
                  <a:pt x="10" y="1"/>
                </a:cubicBezTo>
                <a:cubicBezTo>
                  <a:pt x="12" y="2"/>
                  <a:pt x="14" y="2"/>
                  <a:pt x="12" y="4"/>
                </a:cubicBezTo>
                <a:cubicBezTo>
                  <a:pt x="11" y="5"/>
                  <a:pt x="10" y="9"/>
                  <a:pt x="9" y="8"/>
                </a:cubicBezTo>
                <a:cubicBezTo>
                  <a:pt x="8" y="8"/>
                  <a:pt x="9" y="8"/>
                  <a:pt x="9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79" name="Freeform 574">
            <a:extLst>
              <a:ext uri="{FF2B5EF4-FFF2-40B4-BE49-F238E27FC236}">
                <a16:creationId xmlns:a16="http://schemas.microsoft.com/office/drawing/2014/main" id="{C40805F2-A048-7242-B1F7-BA142059ED09}"/>
              </a:ext>
            </a:extLst>
          </p:cNvPr>
          <p:cNvSpPr>
            <a:spLocks/>
          </p:cNvSpPr>
          <p:nvPr/>
        </p:nvSpPr>
        <p:spPr bwMode="auto">
          <a:xfrm>
            <a:off x="3214607" y="2489882"/>
            <a:ext cx="164130" cy="151817"/>
          </a:xfrm>
          <a:custGeom>
            <a:avLst/>
            <a:gdLst>
              <a:gd name="T0" fmla="*/ 18 w 32"/>
              <a:gd name="T1" fmla="*/ 27 h 29"/>
              <a:gd name="T2" fmla="*/ 10 w 32"/>
              <a:gd name="T3" fmla="*/ 19 h 29"/>
              <a:gd name="T4" fmla="*/ 1 w 32"/>
              <a:gd name="T5" fmla="*/ 15 h 29"/>
              <a:gd name="T6" fmla="*/ 0 w 32"/>
              <a:gd name="T7" fmla="*/ 13 h 29"/>
              <a:gd name="T8" fmla="*/ 4 w 32"/>
              <a:gd name="T9" fmla="*/ 12 h 29"/>
              <a:gd name="T10" fmla="*/ 11 w 32"/>
              <a:gd name="T11" fmla="*/ 14 h 29"/>
              <a:gd name="T12" fmla="*/ 11 w 32"/>
              <a:gd name="T13" fmla="*/ 12 h 29"/>
              <a:gd name="T14" fmla="*/ 13 w 32"/>
              <a:gd name="T15" fmla="*/ 11 h 29"/>
              <a:gd name="T16" fmla="*/ 7 w 32"/>
              <a:gd name="T17" fmla="*/ 8 h 29"/>
              <a:gd name="T18" fmla="*/ 7 w 32"/>
              <a:gd name="T19" fmla="*/ 6 h 29"/>
              <a:gd name="T20" fmla="*/ 10 w 32"/>
              <a:gd name="T21" fmla="*/ 7 h 29"/>
              <a:gd name="T22" fmla="*/ 11 w 32"/>
              <a:gd name="T23" fmla="*/ 5 h 29"/>
              <a:gd name="T24" fmla="*/ 8 w 32"/>
              <a:gd name="T25" fmla="*/ 4 h 29"/>
              <a:gd name="T26" fmla="*/ 10 w 32"/>
              <a:gd name="T27" fmla="*/ 3 h 29"/>
              <a:gd name="T28" fmla="*/ 14 w 32"/>
              <a:gd name="T29" fmla="*/ 4 h 29"/>
              <a:gd name="T30" fmla="*/ 13 w 32"/>
              <a:gd name="T31" fmla="*/ 3 h 29"/>
              <a:gd name="T32" fmla="*/ 19 w 32"/>
              <a:gd name="T33" fmla="*/ 5 h 29"/>
              <a:gd name="T34" fmla="*/ 18 w 32"/>
              <a:gd name="T35" fmla="*/ 3 h 29"/>
              <a:gd name="T36" fmla="*/ 19 w 32"/>
              <a:gd name="T37" fmla="*/ 3 h 29"/>
              <a:gd name="T38" fmla="*/ 17 w 32"/>
              <a:gd name="T39" fmla="*/ 2 h 29"/>
              <a:gd name="T40" fmla="*/ 25 w 32"/>
              <a:gd name="T41" fmla="*/ 1 h 29"/>
              <a:gd name="T42" fmla="*/ 23 w 32"/>
              <a:gd name="T43" fmla="*/ 3 h 29"/>
              <a:gd name="T44" fmla="*/ 28 w 32"/>
              <a:gd name="T45" fmla="*/ 4 h 29"/>
              <a:gd name="T46" fmla="*/ 27 w 32"/>
              <a:gd name="T47" fmla="*/ 7 h 29"/>
              <a:gd name="T48" fmla="*/ 26 w 32"/>
              <a:gd name="T49" fmla="*/ 8 h 29"/>
              <a:gd name="T50" fmla="*/ 23 w 32"/>
              <a:gd name="T51" fmla="*/ 10 h 29"/>
              <a:gd name="T52" fmla="*/ 21 w 32"/>
              <a:gd name="T53" fmla="*/ 13 h 29"/>
              <a:gd name="T54" fmla="*/ 24 w 32"/>
              <a:gd name="T55" fmla="*/ 11 h 29"/>
              <a:gd name="T56" fmla="*/ 26 w 32"/>
              <a:gd name="T57" fmla="*/ 13 h 29"/>
              <a:gd name="T58" fmla="*/ 29 w 32"/>
              <a:gd name="T59" fmla="*/ 13 h 29"/>
              <a:gd name="T60" fmla="*/ 28 w 32"/>
              <a:gd name="T61" fmla="*/ 10 h 29"/>
              <a:gd name="T62" fmla="*/ 30 w 32"/>
              <a:gd name="T63" fmla="*/ 11 h 29"/>
              <a:gd name="T64" fmla="*/ 30 w 32"/>
              <a:gd name="T65" fmla="*/ 14 h 29"/>
              <a:gd name="T66" fmla="*/ 31 w 32"/>
              <a:gd name="T67" fmla="*/ 17 h 29"/>
              <a:gd name="T68" fmla="*/ 28 w 32"/>
              <a:gd name="T69" fmla="*/ 23 h 29"/>
              <a:gd name="T70" fmla="*/ 22 w 32"/>
              <a:gd name="T71" fmla="*/ 23 h 29"/>
              <a:gd name="T72" fmla="*/ 21 w 32"/>
              <a:gd name="T73" fmla="*/ 23 h 29"/>
              <a:gd name="T74" fmla="*/ 23 w 32"/>
              <a:gd name="T75" fmla="*/ 26 h 29"/>
              <a:gd name="T76" fmla="*/ 18 w 32"/>
              <a:gd name="T77" fmla="*/ 27 h 29"/>
              <a:gd name="T78" fmla="*/ 18 w 32"/>
              <a:gd name="T79" fmla="*/ 27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2" h="29">
                <a:moveTo>
                  <a:pt x="18" y="27"/>
                </a:moveTo>
                <a:cubicBezTo>
                  <a:pt x="15" y="25"/>
                  <a:pt x="13" y="21"/>
                  <a:pt x="10" y="19"/>
                </a:cubicBezTo>
                <a:cubicBezTo>
                  <a:pt x="7" y="18"/>
                  <a:pt x="4" y="16"/>
                  <a:pt x="1" y="15"/>
                </a:cubicBezTo>
                <a:cubicBezTo>
                  <a:pt x="0" y="14"/>
                  <a:pt x="0" y="14"/>
                  <a:pt x="0" y="13"/>
                </a:cubicBezTo>
                <a:cubicBezTo>
                  <a:pt x="0" y="10"/>
                  <a:pt x="2" y="11"/>
                  <a:pt x="4" y="12"/>
                </a:cubicBezTo>
                <a:cubicBezTo>
                  <a:pt x="6" y="13"/>
                  <a:pt x="8" y="15"/>
                  <a:pt x="11" y="14"/>
                </a:cubicBezTo>
                <a:cubicBezTo>
                  <a:pt x="12" y="14"/>
                  <a:pt x="11" y="12"/>
                  <a:pt x="11" y="12"/>
                </a:cubicBezTo>
                <a:cubicBezTo>
                  <a:pt x="11" y="11"/>
                  <a:pt x="13" y="12"/>
                  <a:pt x="13" y="11"/>
                </a:cubicBezTo>
                <a:cubicBezTo>
                  <a:pt x="14" y="10"/>
                  <a:pt x="7" y="8"/>
                  <a:pt x="7" y="8"/>
                </a:cubicBezTo>
                <a:cubicBezTo>
                  <a:pt x="5" y="7"/>
                  <a:pt x="6" y="6"/>
                  <a:pt x="7" y="6"/>
                </a:cubicBezTo>
                <a:cubicBezTo>
                  <a:pt x="9" y="5"/>
                  <a:pt x="9" y="6"/>
                  <a:pt x="10" y="7"/>
                </a:cubicBezTo>
                <a:cubicBezTo>
                  <a:pt x="10" y="7"/>
                  <a:pt x="11" y="5"/>
                  <a:pt x="11" y="5"/>
                </a:cubicBezTo>
                <a:cubicBezTo>
                  <a:pt x="12" y="5"/>
                  <a:pt x="8" y="4"/>
                  <a:pt x="8" y="4"/>
                </a:cubicBezTo>
                <a:cubicBezTo>
                  <a:pt x="8" y="4"/>
                  <a:pt x="10" y="3"/>
                  <a:pt x="10" y="3"/>
                </a:cubicBezTo>
                <a:cubicBezTo>
                  <a:pt x="11" y="3"/>
                  <a:pt x="13" y="4"/>
                  <a:pt x="14" y="4"/>
                </a:cubicBezTo>
                <a:cubicBezTo>
                  <a:pt x="14" y="4"/>
                  <a:pt x="13" y="3"/>
                  <a:pt x="13" y="3"/>
                </a:cubicBezTo>
                <a:cubicBezTo>
                  <a:pt x="14" y="2"/>
                  <a:pt x="18" y="5"/>
                  <a:pt x="19" y="5"/>
                </a:cubicBezTo>
                <a:cubicBezTo>
                  <a:pt x="20" y="4"/>
                  <a:pt x="18" y="4"/>
                  <a:pt x="18" y="3"/>
                </a:cubicBezTo>
                <a:cubicBezTo>
                  <a:pt x="18" y="3"/>
                  <a:pt x="19" y="3"/>
                  <a:pt x="19" y="3"/>
                </a:cubicBezTo>
                <a:cubicBezTo>
                  <a:pt x="19" y="3"/>
                  <a:pt x="17" y="3"/>
                  <a:pt x="17" y="2"/>
                </a:cubicBezTo>
                <a:cubicBezTo>
                  <a:pt x="17" y="2"/>
                  <a:pt x="24" y="0"/>
                  <a:pt x="25" y="1"/>
                </a:cubicBezTo>
                <a:cubicBezTo>
                  <a:pt x="26" y="1"/>
                  <a:pt x="23" y="2"/>
                  <a:pt x="23" y="3"/>
                </a:cubicBezTo>
                <a:cubicBezTo>
                  <a:pt x="24" y="4"/>
                  <a:pt x="27" y="3"/>
                  <a:pt x="28" y="4"/>
                </a:cubicBezTo>
                <a:cubicBezTo>
                  <a:pt x="28" y="5"/>
                  <a:pt x="24" y="7"/>
                  <a:pt x="27" y="7"/>
                </a:cubicBezTo>
                <a:cubicBezTo>
                  <a:pt x="28" y="7"/>
                  <a:pt x="27" y="8"/>
                  <a:pt x="26" y="8"/>
                </a:cubicBezTo>
                <a:cubicBezTo>
                  <a:pt x="25" y="8"/>
                  <a:pt x="24" y="8"/>
                  <a:pt x="23" y="10"/>
                </a:cubicBezTo>
                <a:cubicBezTo>
                  <a:pt x="23" y="10"/>
                  <a:pt x="21" y="13"/>
                  <a:pt x="21" y="13"/>
                </a:cubicBezTo>
                <a:cubicBezTo>
                  <a:pt x="22" y="13"/>
                  <a:pt x="23" y="11"/>
                  <a:pt x="24" y="11"/>
                </a:cubicBezTo>
                <a:cubicBezTo>
                  <a:pt x="25" y="11"/>
                  <a:pt x="25" y="12"/>
                  <a:pt x="26" y="13"/>
                </a:cubicBezTo>
                <a:cubicBezTo>
                  <a:pt x="27" y="13"/>
                  <a:pt x="30" y="17"/>
                  <a:pt x="29" y="13"/>
                </a:cubicBezTo>
                <a:cubicBezTo>
                  <a:pt x="29" y="12"/>
                  <a:pt x="27" y="11"/>
                  <a:pt x="28" y="10"/>
                </a:cubicBezTo>
                <a:cubicBezTo>
                  <a:pt x="29" y="10"/>
                  <a:pt x="30" y="10"/>
                  <a:pt x="30" y="11"/>
                </a:cubicBezTo>
                <a:cubicBezTo>
                  <a:pt x="30" y="12"/>
                  <a:pt x="29" y="13"/>
                  <a:pt x="30" y="14"/>
                </a:cubicBezTo>
                <a:cubicBezTo>
                  <a:pt x="31" y="15"/>
                  <a:pt x="32" y="16"/>
                  <a:pt x="31" y="17"/>
                </a:cubicBezTo>
                <a:cubicBezTo>
                  <a:pt x="29" y="19"/>
                  <a:pt x="32" y="22"/>
                  <a:pt x="28" y="23"/>
                </a:cubicBezTo>
                <a:cubicBezTo>
                  <a:pt x="28" y="23"/>
                  <a:pt x="21" y="25"/>
                  <a:pt x="22" y="23"/>
                </a:cubicBezTo>
                <a:cubicBezTo>
                  <a:pt x="22" y="22"/>
                  <a:pt x="21" y="22"/>
                  <a:pt x="21" y="23"/>
                </a:cubicBezTo>
                <a:cubicBezTo>
                  <a:pt x="22" y="24"/>
                  <a:pt x="22" y="25"/>
                  <a:pt x="23" y="26"/>
                </a:cubicBezTo>
                <a:cubicBezTo>
                  <a:pt x="23" y="28"/>
                  <a:pt x="19" y="27"/>
                  <a:pt x="18" y="27"/>
                </a:cubicBezTo>
                <a:cubicBezTo>
                  <a:pt x="17" y="26"/>
                  <a:pt x="22" y="29"/>
                  <a:pt x="18" y="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80" name="Freeform 575">
            <a:extLst>
              <a:ext uri="{FF2B5EF4-FFF2-40B4-BE49-F238E27FC236}">
                <a16:creationId xmlns:a16="http://schemas.microsoft.com/office/drawing/2014/main" id="{50B79B39-5AB1-CE4D-9EBF-5C3DC7797674}"/>
              </a:ext>
            </a:extLst>
          </p:cNvPr>
          <p:cNvSpPr>
            <a:spLocks/>
          </p:cNvSpPr>
          <p:nvPr/>
        </p:nvSpPr>
        <p:spPr bwMode="auto">
          <a:xfrm>
            <a:off x="3389326" y="2489882"/>
            <a:ext cx="144716" cy="114745"/>
          </a:xfrm>
          <a:custGeom>
            <a:avLst/>
            <a:gdLst>
              <a:gd name="T0" fmla="*/ 7 w 28"/>
              <a:gd name="T1" fmla="*/ 22 h 22"/>
              <a:gd name="T2" fmla="*/ 3 w 28"/>
              <a:gd name="T3" fmla="*/ 19 h 22"/>
              <a:gd name="T4" fmla="*/ 1 w 28"/>
              <a:gd name="T5" fmla="*/ 11 h 22"/>
              <a:gd name="T6" fmla="*/ 1 w 28"/>
              <a:gd name="T7" fmla="*/ 4 h 22"/>
              <a:gd name="T8" fmla="*/ 6 w 28"/>
              <a:gd name="T9" fmla="*/ 4 h 22"/>
              <a:gd name="T10" fmla="*/ 5 w 28"/>
              <a:gd name="T11" fmla="*/ 1 h 22"/>
              <a:gd name="T12" fmla="*/ 16 w 28"/>
              <a:gd name="T13" fmla="*/ 2 h 22"/>
              <a:gd name="T14" fmla="*/ 25 w 28"/>
              <a:gd name="T15" fmla="*/ 3 h 22"/>
              <a:gd name="T16" fmla="*/ 23 w 28"/>
              <a:gd name="T17" fmla="*/ 8 h 22"/>
              <a:gd name="T18" fmla="*/ 19 w 28"/>
              <a:gd name="T19" fmla="*/ 13 h 22"/>
              <a:gd name="T20" fmla="*/ 12 w 28"/>
              <a:gd name="T21" fmla="*/ 13 h 22"/>
              <a:gd name="T22" fmla="*/ 10 w 28"/>
              <a:gd name="T23" fmla="*/ 14 h 22"/>
              <a:gd name="T24" fmla="*/ 11 w 28"/>
              <a:gd name="T25" fmla="*/ 17 h 22"/>
              <a:gd name="T26" fmla="*/ 7 w 28"/>
              <a:gd name="T27" fmla="*/ 22 h 22"/>
              <a:gd name="T28" fmla="*/ 7 w 28"/>
              <a:gd name="T29" fmla="*/ 2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8" h="22">
                <a:moveTo>
                  <a:pt x="7" y="22"/>
                </a:moveTo>
                <a:cubicBezTo>
                  <a:pt x="5" y="21"/>
                  <a:pt x="3" y="21"/>
                  <a:pt x="3" y="19"/>
                </a:cubicBezTo>
                <a:cubicBezTo>
                  <a:pt x="3" y="16"/>
                  <a:pt x="0" y="14"/>
                  <a:pt x="1" y="11"/>
                </a:cubicBezTo>
                <a:cubicBezTo>
                  <a:pt x="1" y="9"/>
                  <a:pt x="0" y="6"/>
                  <a:pt x="1" y="4"/>
                </a:cubicBezTo>
                <a:cubicBezTo>
                  <a:pt x="2" y="4"/>
                  <a:pt x="6" y="5"/>
                  <a:pt x="6" y="4"/>
                </a:cubicBezTo>
                <a:cubicBezTo>
                  <a:pt x="6" y="3"/>
                  <a:pt x="0" y="3"/>
                  <a:pt x="5" y="1"/>
                </a:cubicBezTo>
                <a:cubicBezTo>
                  <a:pt x="9" y="0"/>
                  <a:pt x="12" y="1"/>
                  <a:pt x="16" y="2"/>
                </a:cubicBezTo>
                <a:cubicBezTo>
                  <a:pt x="19" y="2"/>
                  <a:pt x="22" y="2"/>
                  <a:pt x="25" y="3"/>
                </a:cubicBezTo>
                <a:cubicBezTo>
                  <a:pt x="28" y="4"/>
                  <a:pt x="25" y="6"/>
                  <a:pt x="23" y="8"/>
                </a:cubicBezTo>
                <a:cubicBezTo>
                  <a:pt x="22" y="10"/>
                  <a:pt x="21" y="12"/>
                  <a:pt x="19" y="13"/>
                </a:cubicBezTo>
                <a:cubicBezTo>
                  <a:pt x="18" y="15"/>
                  <a:pt x="14" y="13"/>
                  <a:pt x="12" y="13"/>
                </a:cubicBezTo>
                <a:cubicBezTo>
                  <a:pt x="12" y="13"/>
                  <a:pt x="9" y="13"/>
                  <a:pt x="10" y="14"/>
                </a:cubicBezTo>
                <a:cubicBezTo>
                  <a:pt x="10" y="15"/>
                  <a:pt x="12" y="15"/>
                  <a:pt x="11" y="17"/>
                </a:cubicBezTo>
                <a:cubicBezTo>
                  <a:pt x="10" y="17"/>
                  <a:pt x="8" y="22"/>
                  <a:pt x="7" y="22"/>
                </a:cubicBezTo>
                <a:cubicBezTo>
                  <a:pt x="5" y="21"/>
                  <a:pt x="8" y="22"/>
                  <a:pt x="7" y="2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81" name="Freeform 576">
            <a:extLst>
              <a:ext uri="{FF2B5EF4-FFF2-40B4-BE49-F238E27FC236}">
                <a16:creationId xmlns:a16="http://schemas.microsoft.com/office/drawing/2014/main" id="{87D219DC-20EB-CA43-B6FE-31F17402FA09}"/>
              </a:ext>
            </a:extLst>
          </p:cNvPr>
          <p:cNvSpPr>
            <a:spLocks/>
          </p:cNvSpPr>
          <p:nvPr/>
        </p:nvSpPr>
        <p:spPr bwMode="auto">
          <a:xfrm>
            <a:off x="2614559" y="2475760"/>
            <a:ext cx="278846" cy="171235"/>
          </a:xfrm>
          <a:custGeom>
            <a:avLst/>
            <a:gdLst>
              <a:gd name="T0" fmla="*/ 52 w 54"/>
              <a:gd name="T1" fmla="*/ 10 h 33"/>
              <a:gd name="T2" fmla="*/ 45 w 54"/>
              <a:gd name="T3" fmla="*/ 4 h 33"/>
              <a:gd name="T4" fmla="*/ 41 w 54"/>
              <a:gd name="T5" fmla="*/ 3 h 33"/>
              <a:gd name="T6" fmla="*/ 35 w 54"/>
              <a:gd name="T7" fmla="*/ 4 h 33"/>
              <a:gd name="T8" fmla="*/ 32 w 54"/>
              <a:gd name="T9" fmla="*/ 3 h 33"/>
              <a:gd name="T10" fmla="*/ 27 w 54"/>
              <a:gd name="T11" fmla="*/ 1 h 33"/>
              <a:gd name="T12" fmla="*/ 20 w 54"/>
              <a:gd name="T13" fmla="*/ 0 h 33"/>
              <a:gd name="T14" fmla="*/ 11 w 54"/>
              <a:gd name="T15" fmla="*/ 1 h 33"/>
              <a:gd name="T16" fmla="*/ 8 w 54"/>
              <a:gd name="T17" fmla="*/ 3 h 33"/>
              <a:gd name="T18" fmla="*/ 7 w 54"/>
              <a:gd name="T19" fmla="*/ 11 h 33"/>
              <a:gd name="T20" fmla="*/ 7 w 54"/>
              <a:gd name="T21" fmla="*/ 15 h 33"/>
              <a:gd name="T22" fmla="*/ 4 w 54"/>
              <a:gd name="T23" fmla="*/ 18 h 33"/>
              <a:gd name="T24" fmla="*/ 0 w 54"/>
              <a:gd name="T25" fmla="*/ 24 h 33"/>
              <a:gd name="T26" fmla="*/ 7 w 54"/>
              <a:gd name="T27" fmla="*/ 26 h 33"/>
              <a:gd name="T28" fmla="*/ 15 w 54"/>
              <a:gd name="T29" fmla="*/ 32 h 33"/>
              <a:gd name="T30" fmla="*/ 19 w 54"/>
              <a:gd name="T31" fmla="*/ 30 h 33"/>
              <a:gd name="T32" fmla="*/ 25 w 54"/>
              <a:gd name="T33" fmla="*/ 29 h 33"/>
              <a:gd name="T34" fmla="*/ 28 w 54"/>
              <a:gd name="T35" fmla="*/ 26 h 33"/>
              <a:gd name="T36" fmla="*/ 31 w 54"/>
              <a:gd name="T37" fmla="*/ 21 h 33"/>
              <a:gd name="T38" fmla="*/ 37 w 54"/>
              <a:gd name="T39" fmla="*/ 17 h 33"/>
              <a:gd name="T40" fmla="*/ 46 w 54"/>
              <a:gd name="T41" fmla="*/ 13 h 33"/>
              <a:gd name="T42" fmla="*/ 52 w 54"/>
              <a:gd name="T43" fmla="*/ 10 h 33"/>
              <a:gd name="T44" fmla="*/ 52 w 54"/>
              <a:gd name="T45" fmla="*/ 1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4" h="33">
                <a:moveTo>
                  <a:pt x="52" y="10"/>
                </a:moveTo>
                <a:cubicBezTo>
                  <a:pt x="50" y="8"/>
                  <a:pt x="48" y="6"/>
                  <a:pt x="45" y="4"/>
                </a:cubicBezTo>
                <a:cubicBezTo>
                  <a:pt x="44" y="4"/>
                  <a:pt x="42" y="3"/>
                  <a:pt x="41" y="3"/>
                </a:cubicBezTo>
                <a:cubicBezTo>
                  <a:pt x="38" y="2"/>
                  <a:pt x="37" y="3"/>
                  <a:pt x="35" y="4"/>
                </a:cubicBezTo>
                <a:cubicBezTo>
                  <a:pt x="34" y="4"/>
                  <a:pt x="33" y="3"/>
                  <a:pt x="32" y="3"/>
                </a:cubicBezTo>
                <a:cubicBezTo>
                  <a:pt x="31" y="2"/>
                  <a:pt x="29" y="2"/>
                  <a:pt x="27" y="1"/>
                </a:cubicBezTo>
                <a:cubicBezTo>
                  <a:pt x="25" y="1"/>
                  <a:pt x="22" y="0"/>
                  <a:pt x="20" y="0"/>
                </a:cubicBezTo>
                <a:cubicBezTo>
                  <a:pt x="17" y="0"/>
                  <a:pt x="14" y="1"/>
                  <a:pt x="11" y="1"/>
                </a:cubicBezTo>
                <a:cubicBezTo>
                  <a:pt x="9" y="2"/>
                  <a:pt x="6" y="1"/>
                  <a:pt x="8" y="3"/>
                </a:cubicBezTo>
                <a:cubicBezTo>
                  <a:pt x="10" y="7"/>
                  <a:pt x="10" y="8"/>
                  <a:pt x="7" y="11"/>
                </a:cubicBezTo>
                <a:cubicBezTo>
                  <a:pt x="5" y="13"/>
                  <a:pt x="7" y="14"/>
                  <a:pt x="7" y="15"/>
                </a:cubicBezTo>
                <a:cubicBezTo>
                  <a:pt x="6" y="16"/>
                  <a:pt x="4" y="16"/>
                  <a:pt x="4" y="18"/>
                </a:cubicBezTo>
                <a:cubicBezTo>
                  <a:pt x="3" y="20"/>
                  <a:pt x="1" y="22"/>
                  <a:pt x="0" y="24"/>
                </a:cubicBezTo>
                <a:cubicBezTo>
                  <a:pt x="0" y="25"/>
                  <a:pt x="6" y="26"/>
                  <a:pt x="7" y="26"/>
                </a:cubicBezTo>
                <a:cubicBezTo>
                  <a:pt x="10" y="28"/>
                  <a:pt x="12" y="32"/>
                  <a:pt x="15" y="32"/>
                </a:cubicBezTo>
                <a:cubicBezTo>
                  <a:pt x="16" y="33"/>
                  <a:pt x="18" y="31"/>
                  <a:pt x="19" y="30"/>
                </a:cubicBezTo>
                <a:cubicBezTo>
                  <a:pt x="21" y="29"/>
                  <a:pt x="23" y="30"/>
                  <a:pt x="25" y="29"/>
                </a:cubicBezTo>
                <a:cubicBezTo>
                  <a:pt x="27" y="29"/>
                  <a:pt x="27" y="28"/>
                  <a:pt x="28" y="26"/>
                </a:cubicBezTo>
                <a:cubicBezTo>
                  <a:pt x="28" y="24"/>
                  <a:pt x="28" y="23"/>
                  <a:pt x="31" y="21"/>
                </a:cubicBezTo>
                <a:cubicBezTo>
                  <a:pt x="33" y="20"/>
                  <a:pt x="34" y="18"/>
                  <a:pt x="37" y="17"/>
                </a:cubicBezTo>
                <a:cubicBezTo>
                  <a:pt x="40" y="15"/>
                  <a:pt x="43" y="14"/>
                  <a:pt x="46" y="13"/>
                </a:cubicBezTo>
                <a:cubicBezTo>
                  <a:pt x="46" y="13"/>
                  <a:pt x="53" y="10"/>
                  <a:pt x="52" y="10"/>
                </a:cubicBezTo>
                <a:cubicBezTo>
                  <a:pt x="51" y="9"/>
                  <a:pt x="54" y="11"/>
                  <a:pt x="52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82" name="Freeform 577">
            <a:extLst>
              <a:ext uri="{FF2B5EF4-FFF2-40B4-BE49-F238E27FC236}">
                <a16:creationId xmlns:a16="http://schemas.microsoft.com/office/drawing/2014/main" id="{428FCEAD-7ED9-9D48-BB43-31A18CD98D7C}"/>
              </a:ext>
            </a:extLst>
          </p:cNvPr>
          <p:cNvSpPr>
            <a:spLocks/>
          </p:cNvSpPr>
          <p:nvPr/>
        </p:nvSpPr>
        <p:spPr bwMode="auto">
          <a:xfrm>
            <a:off x="3156367" y="2428097"/>
            <a:ext cx="37062" cy="21184"/>
          </a:xfrm>
          <a:custGeom>
            <a:avLst/>
            <a:gdLst>
              <a:gd name="T0" fmla="*/ 4 w 7"/>
              <a:gd name="T1" fmla="*/ 4 h 4"/>
              <a:gd name="T2" fmla="*/ 1 w 7"/>
              <a:gd name="T3" fmla="*/ 3 h 4"/>
              <a:gd name="T4" fmla="*/ 3 w 7"/>
              <a:gd name="T5" fmla="*/ 0 h 4"/>
              <a:gd name="T6" fmla="*/ 4 w 7"/>
              <a:gd name="T7" fmla="*/ 4 h 4"/>
              <a:gd name="T8" fmla="*/ 4 w 7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4">
                <a:moveTo>
                  <a:pt x="4" y="4"/>
                </a:moveTo>
                <a:cubicBezTo>
                  <a:pt x="3" y="4"/>
                  <a:pt x="1" y="4"/>
                  <a:pt x="1" y="3"/>
                </a:cubicBezTo>
                <a:cubicBezTo>
                  <a:pt x="0" y="2"/>
                  <a:pt x="3" y="0"/>
                  <a:pt x="3" y="0"/>
                </a:cubicBezTo>
                <a:cubicBezTo>
                  <a:pt x="6" y="0"/>
                  <a:pt x="7" y="4"/>
                  <a:pt x="4" y="4"/>
                </a:cubicBezTo>
                <a:cubicBezTo>
                  <a:pt x="1" y="3"/>
                  <a:pt x="6" y="4"/>
                  <a:pt x="4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83" name="Freeform 578">
            <a:extLst>
              <a:ext uri="{FF2B5EF4-FFF2-40B4-BE49-F238E27FC236}">
                <a16:creationId xmlns:a16="http://schemas.microsoft.com/office/drawing/2014/main" id="{8F5CE70B-C82B-C247-9A54-B9DFF8C383A8}"/>
              </a:ext>
            </a:extLst>
          </p:cNvPr>
          <p:cNvSpPr>
            <a:spLocks/>
          </p:cNvSpPr>
          <p:nvPr/>
        </p:nvSpPr>
        <p:spPr bwMode="auto">
          <a:xfrm>
            <a:off x="2836930" y="2334537"/>
            <a:ext cx="310612" cy="146520"/>
          </a:xfrm>
          <a:custGeom>
            <a:avLst/>
            <a:gdLst>
              <a:gd name="T0" fmla="*/ 50 w 60"/>
              <a:gd name="T1" fmla="*/ 22 h 28"/>
              <a:gd name="T2" fmla="*/ 48 w 60"/>
              <a:gd name="T3" fmla="*/ 21 h 28"/>
              <a:gd name="T4" fmla="*/ 46 w 60"/>
              <a:gd name="T5" fmla="*/ 23 h 28"/>
              <a:gd name="T6" fmla="*/ 43 w 60"/>
              <a:gd name="T7" fmla="*/ 22 h 28"/>
              <a:gd name="T8" fmla="*/ 40 w 60"/>
              <a:gd name="T9" fmla="*/ 23 h 28"/>
              <a:gd name="T10" fmla="*/ 24 w 60"/>
              <a:gd name="T11" fmla="*/ 27 h 28"/>
              <a:gd name="T12" fmla="*/ 19 w 60"/>
              <a:gd name="T13" fmla="*/ 28 h 28"/>
              <a:gd name="T14" fmla="*/ 17 w 60"/>
              <a:gd name="T15" fmla="*/ 24 h 28"/>
              <a:gd name="T16" fmla="*/ 24 w 60"/>
              <a:gd name="T17" fmla="*/ 22 h 28"/>
              <a:gd name="T18" fmla="*/ 29 w 60"/>
              <a:gd name="T19" fmla="*/ 22 h 28"/>
              <a:gd name="T20" fmla="*/ 31 w 60"/>
              <a:gd name="T21" fmla="*/ 20 h 28"/>
              <a:gd name="T22" fmla="*/ 24 w 60"/>
              <a:gd name="T23" fmla="*/ 20 h 28"/>
              <a:gd name="T24" fmla="*/ 19 w 60"/>
              <a:gd name="T25" fmla="*/ 21 h 28"/>
              <a:gd name="T26" fmla="*/ 19 w 60"/>
              <a:gd name="T27" fmla="*/ 19 h 28"/>
              <a:gd name="T28" fmla="*/ 12 w 60"/>
              <a:gd name="T29" fmla="*/ 21 h 28"/>
              <a:gd name="T30" fmla="*/ 11 w 60"/>
              <a:gd name="T31" fmla="*/ 22 h 28"/>
              <a:gd name="T32" fmla="*/ 9 w 60"/>
              <a:gd name="T33" fmla="*/ 23 h 28"/>
              <a:gd name="T34" fmla="*/ 5 w 60"/>
              <a:gd name="T35" fmla="*/ 21 h 28"/>
              <a:gd name="T36" fmla="*/ 0 w 60"/>
              <a:gd name="T37" fmla="*/ 20 h 28"/>
              <a:gd name="T38" fmla="*/ 4 w 60"/>
              <a:gd name="T39" fmla="*/ 18 h 28"/>
              <a:gd name="T40" fmla="*/ 9 w 60"/>
              <a:gd name="T41" fmla="*/ 17 h 28"/>
              <a:gd name="T42" fmla="*/ 11 w 60"/>
              <a:gd name="T43" fmla="*/ 16 h 28"/>
              <a:gd name="T44" fmla="*/ 5 w 60"/>
              <a:gd name="T45" fmla="*/ 16 h 28"/>
              <a:gd name="T46" fmla="*/ 4 w 60"/>
              <a:gd name="T47" fmla="*/ 14 h 28"/>
              <a:gd name="T48" fmla="*/ 12 w 60"/>
              <a:gd name="T49" fmla="*/ 13 h 28"/>
              <a:gd name="T50" fmla="*/ 4 w 60"/>
              <a:gd name="T51" fmla="*/ 12 h 28"/>
              <a:gd name="T52" fmla="*/ 13 w 60"/>
              <a:gd name="T53" fmla="*/ 10 h 28"/>
              <a:gd name="T54" fmla="*/ 9 w 60"/>
              <a:gd name="T55" fmla="*/ 8 h 28"/>
              <a:gd name="T56" fmla="*/ 14 w 60"/>
              <a:gd name="T57" fmla="*/ 6 h 28"/>
              <a:gd name="T58" fmla="*/ 17 w 60"/>
              <a:gd name="T59" fmla="*/ 10 h 28"/>
              <a:gd name="T60" fmla="*/ 25 w 60"/>
              <a:gd name="T61" fmla="*/ 11 h 28"/>
              <a:gd name="T62" fmla="*/ 29 w 60"/>
              <a:gd name="T63" fmla="*/ 14 h 28"/>
              <a:gd name="T64" fmla="*/ 32 w 60"/>
              <a:gd name="T65" fmla="*/ 17 h 28"/>
              <a:gd name="T66" fmla="*/ 39 w 60"/>
              <a:gd name="T67" fmla="*/ 16 h 28"/>
              <a:gd name="T68" fmla="*/ 37 w 60"/>
              <a:gd name="T69" fmla="*/ 13 h 28"/>
              <a:gd name="T70" fmla="*/ 38 w 60"/>
              <a:gd name="T71" fmla="*/ 9 h 28"/>
              <a:gd name="T72" fmla="*/ 36 w 60"/>
              <a:gd name="T73" fmla="*/ 8 h 28"/>
              <a:gd name="T74" fmla="*/ 38 w 60"/>
              <a:gd name="T75" fmla="*/ 5 h 28"/>
              <a:gd name="T76" fmla="*/ 43 w 60"/>
              <a:gd name="T77" fmla="*/ 3 h 28"/>
              <a:gd name="T78" fmla="*/ 44 w 60"/>
              <a:gd name="T79" fmla="*/ 7 h 28"/>
              <a:gd name="T80" fmla="*/ 45 w 60"/>
              <a:gd name="T81" fmla="*/ 9 h 28"/>
              <a:gd name="T82" fmla="*/ 44 w 60"/>
              <a:gd name="T83" fmla="*/ 10 h 28"/>
              <a:gd name="T84" fmla="*/ 47 w 60"/>
              <a:gd name="T85" fmla="*/ 11 h 28"/>
              <a:gd name="T86" fmla="*/ 51 w 60"/>
              <a:gd name="T87" fmla="*/ 14 h 28"/>
              <a:gd name="T88" fmla="*/ 53 w 60"/>
              <a:gd name="T89" fmla="*/ 13 h 28"/>
              <a:gd name="T90" fmla="*/ 57 w 60"/>
              <a:gd name="T91" fmla="*/ 12 h 28"/>
              <a:gd name="T92" fmla="*/ 59 w 60"/>
              <a:gd name="T93" fmla="*/ 15 h 28"/>
              <a:gd name="T94" fmla="*/ 58 w 60"/>
              <a:gd name="T95" fmla="*/ 20 h 28"/>
              <a:gd name="T96" fmla="*/ 50 w 60"/>
              <a:gd name="T97" fmla="*/ 22 h 28"/>
              <a:gd name="T98" fmla="*/ 50 w 60"/>
              <a:gd name="T99" fmla="*/ 22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" h="28">
                <a:moveTo>
                  <a:pt x="50" y="22"/>
                </a:moveTo>
                <a:cubicBezTo>
                  <a:pt x="49" y="22"/>
                  <a:pt x="49" y="21"/>
                  <a:pt x="48" y="21"/>
                </a:cubicBezTo>
                <a:cubicBezTo>
                  <a:pt x="48" y="21"/>
                  <a:pt x="46" y="22"/>
                  <a:pt x="46" y="23"/>
                </a:cubicBezTo>
                <a:cubicBezTo>
                  <a:pt x="45" y="23"/>
                  <a:pt x="44" y="23"/>
                  <a:pt x="43" y="22"/>
                </a:cubicBezTo>
                <a:cubicBezTo>
                  <a:pt x="42" y="22"/>
                  <a:pt x="41" y="22"/>
                  <a:pt x="40" y="23"/>
                </a:cubicBezTo>
                <a:cubicBezTo>
                  <a:pt x="35" y="25"/>
                  <a:pt x="30" y="26"/>
                  <a:pt x="24" y="27"/>
                </a:cubicBezTo>
                <a:cubicBezTo>
                  <a:pt x="23" y="27"/>
                  <a:pt x="20" y="28"/>
                  <a:pt x="19" y="28"/>
                </a:cubicBezTo>
                <a:cubicBezTo>
                  <a:pt x="17" y="27"/>
                  <a:pt x="13" y="26"/>
                  <a:pt x="17" y="24"/>
                </a:cubicBezTo>
                <a:cubicBezTo>
                  <a:pt x="19" y="24"/>
                  <a:pt x="22" y="22"/>
                  <a:pt x="24" y="22"/>
                </a:cubicBezTo>
                <a:cubicBezTo>
                  <a:pt x="26" y="22"/>
                  <a:pt x="28" y="22"/>
                  <a:pt x="29" y="22"/>
                </a:cubicBezTo>
                <a:cubicBezTo>
                  <a:pt x="29" y="22"/>
                  <a:pt x="32" y="20"/>
                  <a:pt x="31" y="20"/>
                </a:cubicBezTo>
                <a:cubicBezTo>
                  <a:pt x="30" y="19"/>
                  <a:pt x="25" y="20"/>
                  <a:pt x="24" y="20"/>
                </a:cubicBezTo>
                <a:cubicBezTo>
                  <a:pt x="22" y="21"/>
                  <a:pt x="21" y="21"/>
                  <a:pt x="19" y="21"/>
                </a:cubicBezTo>
                <a:cubicBezTo>
                  <a:pt x="17" y="21"/>
                  <a:pt x="19" y="20"/>
                  <a:pt x="19" y="19"/>
                </a:cubicBezTo>
                <a:cubicBezTo>
                  <a:pt x="19" y="16"/>
                  <a:pt x="13" y="21"/>
                  <a:pt x="12" y="21"/>
                </a:cubicBezTo>
                <a:cubicBezTo>
                  <a:pt x="12" y="21"/>
                  <a:pt x="11" y="22"/>
                  <a:pt x="11" y="22"/>
                </a:cubicBezTo>
                <a:cubicBezTo>
                  <a:pt x="9" y="20"/>
                  <a:pt x="9" y="22"/>
                  <a:pt x="9" y="23"/>
                </a:cubicBezTo>
                <a:cubicBezTo>
                  <a:pt x="9" y="23"/>
                  <a:pt x="6" y="21"/>
                  <a:pt x="5" y="21"/>
                </a:cubicBezTo>
                <a:cubicBezTo>
                  <a:pt x="4" y="21"/>
                  <a:pt x="0" y="22"/>
                  <a:pt x="0" y="20"/>
                </a:cubicBezTo>
                <a:cubicBezTo>
                  <a:pt x="0" y="18"/>
                  <a:pt x="2" y="19"/>
                  <a:pt x="4" y="18"/>
                </a:cubicBezTo>
                <a:cubicBezTo>
                  <a:pt x="6" y="18"/>
                  <a:pt x="8" y="18"/>
                  <a:pt x="9" y="17"/>
                </a:cubicBezTo>
                <a:cubicBezTo>
                  <a:pt x="9" y="17"/>
                  <a:pt x="12" y="16"/>
                  <a:pt x="11" y="16"/>
                </a:cubicBezTo>
                <a:cubicBezTo>
                  <a:pt x="9" y="15"/>
                  <a:pt x="6" y="16"/>
                  <a:pt x="5" y="16"/>
                </a:cubicBezTo>
                <a:cubicBezTo>
                  <a:pt x="2" y="16"/>
                  <a:pt x="0" y="14"/>
                  <a:pt x="4" y="14"/>
                </a:cubicBezTo>
                <a:cubicBezTo>
                  <a:pt x="6" y="14"/>
                  <a:pt x="10" y="13"/>
                  <a:pt x="12" y="13"/>
                </a:cubicBezTo>
                <a:cubicBezTo>
                  <a:pt x="11" y="13"/>
                  <a:pt x="4" y="14"/>
                  <a:pt x="4" y="12"/>
                </a:cubicBezTo>
                <a:cubicBezTo>
                  <a:pt x="3" y="10"/>
                  <a:pt x="12" y="11"/>
                  <a:pt x="13" y="10"/>
                </a:cubicBezTo>
                <a:cubicBezTo>
                  <a:pt x="13" y="10"/>
                  <a:pt x="9" y="9"/>
                  <a:pt x="9" y="8"/>
                </a:cubicBezTo>
                <a:cubicBezTo>
                  <a:pt x="8" y="7"/>
                  <a:pt x="14" y="6"/>
                  <a:pt x="14" y="6"/>
                </a:cubicBezTo>
                <a:cubicBezTo>
                  <a:pt x="17" y="6"/>
                  <a:pt x="15" y="10"/>
                  <a:pt x="17" y="10"/>
                </a:cubicBezTo>
                <a:cubicBezTo>
                  <a:pt x="20" y="10"/>
                  <a:pt x="22" y="10"/>
                  <a:pt x="25" y="11"/>
                </a:cubicBezTo>
                <a:cubicBezTo>
                  <a:pt x="26" y="12"/>
                  <a:pt x="28" y="13"/>
                  <a:pt x="29" y="14"/>
                </a:cubicBezTo>
                <a:cubicBezTo>
                  <a:pt x="31" y="16"/>
                  <a:pt x="30" y="17"/>
                  <a:pt x="32" y="17"/>
                </a:cubicBezTo>
                <a:cubicBezTo>
                  <a:pt x="35" y="17"/>
                  <a:pt x="37" y="17"/>
                  <a:pt x="39" y="16"/>
                </a:cubicBezTo>
                <a:cubicBezTo>
                  <a:pt x="43" y="15"/>
                  <a:pt x="37" y="14"/>
                  <a:pt x="37" y="13"/>
                </a:cubicBezTo>
                <a:cubicBezTo>
                  <a:pt x="37" y="13"/>
                  <a:pt x="45" y="12"/>
                  <a:pt x="38" y="9"/>
                </a:cubicBezTo>
                <a:cubicBezTo>
                  <a:pt x="37" y="9"/>
                  <a:pt x="35" y="9"/>
                  <a:pt x="36" y="8"/>
                </a:cubicBezTo>
                <a:cubicBezTo>
                  <a:pt x="37" y="7"/>
                  <a:pt x="38" y="6"/>
                  <a:pt x="38" y="5"/>
                </a:cubicBezTo>
                <a:cubicBezTo>
                  <a:pt x="39" y="4"/>
                  <a:pt x="43" y="0"/>
                  <a:pt x="43" y="3"/>
                </a:cubicBezTo>
                <a:cubicBezTo>
                  <a:pt x="43" y="4"/>
                  <a:pt x="44" y="5"/>
                  <a:pt x="44" y="7"/>
                </a:cubicBezTo>
                <a:cubicBezTo>
                  <a:pt x="45" y="7"/>
                  <a:pt x="45" y="8"/>
                  <a:pt x="45" y="9"/>
                </a:cubicBezTo>
                <a:cubicBezTo>
                  <a:pt x="46" y="10"/>
                  <a:pt x="44" y="9"/>
                  <a:pt x="44" y="10"/>
                </a:cubicBezTo>
                <a:cubicBezTo>
                  <a:pt x="44" y="12"/>
                  <a:pt x="47" y="10"/>
                  <a:pt x="47" y="11"/>
                </a:cubicBezTo>
                <a:cubicBezTo>
                  <a:pt x="47" y="13"/>
                  <a:pt x="50" y="14"/>
                  <a:pt x="51" y="14"/>
                </a:cubicBezTo>
                <a:cubicBezTo>
                  <a:pt x="53" y="14"/>
                  <a:pt x="53" y="15"/>
                  <a:pt x="53" y="13"/>
                </a:cubicBezTo>
                <a:cubicBezTo>
                  <a:pt x="53" y="11"/>
                  <a:pt x="55" y="11"/>
                  <a:pt x="57" y="12"/>
                </a:cubicBezTo>
                <a:cubicBezTo>
                  <a:pt x="58" y="12"/>
                  <a:pt x="60" y="14"/>
                  <a:pt x="59" y="15"/>
                </a:cubicBezTo>
                <a:cubicBezTo>
                  <a:pt x="59" y="16"/>
                  <a:pt x="58" y="19"/>
                  <a:pt x="58" y="20"/>
                </a:cubicBezTo>
                <a:cubicBezTo>
                  <a:pt x="57" y="21"/>
                  <a:pt x="51" y="22"/>
                  <a:pt x="50" y="22"/>
                </a:cubicBezTo>
                <a:cubicBezTo>
                  <a:pt x="48" y="21"/>
                  <a:pt x="51" y="22"/>
                  <a:pt x="50" y="2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84" name="Freeform 579">
            <a:extLst>
              <a:ext uri="{FF2B5EF4-FFF2-40B4-BE49-F238E27FC236}">
                <a16:creationId xmlns:a16="http://schemas.microsoft.com/office/drawing/2014/main" id="{20CACEA3-A007-014D-8009-E57F05507350}"/>
              </a:ext>
            </a:extLst>
          </p:cNvPr>
          <p:cNvSpPr>
            <a:spLocks/>
          </p:cNvSpPr>
          <p:nvPr/>
        </p:nvSpPr>
        <p:spPr bwMode="auto">
          <a:xfrm>
            <a:off x="2783983" y="2392792"/>
            <a:ext cx="52945" cy="35306"/>
          </a:xfrm>
          <a:custGeom>
            <a:avLst/>
            <a:gdLst>
              <a:gd name="T0" fmla="*/ 9 w 10"/>
              <a:gd name="T1" fmla="*/ 1 h 7"/>
              <a:gd name="T2" fmla="*/ 0 w 10"/>
              <a:gd name="T3" fmla="*/ 5 h 7"/>
              <a:gd name="T4" fmla="*/ 6 w 10"/>
              <a:gd name="T5" fmla="*/ 5 h 7"/>
              <a:gd name="T6" fmla="*/ 9 w 10"/>
              <a:gd name="T7" fmla="*/ 1 h 7"/>
              <a:gd name="T8" fmla="*/ 9 w 10"/>
              <a:gd name="T9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7">
                <a:moveTo>
                  <a:pt x="9" y="1"/>
                </a:moveTo>
                <a:cubicBezTo>
                  <a:pt x="8" y="1"/>
                  <a:pt x="0" y="5"/>
                  <a:pt x="0" y="5"/>
                </a:cubicBezTo>
                <a:cubicBezTo>
                  <a:pt x="2" y="6"/>
                  <a:pt x="5" y="7"/>
                  <a:pt x="6" y="5"/>
                </a:cubicBezTo>
                <a:cubicBezTo>
                  <a:pt x="7" y="4"/>
                  <a:pt x="9" y="0"/>
                  <a:pt x="9" y="1"/>
                </a:cubicBezTo>
                <a:cubicBezTo>
                  <a:pt x="7" y="1"/>
                  <a:pt x="10" y="0"/>
                  <a:pt x="9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85" name="Freeform 580">
            <a:extLst>
              <a:ext uri="{FF2B5EF4-FFF2-40B4-BE49-F238E27FC236}">
                <a16:creationId xmlns:a16="http://schemas.microsoft.com/office/drawing/2014/main" id="{37FAD68E-7B6D-B341-8A11-6DB6F182930E}"/>
              </a:ext>
            </a:extLst>
          </p:cNvPr>
          <p:cNvSpPr>
            <a:spLocks/>
          </p:cNvSpPr>
          <p:nvPr/>
        </p:nvSpPr>
        <p:spPr bwMode="auto">
          <a:xfrm>
            <a:off x="2692212" y="2315119"/>
            <a:ext cx="190604" cy="88266"/>
          </a:xfrm>
          <a:custGeom>
            <a:avLst/>
            <a:gdLst>
              <a:gd name="T0" fmla="*/ 30 w 37"/>
              <a:gd name="T1" fmla="*/ 12 h 17"/>
              <a:gd name="T2" fmla="*/ 27 w 37"/>
              <a:gd name="T3" fmla="*/ 13 h 17"/>
              <a:gd name="T4" fmla="*/ 26 w 37"/>
              <a:gd name="T5" fmla="*/ 10 h 17"/>
              <a:gd name="T6" fmla="*/ 23 w 37"/>
              <a:gd name="T7" fmla="*/ 8 h 17"/>
              <a:gd name="T8" fmla="*/ 22 w 37"/>
              <a:gd name="T9" fmla="*/ 10 h 17"/>
              <a:gd name="T10" fmla="*/ 21 w 37"/>
              <a:gd name="T11" fmla="*/ 9 h 17"/>
              <a:gd name="T12" fmla="*/ 20 w 37"/>
              <a:gd name="T13" fmla="*/ 13 h 17"/>
              <a:gd name="T14" fmla="*/ 17 w 37"/>
              <a:gd name="T15" fmla="*/ 14 h 17"/>
              <a:gd name="T16" fmla="*/ 16 w 37"/>
              <a:gd name="T17" fmla="*/ 16 h 17"/>
              <a:gd name="T18" fmla="*/ 12 w 37"/>
              <a:gd name="T19" fmla="*/ 17 h 17"/>
              <a:gd name="T20" fmla="*/ 10 w 37"/>
              <a:gd name="T21" fmla="*/ 15 h 17"/>
              <a:gd name="T22" fmla="*/ 5 w 37"/>
              <a:gd name="T23" fmla="*/ 16 h 17"/>
              <a:gd name="T24" fmla="*/ 1 w 37"/>
              <a:gd name="T25" fmla="*/ 17 h 17"/>
              <a:gd name="T26" fmla="*/ 2 w 37"/>
              <a:gd name="T27" fmla="*/ 13 h 17"/>
              <a:gd name="T28" fmla="*/ 0 w 37"/>
              <a:gd name="T29" fmla="*/ 14 h 17"/>
              <a:gd name="T30" fmla="*/ 6 w 37"/>
              <a:gd name="T31" fmla="*/ 12 h 17"/>
              <a:gd name="T32" fmla="*/ 9 w 37"/>
              <a:gd name="T33" fmla="*/ 10 h 17"/>
              <a:gd name="T34" fmla="*/ 13 w 37"/>
              <a:gd name="T35" fmla="*/ 7 h 17"/>
              <a:gd name="T36" fmla="*/ 18 w 37"/>
              <a:gd name="T37" fmla="*/ 3 h 17"/>
              <a:gd name="T38" fmla="*/ 24 w 37"/>
              <a:gd name="T39" fmla="*/ 3 h 17"/>
              <a:gd name="T40" fmla="*/ 30 w 37"/>
              <a:gd name="T41" fmla="*/ 3 h 17"/>
              <a:gd name="T42" fmla="*/ 32 w 37"/>
              <a:gd name="T43" fmla="*/ 0 h 17"/>
              <a:gd name="T44" fmla="*/ 36 w 37"/>
              <a:gd name="T45" fmla="*/ 2 h 17"/>
              <a:gd name="T46" fmla="*/ 34 w 37"/>
              <a:gd name="T47" fmla="*/ 4 h 17"/>
              <a:gd name="T48" fmla="*/ 34 w 37"/>
              <a:gd name="T49" fmla="*/ 7 h 17"/>
              <a:gd name="T50" fmla="*/ 35 w 37"/>
              <a:gd name="T51" fmla="*/ 9 h 17"/>
              <a:gd name="T52" fmla="*/ 31 w 37"/>
              <a:gd name="T53" fmla="*/ 10 h 17"/>
              <a:gd name="T54" fmla="*/ 30 w 37"/>
              <a:gd name="T55" fmla="*/ 12 h 17"/>
              <a:gd name="T56" fmla="*/ 30 w 37"/>
              <a:gd name="T57" fmla="*/ 12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7" h="17">
                <a:moveTo>
                  <a:pt x="30" y="12"/>
                </a:moveTo>
                <a:cubicBezTo>
                  <a:pt x="29" y="13"/>
                  <a:pt x="27" y="13"/>
                  <a:pt x="27" y="13"/>
                </a:cubicBezTo>
                <a:cubicBezTo>
                  <a:pt x="24" y="13"/>
                  <a:pt x="25" y="11"/>
                  <a:pt x="26" y="10"/>
                </a:cubicBezTo>
                <a:cubicBezTo>
                  <a:pt x="27" y="8"/>
                  <a:pt x="24" y="7"/>
                  <a:pt x="23" y="8"/>
                </a:cubicBezTo>
                <a:cubicBezTo>
                  <a:pt x="23" y="9"/>
                  <a:pt x="23" y="10"/>
                  <a:pt x="22" y="10"/>
                </a:cubicBezTo>
                <a:cubicBezTo>
                  <a:pt x="22" y="10"/>
                  <a:pt x="21" y="10"/>
                  <a:pt x="21" y="9"/>
                </a:cubicBezTo>
                <a:cubicBezTo>
                  <a:pt x="20" y="10"/>
                  <a:pt x="21" y="12"/>
                  <a:pt x="20" y="13"/>
                </a:cubicBezTo>
                <a:cubicBezTo>
                  <a:pt x="19" y="15"/>
                  <a:pt x="18" y="13"/>
                  <a:pt x="17" y="14"/>
                </a:cubicBezTo>
                <a:cubicBezTo>
                  <a:pt x="16" y="14"/>
                  <a:pt x="17" y="16"/>
                  <a:pt x="16" y="16"/>
                </a:cubicBezTo>
                <a:cubicBezTo>
                  <a:pt x="16" y="17"/>
                  <a:pt x="13" y="17"/>
                  <a:pt x="12" y="17"/>
                </a:cubicBezTo>
                <a:cubicBezTo>
                  <a:pt x="11" y="16"/>
                  <a:pt x="11" y="14"/>
                  <a:pt x="10" y="15"/>
                </a:cubicBezTo>
                <a:cubicBezTo>
                  <a:pt x="8" y="16"/>
                  <a:pt x="7" y="16"/>
                  <a:pt x="5" y="16"/>
                </a:cubicBezTo>
                <a:cubicBezTo>
                  <a:pt x="4" y="16"/>
                  <a:pt x="2" y="17"/>
                  <a:pt x="1" y="17"/>
                </a:cubicBezTo>
                <a:cubicBezTo>
                  <a:pt x="0" y="17"/>
                  <a:pt x="3" y="14"/>
                  <a:pt x="2" y="13"/>
                </a:cubicBezTo>
                <a:cubicBezTo>
                  <a:pt x="2" y="13"/>
                  <a:pt x="1" y="14"/>
                  <a:pt x="0" y="14"/>
                </a:cubicBezTo>
                <a:cubicBezTo>
                  <a:pt x="0" y="13"/>
                  <a:pt x="5" y="12"/>
                  <a:pt x="6" y="12"/>
                </a:cubicBezTo>
                <a:cubicBezTo>
                  <a:pt x="8" y="12"/>
                  <a:pt x="8" y="11"/>
                  <a:pt x="9" y="10"/>
                </a:cubicBezTo>
                <a:cubicBezTo>
                  <a:pt x="11" y="8"/>
                  <a:pt x="12" y="8"/>
                  <a:pt x="13" y="7"/>
                </a:cubicBezTo>
                <a:cubicBezTo>
                  <a:pt x="15" y="5"/>
                  <a:pt x="16" y="3"/>
                  <a:pt x="18" y="3"/>
                </a:cubicBezTo>
                <a:cubicBezTo>
                  <a:pt x="20" y="2"/>
                  <a:pt x="22" y="2"/>
                  <a:pt x="24" y="3"/>
                </a:cubicBezTo>
                <a:cubicBezTo>
                  <a:pt x="26" y="3"/>
                  <a:pt x="29" y="4"/>
                  <a:pt x="30" y="3"/>
                </a:cubicBezTo>
                <a:cubicBezTo>
                  <a:pt x="31" y="2"/>
                  <a:pt x="30" y="0"/>
                  <a:pt x="32" y="0"/>
                </a:cubicBezTo>
                <a:cubicBezTo>
                  <a:pt x="32" y="0"/>
                  <a:pt x="36" y="1"/>
                  <a:pt x="36" y="2"/>
                </a:cubicBezTo>
                <a:cubicBezTo>
                  <a:pt x="37" y="2"/>
                  <a:pt x="34" y="3"/>
                  <a:pt x="34" y="4"/>
                </a:cubicBezTo>
                <a:cubicBezTo>
                  <a:pt x="34" y="5"/>
                  <a:pt x="37" y="6"/>
                  <a:pt x="34" y="7"/>
                </a:cubicBezTo>
                <a:cubicBezTo>
                  <a:pt x="33" y="8"/>
                  <a:pt x="36" y="9"/>
                  <a:pt x="35" y="9"/>
                </a:cubicBezTo>
                <a:cubicBezTo>
                  <a:pt x="33" y="10"/>
                  <a:pt x="32" y="10"/>
                  <a:pt x="31" y="10"/>
                </a:cubicBezTo>
                <a:cubicBezTo>
                  <a:pt x="31" y="11"/>
                  <a:pt x="31" y="11"/>
                  <a:pt x="30" y="12"/>
                </a:cubicBezTo>
                <a:cubicBezTo>
                  <a:pt x="29" y="13"/>
                  <a:pt x="31" y="11"/>
                  <a:pt x="30" y="1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86" name="Freeform 581">
            <a:extLst>
              <a:ext uri="{FF2B5EF4-FFF2-40B4-BE49-F238E27FC236}">
                <a16:creationId xmlns:a16="http://schemas.microsoft.com/office/drawing/2014/main" id="{3A738AFF-7541-DB4E-9E01-15DA7D087CF5}"/>
              </a:ext>
            </a:extLst>
          </p:cNvPr>
          <p:cNvSpPr>
            <a:spLocks/>
          </p:cNvSpPr>
          <p:nvPr/>
        </p:nvSpPr>
        <p:spPr bwMode="auto">
          <a:xfrm>
            <a:off x="2898699" y="2350422"/>
            <a:ext cx="40591" cy="10592"/>
          </a:xfrm>
          <a:custGeom>
            <a:avLst/>
            <a:gdLst>
              <a:gd name="T0" fmla="*/ 6 w 8"/>
              <a:gd name="T1" fmla="*/ 2 h 2"/>
              <a:gd name="T2" fmla="*/ 3 w 8"/>
              <a:gd name="T3" fmla="*/ 0 h 2"/>
              <a:gd name="T4" fmla="*/ 6 w 8"/>
              <a:gd name="T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" h="2">
                <a:moveTo>
                  <a:pt x="6" y="2"/>
                </a:moveTo>
                <a:cubicBezTo>
                  <a:pt x="4" y="2"/>
                  <a:pt x="0" y="1"/>
                  <a:pt x="3" y="0"/>
                </a:cubicBezTo>
                <a:cubicBezTo>
                  <a:pt x="5" y="0"/>
                  <a:pt x="8" y="2"/>
                  <a:pt x="6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87" name="Freeform 582">
            <a:extLst>
              <a:ext uri="{FF2B5EF4-FFF2-40B4-BE49-F238E27FC236}">
                <a16:creationId xmlns:a16="http://schemas.microsoft.com/office/drawing/2014/main" id="{A167FA5B-5B42-E24E-ABF2-A1C7D81757F7}"/>
              </a:ext>
            </a:extLst>
          </p:cNvPr>
          <p:cNvSpPr>
            <a:spLocks/>
          </p:cNvSpPr>
          <p:nvPr/>
        </p:nvSpPr>
        <p:spPr bwMode="auto">
          <a:xfrm>
            <a:off x="2933996" y="2278048"/>
            <a:ext cx="109421" cy="51193"/>
          </a:xfrm>
          <a:custGeom>
            <a:avLst/>
            <a:gdLst>
              <a:gd name="T0" fmla="*/ 7 w 21"/>
              <a:gd name="T1" fmla="*/ 9 h 10"/>
              <a:gd name="T2" fmla="*/ 2 w 21"/>
              <a:gd name="T3" fmla="*/ 4 h 10"/>
              <a:gd name="T4" fmla="*/ 9 w 21"/>
              <a:gd name="T5" fmla="*/ 2 h 10"/>
              <a:gd name="T6" fmla="*/ 17 w 21"/>
              <a:gd name="T7" fmla="*/ 0 h 10"/>
              <a:gd name="T8" fmla="*/ 19 w 21"/>
              <a:gd name="T9" fmla="*/ 2 h 10"/>
              <a:gd name="T10" fmla="*/ 14 w 21"/>
              <a:gd name="T11" fmla="*/ 4 h 10"/>
              <a:gd name="T12" fmla="*/ 15 w 21"/>
              <a:gd name="T13" fmla="*/ 7 h 10"/>
              <a:gd name="T14" fmla="*/ 7 w 21"/>
              <a:gd name="T15" fmla="*/ 9 h 10"/>
              <a:gd name="T16" fmla="*/ 7 w 21"/>
              <a:gd name="T17" fmla="*/ 9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" h="10">
                <a:moveTo>
                  <a:pt x="7" y="9"/>
                </a:moveTo>
                <a:cubicBezTo>
                  <a:pt x="6" y="9"/>
                  <a:pt x="0" y="6"/>
                  <a:pt x="2" y="4"/>
                </a:cubicBezTo>
                <a:cubicBezTo>
                  <a:pt x="4" y="2"/>
                  <a:pt x="7" y="2"/>
                  <a:pt x="9" y="2"/>
                </a:cubicBezTo>
                <a:cubicBezTo>
                  <a:pt x="12" y="1"/>
                  <a:pt x="15" y="0"/>
                  <a:pt x="17" y="0"/>
                </a:cubicBezTo>
                <a:cubicBezTo>
                  <a:pt x="18" y="0"/>
                  <a:pt x="21" y="1"/>
                  <a:pt x="19" y="2"/>
                </a:cubicBezTo>
                <a:cubicBezTo>
                  <a:pt x="18" y="3"/>
                  <a:pt x="15" y="2"/>
                  <a:pt x="14" y="4"/>
                </a:cubicBezTo>
                <a:cubicBezTo>
                  <a:pt x="14" y="4"/>
                  <a:pt x="19" y="6"/>
                  <a:pt x="15" y="7"/>
                </a:cubicBezTo>
                <a:cubicBezTo>
                  <a:pt x="13" y="8"/>
                  <a:pt x="10" y="10"/>
                  <a:pt x="7" y="9"/>
                </a:cubicBezTo>
                <a:cubicBezTo>
                  <a:pt x="5" y="9"/>
                  <a:pt x="9" y="10"/>
                  <a:pt x="7" y="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88" name="Freeform 583">
            <a:extLst>
              <a:ext uri="{FF2B5EF4-FFF2-40B4-BE49-F238E27FC236}">
                <a16:creationId xmlns:a16="http://schemas.microsoft.com/office/drawing/2014/main" id="{7768B433-03F4-4242-B9E2-B35639E882E2}"/>
              </a:ext>
            </a:extLst>
          </p:cNvPr>
          <p:cNvSpPr>
            <a:spLocks/>
          </p:cNvSpPr>
          <p:nvPr/>
        </p:nvSpPr>
        <p:spPr bwMode="auto">
          <a:xfrm>
            <a:off x="2888110" y="2288638"/>
            <a:ext cx="40591" cy="21184"/>
          </a:xfrm>
          <a:custGeom>
            <a:avLst/>
            <a:gdLst>
              <a:gd name="T0" fmla="*/ 6 w 8"/>
              <a:gd name="T1" fmla="*/ 4 h 4"/>
              <a:gd name="T2" fmla="*/ 3 w 8"/>
              <a:gd name="T3" fmla="*/ 0 h 4"/>
              <a:gd name="T4" fmla="*/ 6 w 8"/>
              <a:gd name="T5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" h="4">
                <a:moveTo>
                  <a:pt x="6" y="4"/>
                </a:moveTo>
                <a:cubicBezTo>
                  <a:pt x="4" y="4"/>
                  <a:pt x="0" y="0"/>
                  <a:pt x="3" y="0"/>
                </a:cubicBezTo>
                <a:cubicBezTo>
                  <a:pt x="6" y="0"/>
                  <a:pt x="8" y="3"/>
                  <a:pt x="6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89" name="Freeform 584">
            <a:extLst>
              <a:ext uri="{FF2B5EF4-FFF2-40B4-BE49-F238E27FC236}">
                <a16:creationId xmlns:a16="http://schemas.microsoft.com/office/drawing/2014/main" id="{5F6B631E-C1D7-6A40-A4E3-6112D888FC01}"/>
              </a:ext>
            </a:extLst>
          </p:cNvPr>
          <p:cNvSpPr>
            <a:spLocks/>
          </p:cNvSpPr>
          <p:nvPr/>
        </p:nvSpPr>
        <p:spPr bwMode="auto">
          <a:xfrm>
            <a:off x="2944585" y="2240975"/>
            <a:ext cx="109421" cy="37071"/>
          </a:xfrm>
          <a:custGeom>
            <a:avLst/>
            <a:gdLst>
              <a:gd name="T0" fmla="*/ 1 w 21"/>
              <a:gd name="T1" fmla="*/ 5 h 7"/>
              <a:gd name="T2" fmla="*/ 4 w 21"/>
              <a:gd name="T3" fmla="*/ 4 h 7"/>
              <a:gd name="T4" fmla="*/ 9 w 21"/>
              <a:gd name="T5" fmla="*/ 1 h 7"/>
              <a:gd name="T6" fmla="*/ 18 w 21"/>
              <a:gd name="T7" fmla="*/ 3 h 7"/>
              <a:gd name="T8" fmla="*/ 11 w 21"/>
              <a:gd name="T9" fmla="*/ 6 h 7"/>
              <a:gd name="T10" fmla="*/ 6 w 21"/>
              <a:gd name="T11" fmla="*/ 6 h 7"/>
              <a:gd name="T12" fmla="*/ 1 w 21"/>
              <a:gd name="T13" fmla="*/ 5 h 7"/>
              <a:gd name="T14" fmla="*/ 1 w 21"/>
              <a:gd name="T15" fmla="*/ 5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7">
                <a:moveTo>
                  <a:pt x="1" y="5"/>
                </a:moveTo>
                <a:cubicBezTo>
                  <a:pt x="0" y="5"/>
                  <a:pt x="3" y="4"/>
                  <a:pt x="4" y="4"/>
                </a:cubicBezTo>
                <a:cubicBezTo>
                  <a:pt x="6" y="3"/>
                  <a:pt x="7" y="2"/>
                  <a:pt x="9" y="1"/>
                </a:cubicBezTo>
                <a:cubicBezTo>
                  <a:pt x="12" y="0"/>
                  <a:pt x="15" y="1"/>
                  <a:pt x="18" y="3"/>
                </a:cubicBezTo>
                <a:cubicBezTo>
                  <a:pt x="21" y="6"/>
                  <a:pt x="12" y="6"/>
                  <a:pt x="11" y="6"/>
                </a:cubicBezTo>
                <a:cubicBezTo>
                  <a:pt x="9" y="6"/>
                  <a:pt x="8" y="7"/>
                  <a:pt x="6" y="6"/>
                </a:cubicBezTo>
                <a:cubicBezTo>
                  <a:pt x="4" y="5"/>
                  <a:pt x="2" y="6"/>
                  <a:pt x="1" y="5"/>
                </a:cubicBezTo>
                <a:cubicBezTo>
                  <a:pt x="0" y="4"/>
                  <a:pt x="2" y="6"/>
                  <a:pt x="1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90" name="Freeform 585">
            <a:extLst>
              <a:ext uri="{FF2B5EF4-FFF2-40B4-BE49-F238E27FC236}">
                <a16:creationId xmlns:a16="http://schemas.microsoft.com/office/drawing/2014/main" id="{0B75BF63-2CCA-DE44-8010-5B157BE498EA}"/>
              </a:ext>
            </a:extLst>
          </p:cNvPr>
          <p:cNvSpPr>
            <a:spLocks/>
          </p:cNvSpPr>
          <p:nvPr/>
        </p:nvSpPr>
        <p:spPr bwMode="auto">
          <a:xfrm>
            <a:off x="3209312" y="2350422"/>
            <a:ext cx="144716" cy="98858"/>
          </a:xfrm>
          <a:custGeom>
            <a:avLst/>
            <a:gdLst>
              <a:gd name="T0" fmla="*/ 22 w 28"/>
              <a:gd name="T1" fmla="*/ 19 h 19"/>
              <a:gd name="T2" fmla="*/ 15 w 28"/>
              <a:gd name="T3" fmla="*/ 19 h 19"/>
              <a:gd name="T4" fmla="*/ 15 w 28"/>
              <a:gd name="T5" fmla="*/ 17 h 19"/>
              <a:gd name="T6" fmla="*/ 12 w 28"/>
              <a:gd name="T7" fmla="*/ 15 h 19"/>
              <a:gd name="T8" fmla="*/ 17 w 28"/>
              <a:gd name="T9" fmla="*/ 13 h 19"/>
              <a:gd name="T10" fmla="*/ 16 w 28"/>
              <a:gd name="T11" fmla="*/ 12 h 19"/>
              <a:gd name="T12" fmla="*/ 9 w 28"/>
              <a:gd name="T13" fmla="*/ 13 h 19"/>
              <a:gd name="T14" fmla="*/ 2 w 28"/>
              <a:gd name="T15" fmla="*/ 13 h 19"/>
              <a:gd name="T16" fmla="*/ 1 w 28"/>
              <a:gd name="T17" fmla="*/ 12 h 19"/>
              <a:gd name="T18" fmla="*/ 7 w 28"/>
              <a:gd name="T19" fmla="*/ 10 h 19"/>
              <a:gd name="T20" fmla="*/ 4 w 28"/>
              <a:gd name="T21" fmla="*/ 8 h 19"/>
              <a:gd name="T22" fmla="*/ 7 w 28"/>
              <a:gd name="T23" fmla="*/ 6 h 19"/>
              <a:gd name="T24" fmla="*/ 3 w 28"/>
              <a:gd name="T25" fmla="*/ 6 h 19"/>
              <a:gd name="T26" fmla="*/ 7 w 28"/>
              <a:gd name="T27" fmla="*/ 4 h 19"/>
              <a:gd name="T28" fmla="*/ 13 w 28"/>
              <a:gd name="T29" fmla="*/ 8 h 19"/>
              <a:gd name="T30" fmla="*/ 16 w 28"/>
              <a:gd name="T31" fmla="*/ 9 h 19"/>
              <a:gd name="T32" fmla="*/ 13 w 28"/>
              <a:gd name="T33" fmla="*/ 7 h 19"/>
              <a:gd name="T34" fmla="*/ 14 w 28"/>
              <a:gd name="T35" fmla="*/ 5 h 19"/>
              <a:gd name="T36" fmla="*/ 11 w 28"/>
              <a:gd name="T37" fmla="*/ 4 h 19"/>
              <a:gd name="T38" fmla="*/ 11 w 28"/>
              <a:gd name="T39" fmla="*/ 2 h 19"/>
              <a:gd name="T40" fmla="*/ 7 w 28"/>
              <a:gd name="T41" fmla="*/ 3 h 19"/>
              <a:gd name="T42" fmla="*/ 13 w 28"/>
              <a:gd name="T43" fmla="*/ 1 h 19"/>
              <a:gd name="T44" fmla="*/ 12 w 28"/>
              <a:gd name="T45" fmla="*/ 2 h 19"/>
              <a:gd name="T46" fmla="*/ 15 w 28"/>
              <a:gd name="T47" fmla="*/ 3 h 19"/>
              <a:gd name="T48" fmla="*/ 21 w 28"/>
              <a:gd name="T49" fmla="*/ 2 h 19"/>
              <a:gd name="T50" fmla="*/ 26 w 28"/>
              <a:gd name="T51" fmla="*/ 8 h 19"/>
              <a:gd name="T52" fmla="*/ 27 w 28"/>
              <a:gd name="T53" fmla="*/ 12 h 19"/>
              <a:gd name="T54" fmla="*/ 26 w 28"/>
              <a:gd name="T55" fmla="*/ 14 h 19"/>
              <a:gd name="T56" fmla="*/ 26 w 28"/>
              <a:gd name="T57" fmla="*/ 17 h 19"/>
              <a:gd name="T58" fmla="*/ 22 w 28"/>
              <a:gd name="T59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8" h="19">
                <a:moveTo>
                  <a:pt x="22" y="19"/>
                </a:moveTo>
                <a:cubicBezTo>
                  <a:pt x="20" y="19"/>
                  <a:pt x="17" y="19"/>
                  <a:pt x="15" y="19"/>
                </a:cubicBezTo>
                <a:cubicBezTo>
                  <a:pt x="12" y="19"/>
                  <a:pt x="15" y="18"/>
                  <a:pt x="15" y="17"/>
                </a:cubicBezTo>
                <a:cubicBezTo>
                  <a:pt x="16" y="16"/>
                  <a:pt x="11" y="16"/>
                  <a:pt x="12" y="15"/>
                </a:cubicBezTo>
                <a:cubicBezTo>
                  <a:pt x="13" y="14"/>
                  <a:pt x="15" y="13"/>
                  <a:pt x="17" y="13"/>
                </a:cubicBezTo>
                <a:cubicBezTo>
                  <a:pt x="18" y="12"/>
                  <a:pt x="17" y="12"/>
                  <a:pt x="16" y="12"/>
                </a:cubicBezTo>
                <a:cubicBezTo>
                  <a:pt x="14" y="11"/>
                  <a:pt x="12" y="12"/>
                  <a:pt x="9" y="13"/>
                </a:cubicBezTo>
                <a:cubicBezTo>
                  <a:pt x="7" y="13"/>
                  <a:pt x="5" y="13"/>
                  <a:pt x="2" y="13"/>
                </a:cubicBezTo>
                <a:cubicBezTo>
                  <a:pt x="2" y="14"/>
                  <a:pt x="0" y="14"/>
                  <a:pt x="1" y="12"/>
                </a:cubicBezTo>
                <a:cubicBezTo>
                  <a:pt x="3" y="10"/>
                  <a:pt x="5" y="11"/>
                  <a:pt x="7" y="10"/>
                </a:cubicBezTo>
                <a:cubicBezTo>
                  <a:pt x="11" y="9"/>
                  <a:pt x="4" y="9"/>
                  <a:pt x="4" y="8"/>
                </a:cubicBezTo>
                <a:cubicBezTo>
                  <a:pt x="3" y="8"/>
                  <a:pt x="7" y="6"/>
                  <a:pt x="7" y="6"/>
                </a:cubicBezTo>
                <a:cubicBezTo>
                  <a:pt x="7" y="6"/>
                  <a:pt x="4" y="6"/>
                  <a:pt x="3" y="6"/>
                </a:cubicBezTo>
                <a:cubicBezTo>
                  <a:pt x="3" y="5"/>
                  <a:pt x="6" y="4"/>
                  <a:pt x="7" y="4"/>
                </a:cubicBezTo>
                <a:cubicBezTo>
                  <a:pt x="9" y="4"/>
                  <a:pt x="11" y="7"/>
                  <a:pt x="13" y="8"/>
                </a:cubicBezTo>
                <a:cubicBezTo>
                  <a:pt x="14" y="8"/>
                  <a:pt x="15" y="10"/>
                  <a:pt x="16" y="9"/>
                </a:cubicBezTo>
                <a:cubicBezTo>
                  <a:pt x="19" y="7"/>
                  <a:pt x="13" y="7"/>
                  <a:pt x="13" y="7"/>
                </a:cubicBezTo>
                <a:cubicBezTo>
                  <a:pt x="14" y="7"/>
                  <a:pt x="18" y="6"/>
                  <a:pt x="14" y="5"/>
                </a:cubicBezTo>
                <a:cubicBezTo>
                  <a:pt x="13" y="5"/>
                  <a:pt x="12" y="5"/>
                  <a:pt x="11" y="4"/>
                </a:cubicBezTo>
                <a:cubicBezTo>
                  <a:pt x="9" y="3"/>
                  <a:pt x="11" y="3"/>
                  <a:pt x="11" y="2"/>
                </a:cubicBezTo>
                <a:cubicBezTo>
                  <a:pt x="10" y="2"/>
                  <a:pt x="7" y="3"/>
                  <a:pt x="7" y="3"/>
                </a:cubicBezTo>
                <a:cubicBezTo>
                  <a:pt x="6" y="2"/>
                  <a:pt x="13" y="1"/>
                  <a:pt x="13" y="1"/>
                </a:cubicBezTo>
                <a:cubicBezTo>
                  <a:pt x="13" y="1"/>
                  <a:pt x="12" y="2"/>
                  <a:pt x="12" y="2"/>
                </a:cubicBezTo>
                <a:cubicBezTo>
                  <a:pt x="11" y="3"/>
                  <a:pt x="14" y="3"/>
                  <a:pt x="15" y="3"/>
                </a:cubicBezTo>
                <a:cubicBezTo>
                  <a:pt x="18" y="4"/>
                  <a:pt x="19" y="4"/>
                  <a:pt x="21" y="2"/>
                </a:cubicBezTo>
                <a:cubicBezTo>
                  <a:pt x="24" y="0"/>
                  <a:pt x="27" y="6"/>
                  <a:pt x="26" y="8"/>
                </a:cubicBezTo>
                <a:cubicBezTo>
                  <a:pt x="26" y="10"/>
                  <a:pt x="26" y="11"/>
                  <a:pt x="27" y="12"/>
                </a:cubicBezTo>
                <a:cubicBezTo>
                  <a:pt x="28" y="14"/>
                  <a:pt x="28" y="15"/>
                  <a:pt x="26" y="14"/>
                </a:cubicBezTo>
                <a:cubicBezTo>
                  <a:pt x="24" y="12"/>
                  <a:pt x="25" y="16"/>
                  <a:pt x="26" y="17"/>
                </a:cubicBezTo>
                <a:cubicBezTo>
                  <a:pt x="27" y="18"/>
                  <a:pt x="23" y="19"/>
                  <a:pt x="22" y="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91" name="Freeform 586">
            <a:extLst>
              <a:ext uri="{FF2B5EF4-FFF2-40B4-BE49-F238E27FC236}">
                <a16:creationId xmlns:a16="http://schemas.microsoft.com/office/drawing/2014/main" id="{E1916E13-2707-634D-8FAB-ABD40CF29732}"/>
              </a:ext>
            </a:extLst>
          </p:cNvPr>
          <p:cNvSpPr>
            <a:spLocks/>
          </p:cNvSpPr>
          <p:nvPr/>
        </p:nvSpPr>
        <p:spPr bwMode="auto">
          <a:xfrm>
            <a:off x="3193429" y="2398087"/>
            <a:ext cx="45886" cy="14122"/>
          </a:xfrm>
          <a:custGeom>
            <a:avLst/>
            <a:gdLst>
              <a:gd name="T0" fmla="*/ 1 w 9"/>
              <a:gd name="T1" fmla="*/ 3 h 3"/>
              <a:gd name="T2" fmla="*/ 7 w 9"/>
              <a:gd name="T3" fmla="*/ 0 h 3"/>
              <a:gd name="T4" fmla="*/ 1 w 9"/>
              <a:gd name="T5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" h="3">
                <a:moveTo>
                  <a:pt x="1" y="3"/>
                </a:moveTo>
                <a:cubicBezTo>
                  <a:pt x="4" y="2"/>
                  <a:pt x="9" y="0"/>
                  <a:pt x="7" y="0"/>
                </a:cubicBezTo>
                <a:cubicBezTo>
                  <a:pt x="4" y="0"/>
                  <a:pt x="0" y="3"/>
                  <a:pt x="1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92" name="Freeform 587">
            <a:extLst>
              <a:ext uri="{FF2B5EF4-FFF2-40B4-BE49-F238E27FC236}">
                <a16:creationId xmlns:a16="http://schemas.microsoft.com/office/drawing/2014/main" id="{805C8A68-26F3-8C44-ADC4-6D6F1E74122A}"/>
              </a:ext>
            </a:extLst>
          </p:cNvPr>
          <p:cNvSpPr>
            <a:spLocks/>
          </p:cNvSpPr>
          <p:nvPr/>
        </p:nvSpPr>
        <p:spPr bwMode="auto">
          <a:xfrm>
            <a:off x="3182839" y="2392792"/>
            <a:ext cx="42356" cy="10592"/>
          </a:xfrm>
          <a:custGeom>
            <a:avLst/>
            <a:gdLst>
              <a:gd name="T0" fmla="*/ 1 w 8"/>
              <a:gd name="T1" fmla="*/ 2 h 2"/>
              <a:gd name="T2" fmla="*/ 6 w 8"/>
              <a:gd name="T3" fmla="*/ 0 h 2"/>
              <a:gd name="T4" fmla="*/ 1 w 8"/>
              <a:gd name="T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" h="2">
                <a:moveTo>
                  <a:pt x="1" y="2"/>
                </a:moveTo>
                <a:cubicBezTo>
                  <a:pt x="0" y="2"/>
                  <a:pt x="4" y="0"/>
                  <a:pt x="6" y="0"/>
                </a:cubicBezTo>
                <a:cubicBezTo>
                  <a:pt x="8" y="0"/>
                  <a:pt x="4" y="2"/>
                  <a:pt x="1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93" name="Freeform 588">
            <a:extLst>
              <a:ext uri="{FF2B5EF4-FFF2-40B4-BE49-F238E27FC236}">
                <a16:creationId xmlns:a16="http://schemas.microsoft.com/office/drawing/2014/main" id="{16C25817-718D-774E-BE02-C9B2D82B990C}"/>
              </a:ext>
            </a:extLst>
          </p:cNvPr>
          <p:cNvSpPr>
            <a:spLocks/>
          </p:cNvSpPr>
          <p:nvPr/>
        </p:nvSpPr>
        <p:spPr bwMode="auto">
          <a:xfrm>
            <a:off x="3161661" y="2376903"/>
            <a:ext cx="52945" cy="26481"/>
          </a:xfrm>
          <a:custGeom>
            <a:avLst/>
            <a:gdLst>
              <a:gd name="T0" fmla="*/ 2 w 10"/>
              <a:gd name="T1" fmla="*/ 3 h 5"/>
              <a:gd name="T2" fmla="*/ 10 w 10"/>
              <a:gd name="T3" fmla="*/ 1 h 5"/>
              <a:gd name="T4" fmla="*/ 2 w 10"/>
              <a:gd name="T5" fmla="*/ 3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0" h="5">
                <a:moveTo>
                  <a:pt x="2" y="3"/>
                </a:moveTo>
                <a:cubicBezTo>
                  <a:pt x="0" y="2"/>
                  <a:pt x="10" y="0"/>
                  <a:pt x="10" y="1"/>
                </a:cubicBezTo>
                <a:cubicBezTo>
                  <a:pt x="10" y="2"/>
                  <a:pt x="6" y="5"/>
                  <a:pt x="2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94" name="Freeform 589">
            <a:extLst>
              <a:ext uri="{FF2B5EF4-FFF2-40B4-BE49-F238E27FC236}">
                <a16:creationId xmlns:a16="http://schemas.microsoft.com/office/drawing/2014/main" id="{BD29EE98-6CE5-3643-8C82-F4A58A9F0A6C}"/>
              </a:ext>
            </a:extLst>
          </p:cNvPr>
          <p:cNvSpPr>
            <a:spLocks/>
          </p:cNvSpPr>
          <p:nvPr/>
        </p:nvSpPr>
        <p:spPr bwMode="auto">
          <a:xfrm>
            <a:off x="3166956" y="2355721"/>
            <a:ext cx="37062" cy="26481"/>
          </a:xfrm>
          <a:custGeom>
            <a:avLst/>
            <a:gdLst>
              <a:gd name="T0" fmla="*/ 1 w 7"/>
              <a:gd name="T1" fmla="*/ 5 h 5"/>
              <a:gd name="T2" fmla="*/ 0 w 7"/>
              <a:gd name="T3" fmla="*/ 1 h 5"/>
              <a:gd name="T4" fmla="*/ 4 w 7"/>
              <a:gd name="T5" fmla="*/ 2 h 5"/>
              <a:gd name="T6" fmla="*/ 7 w 7"/>
              <a:gd name="T7" fmla="*/ 4 h 5"/>
              <a:gd name="T8" fmla="*/ 1 w 7"/>
              <a:gd name="T9" fmla="*/ 5 h 5"/>
              <a:gd name="T10" fmla="*/ 1 w 7"/>
              <a:gd name="T1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5">
                <a:moveTo>
                  <a:pt x="1" y="5"/>
                </a:moveTo>
                <a:cubicBezTo>
                  <a:pt x="0" y="4"/>
                  <a:pt x="0" y="2"/>
                  <a:pt x="0" y="1"/>
                </a:cubicBezTo>
                <a:cubicBezTo>
                  <a:pt x="1" y="0"/>
                  <a:pt x="3" y="1"/>
                  <a:pt x="4" y="2"/>
                </a:cubicBezTo>
                <a:cubicBezTo>
                  <a:pt x="4" y="2"/>
                  <a:pt x="7" y="3"/>
                  <a:pt x="7" y="4"/>
                </a:cubicBezTo>
                <a:cubicBezTo>
                  <a:pt x="7" y="4"/>
                  <a:pt x="2" y="5"/>
                  <a:pt x="1" y="5"/>
                </a:cubicBezTo>
                <a:cubicBezTo>
                  <a:pt x="0" y="4"/>
                  <a:pt x="4" y="5"/>
                  <a:pt x="1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95" name="Freeform 590">
            <a:extLst>
              <a:ext uri="{FF2B5EF4-FFF2-40B4-BE49-F238E27FC236}">
                <a16:creationId xmlns:a16="http://schemas.microsoft.com/office/drawing/2014/main" id="{6CB0C05B-672B-6044-B52F-284596CF1246}"/>
              </a:ext>
            </a:extLst>
          </p:cNvPr>
          <p:cNvSpPr>
            <a:spLocks/>
          </p:cNvSpPr>
          <p:nvPr/>
        </p:nvSpPr>
        <p:spPr bwMode="auto">
          <a:xfrm>
            <a:off x="3115776" y="2293933"/>
            <a:ext cx="61770" cy="45899"/>
          </a:xfrm>
          <a:custGeom>
            <a:avLst/>
            <a:gdLst>
              <a:gd name="T0" fmla="*/ 8 w 12"/>
              <a:gd name="T1" fmla="*/ 8 h 9"/>
              <a:gd name="T2" fmla="*/ 3 w 12"/>
              <a:gd name="T3" fmla="*/ 1 h 9"/>
              <a:gd name="T4" fmla="*/ 8 w 12"/>
              <a:gd name="T5" fmla="*/ 8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2" h="9">
                <a:moveTo>
                  <a:pt x="8" y="8"/>
                </a:moveTo>
                <a:cubicBezTo>
                  <a:pt x="6" y="9"/>
                  <a:pt x="0" y="0"/>
                  <a:pt x="3" y="1"/>
                </a:cubicBezTo>
                <a:cubicBezTo>
                  <a:pt x="6" y="3"/>
                  <a:pt x="12" y="8"/>
                  <a:pt x="8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96" name="Freeform 591">
            <a:extLst>
              <a:ext uri="{FF2B5EF4-FFF2-40B4-BE49-F238E27FC236}">
                <a16:creationId xmlns:a16="http://schemas.microsoft.com/office/drawing/2014/main" id="{31BBAB1B-C48D-BF45-B90D-DDD9E8FD54E2}"/>
              </a:ext>
            </a:extLst>
          </p:cNvPr>
          <p:cNvSpPr>
            <a:spLocks/>
          </p:cNvSpPr>
          <p:nvPr/>
        </p:nvSpPr>
        <p:spPr bwMode="auto">
          <a:xfrm>
            <a:off x="3214607" y="2288638"/>
            <a:ext cx="45886" cy="15887"/>
          </a:xfrm>
          <a:custGeom>
            <a:avLst/>
            <a:gdLst>
              <a:gd name="T0" fmla="*/ 2 w 9"/>
              <a:gd name="T1" fmla="*/ 1 h 3"/>
              <a:gd name="T2" fmla="*/ 8 w 9"/>
              <a:gd name="T3" fmla="*/ 2 h 3"/>
              <a:gd name="T4" fmla="*/ 2 w 9"/>
              <a:gd name="T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" h="3">
                <a:moveTo>
                  <a:pt x="2" y="1"/>
                </a:moveTo>
                <a:cubicBezTo>
                  <a:pt x="5" y="0"/>
                  <a:pt x="9" y="2"/>
                  <a:pt x="8" y="2"/>
                </a:cubicBezTo>
                <a:cubicBezTo>
                  <a:pt x="3" y="3"/>
                  <a:pt x="0" y="2"/>
                  <a:pt x="2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97" name="Freeform 592">
            <a:extLst>
              <a:ext uri="{FF2B5EF4-FFF2-40B4-BE49-F238E27FC236}">
                <a16:creationId xmlns:a16="http://schemas.microsoft.com/office/drawing/2014/main" id="{F69C7E64-10E9-0B45-96D0-9835E209E0F8}"/>
              </a:ext>
            </a:extLst>
          </p:cNvPr>
          <p:cNvSpPr>
            <a:spLocks/>
          </p:cNvSpPr>
          <p:nvPr/>
        </p:nvSpPr>
        <p:spPr bwMode="auto">
          <a:xfrm>
            <a:off x="3126364" y="2205669"/>
            <a:ext cx="185309" cy="98858"/>
          </a:xfrm>
          <a:custGeom>
            <a:avLst/>
            <a:gdLst>
              <a:gd name="T0" fmla="*/ 28 w 36"/>
              <a:gd name="T1" fmla="*/ 17 h 19"/>
              <a:gd name="T2" fmla="*/ 27 w 36"/>
              <a:gd name="T3" fmla="*/ 15 h 19"/>
              <a:gd name="T4" fmla="*/ 22 w 36"/>
              <a:gd name="T5" fmla="*/ 13 h 19"/>
              <a:gd name="T6" fmla="*/ 14 w 36"/>
              <a:gd name="T7" fmla="*/ 14 h 19"/>
              <a:gd name="T8" fmla="*/ 18 w 36"/>
              <a:gd name="T9" fmla="*/ 12 h 19"/>
              <a:gd name="T10" fmla="*/ 8 w 36"/>
              <a:gd name="T11" fmla="*/ 12 h 19"/>
              <a:gd name="T12" fmla="*/ 13 w 36"/>
              <a:gd name="T13" fmla="*/ 10 h 19"/>
              <a:gd name="T14" fmla="*/ 12 w 36"/>
              <a:gd name="T15" fmla="*/ 9 h 19"/>
              <a:gd name="T16" fmla="*/ 13 w 36"/>
              <a:gd name="T17" fmla="*/ 8 h 19"/>
              <a:gd name="T18" fmla="*/ 11 w 36"/>
              <a:gd name="T19" fmla="*/ 8 h 19"/>
              <a:gd name="T20" fmla="*/ 10 w 36"/>
              <a:gd name="T21" fmla="*/ 6 h 19"/>
              <a:gd name="T22" fmla="*/ 6 w 36"/>
              <a:gd name="T23" fmla="*/ 6 h 19"/>
              <a:gd name="T24" fmla="*/ 3 w 36"/>
              <a:gd name="T25" fmla="*/ 5 h 19"/>
              <a:gd name="T26" fmla="*/ 9 w 36"/>
              <a:gd name="T27" fmla="*/ 2 h 19"/>
              <a:gd name="T28" fmla="*/ 16 w 36"/>
              <a:gd name="T29" fmla="*/ 1 h 19"/>
              <a:gd name="T30" fmla="*/ 18 w 36"/>
              <a:gd name="T31" fmla="*/ 5 h 19"/>
              <a:gd name="T32" fmla="*/ 22 w 36"/>
              <a:gd name="T33" fmla="*/ 4 h 19"/>
              <a:gd name="T34" fmla="*/ 25 w 36"/>
              <a:gd name="T35" fmla="*/ 7 h 19"/>
              <a:gd name="T36" fmla="*/ 30 w 36"/>
              <a:gd name="T37" fmla="*/ 7 h 19"/>
              <a:gd name="T38" fmla="*/ 33 w 36"/>
              <a:gd name="T39" fmla="*/ 12 h 19"/>
              <a:gd name="T40" fmla="*/ 34 w 36"/>
              <a:gd name="T41" fmla="*/ 16 h 19"/>
              <a:gd name="T42" fmla="*/ 28 w 36"/>
              <a:gd name="T43" fmla="*/ 17 h 19"/>
              <a:gd name="T44" fmla="*/ 28 w 36"/>
              <a:gd name="T45" fmla="*/ 17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6" h="19">
                <a:moveTo>
                  <a:pt x="28" y="17"/>
                </a:moveTo>
                <a:cubicBezTo>
                  <a:pt x="27" y="17"/>
                  <a:pt x="27" y="16"/>
                  <a:pt x="27" y="15"/>
                </a:cubicBezTo>
                <a:cubicBezTo>
                  <a:pt x="26" y="14"/>
                  <a:pt x="23" y="13"/>
                  <a:pt x="22" y="13"/>
                </a:cubicBezTo>
                <a:cubicBezTo>
                  <a:pt x="21" y="13"/>
                  <a:pt x="14" y="15"/>
                  <a:pt x="14" y="14"/>
                </a:cubicBezTo>
                <a:cubicBezTo>
                  <a:pt x="14" y="14"/>
                  <a:pt x="18" y="12"/>
                  <a:pt x="18" y="12"/>
                </a:cubicBezTo>
                <a:cubicBezTo>
                  <a:pt x="15" y="11"/>
                  <a:pt x="11" y="14"/>
                  <a:pt x="8" y="12"/>
                </a:cubicBezTo>
                <a:cubicBezTo>
                  <a:pt x="2" y="9"/>
                  <a:pt x="13" y="10"/>
                  <a:pt x="13" y="10"/>
                </a:cubicBezTo>
                <a:cubicBezTo>
                  <a:pt x="13" y="10"/>
                  <a:pt x="12" y="9"/>
                  <a:pt x="12" y="9"/>
                </a:cubicBezTo>
                <a:cubicBezTo>
                  <a:pt x="12" y="9"/>
                  <a:pt x="13" y="8"/>
                  <a:pt x="13" y="8"/>
                </a:cubicBezTo>
                <a:cubicBezTo>
                  <a:pt x="14" y="7"/>
                  <a:pt x="11" y="8"/>
                  <a:pt x="11" y="8"/>
                </a:cubicBezTo>
                <a:cubicBezTo>
                  <a:pt x="10" y="7"/>
                  <a:pt x="12" y="6"/>
                  <a:pt x="10" y="6"/>
                </a:cubicBezTo>
                <a:cubicBezTo>
                  <a:pt x="9" y="6"/>
                  <a:pt x="7" y="7"/>
                  <a:pt x="6" y="6"/>
                </a:cubicBezTo>
                <a:cubicBezTo>
                  <a:pt x="6" y="5"/>
                  <a:pt x="4" y="6"/>
                  <a:pt x="3" y="5"/>
                </a:cubicBezTo>
                <a:cubicBezTo>
                  <a:pt x="0" y="0"/>
                  <a:pt x="7" y="2"/>
                  <a:pt x="9" y="2"/>
                </a:cubicBezTo>
                <a:cubicBezTo>
                  <a:pt x="11" y="1"/>
                  <a:pt x="14" y="0"/>
                  <a:pt x="16" y="1"/>
                </a:cubicBezTo>
                <a:cubicBezTo>
                  <a:pt x="19" y="2"/>
                  <a:pt x="14" y="7"/>
                  <a:pt x="18" y="5"/>
                </a:cubicBezTo>
                <a:cubicBezTo>
                  <a:pt x="19" y="5"/>
                  <a:pt x="21" y="3"/>
                  <a:pt x="22" y="4"/>
                </a:cubicBezTo>
                <a:cubicBezTo>
                  <a:pt x="23" y="5"/>
                  <a:pt x="24" y="7"/>
                  <a:pt x="25" y="7"/>
                </a:cubicBezTo>
                <a:cubicBezTo>
                  <a:pt x="26" y="7"/>
                  <a:pt x="29" y="6"/>
                  <a:pt x="30" y="7"/>
                </a:cubicBezTo>
                <a:cubicBezTo>
                  <a:pt x="32" y="8"/>
                  <a:pt x="32" y="11"/>
                  <a:pt x="33" y="12"/>
                </a:cubicBezTo>
                <a:cubicBezTo>
                  <a:pt x="34" y="14"/>
                  <a:pt x="36" y="15"/>
                  <a:pt x="34" y="16"/>
                </a:cubicBezTo>
                <a:cubicBezTo>
                  <a:pt x="33" y="18"/>
                  <a:pt x="30" y="18"/>
                  <a:pt x="28" y="17"/>
                </a:cubicBezTo>
                <a:cubicBezTo>
                  <a:pt x="27" y="16"/>
                  <a:pt x="31" y="19"/>
                  <a:pt x="28" y="1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98" name="Freeform 593">
            <a:extLst>
              <a:ext uri="{FF2B5EF4-FFF2-40B4-BE49-F238E27FC236}">
                <a16:creationId xmlns:a16="http://schemas.microsoft.com/office/drawing/2014/main" id="{7DA8DF69-56C7-B949-BE95-387CC98499C8}"/>
              </a:ext>
            </a:extLst>
          </p:cNvPr>
          <p:cNvSpPr>
            <a:spLocks/>
          </p:cNvSpPr>
          <p:nvPr/>
        </p:nvSpPr>
        <p:spPr bwMode="auto">
          <a:xfrm>
            <a:off x="3271081" y="2158005"/>
            <a:ext cx="56474" cy="26481"/>
          </a:xfrm>
          <a:custGeom>
            <a:avLst/>
            <a:gdLst>
              <a:gd name="T0" fmla="*/ 8 w 11"/>
              <a:gd name="T1" fmla="*/ 5 h 5"/>
              <a:gd name="T2" fmla="*/ 4 w 11"/>
              <a:gd name="T3" fmla="*/ 4 h 5"/>
              <a:gd name="T4" fmla="*/ 2 w 11"/>
              <a:gd name="T5" fmla="*/ 3 h 5"/>
              <a:gd name="T6" fmla="*/ 7 w 11"/>
              <a:gd name="T7" fmla="*/ 2 h 5"/>
              <a:gd name="T8" fmla="*/ 8 w 11"/>
              <a:gd name="T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" h="5">
                <a:moveTo>
                  <a:pt x="8" y="5"/>
                </a:moveTo>
                <a:cubicBezTo>
                  <a:pt x="6" y="5"/>
                  <a:pt x="6" y="4"/>
                  <a:pt x="4" y="4"/>
                </a:cubicBezTo>
                <a:cubicBezTo>
                  <a:pt x="4" y="4"/>
                  <a:pt x="0" y="4"/>
                  <a:pt x="2" y="3"/>
                </a:cubicBezTo>
                <a:cubicBezTo>
                  <a:pt x="3" y="1"/>
                  <a:pt x="6" y="0"/>
                  <a:pt x="7" y="2"/>
                </a:cubicBezTo>
                <a:cubicBezTo>
                  <a:pt x="9" y="3"/>
                  <a:pt x="11" y="5"/>
                  <a:pt x="8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199" name="Freeform 594">
            <a:extLst>
              <a:ext uri="{FF2B5EF4-FFF2-40B4-BE49-F238E27FC236}">
                <a16:creationId xmlns:a16="http://schemas.microsoft.com/office/drawing/2014/main" id="{97AB219B-3002-EC4C-9647-2FC22E391AE2}"/>
              </a:ext>
            </a:extLst>
          </p:cNvPr>
          <p:cNvSpPr>
            <a:spLocks/>
          </p:cNvSpPr>
          <p:nvPr/>
        </p:nvSpPr>
        <p:spPr bwMode="auto">
          <a:xfrm>
            <a:off x="3316967" y="2240975"/>
            <a:ext cx="104125" cy="58256"/>
          </a:xfrm>
          <a:custGeom>
            <a:avLst/>
            <a:gdLst>
              <a:gd name="T0" fmla="*/ 8 w 20"/>
              <a:gd name="T1" fmla="*/ 7 h 11"/>
              <a:gd name="T2" fmla="*/ 3 w 20"/>
              <a:gd name="T3" fmla="*/ 5 h 11"/>
              <a:gd name="T4" fmla="*/ 4 w 20"/>
              <a:gd name="T5" fmla="*/ 3 h 11"/>
              <a:gd name="T6" fmla="*/ 1 w 20"/>
              <a:gd name="T7" fmla="*/ 1 h 11"/>
              <a:gd name="T8" fmla="*/ 6 w 20"/>
              <a:gd name="T9" fmla="*/ 1 h 11"/>
              <a:gd name="T10" fmla="*/ 12 w 20"/>
              <a:gd name="T11" fmla="*/ 3 h 11"/>
              <a:gd name="T12" fmla="*/ 16 w 20"/>
              <a:gd name="T13" fmla="*/ 3 h 11"/>
              <a:gd name="T14" fmla="*/ 19 w 20"/>
              <a:gd name="T15" fmla="*/ 4 h 11"/>
              <a:gd name="T16" fmla="*/ 18 w 20"/>
              <a:gd name="T17" fmla="*/ 8 h 11"/>
              <a:gd name="T18" fmla="*/ 15 w 20"/>
              <a:gd name="T19" fmla="*/ 10 h 11"/>
              <a:gd name="T20" fmla="*/ 9 w 20"/>
              <a:gd name="T21" fmla="*/ 11 h 11"/>
              <a:gd name="T22" fmla="*/ 4 w 20"/>
              <a:gd name="T23" fmla="*/ 8 h 11"/>
              <a:gd name="T24" fmla="*/ 8 w 20"/>
              <a:gd name="T25" fmla="*/ 7 h 11"/>
              <a:gd name="T26" fmla="*/ 8 w 20"/>
              <a:gd name="T27" fmla="*/ 7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0" h="11">
                <a:moveTo>
                  <a:pt x="8" y="7"/>
                </a:moveTo>
                <a:cubicBezTo>
                  <a:pt x="6" y="7"/>
                  <a:pt x="4" y="6"/>
                  <a:pt x="3" y="5"/>
                </a:cubicBezTo>
                <a:cubicBezTo>
                  <a:pt x="0" y="4"/>
                  <a:pt x="4" y="3"/>
                  <a:pt x="4" y="3"/>
                </a:cubicBezTo>
                <a:cubicBezTo>
                  <a:pt x="4" y="2"/>
                  <a:pt x="2" y="1"/>
                  <a:pt x="1" y="1"/>
                </a:cubicBezTo>
                <a:cubicBezTo>
                  <a:pt x="1" y="0"/>
                  <a:pt x="6" y="1"/>
                  <a:pt x="6" y="1"/>
                </a:cubicBezTo>
                <a:cubicBezTo>
                  <a:pt x="8" y="1"/>
                  <a:pt x="10" y="2"/>
                  <a:pt x="12" y="3"/>
                </a:cubicBezTo>
                <a:cubicBezTo>
                  <a:pt x="14" y="3"/>
                  <a:pt x="15" y="3"/>
                  <a:pt x="16" y="3"/>
                </a:cubicBezTo>
                <a:cubicBezTo>
                  <a:pt x="17" y="3"/>
                  <a:pt x="20" y="4"/>
                  <a:pt x="19" y="4"/>
                </a:cubicBezTo>
                <a:cubicBezTo>
                  <a:pt x="17" y="6"/>
                  <a:pt x="16" y="5"/>
                  <a:pt x="18" y="8"/>
                </a:cubicBezTo>
                <a:cubicBezTo>
                  <a:pt x="19" y="9"/>
                  <a:pt x="16" y="9"/>
                  <a:pt x="15" y="10"/>
                </a:cubicBezTo>
                <a:cubicBezTo>
                  <a:pt x="13" y="10"/>
                  <a:pt x="11" y="11"/>
                  <a:pt x="9" y="11"/>
                </a:cubicBezTo>
                <a:cubicBezTo>
                  <a:pt x="8" y="10"/>
                  <a:pt x="4" y="9"/>
                  <a:pt x="4" y="8"/>
                </a:cubicBezTo>
                <a:cubicBezTo>
                  <a:pt x="4" y="8"/>
                  <a:pt x="10" y="7"/>
                  <a:pt x="8" y="7"/>
                </a:cubicBezTo>
                <a:cubicBezTo>
                  <a:pt x="5" y="6"/>
                  <a:pt x="10" y="7"/>
                  <a:pt x="8" y="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00" name="Freeform 595">
            <a:extLst>
              <a:ext uri="{FF2B5EF4-FFF2-40B4-BE49-F238E27FC236}">
                <a16:creationId xmlns:a16="http://schemas.microsoft.com/office/drawing/2014/main" id="{56CE257B-28CE-6C4B-BF3F-CFEDE27DB37D}"/>
              </a:ext>
            </a:extLst>
          </p:cNvPr>
          <p:cNvSpPr>
            <a:spLocks/>
          </p:cNvSpPr>
          <p:nvPr/>
        </p:nvSpPr>
        <p:spPr bwMode="auto">
          <a:xfrm>
            <a:off x="3375208" y="2293933"/>
            <a:ext cx="91771" cy="26481"/>
          </a:xfrm>
          <a:custGeom>
            <a:avLst/>
            <a:gdLst>
              <a:gd name="T0" fmla="*/ 14 w 18"/>
              <a:gd name="T1" fmla="*/ 5 h 5"/>
              <a:gd name="T2" fmla="*/ 16 w 18"/>
              <a:gd name="T3" fmla="*/ 2 h 5"/>
              <a:gd name="T4" fmla="*/ 13 w 18"/>
              <a:gd name="T5" fmla="*/ 1 h 5"/>
              <a:gd name="T6" fmla="*/ 3 w 18"/>
              <a:gd name="T7" fmla="*/ 1 h 5"/>
              <a:gd name="T8" fmla="*/ 4 w 18"/>
              <a:gd name="T9" fmla="*/ 4 h 5"/>
              <a:gd name="T10" fmla="*/ 14 w 18"/>
              <a:gd name="T11" fmla="*/ 5 h 5"/>
              <a:gd name="T12" fmla="*/ 14 w 18"/>
              <a:gd name="T13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5">
                <a:moveTo>
                  <a:pt x="14" y="5"/>
                </a:moveTo>
                <a:cubicBezTo>
                  <a:pt x="14" y="4"/>
                  <a:pt x="18" y="2"/>
                  <a:pt x="16" y="2"/>
                </a:cubicBezTo>
                <a:cubicBezTo>
                  <a:pt x="15" y="1"/>
                  <a:pt x="14" y="1"/>
                  <a:pt x="13" y="1"/>
                </a:cubicBezTo>
                <a:cubicBezTo>
                  <a:pt x="10" y="1"/>
                  <a:pt x="6" y="0"/>
                  <a:pt x="3" y="1"/>
                </a:cubicBezTo>
                <a:cubicBezTo>
                  <a:pt x="0" y="1"/>
                  <a:pt x="1" y="4"/>
                  <a:pt x="4" y="4"/>
                </a:cubicBezTo>
                <a:cubicBezTo>
                  <a:pt x="7" y="4"/>
                  <a:pt x="11" y="5"/>
                  <a:pt x="14" y="5"/>
                </a:cubicBezTo>
                <a:cubicBezTo>
                  <a:pt x="16" y="4"/>
                  <a:pt x="12" y="5"/>
                  <a:pt x="14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01" name="Freeform 596">
            <a:extLst>
              <a:ext uri="{FF2B5EF4-FFF2-40B4-BE49-F238E27FC236}">
                <a16:creationId xmlns:a16="http://schemas.microsoft.com/office/drawing/2014/main" id="{313759EA-95DD-8D49-AC22-CBDE980D58F2}"/>
              </a:ext>
            </a:extLst>
          </p:cNvPr>
          <p:cNvSpPr>
            <a:spLocks/>
          </p:cNvSpPr>
          <p:nvPr/>
        </p:nvSpPr>
        <p:spPr bwMode="auto">
          <a:xfrm>
            <a:off x="3369914" y="2412210"/>
            <a:ext cx="86477" cy="58256"/>
          </a:xfrm>
          <a:custGeom>
            <a:avLst/>
            <a:gdLst>
              <a:gd name="T0" fmla="*/ 7 w 17"/>
              <a:gd name="T1" fmla="*/ 1 h 11"/>
              <a:gd name="T2" fmla="*/ 1 w 17"/>
              <a:gd name="T3" fmla="*/ 6 h 11"/>
              <a:gd name="T4" fmla="*/ 10 w 17"/>
              <a:gd name="T5" fmla="*/ 10 h 11"/>
              <a:gd name="T6" fmla="*/ 15 w 17"/>
              <a:gd name="T7" fmla="*/ 10 h 11"/>
              <a:gd name="T8" fmla="*/ 15 w 17"/>
              <a:gd name="T9" fmla="*/ 8 h 11"/>
              <a:gd name="T10" fmla="*/ 16 w 17"/>
              <a:gd name="T11" fmla="*/ 6 h 11"/>
              <a:gd name="T12" fmla="*/ 7 w 17"/>
              <a:gd name="T13" fmla="*/ 1 h 11"/>
              <a:gd name="T14" fmla="*/ 7 w 17"/>
              <a:gd name="T15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" h="11">
                <a:moveTo>
                  <a:pt x="7" y="1"/>
                </a:moveTo>
                <a:cubicBezTo>
                  <a:pt x="5" y="0"/>
                  <a:pt x="2" y="4"/>
                  <a:pt x="1" y="6"/>
                </a:cubicBezTo>
                <a:cubicBezTo>
                  <a:pt x="0" y="8"/>
                  <a:pt x="8" y="10"/>
                  <a:pt x="10" y="10"/>
                </a:cubicBezTo>
                <a:cubicBezTo>
                  <a:pt x="11" y="11"/>
                  <a:pt x="14" y="11"/>
                  <a:pt x="15" y="10"/>
                </a:cubicBezTo>
                <a:cubicBezTo>
                  <a:pt x="16" y="10"/>
                  <a:pt x="15" y="9"/>
                  <a:pt x="15" y="8"/>
                </a:cubicBezTo>
                <a:cubicBezTo>
                  <a:pt x="15" y="7"/>
                  <a:pt x="15" y="6"/>
                  <a:pt x="16" y="6"/>
                </a:cubicBezTo>
                <a:cubicBezTo>
                  <a:pt x="17" y="4"/>
                  <a:pt x="9" y="1"/>
                  <a:pt x="7" y="1"/>
                </a:cubicBezTo>
                <a:cubicBezTo>
                  <a:pt x="5" y="0"/>
                  <a:pt x="8" y="1"/>
                  <a:pt x="7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02" name="Freeform 597">
            <a:extLst>
              <a:ext uri="{FF2B5EF4-FFF2-40B4-BE49-F238E27FC236}">
                <a16:creationId xmlns:a16="http://schemas.microsoft.com/office/drawing/2014/main" id="{A3EE34EC-B125-4641-8EE5-B50EE9D1EB2A}"/>
              </a:ext>
            </a:extLst>
          </p:cNvPr>
          <p:cNvSpPr>
            <a:spLocks/>
          </p:cNvSpPr>
          <p:nvPr/>
        </p:nvSpPr>
        <p:spPr bwMode="auto">
          <a:xfrm>
            <a:off x="3410505" y="2398087"/>
            <a:ext cx="21178" cy="14122"/>
          </a:xfrm>
          <a:custGeom>
            <a:avLst/>
            <a:gdLst>
              <a:gd name="T0" fmla="*/ 3 w 4"/>
              <a:gd name="T1" fmla="*/ 2 h 3"/>
              <a:gd name="T2" fmla="*/ 1 w 4"/>
              <a:gd name="T3" fmla="*/ 1 h 3"/>
              <a:gd name="T4" fmla="*/ 3 w 4"/>
              <a:gd name="T5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" h="3">
                <a:moveTo>
                  <a:pt x="3" y="2"/>
                </a:moveTo>
                <a:cubicBezTo>
                  <a:pt x="1" y="3"/>
                  <a:pt x="0" y="1"/>
                  <a:pt x="1" y="1"/>
                </a:cubicBezTo>
                <a:cubicBezTo>
                  <a:pt x="2" y="0"/>
                  <a:pt x="4" y="2"/>
                  <a:pt x="3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03" name="Freeform 598">
            <a:extLst>
              <a:ext uri="{FF2B5EF4-FFF2-40B4-BE49-F238E27FC236}">
                <a16:creationId xmlns:a16="http://schemas.microsoft.com/office/drawing/2014/main" id="{E0EEA56F-AEDC-EE41-956B-8372AD7B855B}"/>
              </a:ext>
            </a:extLst>
          </p:cNvPr>
          <p:cNvSpPr>
            <a:spLocks/>
          </p:cNvSpPr>
          <p:nvPr/>
        </p:nvSpPr>
        <p:spPr bwMode="auto">
          <a:xfrm>
            <a:off x="3504041" y="2304526"/>
            <a:ext cx="45886" cy="30009"/>
          </a:xfrm>
          <a:custGeom>
            <a:avLst/>
            <a:gdLst>
              <a:gd name="T0" fmla="*/ 1 w 9"/>
              <a:gd name="T1" fmla="*/ 5 h 6"/>
              <a:gd name="T2" fmla="*/ 1 w 9"/>
              <a:gd name="T3" fmla="*/ 1 h 6"/>
              <a:gd name="T4" fmla="*/ 5 w 9"/>
              <a:gd name="T5" fmla="*/ 1 h 6"/>
              <a:gd name="T6" fmla="*/ 9 w 9"/>
              <a:gd name="T7" fmla="*/ 3 h 6"/>
              <a:gd name="T8" fmla="*/ 5 w 9"/>
              <a:gd name="T9" fmla="*/ 5 h 6"/>
              <a:gd name="T10" fmla="*/ 1 w 9"/>
              <a:gd name="T11" fmla="*/ 5 h 6"/>
              <a:gd name="T12" fmla="*/ 1 w 9"/>
              <a:gd name="T13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6">
                <a:moveTo>
                  <a:pt x="1" y="5"/>
                </a:moveTo>
                <a:cubicBezTo>
                  <a:pt x="1" y="5"/>
                  <a:pt x="2" y="2"/>
                  <a:pt x="1" y="1"/>
                </a:cubicBezTo>
                <a:cubicBezTo>
                  <a:pt x="1" y="0"/>
                  <a:pt x="4" y="1"/>
                  <a:pt x="5" y="1"/>
                </a:cubicBezTo>
                <a:cubicBezTo>
                  <a:pt x="6" y="1"/>
                  <a:pt x="9" y="2"/>
                  <a:pt x="9" y="3"/>
                </a:cubicBezTo>
                <a:cubicBezTo>
                  <a:pt x="8" y="4"/>
                  <a:pt x="6" y="5"/>
                  <a:pt x="5" y="5"/>
                </a:cubicBezTo>
                <a:cubicBezTo>
                  <a:pt x="3" y="6"/>
                  <a:pt x="3" y="6"/>
                  <a:pt x="1" y="5"/>
                </a:cubicBezTo>
                <a:cubicBezTo>
                  <a:pt x="0" y="4"/>
                  <a:pt x="2" y="6"/>
                  <a:pt x="1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04" name="Freeform 599">
            <a:extLst>
              <a:ext uri="{FF2B5EF4-FFF2-40B4-BE49-F238E27FC236}">
                <a16:creationId xmlns:a16="http://schemas.microsoft.com/office/drawing/2014/main" id="{F7DE3574-F3C4-1D45-B720-781631392C7A}"/>
              </a:ext>
            </a:extLst>
          </p:cNvPr>
          <p:cNvSpPr>
            <a:spLocks/>
          </p:cNvSpPr>
          <p:nvPr/>
        </p:nvSpPr>
        <p:spPr bwMode="auto">
          <a:xfrm>
            <a:off x="3528749" y="2350422"/>
            <a:ext cx="15883" cy="21184"/>
          </a:xfrm>
          <a:custGeom>
            <a:avLst/>
            <a:gdLst>
              <a:gd name="T0" fmla="*/ 2 w 3"/>
              <a:gd name="T1" fmla="*/ 1 h 4"/>
              <a:gd name="T2" fmla="*/ 1 w 3"/>
              <a:gd name="T3" fmla="*/ 3 h 4"/>
              <a:gd name="T4" fmla="*/ 2 w 3"/>
              <a:gd name="T5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" h="4">
                <a:moveTo>
                  <a:pt x="2" y="1"/>
                </a:moveTo>
                <a:cubicBezTo>
                  <a:pt x="0" y="0"/>
                  <a:pt x="0" y="3"/>
                  <a:pt x="1" y="3"/>
                </a:cubicBezTo>
                <a:cubicBezTo>
                  <a:pt x="2" y="4"/>
                  <a:pt x="3" y="2"/>
                  <a:pt x="2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05" name="Freeform 600">
            <a:extLst>
              <a:ext uri="{FF2B5EF4-FFF2-40B4-BE49-F238E27FC236}">
                <a16:creationId xmlns:a16="http://schemas.microsoft.com/office/drawing/2014/main" id="{63598A04-D60C-5747-97C3-9EEE1AC700C1}"/>
              </a:ext>
            </a:extLst>
          </p:cNvPr>
          <p:cNvSpPr>
            <a:spLocks/>
          </p:cNvSpPr>
          <p:nvPr/>
        </p:nvSpPr>
        <p:spPr bwMode="auto">
          <a:xfrm>
            <a:off x="3359324" y="2334537"/>
            <a:ext cx="460625" cy="141225"/>
          </a:xfrm>
          <a:custGeom>
            <a:avLst/>
            <a:gdLst>
              <a:gd name="T0" fmla="*/ 17 w 89"/>
              <a:gd name="T1" fmla="*/ 7 h 27"/>
              <a:gd name="T2" fmla="*/ 19 w 89"/>
              <a:gd name="T3" fmla="*/ 4 h 27"/>
              <a:gd name="T4" fmla="*/ 15 w 89"/>
              <a:gd name="T5" fmla="*/ 2 h 27"/>
              <a:gd name="T6" fmla="*/ 12 w 89"/>
              <a:gd name="T7" fmla="*/ 2 h 27"/>
              <a:gd name="T8" fmla="*/ 4 w 89"/>
              <a:gd name="T9" fmla="*/ 1 h 27"/>
              <a:gd name="T10" fmla="*/ 4 w 89"/>
              <a:gd name="T11" fmla="*/ 3 h 27"/>
              <a:gd name="T12" fmla="*/ 0 w 89"/>
              <a:gd name="T13" fmla="*/ 4 h 27"/>
              <a:gd name="T14" fmla="*/ 5 w 89"/>
              <a:gd name="T15" fmla="*/ 5 h 27"/>
              <a:gd name="T16" fmla="*/ 7 w 89"/>
              <a:gd name="T17" fmla="*/ 6 h 27"/>
              <a:gd name="T18" fmla="*/ 6 w 89"/>
              <a:gd name="T19" fmla="*/ 7 h 27"/>
              <a:gd name="T20" fmla="*/ 24 w 89"/>
              <a:gd name="T21" fmla="*/ 13 h 27"/>
              <a:gd name="T22" fmla="*/ 25 w 89"/>
              <a:gd name="T23" fmla="*/ 16 h 27"/>
              <a:gd name="T24" fmla="*/ 24 w 89"/>
              <a:gd name="T25" fmla="*/ 21 h 27"/>
              <a:gd name="T26" fmla="*/ 27 w 89"/>
              <a:gd name="T27" fmla="*/ 25 h 27"/>
              <a:gd name="T28" fmla="*/ 30 w 89"/>
              <a:gd name="T29" fmla="*/ 24 h 27"/>
              <a:gd name="T30" fmla="*/ 33 w 89"/>
              <a:gd name="T31" fmla="*/ 26 h 27"/>
              <a:gd name="T32" fmla="*/ 38 w 89"/>
              <a:gd name="T33" fmla="*/ 26 h 27"/>
              <a:gd name="T34" fmla="*/ 42 w 89"/>
              <a:gd name="T35" fmla="*/ 23 h 27"/>
              <a:gd name="T36" fmla="*/ 45 w 89"/>
              <a:gd name="T37" fmla="*/ 26 h 27"/>
              <a:gd name="T38" fmla="*/ 52 w 89"/>
              <a:gd name="T39" fmla="*/ 27 h 27"/>
              <a:gd name="T40" fmla="*/ 62 w 89"/>
              <a:gd name="T41" fmla="*/ 27 h 27"/>
              <a:gd name="T42" fmla="*/ 65 w 89"/>
              <a:gd name="T43" fmla="*/ 27 h 27"/>
              <a:gd name="T44" fmla="*/ 67 w 89"/>
              <a:gd name="T45" fmla="*/ 24 h 27"/>
              <a:gd name="T46" fmla="*/ 70 w 89"/>
              <a:gd name="T47" fmla="*/ 25 h 27"/>
              <a:gd name="T48" fmla="*/ 76 w 89"/>
              <a:gd name="T49" fmla="*/ 27 h 27"/>
              <a:gd name="T50" fmla="*/ 82 w 89"/>
              <a:gd name="T51" fmla="*/ 26 h 27"/>
              <a:gd name="T52" fmla="*/ 85 w 89"/>
              <a:gd name="T53" fmla="*/ 24 h 27"/>
              <a:gd name="T54" fmla="*/ 85 w 89"/>
              <a:gd name="T55" fmla="*/ 22 h 27"/>
              <a:gd name="T56" fmla="*/ 82 w 89"/>
              <a:gd name="T57" fmla="*/ 22 h 27"/>
              <a:gd name="T58" fmla="*/ 85 w 89"/>
              <a:gd name="T59" fmla="*/ 17 h 27"/>
              <a:gd name="T60" fmla="*/ 80 w 89"/>
              <a:gd name="T61" fmla="*/ 16 h 27"/>
              <a:gd name="T62" fmla="*/ 78 w 89"/>
              <a:gd name="T63" fmla="*/ 14 h 27"/>
              <a:gd name="T64" fmla="*/ 70 w 89"/>
              <a:gd name="T65" fmla="*/ 14 h 27"/>
              <a:gd name="T66" fmla="*/ 65 w 89"/>
              <a:gd name="T67" fmla="*/ 14 h 27"/>
              <a:gd name="T68" fmla="*/ 55 w 89"/>
              <a:gd name="T69" fmla="*/ 17 h 27"/>
              <a:gd name="T70" fmla="*/ 56 w 89"/>
              <a:gd name="T71" fmla="*/ 18 h 27"/>
              <a:gd name="T72" fmla="*/ 52 w 89"/>
              <a:gd name="T73" fmla="*/ 18 h 27"/>
              <a:gd name="T74" fmla="*/ 49 w 89"/>
              <a:gd name="T75" fmla="*/ 16 h 27"/>
              <a:gd name="T76" fmla="*/ 46 w 89"/>
              <a:gd name="T77" fmla="*/ 17 h 27"/>
              <a:gd name="T78" fmla="*/ 42 w 89"/>
              <a:gd name="T79" fmla="*/ 16 h 27"/>
              <a:gd name="T80" fmla="*/ 41 w 89"/>
              <a:gd name="T81" fmla="*/ 18 h 27"/>
              <a:gd name="T82" fmla="*/ 38 w 89"/>
              <a:gd name="T83" fmla="*/ 16 h 27"/>
              <a:gd name="T84" fmla="*/ 39 w 89"/>
              <a:gd name="T85" fmla="*/ 14 h 27"/>
              <a:gd name="T86" fmla="*/ 34 w 89"/>
              <a:gd name="T87" fmla="*/ 12 h 27"/>
              <a:gd name="T88" fmla="*/ 30 w 89"/>
              <a:gd name="T89" fmla="*/ 13 h 27"/>
              <a:gd name="T90" fmla="*/ 32 w 89"/>
              <a:gd name="T91" fmla="*/ 12 h 27"/>
              <a:gd name="T92" fmla="*/ 28 w 89"/>
              <a:gd name="T93" fmla="*/ 9 h 27"/>
              <a:gd name="T94" fmla="*/ 38 w 89"/>
              <a:gd name="T95" fmla="*/ 10 h 27"/>
              <a:gd name="T96" fmla="*/ 33 w 89"/>
              <a:gd name="T97" fmla="*/ 7 h 27"/>
              <a:gd name="T98" fmla="*/ 28 w 89"/>
              <a:gd name="T99" fmla="*/ 7 h 27"/>
              <a:gd name="T100" fmla="*/ 32 w 89"/>
              <a:gd name="T101" fmla="*/ 6 h 27"/>
              <a:gd name="T102" fmla="*/ 27 w 89"/>
              <a:gd name="T103" fmla="*/ 5 h 27"/>
              <a:gd name="T104" fmla="*/ 17 w 89"/>
              <a:gd name="T105" fmla="*/ 7 h 27"/>
              <a:gd name="T106" fmla="*/ 17 w 89"/>
              <a:gd name="T107" fmla="*/ 7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9" h="27">
                <a:moveTo>
                  <a:pt x="17" y="7"/>
                </a:moveTo>
                <a:cubicBezTo>
                  <a:pt x="18" y="7"/>
                  <a:pt x="20" y="5"/>
                  <a:pt x="19" y="4"/>
                </a:cubicBezTo>
                <a:cubicBezTo>
                  <a:pt x="18" y="3"/>
                  <a:pt x="16" y="2"/>
                  <a:pt x="15" y="2"/>
                </a:cubicBezTo>
                <a:cubicBezTo>
                  <a:pt x="14" y="2"/>
                  <a:pt x="13" y="2"/>
                  <a:pt x="12" y="2"/>
                </a:cubicBezTo>
                <a:cubicBezTo>
                  <a:pt x="9" y="1"/>
                  <a:pt x="7" y="0"/>
                  <a:pt x="4" y="1"/>
                </a:cubicBezTo>
                <a:cubicBezTo>
                  <a:pt x="0" y="2"/>
                  <a:pt x="3" y="2"/>
                  <a:pt x="4" y="3"/>
                </a:cubicBezTo>
                <a:cubicBezTo>
                  <a:pt x="4" y="3"/>
                  <a:pt x="0" y="3"/>
                  <a:pt x="0" y="4"/>
                </a:cubicBezTo>
                <a:cubicBezTo>
                  <a:pt x="0" y="5"/>
                  <a:pt x="4" y="5"/>
                  <a:pt x="5" y="5"/>
                </a:cubicBezTo>
                <a:cubicBezTo>
                  <a:pt x="5" y="6"/>
                  <a:pt x="7" y="6"/>
                  <a:pt x="7" y="6"/>
                </a:cubicBezTo>
                <a:cubicBezTo>
                  <a:pt x="7" y="7"/>
                  <a:pt x="6" y="7"/>
                  <a:pt x="6" y="7"/>
                </a:cubicBezTo>
                <a:cubicBezTo>
                  <a:pt x="12" y="11"/>
                  <a:pt x="21" y="5"/>
                  <a:pt x="24" y="13"/>
                </a:cubicBezTo>
                <a:cubicBezTo>
                  <a:pt x="24" y="14"/>
                  <a:pt x="26" y="15"/>
                  <a:pt x="25" y="16"/>
                </a:cubicBezTo>
                <a:cubicBezTo>
                  <a:pt x="24" y="18"/>
                  <a:pt x="23" y="19"/>
                  <a:pt x="24" y="21"/>
                </a:cubicBezTo>
                <a:cubicBezTo>
                  <a:pt x="24" y="21"/>
                  <a:pt x="26" y="25"/>
                  <a:pt x="27" y="25"/>
                </a:cubicBezTo>
                <a:cubicBezTo>
                  <a:pt x="28" y="26"/>
                  <a:pt x="30" y="23"/>
                  <a:pt x="30" y="24"/>
                </a:cubicBezTo>
                <a:cubicBezTo>
                  <a:pt x="31" y="24"/>
                  <a:pt x="32" y="26"/>
                  <a:pt x="33" y="26"/>
                </a:cubicBezTo>
                <a:cubicBezTo>
                  <a:pt x="35" y="27"/>
                  <a:pt x="37" y="26"/>
                  <a:pt x="38" y="26"/>
                </a:cubicBezTo>
                <a:cubicBezTo>
                  <a:pt x="39" y="25"/>
                  <a:pt x="41" y="23"/>
                  <a:pt x="42" y="23"/>
                </a:cubicBezTo>
                <a:cubicBezTo>
                  <a:pt x="42" y="23"/>
                  <a:pt x="44" y="26"/>
                  <a:pt x="45" y="26"/>
                </a:cubicBezTo>
                <a:cubicBezTo>
                  <a:pt x="47" y="27"/>
                  <a:pt x="50" y="27"/>
                  <a:pt x="52" y="27"/>
                </a:cubicBezTo>
                <a:cubicBezTo>
                  <a:pt x="56" y="27"/>
                  <a:pt x="59" y="27"/>
                  <a:pt x="62" y="27"/>
                </a:cubicBezTo>
                <a:cubicBezTo>
                  <a:pt x="63" y="27"/>
                  <a:pt x="64" y="27"/>
                  <a:pt x="65" y="27"/>
                </a:cubicBezTo>
                <a:cubicBezTo>
                  <a:pt x="67" y="26"/>
                  <a:pt x="66" y="24"/>
                  <a:pt x="67" y="24"/>
                </a:cubicBezTo>
                <a:cubicBezTo>
                  <a:pt x="68" y="23"/>
                  <a:pt x="69" y="24"/>
                  <a:pt x="70" y="25"/>
                </a:cubicBezTo>
                <a:cubicBezTo>
                  <a:pt x="71" y="26"/>
                  <a:pt x="74" y="27"/>
                  <a:pt x="76" y="27"/>
                </a:cubicBezTo>
                <a:cubicBezTo>
                  <a:pt x="78" y="27"/>
                  <a:pt x="80" y="27"/>
                  <a:pt x="82" y="26"/>
                </a:cubicBezTo>
                <a:cubicBezTo>
                  <a:pt x="84" y="26"/>
                  <a:pt x="83" y="24"/>
                  <a:pt x="85" y="24"/>
                </a:cubicBezTo>
                <a:cubicBezTo>
                  <a:pt x="86" y="24"/>
                  <a:pt x="87" y="21"/>
                  <a:pt x="85" y="22"/>
                </a:cubicBezTo>
                <a:cubicBezTo>
                  <a:pt x="85" y="22"/>
                  <a:pt x="83" y="22"/>
                  <a:pt x="82" y="22"/>
                </a:cubicBezTo>
                <a:cubicBezTo>
                  <a:pt x="82" y="22"/>
                  <a:pt x="89" y="18"/>
                  <a:pt x="85" y="17"/>
                </a:cubicBezTo>
                <a:cubicBezTo>
                  <a:pt x="84" y="17"/>
                  <a:pt x="82" y="16"/>
                  <a:pt x="80" y="16"/>
                </a:cubicBezTo>
                <a:cubicBezTo>
                  <a:pt x="78" y="16"/>
                  <a:pt x="80" y="14"/>
                  <a:pt x="78" y="14"/>
                </a:cubicBezTo>
                <a:cubicBezTo>
                  <a:pt x="75" y="14"/>
                  <a:pt x="73" y="14"/>
                  <a:pt x="70" y="14"/>
                </a:cubicBezTo>
                <a:cubicBezTo>
                  <a:pt x="68" y="14"/>
                  <a:pt x="67" y="13"/>
                  <a:pt x="65" y="14"/>
                </a:cubicBezTo>
                <a:cubicBezTo>
                  <a:pt x="64" y="14"/>
                  <a:pt x="55" y="16"/>
                  <a:pt x="55" y="17"/>
                </a:cubicBezTo>
                <a:cubicBezTo>
                  <a:pt x="55" y="17"/>
                  <a:pt x="56" y="17"/>
                  <a:pt x="56" y="18"/>
                </a:cubicBezTo>
                <a:cubicBezTo>
                  <a:pt x="56" y="18"/>
                  <a:pt x="53" y="18"/>
                  <a:pt x="52" y="18"/>
                </a:cubicBezTo>
                <a:cubicBezTo>
                  <a:pt x="51" y="18"/>
                  <a:pt x="50" y="17"/>
                  <a:pt x="49" y="16"/>
                </a:cubicBezTo>
                <a:cubicBezTo>
                  <a:pt x="48" y="16"/>
                  <a:pt x="47" y="17"/>
                  <a:pt x="46" y="17"/>
                </a:cubicBezTo>
                <a:cubicBezTo>
                  <a:pt x="45" y="17"/>
                  <a:pt x="43" y="16"/>
                  <a:pt x="42" y="16"/>
                </a:cubicBezTo>
                <a:cubicBezTo>
                  <a:pt x="41" y="16"/>
                  <a:pt x="42" y="18"/>
                  <a:pt x="41" y="18"/>
                </a:cubicBezTo>
                <a:cubicBezTo>
                  <a:pt x="40" y="18"/>
                  <a:pt x="39" y="16"/>
                  <a:pt x="38" y="16"/>
                </a:cubicBezTo>
                <a:cubicBezTo>
                  <a:pt x="35" y="16"/>
                  <a:pt x="39" y="15"/>
                  <a:pt x="39" y="14"/>
                </a:cubicBezTo>
                <a:cubicBezTo>
                  <a:pt x="39" y="13"/>
                  <a:pt x="35" y="12"/>
                  <a:pt x="34" y="12"/>
                </a:cubicBezTo>
                <a:cubicBezTo>
                  <a:pt x="34" y="12"/>
                  <a:pt x="30" y="13"/>
                  <a:pt x="30" y="13"/>
                </a:cubicBezTo>
                <a:cubicBezTo>
                  <a:pt x="30" y="12"/>
                  <a:pt x="32" y="12"/>
                  <a:pt x="32" y="12"/>
                </a:cubicBezTo>
                <a:cubicBezTo>
                  <a:pt x="32" y="11"/>
                  <a:pt x="27" y="10"/>
                  <a:pt x="28" y="9"/>
                </a:cubicBezTo>
                <a:cubicBezTo>
                  <a:pt x="28" y="9"/>
                  <a:pt x="38" y="10"/>
                  <a:pt x="38" y="10"/>
                </a:cubicBezTo>
                <a:cubicBezTo>
                  <a:pt x="38" y="9"/>
                  <a:pt x="34" y="8"/>
                  <a:pt x="33" y="7"/>
                </a:cubicBezTo>
                <a:cubicBezTo>
                  <a:pt x="32" y="7"/>
                  <a:pt x="30" y="7"/>
                  <a:pt x="28" y="7"/>
                </a:cubicBezTo>
                <a:cubicBezTo>
                  <a:pt x="29" y="7"/>
                  <a:pt x="31" y="7"/>
                  <a:pt x="32" y="6"/>
                </a:cubicBezTo>
                <a:cubicBezTo>
                  <a:pt x="32" y="5"/>
                  <a:pt x="27" y="5"/>
                  <a:pt x="27" y="5"/>
                </a:cubicBezTo>
                <a:cubicBezTo>
                  <a:pt x="23" y="5"/>
                  <a:pt x="21" y="6"/>
                  <a:pt x="17" y="7"/>
                </a:cubicBezTo>
                <a:cubicBezTo>
                  <a:pt x="17" y="7"/>
                  <a:pt x="18" y="7"/>
                  <a:pt x="17" y="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06" name="Freeform 601">
            <a:extLst>
              <a:ext uri="{FF2B5EF4-FFF2-40B4-BE49-F238E27FC236}">
                <a16:creationId xmlns:a16="http://schemas.microsoft.com/office/drawing/2014/main" id="{5A3A8448-2557-A24A-8227-50243C4C41C7}"/>
              </a:ext>
            </a:extLst>
          </p:cNvPr>
          <p:cNvSpPr>
            <a:spLocks/>
          </p:cNvSpPr>
          <p:nvPr/>
        </p:nvSpPr>
        <p:spPr bwMode="auto">
          <a:xfrm>
            <a:off x="3369914" y="2090924"/>
            <a:ext cx="305318" cy="192419"/>
          </a:xfrm>
          <a:custGeom>
            <a:avLst/>
            <a:gdLst>
              <a:gd name="T0" fmla="*/ 55 w 59"/>
              <a:gd name="T1" fmla="*/ 21 h 37"/>
              <a:gd name="T2" fmla="*/ 46 w 59"/>
              <a:gd name="T3" fmla="*/ 20 h 37"/>
              <a:gd name="T4" fmla="*/ 46 w 59"/>
              <a:gd name="T5" fmla="*/ 18 h 37"/>
              <a:gd name="T6" fmla="*/ 44 w 59"/>
              <a:gd name="T7" fmla="*/ 15 h 37"/>
              <a:gd name="T8" fmla="*/ 44 w 59"/>
              <a:gd name="T9" fmla="*/ 11 h 37"/>
              <a:gd name="T10" fmla="*/ 43 w 59"/>
              <a:gd name="T11" fmla="*/ 15 h 37"/>
              <a:gd name="T12" fmla="*/ 35 w 59"/>
              <a:gd name="T13" fmla="*/ 10 h 37"/>
              <a:gd name="T14" fmla="*/ 24 w 59"/>
              <a:gd name="T15" fmla="*/ 2 h 37"/>
              <a:gd name="T16" fmla="*/ 12 w 59"/>
              <a:gd name="T17" fmla="*/ 1 h 37"/>
              <a:gd name="T18" fmla="*/ 12 w 59"/>
              <a:gd name="T19" fmla="*/ 3 h 37"/>
              <a:gd name="T20" fmla="*/ 6 w 59"/>
              <a:gd name="T21" fmla="*/ 5 h 37"/>
              <a:gd name="T22" fmla="*/ 11 w 59"/>
              <a:gd name="T23" fmla="*/ 9 h 37"/>
              <a:gd name="T24" fmla="*/ 6 w 59"/>
              <a:gd name="T25" fmla="*/ 9 h 37"/>
              <a:gd name="T26" fmla="*/ 5 w 59"/>
              <a:gd name="T27" fmla="*/ 11 h 37"/>
              <a:gd name="T28" fmla="*/ 6 w 59"/>
              <a:gd name="T29" fmla="*/ 14 h 37"/>
              <a:gd name="T30" fmla="*/ 10 w 59"/>
              <a:gd name="T31" fmla="*/ 14 h 37"/>
              <a:gd name="T32" fmla="*/ 0 w 59"/>
              <a:gd name="T33" fmla="*/ 15 h 37"/>
              <a:gd name="T34" fmla="*/ 7 w 59"/>
              <a:gd name="T35" fmla="*/ 20 h 37"/>
              <a:gd name="T36" fmla="*/ 8 w 59"/>
              <a:gd name="T37" fmla="*/ 23 h 37"/>
              <a:gd name="T38" fmla="*/ 14 w 59"/>
              <a:gd name="T39" fmla="*/ 23 h 37"/>
              <a:gd name="T40" fmla="*/ 26 w 59"/>
              <a:gd name="T41" fmla="*/ 23 h 37"/>
              <a:gd name="T42" fmla="*/ 28 w 59"/>
              <a:gd name="T43" fmla="*/ 24 h 37"/>
              <a:gd name="T44" fmla="*/ 16 w 59"/>
              <a:gd name="T45" fmla="*/ 25 h 37"/>
              <a:gd name="T46" fmla="*/ 16 w 59"/>
              <a:gd name="T47" fmla="*/ 30 h 37"/>
              <a:gd name="T48" fmla="*/ 19 w 59"/>
              <a:gd name="T49" fmla="*/ 33 h 37"/>
              <a:gd name="T50" fmla="*/ 32 w 59"/>
              <a:gd name="T51" fmla="*/ 35 h 37"/>
              <a:gd name="T52" fmla="*/ 34 w 59"/>
              <a:gd name="T53" fmla="*/ 36 h 37"/>
              <a:gd name="T54" fmla="*/ 40 w 59"/>
              <a:gd name="T55" fmla="*/ 35 h 37"/>
              <a:gd name="T56" fmla="*/ 41 w 59"/>
              <a:gd name="T57" fmla="*/ 35 h 37"/>
              <a:gd name="T58" fmla="*/ 41 w 59"/>
              <a:gd name="T59" fmla="*/ 29 h 37"/>
              <a:gd name="T60" fmla="*/ 46 w 59"/>
              <a:gd name="T61" fmla="*/ 30 h 37"/>
              <a:gd name="T62" fmla="*/ 51 w 59"/>
              <a:gd name="T63" fmla="*/ 28 h 37"/>
              <a:gd name="T64" fmla="*/ 54 w 59"/>
              <a:gd name="T65" fmla="*/ 26 h 37"/>
              <a:gd name="T66" fmla="*/ 58 w 59"/>
              <a:gd name="T67" fmla="*/ 24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9" h="37">
                <a:moveTo>
                  <a:pt x="58" y="24"/>
                </a:moveTo>
                <a:cubicBezTo>
                  <a:pt x="58" y="22"/>
                  <a:pt x="56" y="22"/>
                  <a:pt x="55" y="21"/>
                </a:cubicBezTo>
                <a:cubicBezTo>
                  <a:pt x="54" y="20"/>
                  <a:pt x="53" y="22"/>
                  <a:pt x="52" y="21"/>
                </a:cubicBezTo>
                <a:cubicBezTo>
                  <a:pt x="50" y="19"/>
                  <a:pt x="48" y="21"/>
                  <a:pt x="46" y="20"/>
                </a:cubicBezTo>
                <a:cubicBezTo>
                  <a:pt x="46" y="20"/>
                  <a:pt x="48" y="19"/>
                  <a:pt x="48" y="18"/>
                </a:cubicBezTo>
                <a:cubicBezTo>
                  <a:pt x="48" y="18"/>
                  <a:pt x="46" y="18"/>
                  <a:pt x="46" y="18"/>
                </a:cubicBezTo>
                <a:cubicBezTo>
                  <a:pt x="46" y="17"/>
                  <a:pt x="47" y="17"/>
                  <a:pt x="47" y="16"/>
                </a:cubicBezTo>
                <a:cubicBezTo>
                  <a:pt x="47" y="15"/>
                  <a:pt x="44" y="16"/>
                  <a:pt x="44" y="15"/>
                </a:cubicBezTo>
                <a:cubicBezTo>
                  <a:pt x="43" y="15"/>
                  <a:pt x="45" y="14"/>
                  <a:pt x="45" y="14"/>
                </a:cubicBezTo>
                <a:cubicBezTo>
                  <a:pt x="46" y="13"/>
                  <a:pt x="44" y="12"/>
                  <a:pt x="44" y="11"/>
                </a:cubicBezTo>
                <a:cubicBezTo>
                  <a:pt x="43" y="10"/>
                  <a:pt x="38" y="11"/>
                  <a:pt x="38" y="11"/>
                </a:cubicBezTo>
                <a:cubicBezTo>
                  <a:pt x="38" y="12"/>
                  <a:pt x="43" y="14"/>
                  <a:pt x="43" y="15"/>
                </a:cubicBezTo>
                <a:cubicBezTo>
                  <a:pt x="42" y="16"/>
                  <a:pt x="39" y="14"/>
                  <a:pt x="38" y="13"/>
                </a:cubicBezTo>
                <a:cubicBezTo>
                  <a:pt x="36" y="12"/>
                  <a:pt x="39" y="10"/>
                  <a:pt x="35" y="10"/>
                </a:cubicBezTo>
                <a:cubicBezTo>
                  <a:pt x="33" y="10"/>
                  <a:pt x="30" y="10"/>
                  <a:pt x="29" y="8"/>
                </a:cubicBezTo>
                <a:cubicBezTo>
                  <a:pt x="28" y="6"/>
                  <a:pt x="26" y="3"/>
                  <a:pt x="24" y="2"/>
                </a:cubicBezTo>
                <a:cubicBezTo>
                  <a:pt x="21" y="1"/>
                  <a:pt x="18" y="0"/>
                  <a:pt x="16" y="0"/>
                </a:cubicBezTo>
                <a:cubicBezTo>
                  <a:pt x="15" y="0"/>
                  <a:pt x="10" y="0"/>
                  <a:pt x="12" y="1"/>
                </a:cubicBezTo>
                <a:cubicBezTo>
                  <a:pt x="13" y="1"/>
                  <a:pt x="17" y="2"/>
                  <a:pt x="17" y="2"/>
                </a:cubicBezTo>
                <a:cubicBezTo>
                  <a:pt x="17" y="4"/>
                  <a:pt x="13" y="3"/>
                  <a:pt x="12" y="3"/>
                </a:cubicBezTo>
                <a:cubicBezTo>
                  <a:pt x="12" y="3"/>
                  <a:pt x="13" y="4"/>
                  <a:pt x="13" y="4"/>
                </a:cubicBezTo>
                <a:cubicBezTo>
                  <a:pt x="13" y="5"/>
                  <a:pt x="7" y="2"/>
                  <a:pt x="6" y="5"/>
                </a:cubicBezTo>
                <a:cubicBezTo>
                  <a:pt x="6" y="5"/>
                  <a:pt x="11" y="7"/>
                  <a:pt x="12" y="7"/>
                </a:cubicBezTo>
                <a:cubicBezTo>
                  <a:pt x="10" y="6"/>
                  <a:pt x="11" y="9"/>
                  <a:pt x="11" y="9"/>
                </a:cubicBezTo>
                <a:cubicBezTo>
                  <a:pt x="11" y="10"/>
                  <a:pt x="4" y="7"/>
                  <a:pt x="3" y="8"/>
                </a:cubicBezTo>
                <a:cubicBezTo>
                  <a:pt x="3" y="7"/>
                  <a:pt x="6" y="8"/>
                  <a:pt x="6" y="9"/>
                </a:cubicBezTo>
                <a:cubicBezTo>
                  <a:pt x="6" y="8"/>
                  <a:pt x="4" y="9"/>
                  <a:pt x="4" y="9"/>
                </a:cubicBezTo>
                <a:cubicBezTo>
                  <a:pt x="3" y="10"/>
                  <a:pt x="5" y="11"/>
                  <a:pt x="5" y="11"/>
                </a:cubicBezTo>
                <a:cubicBezTo>
                  <a:pt x="6" y="12"/>
                  <a:pt x="2" y="12"/>
                  <a:pt x="1" y="12"/>
                </a:cubicBezTo>
                <a:cubicBezTo>
                  <a:pt x="2" y="12"/>
                  <a:pt x="4" y="13"/>
                  <a:pt x="6" y="14"/>
                </a:cubicBezTo>
                <a:cubicBezTo>
                  <a:pt x="8" y="14"/>
                  <a:pt x="10" y="13"/>
                  <a:pt x="12" y="13"/>
                </a:cubicBezTo>
                <a:cubicBezTo>
                  <a:pt x="12" y="13"/>
                  <a:pt x="10" y="14"/>
                  <a:pt x="10" y="14"/>
                </a:cubicBezTo>
                <a:cubicBezTo>
                  <a:pt x="10" y="15"/>
                  <a:pt x="11" y="15"/>
                  <a:pt x="11" y="15"/>
                </a:cubicBezTo>
                <a:cubicBezTo>
                  <a:pt x="11" y="16"/>
                  <a:pt x="0" y="15"/>
                  <a:pt x="0" y="15"/>
                </a:cubicBezTo>
                <a:cubicBezTo>
                  <a:pt x="0" y="15"/>
                  <a:pt x="2" y="18"/>
                  <a:pt x="2" y="18"/>
                </a:cubicBezTo>
                <a:cubicBezTo>
                  <a:pt x="3" y="19"/>
                  <a:pt x="7" y="21"/>
                  <a:pt x="7" y="20"/>
                </a:cubicBezTo>
                <a:cubicBezTo>
                  <a:pt x="7" y="21"/>
                  <a:pt x="5" y="20"/>
                  <a:pt x="6" y="22"/>
                </a:cubicBezTo>
                <a:cubicBezTo>
                  <a:pt x="6" y="22"/>
                  <a:pt x="7" y="23"/>
                  <a:pt x="8" y="23"/>
                </a:cubicBezTo>
                <a:cubicBezTo>
                  <a:pt x="9" y="24"/>
                  <a:pt x="10" y="23"/>
                  <a:pt x="11" y="23"/>
                </a:cubicBezTo>
                <a:cubicBezTo>
                  <a:pt x="12" y="22"/>
                  <a:pt x="13" y="24"/>
                  <a:pt x="14" y="23"/>
                </a:cubicBezTo>
                <a:cubicBezTo>
                  <a:pt x="17" y="22"/>
                  <a:pt x="19" y="21"/>
                  <a:pt x="21" y="22"/>
                </a:cubicBezTo>
                <a:cubicBezTo>
                  <a:pt x="23" y="23"/>
                  <a:pt x="24" y="23"/>
                  <a:pt x="26" y="23"/>
                </a:cubicBezTo>
                <a:cubicBezTo>
                  <a:pt x="25" y="23"/>
                  <a:pt x="23" y="23"/>
                  <a:pt x="21" y="23"/>
                </a:cubicBezTo>
                <a:cubicBezTo>
                  <a:pt x="23" y="23"/>
                  <a:pt x="27" y="23"/>
                  <a:pt x="28" y="24"/>
                </a:cubicBezTo>
                <a:cubicBezTo>
                  <a:pt x="28" y="24"/>
                  <a:pt x="23" y="25"/>
                  <a:pt x="23" y="25"/>
                </a:cubicBezTo>
                <a:cubicBezTo>
                  <a:pt x="21" y="25"/>
                  <a:pt x="18" y="25"/>
                  <a:pt x="16" y="25"/>
                </a:cubicBezTo>
                <a:cubicBezTo>
                  <a:pt x="16" y="26"/>
                  <a:pt x="12" y="27"/>
                  <a:pt x="13" y="27"/>
                </a:cubicBezTo>
                <a:cubicBezTo>
                  <a:pt x="14" y="28"/>
                  <a:pt x="15" y="28"/>
                  <a:pt x="16" y="30"/>
                </a:cubicBezTo>
                <a:cubicBezTo>
                  <a:pt x="16" y="32"/>
                  <a:pt x="22" y="30"/>
                  <a:pt x="23" y="32"/>
                </a:cubicBezTo>
                <a:cubicBezTo>
                  <a:pt x="23" y="32"/>
                  <a:pt x="19" y="32"/>
                  <a:pt x="19" y="33"/>
                </a:cubicBezTo>
                <a:cubicBezTo>
                  <a:pt x="20" y="34"/>
                  <a:pt x="25" y="36"/>
                  <a:pt x="26" y="36"/>
                </a:cubicBezTo>
                <a:cubicBezTo>
                  <a:pt x="26" y="36"/>
                  <a:pt x="32" y="36"/>
                  <a:pt x="32" y="35"/>
                </a:cubicBezTo>
                <a:cubicBezTo>
                  <a:pt x="32" y="35"/>
                  <a:pt x="31" y="35"/>
                  <a:pt x="31" y="35"/>
                </a:cubicBezTo>
                <a:cubicBezTo>
                  <a:pt x="31" y="33"/>
                  <a:pt x="35" y="36"/>
                  <a:pt x="34" y="36"/>
                </a:cubicBezTo>
                <a:cubicBezTo>
                  <a:pt x="35" y="36"/>
                  <a:pt x="33" y="33"/>
                  <a:pt x="33" y="32"/>
                </a:cubicBezTo>
                <a:cubicBezTo>
                  <a:pt x="35" y="31"/>
                  <a:pt x="37" y="37"/>
                  <a:pt x="40" y="35"/>
                </a:cubicBezTo>
                <a:cubicBezTo>
                  <a:pt x="41" y="34"/>
                  <a:pt x="39" y="32"/>
                  <a:pt x="40" y="32"/>
                </a:cubicBezTo>
                <a:cubicBezTo>
                  <a:pt x="41" y="32"/>
                  <a:pt x="41" y="34"/>
                  <a:pt x="41" y="35"/>
                </a:cubicBezTo>
                <a:cubicBezTo>
                  <a:pt x="42" y="35"/>
                  <a:pt x="43" y="31"/>
                  <a:pt x="42" y="31"/>
                </a:cubicBezTo>
                <a:cubicBezTo>
                  <a:pt x="42" y="30"/>
                  <a:pt x="42" y="29"/>
                  <a:pt x="41" y="29"/>
                </a:cubicBezTo>
                <a:cubicBezTo>
                  <a:pt x="41" y="28"/>
                  <a:pt x="42" y="26"/>
                  <a:pt x="43" y="27"/>
                </a:cubicBezTo>
                <a:cubicBezTo>
                  <a:pt x="44" y="28"/>
                  <a:pt x="43" y="32"/>
                  <a:pt x="46" y="30"/>
                </a:cubicBezTo>
                <a:cubicBezTo>
                  <a:pt x="47" y="29"/>
                  <a:pt x="50" y="25"/>
                  <a:pt x="52" y="27"/>
                </a:cubicBezTo>
                <a:cubicBezTo>
                  <a:pt x="53" y="27"/>
                  <a:pt x="51" y="28"/>
                  <a:pt x="51" y="28"/>
                </a:cubicBezTo>
                <a:cubicBezTo>
                  <a:pt x="51" y="28"/>
                  <a:pt x="56" y="27"/>
                  <a:pt x="56" y="27"/>
                </a:cubicBezTo>
                <a:cubicBezTo>
                  <a:pt x="56" y="27"/>
                  <a:pt x="54" y="27"/>
                  <a:pt x="54" y="26"/>
                </a:cubicBezTo>
                <a:cubicBezTo>
                  <a:pt x="54" y="25"/>
                  <a:pt x="59" y="25"/>
                  <a:pt x="58" y="24"/>
                </a:cubicBezTo>
                <a:cubicBezTo>
                  <a:pt x="58" y="22"/>
                  <a:pt x="58" y="25"/>
                  <a:pt x="58" y="2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07" name="Freeform 602">
            <a:extLst>
              <a:ext uri="{FF2B5EF4-FFF2-40B4-BE49-F238E27FC236}">
                <a16:creationId xmlns:a16="http://schemas.microsoft.com/office/drawing/2014/main" id="{EBEAE196-461F-1E43-9D89-79772AD8C22D}"/>
              </a:ext>
            </a:extLst>
          </p:cNvPr>
          <p:cNvSpPr>
            <a:spLocks/>
          </p:cNvSpPr>
          <p:nvPr/>
        </p:nvSpPr>
        <p:spPr bwMode="auto">
          <a:xfrm>
            <a:off x="3493452" y="1972650"/>
            <a:ext cx="806535" cy="420142"/>
          </a:xfrm>
          <a:custGeom>
            <a:avLst/>
            <a:gdLst>
              <a:gd name="T0" fmla="*/ 15 w 156"/>
              <a:gd name="T1" fmla="*/ 77 h 81"/>
              <a:gd name="T2" fmla="*/ 27 w 156"/>
              <a:gd name="T3" fmla="*/ 76 h 81"/>
              <a:gd name="T4" fmla="*/ 37 w 156"/>
              <a:gd name="T5" fmla="*/ 78 h 81"/>
              <a:gd name="T6" fmla="*/ 48 w 156"/>
              <a:gd name="T7" fmla="*/ 77 h 81"/>
              <a:gd name="T8" fmla="*/ 65 w 156"/>
              <a:gd name="T9" fmla="*/ 76 h 81"/>
              <a:gd name="T10" fmla="*/ 59 w 156"/>
              <a:gd name="T11" fmla="*/ 70 h 81"/>
              <a:gd name="T12" fmla="*/ 50 w 156"/>
              <a:gd name="T13" fmla="*/ 65 h 81"/>
              <a:gd name="T14" fmla="*/ 73 w 156"/>
              <a:gd name="T15" fmla="*/ 61 h 81"/>
              <a:gd name="T16" fmla="*/ 76 w 156"/>
              <a:gd name="T17" fmla="*/ 55 h 81"/>
              <a:gd name="T18" fmla="*/ 71 w 156"/>
              <a:gd name="T19" fmla="*/ 50 h 81"/>
              <a:gd name="T20" fmla="*/ 72 w 156"/>
              <a:gd name="T21" fmla="*/ 48 h 81"/>
              <a:gd name="T22" fmla="*/ 78 w 156"/>
              <a:gd name="T23" fmla="*/ 45 h 81"/>
              <a:gd name="T24" fmla="*/ 90 w 156"/>
              <a:gd name="T25" fmla="*/ 44 h 81"/>
              <a:gd name="T26" fmla="*/ 105 w 156"/>
              <a:gd name="T27" fmla="*/ 37 h 81"/>
              <a:gd name="T28" fmla="*/ 105 w 156"/>
              <a:gd name="T29" fmla="*/ 32 h 81"/>
              <a:gd name="T30" fmla="*/ 136 w 156"/>
              <a:gd name="T31" fmla="*/ 21 h 81"/>
              <a:gd name="T32" fmla="*/ 115 w 156"/>
              <a:gd name="T33" fmla="*/ 23 h 81"/>
              <a:gd name="T34" fmla="*/ 134 w 156"/>
              <a:gd name="T35" fmla="*/ 18 h 81"/>
              <a:gd name="T36" fmla="*/ 146 w 156"/>
              <a:gd name="T37" fmla="*/ 10 h 81"/>
              <a:gd name="T38" fmla="*/ 133 w 156"/>
              <a:gd name="T39" fmla="*/ 5 h 81"/>
              <a:gd name="T40" fmla="*/ 121 w 156"/>
              <a:gd name="T41" fmla="*/ 5 h 81"/>
              <a:gd name="T42" fmla="*/ 100 w 156"/>
              <a:gd name="T43" fmla="*/ 2 h 81"/>
              <a:gd name="T44" fmla="*/ 91 w 156"/>
              <a:gd name="T45" fmla="*/ 5 h 81"/>
              <a:gd name="T46" fmla="*/ 80 w 156"/>
              <a:gd name="T47" fmla="*/ 8 h 81"/>
              <a:gd name="T48" fmla="*/ 58 w 156"/>
              <a:gd name="T49" fmla="*/ 4 h 81"/>
              <a:gd name="T50" fmla="*/ 52 w 156"/>
              <a:gd name="T51" fmla="*/ 5 h 81"/>
              <a:gd name="T52" fmla="*/ 46 w 156"/>
              <a:gd name="T53" fmla="*/ 10 h 81"/>
              <a:gd name="T54" fmla="*/ 45 w 156"/>
              <a:gd name="T55" fmla="*/ 12 h 81"/>
              <a:gd name="T56" fmla="*/ 31 w 156"/>
              <a:gd name="T57" fmla="*/ 10 h 81"/>
              <a:gd name="T58" fmla="*/ 34 w 156"/>
              <a:gd name="T59" fmla="*/ 16 h 81"/>
              <a:gd name="T60" fmla="*/ 23 w 156"/>
              <a:gd name="T61" fmla="*/ 16 h 81"/>
              <a:gd name="T62" fmla="*/ 5 w 156"/>
              <a:gd name="T63" fmla="*/ 17 h 81"/>
              <a:gd name="T64" fmla="*/ 11 w 156"/>
              <a:gd name="T65" fmla="*/ 21 h 81"/>
              <a:gd name="T66" fmla="*/ 13 w 156"/>
              <a:gd name="T67" fmla="*/ 26 h 81"/>
              <a:gd name="T68" fmla="*/ 23 w 156"/>
              <a:gd name="T69" fmla="*/ 27 h 81"/>
              <a:gd name="T70" fmla="*/ 20 w 156"/>
              <a:gd name="T71" fmla="*/ 31 h 81"/>
              <a:gd name="T72" fmla="*/ 26 w 156"/>
              <a:gd name="T73" fmla="*/ 30 h 81"/>
              <a:gd name="T74" fmla="*/ 42 w 156"/>
              <a:gd name="T75" fmla="*/ 30 h 81"/>
              <a:gd name="T76" fmla="*/ 52 w 156"/>
              <a:gd name="T77" fmla="*/ 31 h 81"/>
              <a:gd name="T78" fmla="*/ 73 w 156"/>
              <a:gd name="T79" fmla="*/ 21 h 81"/>
              <a:gd name="T80" fmla="*/ 60 w 156"/>
              <a:gd name="T81" fmla="*/ 31 h 81"/>
              <a:gd name="T82" fmla="*/ 44 w 156"/>
              <a:gd name="T83" fmla="*/ 35 h 81"/>
              <a:gd name="T84" fmla="*/ 58 w 156"/>
              <a:gd name="T85" fmla="*/ 42 h 81"/>
              <a:gd name="T86" fmla="*/ 32 w 156"/>
              <a:gd name="T87" fmla="*/ 39 h 81"/>
              <a:gd name="T88" fmla="*/ 42 w 156"/>
              <a:gd name="T89" fmla="*/ 50 h 81"/>
              <a:gd name="T90" fmla="*/ 44 w 156"/>
              <a:gd name="T91" fmla="*/ 52 h 81"/>
              <a:gd name="T92" fmla="*/ 30 w 156"/>
              <a:gd name="T93" fmla="*/ 52 h 81"/>
              <a:gd name="T94" fmla="*/ 27 w 156"/>
              <a:gd name="T95" fmla="*/ 59 h 81"/>
              <a:gd name="T96" fmla="*/ 36 w 156"/>
              <a:gd name="T97" fmla="*/ 57 h 81"/>
              <a:gd name="T98" fmla="*/ 34 w 156"/>
              <a:gd name="T99" fmla="*/ 60 h 81"/>
              <a:gd name="T100" fmla="*/ 37 w 156"/>
              <a:gd name="T101" fmla="*/ 65 h 81"/>
              <a:gd name="T102" fmla="*/ 38 w 156"/>
              <a:gd name="T103" fmla="*/ 68 h 81"/>
              <a:gd name="T104" fmla="*/ 19 w 156"/>
              <a:gd name="T105" fmla="*/ 65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56" h="81">
                <a:moveTo>
                  <a:pt x="26" y="70"/>
                </a:moveTo>
                <a:cubicBezTo>
                  <a:pt x="22" y="70"/>
                  <a:pt x="17" y="70"/>
                  <a:pt x="13" y="71"/>
                </a:cubicBezTo>
                <a:cubicBezTo>
                  <a:pt x="11" y="72"/>
                  <a:pt x="11" y="75"/>
                  <a:pt x="12" y="76"/>
                </a:cubicBezTo>
                <a:cubicBezTo>
                  <a:pt x="13" y="77"/>
                  <a:pt x="15" y="78"/>
                  <a:pt x="15" y="77"/>
                </a:cubicBezTo>
                <a:cubicBezTo>
                  <a:pt x="17" y="77"/>
                  <a:pt x="16" y="76"/>
                  <a:pt x="17" y="75"/>
                </a:cubicBezTo>
                <a:cubicBezTo>
                  <a:pt x="17" y="75"/>
                  <a:pt x="17" y="78"/>
                  <a:pt x="17" y="78"/>
                </a:cubicBezTo>
                <a:cubicBezTo>
                  <a:pt x="19" y="78"/>
                  <a:pt x="22" y="78"/>
                  <a:pt x="24" y="78"/>
                </a:cubicBezTo>
                <a:cubicBezTo>
                  <a:pt x="26" y="78"/>
                  <a:pt x="26" y="76"/>
                  <a:pt x="27" y="76"/>
                </a:cubicBezTo>
                <a:cubicBezTo>
                  <a:pt x="29" y="76"/>
                  <a:pt x="27" y="78"/>
                  <a:pt x="27" y="78"/>
                </a:cubicBezTo>
                <a:cubicBezTo>
                  <a:pt x="27" y="78"/>
                  <a:pt x="37" y="79"/>
                  <a:pt x="37" y="78"/>
                </a:cubicBezTo>
                <a:cubicBezTo>
                  <a:pt x="37" y="78"/>
                  <a:pt x="35" y="77"/>
                  <a:pt x="34" y="76"/>
                </a:cubicBezTo>
                <a:cubicBezTo>
                  <a:pt x="34" y="76"/>
                  <a:pt x="38" y="77"/>
                  <a:pt x="37" y="78"/>
                </a:cubicBezTo>
                <a:cubicBezTo>
                  <a:pt x="38" y="77"/>
                  <a:pt x="37" y="76"/>
                  <a:pt x="38" y="76"/>
                </a:cubicBezTo>
                <a:cubicBezTo>
                  <a:pt x="38" y="76"/>
                  <a:pt x="40" y="77"/>
                  <a:pt x="41" y="77"/>
                </a:cubicBezTo>
                <a:cubicBezTo>
                  <a:pt x="43" y="79"/>
                  <a:pt x="41" y="76"/>
                  <a:pt x="42" y="75"/>
                </a:cubicBezTo>
                <a:cubicBezTo>
                  <a:pt x="42" y="75"/>
                  <a:pt x="48" y="78"/>
                  <a:pt x="48" y="77"/>
                </a:cubicBezTo>
                <a:cubicBezTo>
                  <a:pt x="48" y="76"/>
                  <a:pt x="46" y="76"/>
                  <a:pt x="46" y="75"/>
                </a:cubicBezTo>
                <a:cubicBezTo>
                  <a:pt x="46" y="75"/>
                  <a:pt x="53" y="76"/>
                  <a:pt x="53" y="76"/>
                </a:cubicBezTo>
                <a:cubicBezTo>
                  <a:pt x="57" y="76"/>
                  <a:pt x="52" y="79"/>
                  <a:pt x="52" y="80"/>
                </a:cubicBezTo>
                <a:cubicBezTo>
                  <a:pt x="52" y="81"/>
                  <a:pt x="64" y="76"/>
                  <a:pt x="65" y="76"/>
                </a:cubicBezTo>
                <a:cubicBezTo>
                  <a:pt x="67" y="76"/>
                  <a:pt x="72" y="73"/>
                  <a:pt x="68" y="72"/>
                </a:cubicBezTo>
                <a:cubicBezTo>
                  <a:pt x="66" y="71"/>
                  <a:pt x="63" y="73"/>
                  <a:pt x="61" y="72"/>
                </a:cubicBezTo>
                <a:cubicBezTo>
                  <a:pt x="61" y="72"/>
                  <a:pt x="63" y="70"/>
                  <a:pt x="63" y="70"/>
                </a:cubicBezTo>
                <a:cubicBezTo>
                  <a:pt x="63" y="69"/>
                  <a:pt x="60" y="70"/>
                  <a:pt x="59" y="70"/>
                </a:cubicBezTo>
                <a:cubicBezTo>
                  <a:pt x="57" y="70"/>
                  <a:pt x="56" y="68"/>
                  <a:pt x="54" y="68"/>
                </a:cubicBezTo>
                <a:cubicBezTo>
                  <a:pt x="53" y="69"/>
                  <a:pt x="50" y="70"/>
                  <a:pt x="48" y="69"/>
                </a:cubicBezTo>
                <a:cubicBezTo>
                  <a:pt x="49" y="69"/>
                  <a:pt x="50" y="69"/>
                  <a:pt x="51" y="69"/>
                </a:cubicBezTo>
                <a:cubicBezTo>
                  <a:pt x="52" y="68"/>
                  <a:pt x="50" y="66"/>
                  <a:pt x="50" y="65"/>
                </a:cubicBezTo>
                <a:cubicBezTo>
                  <a:pt x="50" y="67"/>
                  <a:pt x="59" y="68"/>
                  <a:pt x="60" y="68"/>
                </a:cubicBezTo>
                <a:cubicBezTo>
                  <a:pt x="61" y="68"/>
                  <a:pt x="63" y="68"/>
                  <a:pt x="65" y="68"/>
                </a:cubicBezTo>
                <a:cubicBezTo>
                  <a:pt x="67" y="68"/>
                  <a:pt x="69" y="65"/>
                  <a:pt x="68" y="64"/>
                </a:cubicBezTo>
                <a:cubicBezTo>
                  <a:pt x="65" y="61"/>
                  <a:pt x="71" y="61"/>
                  <a:pt x="73" y="61"/>
                </a:cubicBezTo>
                <a:cubicBezTo>
                  <a:pt x="74" y="61"/>
                  <a:pt x="79" y="61"/>
                  <a:pt x="80" y="60"/>
                </a:cubicBezTo>
                <a:cubicBezTo>
                  <a:pt x="80" y="60"/>
                  <a:pt x="75" y="58"/>
                  <a:pt x="75" y="58"/>
                </a:cubicBezTo>
                <a:cubicBezTo>
                  <a:pt x="77" y="57"/>
                  <a:pt x="81" y="59"/>
                  <a:pt x="82" y="57"/>
                </a:cubicBezTo>
                <a:cubicBezTo>
                  <a:pt x="83" y="56"/>
                  <a:pt x="77" y="55"/>
                  <a:pt x="76" y="55"/>
                </a:cubicBezTo>
                <a:cubicBezTo>
                  <a:pt x="77" y="55"/>
                  <a:pt x="84" y="54"/>
                  <a:pt x="85" y="53"/>
                </a:cubicBezTo>
                <a:cubicBezTo>
                  <a:pt x="87" y="52"/>
                  <a:pt x="77" y="50"/>
                  <a:pt x="77" y="51"/>
                </a:cubicBezTo>
                <a:cubicBezTo>
                  <a:pt x="77" y="50"/>
                  <a:pt x="79" y="50"/>
                  <a:pt x="79" y="50"/>
                </a:cubicBezTo>
                <a:cubicBezTo>
                  <a:pt x="79" y="49"/>
                  <a:pt x="72" y="50"/>
                  <a:pt x="71" y="50"/>
                </a:cubicBezTo>
                <a:cubicBezTo>
                  <a:pt x="69" y="50"/>
                  <a:pt x="68" y="51"/>
                  <a:pt x="66" y="52"/>
                </a:cubicBezTo>
                <a:cubicBezTo>
                  <a:pt x="67" y="52"/>
                  <a:pt x="70" y="49"/>
                  <a:pt x="68" y="49"/>
                </a:cubicBezTo>
                <a:cubicBezTo>
                  <a:pt x="68" y="49"/>
                  <a:pt x="64" y="49"/>
                  <a:pt x="64" y="48"/>
                </a:cubicBezTo>
                <a:cubicBezTo>
                  <a:pt x="64" y="48"/>
                  <a:pt x="71" y="48"/>
                  <a:pt x="72" y="48"/>
                </a:cubicBezTo>
                <a:cubicBezTo>
                  <a:pt x="71" y="48"/>
                  <a:pt x="68" y="47"/>
                  <a:pt x="68" y="47"/>
                </a:cubicBezTo>
                <a:cubicBezTo>
                  <a:pt x="69" y="46"/>
                  <a:pt x="72" y="48"/>
                  <a:pt x="74" y="47"/>
                </a:cubicBezTo>
                <a:cubicBezTo>
                  <a:pt x="73" y="47"/>
                  <a:pt x="69" y="46"/>
                  <a:pt x="69" y="46"/>
                </a:cubicBezTo>
                <a:cubicBezTo>
                  <a:pt x="69" y="45"/>
                  <a:pt x="77" y="46"/>
                  <a:pt x="78" y="45"/>
                </a:cubicBezTo>
                <a:cubicBezTo>
                  <a:pt x="78" y="45"/>
                  <a:pt x="75" y="44"/>
                  <a:pt x="75" y="44"/>
                </a:cubicBezTo>
                <a:cubicBezTo>
                  <a:pt x="74" y="44"/>
                  <a:pt x="77" y="44"/>
                  <a:pt x="77" y="44"/>
                </a:cubicBezTo>
                <a:cubicBezTo>
                  <a:pt x="79" y="45"/>
                  <a:pt x="80" y="46"/>
                  <a:pt x="82" y="46"/>
                </a:cubicBezTo>
                <a:cubicBezTo>
                  <a:pt x="84" y="46"/>
                  <a:pt x="87" y="45"/>
                  <a:pt x="90" y="44"/>
                </a:cubicBezTo>
                <a:cubicBezTo>
                  <a:pt x="98" y="43"/>
                  <a:pt x="85" y="42"/>
                  <a:pt x="84" y="40"/>
                </a:cubicBezTo>
                <a:cubicBezTo>
                  <a:pt x="84" y="39"/>
                  <a:pt x="93" y="40"/>
                  <a:pt x="94" y="41"/>
                </a:cubicBezTo>
                <a:cubicBezTo>
                  <a:pt x="96" y="42"/>
                  <a:pt x="97" y="42"/>
                  <a:pt x="100" y="41"/>
                </a:cubicBezTo>
                <a:cubicBezTo>
                  <a:pt x="101" y="41"/>
                  <a:pt x="106" y="39"/>
                  <a:pt x="105" y="37"/>
                </a:cubicBezTo>
                <a:cubicBezTo>
                  <a:pt x="105" y="36"/>
                  <a:pt x="94" y="41"/>
                  <a:pt x="97" y="36"/>
                </a:cubicBezTo>
                <a:cubicBezTo>
                  <a:pt x="96" y="37"/>
                  <a:pt x="101" y="37"/>
                  <a:pt x="101" y="37"/>
                </a:cubicBezTo>
                <a:cubicBezTo>
                  <a:pt x="104" y="37"/>
                  <a:pt x="106" y="36"/>
                  <a:pt x="108" y="36"/>
                </a:cubicBezTo>
                <a:cubicBezTo>
                  <a:pt x="108" y="35"/>
                  <a:pt x="105" y="32"/>
                  <a:pt x="105" y="32"/>
                </a:cubicBezTo>
                <a:cubicBezTo>
                  <a:pt x="106" y="32"/>
                  <a:pt x="107" y="33"/>
                  <a:pt x="107" y="34"/>
                </a:cubicBezTo>
                <a:cubicBezTo>
                  <a:pt x="108" y="35"/>
                  <a:pt x="110" y="34"/>
                  <a:pt x="111" y="34"/>
                </a:cubicBezTo>
                <a:cubicBezTo>
                  <a:pt x="114" y="32"/>
                  <a:pt x="116" y="30"/>
                  <a:pt x="119" y="29"/>
                </a:cubicBezTo>
                <a:cubicBezTo>
                  <a:pt x="121" y="28"/>
                  <a:pt x="136" y="22"/>
                  <a:pt x="136" y="21"/>
                </a:cubicBezTo>
                <a:cubicBezTo>
                  <a:pt x="136" y="20"/>
                  <a:pt x="123" y="23"/>
                  <a:pt x="122" y="23"/>
                </a:cubicBezTo>
                <a:cubicBezTo>
                  <a:pt x="119" y="24"/>
                  <a:pt x="116" y="24"/>
                  <a:pt x="112" y="25"/>
                </a:cubicBezTo>
                <a:cubicBezTo>
                  <a:pt x="112" y="25"/>
                  <a:pt x="108" y="25"/>
                  <a:pt x="108" y="25"/>
                </a:cubicBezTo>
                <a:cubicBezTo>
                  <a:pt x="108" y="24"/>
                  <a:pt x="114" y="24"/>
                  <a:pt x="115" y="23"/>
                </a:cubicBezTo>
                <a:cubicBezTo>
                  <a:pt x="116" y="23"/>
                  <a:pt x="123" y="22"/>
                  <a:pt x="123" y="21"/>
                </a:cubicBezTo>
                <a:cubicBezTo>
                  <a:pt x="123" y="22"/>
                  <a:pt x="113" y="20"/>
                  <a:pt x="114" y="19"/>
                </a:cubicBezTo>
                <a:cubicBezTo>
                  <a:pt x="114" y="19"/>
                  <a:pt x="126" y="20"/>
                  <a:pt x="127" y="19"/>
                </a:cubicBezTo>
                <a:cubicBezTo>
                  <a:pt x="129" y="19"/>
                  <a:pt x="132" y="18"/>
                  <a:pt x="134" y="18"/>
                </a:cubicBezTo>
                <a:cubicBezTo>
                  <a:pt x="135" y="18"/>
                  <a:pt x="137" y="18"/>
                  <a:pt x="138" y="18"/>
                </a:cubicBezTo>
                <a:cubicBezTo>
                  <a:pt x="142" y="17"/>
                  <a:pt x="146" y="16"/>
                  <a:pt x="149" y="15"/>
                </a:cubicBezTo>
                <a:cubicBezTo>
                  <a:pt x="149" y="15"/>
                  <a:pt x="156" y="11"/>
                  <a:pt x="153" y="10"/>
                </a:cubicBezTo>
                <a:cubicBezTo>
                  <a:pt x="151" y="10"/>
                  <a:pt x="148" y="10"/>
                  <a:pt x="146" y="10"/>
                </a:cubicBezTo>
                <a:cubicBezTo>
                  <a:pt x="145" y="9"/>
                  <a:pt x="143" y="10"/>
                  <a:pt x="143" y="9"/>
                </a:cubicBezTo>
                <a:cubicBezTo>
                  <a:pt x="143" y="7"/>
                  <a:pt x="141" y="7"/>
                  <a:pt x="141" y="5"/>
                </a:cubicBezTo>
                <a:cubicBezTo>
                  <a:pt x="141" y="5"/>
                  <a:pt x="137" y="6"/>
                  <a:pt x="136" y="6"/>
                </a:cubicBezTo>
                <a:cubicBezTo>
                  <a:pt x="135" y="5"/>
                  <a:pt x="134" y="3"/>
                  <a:pt x="133" y="5"/>
                </a:cubicBezTo>
                <a:cubicBezTo>
                  <a:pt x="133" y="5"/>
                  <a:pt x="127" y="6"/>
                  <a:pt x="126" y="6"/>
                </a:cubicBezTo>
                <a:cubicBezTo>
                  <a:pt x="124" y="7"/>
                  <a:pt x="122" y="7"/>
                  <a:pt x="120" y="7"/>
                </a:cubicBezTo>
                <a:cubicBezTo>
                  <a:pt x="120" y="7"/>
                  <a:pt x="116" y="7"/>
                  <a:pt x="116" y="7"/>
                </a:cubicBezTo>
                <a:cubicBezTo>
                  <a:pt x="116" y="6"/>
                  <a:pt x="120" y="6"/>
                  <a:pt x="121" y="5"/>
                </a:cubicBezTo>
                <a:cubicBezTo>
                  <a:pt x="123" y="5"/>
                  <a:pt x="125" y="4"/>
                  <a:pt x="126" y="3"/>
                </a:cubicBezTo>
                <a:cubicBezTo>
                  <a:pt x="124" y="6"/>
                  <a:pt x="103" y="0"/>
                  <a:pt x="102" y="2"/>
                </a:cubicBezTo>
                <a:cubicBezTo>
                  <a:pt x="102" y="3"/>
                  <a:pt x="104" y="3"/>
                  <a:pt x="105" y="4"/>
                </a:cubicBezTo>
                <a:cubicBezTo>
                  <a:pt x="105" y="5"/>
                  <a:pt x="100" y="2"/>
                  <a:pt x="100" y="2"/>
                </a:cubicBezTo>
                <a:cubicBezTo>
                  <a:pt x="98" y="1"/>
                  <a:pt x="95" y="2"/>
                  <a:pt x="94" y="2"/>
                </a:cubicBezTo>
                <a:cubicBezTo>
                  <a:pt x="93" y="2"/>
                  <a:pt x="90" y="2"/>
                  <a:pt x="91" y="3"/>
                </a:cubicBezTo>
                <a:cubicBezTo>
                  <a:pt x="92" y="4"/>
                  <a:pt x="94" y="7"/>
                  <a:pt x="95" y="6"/>
                </a:cubicBezTo>
                <a:cubicBezTo>
                  <a:pt x="95" y="7"/>
                  <a:pt x="91" y="6"/>
                  <a:pt x="91" y="5"/>
                </a:cubicBezTo>
                <a:cubicBezTo>
                  <a:pt x="88" y="5"/>
                  <a:pt x="87" y="2"/>
                  <a:pt x="85" y="2"/>
                </a:cubicBezTo>
                <a:cubicBezTo>
                  <a:pt x="81" y="2"/>
                  <a:pt x="78" y="2"/>
                  <a:pt x="75" y="2"/>
                </a:cubicBezTo>
                <a:cubicBezTo>
                  <a:pt x="70" y="3"/>
                  <a:pt x="73" y="4"/>
                  <a:pt x="76" y="5"/>
                </a:cubicBezTo>
                <a:cubicBezTo>
                  <a:pt x="77" y="6"/>
                  <a:pt x="79" y="7"/>
                  <a:pt x="80" y="8"/>
                </a:cubicBezTo>
                <a:cubicBezTo>
                  <a:pt x="80" y="8"/>
                  <a:pt x="77" y="10"/>
                  <a:pt x="77" y="10"/>
                </a:cubicBezTo>
                <a:cubicBezTo>
                  <a:pt x="76" y="10"/>
                  <a:pt x="78" y="9"/>
                  <a:pt x="78" y="9"/>
                </a:cubicBezTo>
                <a:cubicBezTo>
                  <a:pt x="78" y="8"/>
                  <a:pt x="71" y="4"/>
                  <a:pt x="70" y="4"/>
                </a:cubicBezTo>
                <a:cubicBezTo>
                  <a:pt x="66" y="4"/>
                  <a:pt x="62" y="3"/>
                  <a:pt x="58" y="4"/>
                </a:cubicBezTo>
                <a:cubicBezTo>
                  <a:pt x="58" y="4"/>
                  <a:pt x="60" y="6"/>
                  <a:pt x="61" y="6"/>
                </a:cubicBezTo>
                <a:cubicBezTo>
                  <a:pt x="62" y="6"/>
                  <a:pt x="64" y="7"/>
                  <a:pt x="66" y="6"/>
                </a:cubicBezTo>
                <a:cubicBezTo>
                  <a:pt x="64" y="7"/>
                  <a:pt x="61" y="8"/>
                  <a:pt x="59" y="7"/>
                </a:cubicBezTo>
                <a:cubicBezTo>
                  <a:pt x="58" y="7"/>
                  <a:pt x="51" y="4"/>
                  <a:pt x="52" y="5"/>
                </a:cubicBezTo>
                <a:cubicBezTo>
                  <a:pt x="52" y="4"/>
                  <a:pt x="57" y="10"/>
                  <a:pt x="53" y="9"/>
                </a:cubicBezTo>
                <a:cubicBezTo>
                  <a:pt x="52" y="8"/>
                  <a:pt x="49" y="7"/>
                  <a:pt x="47" y="8"/>
                </a:cubicBezTo>
                <a:cubicBezTo>
                  <a:pt x="48" y="8"/>
                  <a:pt x="51" y="9"/>
                  <a:pt x="51" y="9"/>
                </a:cubicBezTo>
                <a:cubicBezTo>
                  <a:pt x="50" y="10"/>
                  <a:pt x="46" y="8"/>
                  <a:pt x="46" y="10"/>
                </a:cubicBezTo>
                <a:cubicBezTo>
                  <a:pt x="46" y="11"/>
                  <a:pt x="50" y="12"/>
                  <a:pt x="51" y="13"/>
                </a:cubicBezTo>
                <a:cubicBezTo>
                  <a:pt x="54" y="13"/>
                  <a:pt x="61" y="14"/>
                  <a:pt x="61" y="17"/>
                </a:cubicBezTo>
                <a:cubicBezTo>
                  <a:pt x="61" y="16"/>
                  <a:pt x="54" y="15"/>
                  <a:pt x="52" y="14"/>
                </a:cubicBezTo>
                <a:cubicBezTo>
                  <a:pt x="50" y="14"/>
                  <a:pt x="47" y="11"/>
                  <a:pt x="45" y="12"/>
                </a:cubicBezTo>
                <a:cubicBezTo>
                  <a:pt x="45" y="12"/>
                  <a:pt x="48" y="14"/>
                  <a:pt x="48" y="14"/>
                </a:cubicBezTo>
                <a:cubicBezTo>
                  <a:pt x="48" y="14"/>
                  <a:pt x="45" y="15"/>
                  <a:pt x="45" y="14"/>
                </a:cubicBezTo>
                <a:cubicBezTo>
                  <a:pt x="43" y="13"/>
                  <a:pt x="42" y="12"/>
                  <a:pt x="40" y="11"/>
                </a:cubicBezTo>
                <a:cubicBezTo>
                  <a:pt x="39" y="10"/>
                  <a:pt x="31" y="10"/>
                  <a:pt x="31" y="10"/>
                </a:cubicBezTo>
                <a:cubicBezTo>
                  <a:pt x="31" y="11"/>
                  <a:pt x="34" y="11"/>
                  <a:pt x="31" y="12"/>
                </a:cubicBezTo>
                <a:cubicBezTo>
                  <a:pt x="30" y="12"/>
                  <a:pt x="25" y="14"/>
                  <a:pt x="25" y="14"/>
                </a:cubicBezTo>
                <a:cubicBezTo>
                  <a:pt x="26" y="14"/>
                  <a:pt x="29" y="13"/>
                  <a:pt x="29" y="13"/>
                </a:cubicBezTo>
                <a:cubicBezTo>
                  <a:pt x="30" y="14"/>
                  <a:pt x="34" y="16"/>
                  <a:pt x="34" y="16"/>
                </a:cubicBezTo>
                <a:cubicBezTo>
                  <a:pt x="34" y="16"/>
                  <a:pt x="31" y="15"/>
                  <a:pt x="31" y="16"/>
                </a:cubicBezTo>
                <a:cubicBezTo>
                  <a:pt x="31" y="16"/>
                  <a:pt x="32" y="19"/>
                  <a:pt x="30" y="17"/>
                </a:cubicBezTo>
                <a:cubicBezTo>
                  <a:pt x="29" y="16"/>
                  <a:pt x="28" y="14"/>
                  <a:pt x="26" y="15"/>
                </a:cubicBezTo>
                <a:cubicBezTo>
                  <a:pt x="25" y="15"/>
                  <a:pt x="24" y="17"/>
                  <a:pt x="23" y="16"/>
                </a:cubicBezTo>
                <a:cubicBezTo>
                  <a:pt x="22" y="15"/>
                  <a:pt x="21" y="14"/>
                  <a:pt x="19" y="14"/>
                </a:cubicBezTo>
                <a:cubicBezTo>
                  <a:pt x="18" y="14"/>
                  <a:pt x="15" y="15"/>
                  <a:pt x="14" y="16"/>
                </a:cubicBezTo>
                <a:cubicBezTo>
                  <a:pt x="12" y="17"/>
                  <a:pt x="13" y="18"/>
                  <a:pt x="10" y="17"/>
                </a:cubicBezTo>
                <a:cubicBezTo>
                  <a:pt x="8" y="16"/>
                  <a:pt x="7" y="17"/>
                  <a:pt x="5" y="17"/>
                </a:cubicBezTo>
                <a:cubicBezTo>
                  <a:pt x="4" y="18"/>
                  <a:pt x="0" y="18"/>
                  <a:pt x="0" y="19"/>
                </a:cubicBezTo>
                <a:cubicBezTo>
                  <a:pt x="0" y="21"/>
                  <a:pt x="9" y="19"/>
                  <a:pt x="9" y="20"/>
                </a:cubicBezTo>
                <a:cubicBezTo>
                  <a:pt x="9" y="21"/>
                  <a:pt x="6" y="21"/>
                  <a:pt x="5" y="22"/>
                </a:cubicBezTo>
                <a:cubicBezTo>
                  <a:pt x="5" y="21"/>
                  <a:pt x="10" y="21"/>
                  <a:pt x="11" y="21"/>
                </a:cubicBezTo>
                <a:cubicBezTo>
                  <a:pt x="12" y="21"/>
                  <a:pt x="17" y="21"/>
                  <a:pt x="17" y="21"/>
                </a:cubicBezTo>
                <a:cubicBezTo>
                  <a:pt x="17" y="21"/>
                  <a:pt x="15" y="22"/>
                  <a:pt x="14" y="22"/>
                </a:cubicBezTo>
                <a:cubicBezTo>
                  <a:pt x="12" y="22"/>
                  <a:pt x="11" y="22"/>
                  <a:pt x="9" y="24"/>
                </a:cubicBezTo>
                <a:cubicBezTo>
                  <a:pt x="5" y="26"/>
                  <a:pt x="12" y="26"/>
                  <a:pt x="13" y="26"/>
                </a:cubicBezTo>
                <a:cubicBezTo>
                  <a:pt x="17" y="27"/>
                  <a:pt x="20" y="27"/>
                  <a:pt x="24" y="26"/>
                </a:cubicBezTo>
                <a:cubicBezTo>
                  <a:pt x="26" y="25"/>
                  <a:pt x="31" y="22"/>
                  <a:pt x="34" y="24"/>
                </a:cubicBezTo>
                <a:cubicBezTo>
                  <a:pt x="34" y="24"/>
                  <a:pt x="29" y="26"/>
                  <a:pt x="29" y="26"/>
                </a:cubicBezTo>
                <a:cubicBezTo>
                  <a:pt x="27" y="26"/>
                  <a:pt x="25" y="26"/>
                  <a:pt x="23" y="27"/>
                </a:cubicBezTo>
                <a:cubicBezTo>
                  <a:pt x="22" y="27"/>
                  <a:pt x="20" y="27"/>
                  <a:pt x="18" y="27"/>
                </a:cubicBezTo>
                <a:cubicBezTo>
                  <a:pt x="16" y="28"/>
                  <a:pt x="14" y="27"/>
                  <a:pt x="12" y="28"/>
                </a:cubicBezTo>
                <a:cubicBezTo>
                  <a:pt x="13" y="28"/>
                  <a:pt x="16" y="29"/>
                  <a:pt x="16" y="29"/>
                </a:cubicBezTo>
                <a:cubicBezTo>
                  <a:pt x="17" y="30"/>
                  <a:pt x="18" y="31"/>
                  <a:pt x="20" y="31"/>
                </a:cubicBezTo>
                <a:cubicBezTo>
                  <a:pt x="24" y="31"/>
                  <a:pt x="26" y="28"/>
                  <a:pt x="30" y="27"/>
                </a:cubicBezTo>
                <a:cubicBezTo>
                  <a:pt x="31" y="27"/>
                  <a:pt x="44" y="26"/>
                  <a:pt x="44" y="25"/>
                </a:cubicBezTo>
                <a:cubicBezTo>
                  <a:pt x="44" y="26"/>
                  <a:pt x="38" y="26"/>
                  <a:pt x="37" y="26"/>
                </a:cubicBezTo>
                <a:cubicBezTo>
                  <a:pt x="34" y="27"/>
                  <a:pt x="29" y="28"/>
                  <a:pt x="26" y="30"/>
                </a:cubicBezTo>
                <a:cubicBezTo>
                  <a:pt x="23" y="33"/>
                  <a:pt x="32" y="32"/>
                  <a:pt x="33" y="32"/>
                </a:cubicBezTo>
                <a:cubicBezTo>
                  <a:pt x="35" y="32"/>
                  <a:pt x="37" y="33"/>
                  <a:pt x="39" y="31"/>
                </a:cubicBezTo>
                <a:cubicBezTo>
                  <a:pt x="40" y="31"/>
                  <a:pt x="40" y="30"/>
                  <a:pt x="40" y="29"/>
                </a:cubicBezTo>
                <a:cubicBezTo>
                  <a:pt x="41" y="29"/>
                  <a:pt x="42" y="29"/>
                  <a:pt x="42" y="30"/>
                </a:cubicBezTo>
                <a:cubicBezTo>
                  <a:pt x="42" y="30"/>
                  <a:pt x="42" y="30"/>
                  <a:pt x="41" y="30"/>
                </a:cubicBezTo>
                <a:cubicBezTo>
                  <a:pt x="43" y="30"/>
                  <a:pt x="48" y="28"/>
                  <a:pt x="50" y="29"/>
                </a:cubicBezTo>
                <a:cubicBezTo>
                  <a:pt x="49" y="28"/>
                  <a:pt x="44" y="32"/>
                  <a:pt x="43" y="32"/>
                </a:cubicBezTo>
                <a:cubicBezTo>
                  <a:pt x="44" y="33"/>
                  <a:pt x="50" y="31"/>
                  <a:pt x="52" y="31"/>
                </a:cubicBezTo>
                <a:cubicBezTo>
                  <a:pt x="55" y="31"/>
                  <a:pt x="58" y="30"/>
                  <a:pt x="61" y="28"/>
                </a:cubicBezTo>
                <a:cubicBezTo>
                  <a:pt x="62" y="27"/>
                  <a:pt x="62" y="25"/>
                  <a:pt x="62" y="25"/>
                </a:cubicBezTo>
                <a:cubicBezTo>
                  <a:pt x="64" y="25"/>
                  <a:pt x="64" y="25"/>
                  <a:pt x="65" y="24"/>
                </a:cubicBezTo>
                <a:cubicBezTo>
                  <a:pt x="66" y="24"/>
                  <a:pt x="73" y="20"/>
                  <a:pt x="73" y="21"/>
                </a:cubicBezTo>
                <a:cubicBezTo>
                  <a:pt x="73" y="21"/>
                  <a:pt x="69" y="24"/>
                  <a:pt x="69" y="24"/>
                </a:cubicBezTo>
                <a:cubicBezTo>
                  <a:pt x="68" y="25"/>
                  <a:pt x="64" y="27"/>
                  <a:pt x="64" y="28"/>
                </a:cubicBezTo>
                <a:cubicBezTo>
                  <a:pt x="64" y="29"/>
                  <a:pt x="75" y="28"/>
                  <a:pt x="75" y="29"/>
                </a:cubicBezTo>
                <a:cubicBezTo>
                  <a:pt x="75" y="28"/>
                  <a:pt x="60" y="32"/>
                  <a:pt x="60" y="31"/>
                </a:cubicBezTo>
                <a:cubicBezTo>
                  <a:pt x="60" y="31"/>
                  <a:pt x="69" y="32"/>
                  <a:pt x="68" y="32"/>
                </a:cubicBezTo>
                <a:cubicBezTo>
                  <a:pt x="68" y="33"/>
                  <a:pt x="64" y="33"/>
                  <a:pt x="63" y="33"/>
                </a:cubicBezTo>
                <a:cubicBezTo>
                  <a:pt x="61" y="33"/>
                  <a:pt x="58" y="33"/>
                  <a:pt x="56" y="34"/>
                </a:cubicBezTo>
                <a:cubicBezTo>
                  <a:pt x="52" y="34"/>
                  <a:pt x="48" y="34"/>
                  <a:pt x="44" y="35"/>
                </a:cubicBezTo>
                <a:cubicBezTo>
                  <a:pt x="43" y="35"/>
                  <a:pt x="43" y="36"/>
                  <a:pt x="45" y="36"/>
                </a:cubicBezTo>
                <a:cubicBezTo>
                  <a:pt x="46" y="37"/>
                  <a:pt x="49" y="38"/>
                  <a:pt x="50" y="39"/>
                </a:cubicBezTo>
                <a:cubicBezTo>
                  <a:pt x="52" y="41"/>
                  <a:pt x="50" y="43"/>
                  <a:pt x="53" y="43"/>
                </a:cubicBezTo>
                <a:cubicBezTo>
                  <a:pt x="54" y="42"/>
                  <a:pt x="57" y="43"/>
                  <a:pt x="58" y="42"/>
                </a:cubicBezTo>
                <a:cubicBezTo>
                  <a:pt x="49" y="47"/>
                  <a:pt x="44" y="36"/>
                  <a:pt x="37" y="36"/>
                </a:cubicBezTo>
                <a:cubicBezTo>
                  <a:pt x="35" y="36"/>
                  <a:pt x="26" y="34"/>
                  <a:pt x="26" y="36"/>
                </a:cubicBezTo>
                <a:cubicBezTo>
                  <a:pt x="26" y="36"/>
                  <a:pt x="25" y="38"/>
                  <a:pt x="25" y="38"/>
                </a:cubicBezTo>
                <a:cubicBezTo>
                  <a:pt x="26" y="38"/>
                  <a:pt x="32" y="38"/>
                  <a:pt x="32" y="39"/>
                </a:cubicBezTo>
                <a:cubicBezTo>
                  <a:pt x="32" y="39"/>
                  <a:pt x="26" y="39"/>
                  <a:pt x="26" y="41"/>
                </a:cubicBezTo>
                <a:cubicBezTo>
                  <a:pt x="26" y="42"/>
                  <a:pt x="32" y="42"/>
                  <a:pt x="34" y="43"/>
                </a:cubicBezTo>
                <a:cubicBezTo>
                  <a:pt x="35" y="44"/>
                  <a:pt x="36" y="45"/>
                  <a:pt x="37" y="46"/>
                </a:cubicBezTo>
                <a:cubicBezTo>
                  <a:pt x="38" y="48"/>
                  <a:pt x="40" y="49"/>
                  <a:pt x="42" y="50"/>
                </a:cubicBezTo>
                <a:cubicBezTo>
                  <a:pt x="44" y="51"/>
                  <a:pt x="45" y="51"/>
                  <a:pt x="47" y="50"/>
                </a:cubicBezTo>
                <a:cubicBezTo>
                  <a:pt x="48" y="50"/>
                  <a:pt x="50" y="49"/>
                  <a:pt x="51" y="50"/>
                </a:cubicBezTo>
                <a:cubicBezTo>
                  <a:pt x="51" y="50"/>
                  <a:pt x="50" y="52"/>
                  <a:pt x="50" y="52"/>
                </a:cubicBezTo>
                <a:cubicBezTo>
                  <a:pt x="48" y="52"/>
                  <a:pt x="45" y="51"/>
                  <a:pt x="44" y="52"/>
                </a:cubicBezTo>
                <a:cubicBezTo>
                  <a:pt x="44" y="51"/>
                  <a:pt x="48" y="54"/>
                  <a:pt x="48" y="54"/>
                </a:cubicBezTo>
                <a:cubicBezTo>
                  <a:pt x="48" y="55"/>
                  <a:pt x="43" y="53"/>
                  <a:pt x="43" y="53"/>
                </a:cubicBezTo>
                <a:cubicBezTo>
                  <a:pt x="40" y="51"/>
                  <a:pt x="38" y="51"/>
                  <a:pt x="35" y="51"/>
                </a:cubicBezTo>
                <a:cubicBezTo>
                  <a:pt x="33" y="51"/>
                  <a:pt x="32" y="51"/>
                  <a:pt x="30" y="52"/>
                </a:cubicBezTo>
                <a:cubicBezTo>
                  <a:pt x="28" y="53"/>
                  <a:pt x="27" y="52"/>
                  <a:pt x="26" y="53"/>
                </a:cubicBezTo>
                <a:cubicBezTo>
                  <a:pt x="25" y="54"/>
                  <a:pt x="25" y="55"/>
                  <a:pt x="23" y="55"/>
                </a:cubicBezTo>
                <a:cubicBezTo>
                  <a:pt x="22" y="56"/>
                  <a:pt x="21" y="59"/>
                  <a:pt x="23" y="59"/>
                </a:cubicBezTo>
                <a:cubicBezTo>
                  <a:pt x="25" y="59"/>
                  <a:pt x="27" y="58"/>
                  <a:pt x="27" y="59"/>
                </a:cubicBezTo>
                <a:cubicBezTo>
                  <a:pt x="28" y="61"/>
                  <a:pt x="32" y="60"/>
                  <a:pt x="32" y="59"/>
                </a:cubicBezTo>
                <a:cubicBezTo>
                  <a:pt x="33" y="59"/>
                  <a:pt x="35" y="56"/>
                  <a:pt x="35" y="55"/>
                </a:cubicBezTo>
                <a:cubicBezTo>
                  <a:pt x="35" y="56"/>
                  <a:pt x="35" y="56"/>
                  <a:pt x="35" y="57"/>
                </a:cubicBezTo>
                <a:cubicBezTo>
                  <a:pt x="35" y="57"/>
                  <a:pt x="36" y="57"/>
                  <a:pt x="36" y="57"/>
                </a:cubicBezTo>
                <a:cubicBezTo>
                  <a:pt x="36" y="57"/>
                  <a:pt x="35" y="58"/>
                  <a:pt x="35" y="59"/>
                </a:cubicBezTo>
                <a:cubicBezTo>
                  <a:pt x="35" y="59"/>
                  <a:pt x="35" y="59"/>
                  <a:pt x="36" y="59"/>
                </a:cubicBezTo>
                <a:cubicBezTo>
                  <a:pt x="36" y="59"/>
                  <a:pt x="33" y="60"/>
                  <a:pt x="34" y="60"/>
                </a:cubicBezTo>
                <a:cubicBezTo>
                  <a:pt x="34" y="60"/>
                  <a:pt x="34" y="60"/>
                  <a:pt x="34" y="60"/>
                </a:cubicBezTo>
                <a:cubicBezTo>
                  <a:pt x="34" y="61"/>
                  <a:pt x="31" y="60"/>
                  <a:pt x="30" y="61"/>
                </a:cubicBezTo>
                <a:cubicBezTo>
                  <a:pt x="31" y="61"/>
                  <a:pt x="35" y="61"/>
                  <a:pt x="36" y="62"/>
                </a:cubicBezTo>
                <a:cubicBezTo>
                  <a:pt x="36" y="62"/>
                  <a:pt x="31" y="65"/>
                  <a:pt x="32" y="65"/>
                </a:cubicBezTo>
                <a:cubicBezTo>
                  <a:pt x="32" y="66"/>
                  <a:pt x="37" y="65"/>
                  <a:pt x="37" y="65"/>
                </a:cubicBezTo>
                <a:cubicBezTo>
                  <a:pt x="37" y="65"/>
                  <a:pt x="36" y="65"/>
                  <a:pt x="36" y="65"/>
                </a:cubicBezTo>
                <a:cubicBezTo>
                  <a:pt x="36" y="66"/>
                  <a:pt x="41" y="65"/>
                  <a:pt x="42" y="64"/>
                </a:cubicBezTo>
                <a:cubicBezTo>
                  <a:pt x="42" y="64"/>
                  <a:pt x="46" y="59"/>
                  <a:pt x="47" y="60"/>
                </a:cubicBezTo>
                <a:cubicBezTo>
                  <a:pt x="48" y="61"/>
                  <a:pt x="40" y="67"/>
                  <a:pt x="38" y="68"/>
                </a:cubicBezTo>
                <a:cubicBezTo>
                  <a:pt x="35" y="68"/>
                  <a:pt x="33" y="68"/>
                  <a:pt x="30" y="66"/>
                </a:cubicBezTo>
                <a:cubicBezTo>
                  <a:pt x="28" y="65"/>
                  <a:pt x="28" y="63"/>
                  <a:pt x="26" y="63"/>
                </a:cubicBezTo>
                <a:cubicBezTo>
                  <a:pt x="24" y="62"/>
                  <a:pt x="22" y="62"/>
                  <a:pt x="20" y="62"/>
                </a:cubicBezTo>
                <a:cubicBezTo>
                  <a:pt x="17" y="62"/>
                  <a:pt x="17" y="63"/>
                  <a:pt x="19" y="65"/>
                </a:cubicBezTo>
                <a:cubicBezTo>
                  <a:pt x="20" y="66"/>
                  <a:pt x="20" y="67"/>
                  <a:pt x="22" y="67"/>
                </a:cubicBezTo>
                <a:cubicBezTo>
                  <a:pt x="25" y="67"/>
                  <a:pt x="22" y="67"/>
                  <a:pt x="22" y="68"/>
                </a:cubicBezTo>
                <a:cubicBezTo>
                  <a:pt x="22" y="68"/>
                  <a:pt x="26" y="70"/>
                  <a:pt x="26" y="7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08" name="Freeform 604">
            <a:extLst>
              <a:ext uri="{FF2B5EF4-FFF2-40B4-BE49-F238E27FC236}">
                <a16:creationId xmlns:a16="http://schemas.microsoft.com/office/drawing/2014/main" id="{0E454CF9-D184-3344-A46E-3B6D00A24871}"/>
              </a:ext>
            </a:extLst>
          </p:cNvPr>
          <p:cNvSpPr>
            <a:spLocks/>
          </p:cNvSpPr>
          <p:nvPr/>
        </p:nvSpPr>
        <p:spPr bwMode="auto">
          <a:xfrm>
            <a:off x="3871130" y="2205669"/>
            <a:ext cx="72359" cy="26481"/>
          </a:xfrm>
          <a:custGeom>
            <a:avLst/>
            <a:gdLst>
              <a:gd name="T0" fmla="*/ 13 w 14"/>
              <a:gd name="T1" fmla="*/ 4 h 5"/>
              <a:gd name="T2" fmla="*/ 11 w 14"/>
              <a:gd name="T3" fmla="*/ 2 h 5"/>
              <a:gd name="T4" fmla="*/ 8 w 14"/>
              <a:gd name="T5" fmla="*/ 2 h 5"/>
              <a:gd name="T6" fmla="*/ 1 w 14"/>
              <a:gd name="T7" fmla="*/ 1 h 5"/>
              <a:gd name="T8" fmla="*/ 2 w 14"/>
              <a:gd name="T9" fmla="*/ 2 h 5"/>
              <a:gd name="T10" fmla="*/ 0 w 14"/>
              <a:gd name="T11" fmla="*/ 3 h 5"/>
              <a:gd name="T12" fmla="*/ 3 w 14"/>
              <a:gd name="T13" fmla="*/ 3 h 5"/>
              <a:gd name="T14" fmla="*/ 8 w 14"/>
              <a:gd name="T15" fmla="*/ 4 h 5"/>
              <a:gd name="T16" fmla="*/ 13 w 14"/>
              <a:gd name="T17" fmla="*/ 4 h 5"/>
              <a:gd name="T18" fmla="*/ 13 w 14"/>
              <a:gd name="T19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5">
                <a:moveTo>
                  <a:pt x="13" y="4"/>
                </a:moveTo>
                <a:cubicBezTo>
                  <a:pt x="12" y="3"/>
                  <a:pt x="13" y="3"/>
                  <a:pt x="11" y="2"/>
                </a:cubicBezTo>
                <a:cubicBezTo>
                  <a:pt x="10" y="2"/>
                  <a:pt x="9" y="2"/>
                  <a:pt x="8" y="2"/>
                </a:cubicBezTo>
                <a:cubicBezTo>
                  <a:pt x="7" y="2"/>
                  <a:pt x="2" y="0"/>
                  <a:pt x="1" y="1"/>
                </a:cubicBezTo>
                <a:cubicBezTo>
                  <a:pt x="1" y="1"/>
                  <a:pt x="3" y="2"/>
                  <a:pt x="2" y="2"/>
                </a:cubicBezTo>
                <a:cubicBezTo>
                  <a:pt x="2" y="3"/>
                  <a:pt x="0" y="4"/>
                  <a:pt x="0" y="3"/>
                </a:cubicBezTo>
                <a:cubicBezTo>
                  <a:pt x="0" y="4"/>
                  <a:pt x="2" y="3"/>
                  <a:pt x="3" y="3"/>
                </a:cubicBezTo>
                <a:cubicBezTo>
                  <a:pt x="4" y="3"/>
                  <a:pt x="6" y="4"/>
                  <a:pt x="8" y="4"/>
                </a:cubicBezTo>
                <a:cubicBezTo>
                  <a:pt x="9" y="4"/>
                  <a:pt x="13" y="4"/>
                  <a:pt x="13" y="4"/>
                </a:cubicBezTo>
                <a:cubicBezTo>
                  <a:pt x="12" y="3"/>
                  <a:pt x="14" y="5"/>
                  <a:pt x="13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09" name="Freeform 605">
            <a:extLst>
              <a:ext uri="{FF2B5EF4-FFF2-40B4-BE49-F238E27FC236}">
                <a16:creationId xmlns:a16="http://schemas.microsoft.com/office/drawing/2014/main" id="{7D2233DC-9F04-1743-BDFA-00BFAACD6800}"/>
              </a:ext>
            </a:extLst>
          </p:cNvPr>
          <p:cNvSpPr>
            <a:spLocks/>
          </p:cNvSpPr>
          <p:nvPr/>
        </p:nvSpPr>
        <p:spPr bwMode="auto">
          <a:xfrm>
            <a:off x="3669937" y="2226851"/>
            <a:ext cx="30003" cy="10592"/>
          </a:xfrm>
          <a:custGeom>
            <a:avLst/>
            <a:gdLst>
              <a:gd name="T0" fmla="*/ 5 w 6"/>
              <a:gd name="T1" fmla="*/ 1 h 2"/>
              <a:gd name="T2" fmla="*/ 2 w 6"/>
              <a:gd name="T3" fmla="*/ 0 h 2"/>
              <a:gd name="T4" fmla="*/ 5 w 6"/>
              <a:gd name="T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" h="2">
                <a:moveTo>
                  <a:pt x="5" y="1"/>
                </a:moveTo>
                <a:cubicBezTo>
                  <a:pt x="4" y="2"/>
                  <a:pt x="0" y="0"/>
                  <a:pt x="2" y="0"/>
                </a:cubicBezTo>
                <a:cubicBezTo>
                  <a:pt x="3" y="0"/>
                  <a:pt x="6" y="1"/>
                  <a:pt x="5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10" name="Freeform 606">
            <a:extLst>
              <a:ext uri="{FF2B5EF4-FFF2-40B4-BE49-F238E27FC236}">
                <a16:creationId xmlns:a16="http://schemas.microsoft.com/office/drawing/2014/main" id="{3E6000EA-2ADF-034C-A9F4-14297EA2590D}"/>
              </a:ext>
            </a:extLst>
          </p:cNvPr>
          <p:cNvSpPr>
            <a:spLocks/>
          </p:cNvSpPr>
          <p:nvPr/>
        </p:nvSpPr>
        <p:spPr bwMode="auto">
          <a:xfrm>
            <a:off x="3804066" y="2387495"/>
            <a:ext cx="30003" cy="15889"/>
          </a:xfrm>
          <a:custGeom>
            <a:avLst/>
            <a:gdLst>
              <a:gd name="T0" fmla="*/ 4 w 6"/>
              <a:gd name="T1" fmla="*/ 1 h 3"/>
              <a:gd name="T2" fmla="*/ 1 w 6"/>
              <a:gd name="T3" fmla="*/ 2 h 3"/>
              <a:gd name="T4" fmla="*/ 4 w 6"/>
              <a:gd name="T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" h="3">
                <a:moveTo>
                  <a:pt x="4" y="1"/>
                </a:moveTo>
                <a:cubicBezTo>
                  <a:pt x="3" y="0"/>
                  <a:pt x="0" y="2"/>
                  <a:pt x="1" y="2"/>
                </a:cubicBezTo>
                <a:cubicBezTo>
                  <a:pt x="2" y="3"/>
                  <a:pt x="6" y="1"/>
                  <a:pt x="4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11" name="Freeform 607">
            <a:extLst>
              <a:ext uri="{FF2B5EF4-FFF2-40B4-BE49-F238E27FC236}">
                <a16:creationId xmlns:a16="http://schemas.microsoft.com/office/drawing/2014/main" id="{B41E1205-05D1-F545-A1E6-6BB654978453}"/>
              </a:ext>
            </a:extLst>
          </p:cNvPr>
          <p:cNvSpPr>
            <a:spLocks/>
          </p:cNvSpPr>
          <p:nvPr/>
        </p:nvSpPr>
        <p:spPr bwMode="auto">
          <a:xfrm>
            <a:off x="2044513" y="3107740"/>
            <a:ext cx="26472" cy="21184"/>
          </a:xfrm>
          <a:custGeom>
            <a:avLst/>
            <a:gdLst>
              <a:gd name="T0" fmla="*/ 4 w 5"/>
              <a:gd name="T1" fmla="*/ 1 h 4"/>
              <a:gd name="T2" fmla="*/ 1 w 5"/>
              <a:gd name="T3" fmla="*/ 4 h 4"/>
              <a:gd name="T4" fmla="*/ 4 w 5"/>
              <a:gd name="T5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" h="4">
                <a:moveTo>
                  <a:pt x="4" y="1"/>
                </a:moveTo>
                <a:cubicBezTo>
                  <a:pt x="3" y="0"/>
                  <a:pt x="0" y="4"/>
                  <a:pt x="1" y="4"/>
                </a:cubicBezTo>
                <a:cubicBezTo>
                  <a:pt x="1" y="4"/>
                  <a:pt x="5" y="1"/>
                  <a:pt x="4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12" name="Freeform 608">
            <a:extLst>
              <a:ext uri="{FF2B5EF4-FFF2-40B4-BE49-F238E27FC236}">
                <a16:creationId xmlns:a16="http://schemas.microsoft.com/office/drawing/2014/main" id="{E9F5F4BE-7B53-CE43-B61A-FF86F424CC05}"/>
              </a:ext>
            </a:extLst>
          </p:cNvPr>
          <p:cNvSpPr>
            <a:spLocks/>
          </p:cNvSpPr>
          <p:nvPr/>
        </p:nvSpPr>
        <p:spPr bwMode="auto">
          <a:xfrm>
            <a:off x="2081576" y="3102443"/>
            <a:ext cx="5296" cy="5297"/>
          </a:xfrm>
          <a:custGeom>
            <a:avLst/>
            <a:gdLst>
              <a:gd name="T0" fmla="*/ 0 w 1"/>
              <a:gd name="T1" fmla="*/ 0 h 1"/>
              <a:gd name="T2" fmla="*/ 1 w 1"/>
              <a:gd name="T3" fmla="*/ 1 h 1"/>
              <a:gd name="T4" fmla="*/ 0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0" y="0"/>
                </a:moveTo>
                <a:cubicBezTo>
                  <a:pt x="0" y="1"/>
                  <a:pt x="1" y="1"/>
                  <a:pt x="1" y="1"/>
                </a:cubicBezTo>
                <a:cubicBezTo>
                  <a:pt x="1" y="0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13" name="Freeform 609">
            <a:extLst>
              <a:ext uri="{FF2B5EF4-FFF2-40B4-BE49-F238E27FC236}">
                <a16:creationId xmlns:a16="http://schemas.microsoft.com/office/drawing/2014/main" id="{C60BB54C-4EAD-F541-876E-DBCBCE5275A4}"/>
              </a:ext>
            </a:extLst>
          </p:cNvPr>
          <p:cNvSpPr>
            <a:spLocks/>
          </p:cNvSpPr>
          <p:nvPr/>
        </p:nvSpPr>
        <p:spPr bwMode="auto">
          <a:xfrm>
            <a:off x="1553886" y="3107740"/>
            <a:ext cx="35297" cy="31774"/>
          </a:xfrm>
          <a:custGeom>
            <a:avLst/>
            <a:gdLst>
              <a:gd name="T0" fmla="*/ 5 w 7"/>
              <a:gd name="T1" fmla="*/ 2 h 6"/>
              <a:gd name="T2" fmla="*/ 1 w 7"/>
              <a:gd name="T3" fmla="*/ 2 h 6"/>
              <a:gd name="T4" fmla="*/ 5 w 7"/>
              <a:gd name="T5" fmla="*/ 2 h 6"/>
              <a:gd name="T6" fmla="*/ 5 w 7"/>
              <a:gd name="T7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6">
                <a:moveTo>
                  <a:pt x="5" y="2"/>
                </a:moveTo>
                <a:cubicBezTo>
                  <a:pt x="7" y="0"/>
                  <a:pt x="2" y="0"/>
                  <a:pt x="1" y="2"/>
                </a:cubicBezTo>
                <a:cubicBezTo>
                  <a:pt x="0" y="3"/>
                  <a:pt x="4" y="5"/>
                  <a:pt x="5" y="2"/>
                </a:cubicBezTo>
                <a:cubicBezTo>
                  <a:pt x="6" y="1"/>
                  <a:pt x="3" y="6"/>
                  <a:pt x="5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14" name="Freeform 610">
            <a:extLst>
              <a:ext uri="{FF2B5EF4-FFF2-40B4-BE49-F238E27FC236}">
                <a16:creationId xmlns:a16="http://schemas.microsoft.com/office/drawing/2014/main" id="{963D8E28-E981-CD4B-9082-D283A356521B}"/>
              </a:ext>
            </a:extLst>
          </p:cNvPr>
          <p:cNvSpPr>
            <a:spLocks/>
          </p:cNvSpPr>
          <p:nvPr/>
        </p:nvSpPr>
        <p:spPr bwMode="auto">
          <a:xfrm>
            <a:off x="9169197" y="4948952"/>
            <a:ext cx="10589" cy="5297"/>
          </a:xfrm>
          <a:custGeom>
            <a:avLst/>
            <a:gdLst>
              <a:gd name="T0" fmla="*/ 2 w 2"/>
              <a:gd name="T1" fmla="*/ 0 h 1"/>
              <a:gd name="T2" fmla="*/ 0 w 2"/>
              <a:gd name="T3" fmla="*/ 0 h 1"/>
              <a:gd name="T4" fmla="*/ 2 w 2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1">
                <a:moveTo>
                  <a:pt x="2" y="0"/>
                </a:moveTo>
                <a:cubicBezTo>
                  <a:pt x="2" y="1"/>
                  <a:pt x="0" y="0"/>
                  <a:pt x="0" y="0"/>
                </a:cubicBezTo>
                <a:cubicBezTo>
                  <a:pt x="1" y="0"/>
                  <a:pt x="2" y="0"/>
                  <a:pt x="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15" name="Freeform 611">
            <a:extLst>
              <a:ext uri="{FF2B5EF4-FFF2-40B4-BE49-F238E27FC236}">
                <a16:creationId xmlns:a16="http://schemas.microsoft.com/office/drawing/2014/main" id="{A9D09C5A-BB98-5648-A384-1119B6C882A8}"/>
              </a:ext>
            </a:extLst>
          </p:cNvPr>
          <p:cNvSpPr>
            <a:spLocks/>
          </p:cNvSpPr>
          <p:nvPr/>
        </p:nvSpPr>
        <p:spPr bwMode="auto">
          <a:xfrm>
            <a:off x="9102133" y="4938360"/>
            <a:ext cx="10589" cy="10592"/>
          </a:xfrm>
          <a:custGeom>
            <a:avLst/>
            <a:gdLst>
              <a:gd name="T0" fmla="*/ 2 w 2"/>
              <a:gd name="T1" fmla="*/ 0 h 2"/>
              <a:gd name="T2" fmla="*/ 0 w 2"/>
              <a:gd name="T3" fmla="*/ 1 h 2"/>
              <a:gd name="T4" fmla="*/ 2 w 2"/>
              <a:gd name="T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2">
                <a:moveTo>
                  <a:pt x="2" y="0"/>
                </a:moveTo>
                <a:cubicBezTo>
                  <a:pt x="2" y="1"/>
                  <a:pt x="0" y="2"/>
                  <a:pt x="0" y="1"/>
                </a:cubicBezTo>
                <a:cubicBezTo>
                  <a:pt x="0" y="0"/>
                  <a:pt x="2" y="0"/>
                  <a:pt x="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16" name="Freeform 612">
            <a:extLst>
              <a:ext uri="{FF2B5EF4-FFF2-40B4-BE49-F238E27FC236}">
                <a16:creationId xmlns:a16="http://schemas.microsoft.com/office/drawing/2014/main" id="{10F7E9EF-814B-B940-8177-16EEFF974386}"/>
              </a:ext>
            </a:extLst>
          </p:cNvPr>
          <p:cNvSpPr>
            <a:spLocks/>
          </p:cNvSpPr>
          <p:nvPr/>
        </p:nvSpPr>
        <p:spPr bwMode="auto">
          <a:xfrm>
            <a:off x="9335093" y="5861615"/>
            <a:ext cx="35297" cy="26481"/>
          </a:xfrm>
          <a:custGeom>
            <a:avLst/>
            <a:gdLst>
              <a:gd name="T0" fmla="*/ 6 w 7"/>
              <a:gd name="T1" fmla="*/ 2 h 5"/>
              <a:gd name="T2" fmla="*/ 1 w 7"/>
              <a:gd name="T3" fmla="*/ 2 h 5"/>
              <a:gd name="T4" fmla="*/ 6 w 7"/>
              <a:gd name="T5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5">
                <a:moveTo>
                  <a:pt x="6" y="2"/>
                </a:moveTo>
                <a:cubicBezTo>
                  <a:pt x="7" y="0"/>
                  <a:pt x="0" y="1"/>
                  <a:pt x="1" y="2"/>
                </a:cubicBezTo>
                <a:cubicBezTo>
                  <a:pt x="1" y="3"/>
                  <a:pt x="5" y="5"/>
                  <a:pt x="6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17" name="Rectangle 613">
            <a:extLst>
              <a:ext uri="{FF2B5EF4-FFF2-40B4-BE49-F238E27FC236}">
                <a16:creationId xmlns:a16="http://schemas.microsoft.com/office/drawing/2014/main" id="{B8B87E21-3AA1-F741-BDAF-23FFDDA063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1910" y="2765271"/>
            <a:ext cx="1766" cy="1767"/>
          </a:xfrm>
          <a:prstGeom prst="rect">
            <a:avLst/>
          </a:pr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18" name="Freeform 614">
            <a:extLst>
              <a:ext uri="{FF2B5EF4-FFF2-40B4-BE49-F238E27FC236}">
                <a16:creationId xmlns:a16="http://schemas.microsoft.com/office/drawing/2014/main" id="{C305CE41-50AC-A44C-9228-47B533E4E901}"/>
              </a:ext>
            </a:extLst>
          </p:cNvPr>
          <p:cNvSpPr>
            <a:spLocks/>
          </p:cNvSpPr>
          <p:nvPr/>
        </p:nvSpPr>
        <p:spPr bwMode="auto">
          <a:xfrm>
            <a:off x="4511768" y="5706270"/>
            <a:ext cx="52945" cy="45899"/>
          </a:xfrm>
          <a:custGeom>
            <a:avLst/>
            <a:gdLst>
              <a:gd name="T0" fmla="*/ 4 w 10"/>
              <a:gd name="T1" fmla="*/ 4 h 9"/>
              <a:gd name="T2" fmla="*/ 0 w 10"/>
              <a:gd name="T3" fmla="*/ 8 h 9"/>
              <a:gd name="T4" fmla="*/ 2 w 10"/>
              <a:gd name="T5" fmla="*/ 8 h 9"/>
              <a:gd name="T6" fmla="*/ 5 w 10"/>
              <a:gd name="T7" fmla="*/ 5 h 9"/>
              <a:gd name="T8" fmla="*/ 8 w 10"/>
              <a:gd name="T9" fmla="*/ 0 h 9"/>
              <a:gd name="T10" fmla="*/ 4 w 10"/>
              <a:gd name="T11" fmla="*/ 4 h 9"/>
              <a:gd name="T12" fmla="*/ 4 w 10"/>
              <a:gd name="T13" fmla="*/ 4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" h="9">
                <a:moveTo>
                  <a:pt x="4" y="4"/>
                </a:moveTo>
                <a:cubicBezTo>
                  <a:pt x="4" y="5"/>
                  <a:pt x="1" y="7"/>
                  <a:pt x="0" y="8"/>
                </a:cubicBezTo>
                <a:cubicBezTo>
                  <a:pt x="0" y="9"/>
                  <a:pt x="2" y="8"/>
                  <a:pt x="2" y="8"/>
                </a:cubicBezTo>
                <a:cubicBezTo>
                  <a:pt x="3" y="7"/>
                  <a:pt x="4" y="6"/>
                  <a:pt x="5" y="5"/>
                </a:cubicBezTo>
                <a:cubicBezTo>
                  <a:pt x="6" y="4"/>
                  <a:pt x="10" y="0"/>
                  <a:pt x="8" y="0"/>
                </a:cubicBezTo>
                <a:cubicBezTo>
                  <a:pt x="7" y="0"/>
                  <a:pt x="4" y="3"/>
                  <a:pt x="4" y="4"/>
                </a:cubicBezTo>
                <a:cubicBezTo>
                  <a:pt x="4" y="5"/>
                  <a:pt x="4" y="3"/>
                  <a:pt x="4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19" name="Freeform 615">
            <a:extLst>
              <a:ext uri="{FF2B5EF4-FFF2-40B4-BE49-F238E27FC236}">
                <a16:creationId xmlns:a16="http://schemas.microsoft.com/office/drawing/2014/main" id="{9C3A29DC-E8AF-364A-B239-4AC184061598}"/>
              </a:ext>
            </a:extLst>
          </p:cNvPr>
          <p:cNvSpPr>
            <a:spLocks/>
          </p:cNvSpPr>
          <p:nvPr/>
        </p:nvSpPr>
        <p:spPr bwMode="auto">
          <a:xfrm>
            <a:off x="3715824" y="3616148"/>
            <a:ext cx="37062" cy="15889"/>
          </a:xfrm>
          <a:custGeom>
            <a:avLst/>
            <a:gdLst>
              <a:gd name="T0" fmla="*/ 7 w 7"/>
              <a:gd name="T1" fmla="*/ 1 h 3"/>
              <a:gd name="T2" fmla="*/ 1 w 7"/>
              <a:gd name="T3" fmla="*/ 0 h 3"/>
              <a:gd name="T4" fmla="*/ 7 w 7"/>
              <a:gd name="T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3">
                <a:moveTo>
                  <a:pt x="7" y="1"/>
                </a:moveTo>
                <a:cubicBezTo>
                  <a:pt x="7" y="0"/>
                  <a:pt x="0" y="0"/>
                  <a:pt x="1" y="0"/>
                </a:cubicBezTo>
                <a:cubicBezTo>
                  <a:pt x="2" y="0"/>
                  <a:pt x="6" y="3"/>
                  <a:pt x="7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20" name="Freeform 616">
            <a:extLst>
              <a:ext uri="{FF2B5EF4-FFF2-40B4-BE49-F238E27FC236}">
                <a16:creationId xmlns:a16="http://schemas.microsoft.com/office/drawing/2014/main" id="{5B8266B2-6B09-D848-A06A-76AD42F6D7DC}"/>
              </a:ext>
            </a:extLst>
          </p:cNvPr>
          <p:cNvSpPr>
            <a:spLocks/>
          </p:cNvSpPr>
          <p:nvPr/>
        </p:nvSpPr>
        <p:spPr bwMode="auto">
          <a:xfrm>
            <a:off x="4082910" y="6405329"/>
            <a:ext cx="93537" cy="82970"/>
          </a:xfrm>
          <a:custGeom>
            <a:avLst/>
            <a:gdLst>
              <a:gd name="T0" fmla="*/ 17 w 18"/>
              <a:gd name="T1" fmla="*/ 14 h 16"/>
              <a:gd name="T2" fmla="*/ 8 w 18"/>
              <a:gd name="T3" fmla="*/ 9 h 16"/>
              <a:gd name="T4" fmla="*/ 4 w 18"/>
              <a:gd name="T5" fmla="*/ 5 h 16"/>
              <a:gd name="T6" fmla="*/ 1 w 18"/>
              <a:gd name="T7" fmla="*/ 3 h 16"/>
              <a:gd name="T8" fmla="*/ 2 w 18"/>
              <a:gd name="T9" fmla="*/ 2 h 16"/>
              <a:gd name="T10" fmla="*/ 0 w 18"/>
              <a:gd name="T11" fmla="*/ 0 h 16"/>
              <a:gd name="T12" fmla="*/ 0 w 18"/>
              <a:gd name="T13" fmla="*/ 14 h 16"/>
              <a:gd name="T14" fmla="*/ 7 w 18"/>
              <a:gd name="T15" fmla="*/ 15 h 16"/>
              <a:gd name="T16" fmla="*/ 10 w 18"/>
              <a:gd name="T17" fmla="*/ 16 h 16"/>
              <a:gd name="T18" fmla="*/ 13 w 18"/>
              <a:gd name="T19" fmla="*/ 15 h 16"/>
              <a:gd name="T20" fmla="*/ 18 w 18"/>
              <a:gd name="T21" fmla="*/ 14 h 16"/>
              <a:gd name="T22" fmla="*/ 17 w 18"/>
              <a:gd name="T23" fmla="*/ 14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16">
                <a:moveTo>
                  <a:pt x="17" y="14"/>
                </a:moveTo>
                <a:cubicBezTo>
                  <a:pt x="13" y="14"/>
                  <a:pt x="11" y="11"/>
                  <a:pt x="8" y="9"/>
                </a:cubicBezTo>
                <a:cubicBezTo>
                  <a:pt x="7" y="7"/>
                  <a:pt x="5" y="6"/>
                  <a:pt x="4" y="5"/>
                </a:cubicBezTo>
                <a:cubicBezTo>
                  <a:pt x="3" y="5"/>
                  <a:pt x="1" y="4"/>
                  <a:pt x="1" y="3"/>
                </a:cubicBezTo>
                <a:cubicBezTo>
                  <a:pt x="1" y="3"/>
                  <a:pt x="2" y="3"/>
                  <a:pt x="2" y="2"/>
                </a:cubicBezTo>
                <a:cubicBezTo>
                  <a:pt x="3" y="2"/>
                  <a:pt x="1" y="0"/>
                  <a:pt x="0" y="0"/>
                </a:cubicBezTo>
                <a:cubicBezTo>
                  <a:pt x="0" y="5"/>
                  <a:pt x="0" y="10"/>
                  <a:pt x="0" y="14"/>
                </a:cubicBezTo>
                <a:cubicBezTo>
                  <a:pt x="0" y="15"/>
                  <a:pt x="6" y="15"/>
                  <a:pt x="7" y="15"/>
                </a:cubicBezTo>
                <a:cubicBezTo>
                  <a:pt x="8" y="15"/>
                  <a:pt x="9" y="15"/>
                  <a:pt x="10" y="16"/>
                </a:cubicBezTo>
                <a:cubicBezTo>
                  <a:pt x="12" y="16"/>
                  <a:pt x="12" y="16"/>
                  <a:pt x="13" y="15"/>
                </a:cubicBezTo>
                <a:cubicBezTo>
                  <a:pt x="14" y="15"/>
                  <a:pt x="18" y="15"/>
                  <a:pt x="18" y="14"/>
                </a:cubicBezTo>
                <a:cubicBezTo>
                  <a:pt x="18" y="14"/>
                  <a:pt x="18" y="13"/>
                  <a:pt x="17" y="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21" name="Freeform 617">
            <a:extLst>
              <a:ext uri="{FF2B5EF4-FFF2-40B4-BE49-F238E27FC236}">
                <a16:creationId xmlns:a16="http://schemas.microsoft.com/office/drawing/2014/main" id="{DDBFD40C-899C-DC40-89C0-D9A5C99981AF}"/>
              </a:ext>
            </a:extLst>
          </p:cNvPr>
          <p:cNvSpPr>
            <a:spLocks/>
          </p:cNvSpPr>
          <p:nvPr/>
        </p:nvSpPr>
        <p:spPr bwMode="auto">
          <a:xfrm>
            <a:off x="3984081" y="6394739"/>
            <a:ext cx="155307" cy="120040"/>
          </a:xfrm>
          <a:custGeom>
            <a:avLst/>
            <a:gdLst>
              <a:gd name="T0" fmla="*/ 19 w 30"/>
              <a:gd name="T1" fmla="*/ 17 h 23"/>
              <a:gd name="T2" fmla="*/ 19 w 30"/>
              <a:gd name="T3" fmla="*/ 7 h 23"/>
              <a:gd name="T4" fmla="*/ 19 w 30"/>
              <a:gd name="T5" fmla="*/ 3 h 23"/>
              <a:gd name="T6" fmla="*/ 15 w 30"/>
              <a:gd name="T7" fmla="*/ 1 h 23"/>
              <a:gd name="T8" fmla="*/ 12 w 30"/>
              <a:gd name="T9" fmla="*/ 3 h 23"/>
              <a:gd name="T10" fmla="*/ 13 w 30"/>
              <a:gd name="T11" fmla="*/ 6 h 23"/>
              <a:gd name="T12" fmla="*/ 15 w 30"/>
              <a:gd name="T13" fmla="*/ 6 h 23"/>
              <a:gd name="T14" fmla="*/ 14 w 30"/>
              <a:gd name="T15" fmla="*/ 8 h 23"/>
              <a:gd name="T16" fmla="*/ 13 w 30"/>
              <a:gd name="T17" fmla="*/ 11 h 23"/>
              <a:gd name="T18" fmla="*/ 16 w 30"/>
              <a:gd name="T19" fmla="*/ 13 h 23"/>
              <a:gd name="T20" fmla="*/ 12 w 30"/>
              <a:gd name="T21" fmla="*/ 13 h 23"/>
              <a:gd name="T22" fmla="*/ 9 w 30"/>
              <a:gd name="T23" fmla="*/ 12 h 23"/>
              <a:gd name="T24" fmla="*/ 10 w 30"/>
              <a:gd name="T25" fmla="*/ 12 h 23"/>
              <a:gd name="T26" fmla="*/ 10 w 30"/>
              <a:gd name="T27" fmla="*/ 9 h 23"/>
              <a:gd name="T28" fmla="*/ 8 w 30"/>
              <a:gd name="T29" fmla="*/ 11 h 23"/>
              <a:gd name="T30" fmla="*/ 5 w 30"/>
              <a:gd name="T31" fmla="*/ 11 h 23"/>
              <a:gd name="T32" fmla="*/ 0 w 30"/>
              <a:gd name="T33" fmla="*/ 12 h 23"/>
              <a:gd name="T34" fmla="*/ 2 w 30"/>
              <a:gd name="T35" fmla="*/ 12 h 23"/>
              <a:gd name="T36" fmla="*/ 3 w 30"/>
              <a:gd name="T37" fmla="*/ 12 h 23"/>
              <a:gd name="T38" fmla="*/ 5 w 30"/>
              <a:gd name="T39" fmla="*/ 12 h 23"/>
              <a:gd name="T40" fmla="*/ 6 w 30"/>
              <a:gd name="T41" fmla="*/ 13 h 23"/>
              <a:gd name="T42" fmla="*/ 4 w 30"/>
              <a:gd name="T43" fmla="*/ 15 h 23"/>
              <a:gd name="T44" fmla="*/ 6 w 30"/>
              <a:gd name="T45" fmla="*/ 15 h 23"/>
              <a:gd name="T46" fmla="*/ 8 w 30"/>
              <a:gd name="T47" fmla="*/ 16 h 23"/>
              <a:gd name="T48" fmla="*/ 7 w 30"/>
              <a:gd name="T49" fmla="*/ 16 h 23"/>
              <a:gd name="T50" fmla="*/ 10 w 30"/>
              <a:gd name="T51" fmla="*/ 17 h 23"/>
              <a:gd name="T52" fmla="*/ 12 w 30"/>
              <a:gd name="T53" fmla="*/ 17 h 23"/>
              <a:gd name="T54" fmla="*/ 17 w 30"/>
              <a:gd name="T55" fmla="*/ 21 h 23"/>
              <a:gd name="T56" fmla="*/ 16 w 30"/>
              <a:gd name="T57" fmla="*/ 20 h 23"/>
              <a:gd name="T58" fmla="*/ 23 w 30"/>
              <a:gd name="T59" fmla="*/ 23 h 23"/>
              <a:gd name="T60" fmla="*/ 19 w 30"/>
              <a:gd name="T61" fmla="*/ 18 h 23"/>
              <a:gd name="T62" fmla="*/ 24 w 30"/>
              <a:gd name="T63" fmla="*/ 19 h 23"/>
              <a:gd name="T64" fmla="*/ 30 w 30"/>
              <a:gd name="T65" fmla="*/ 18 h 23"/>
              <a:gd name="T66" fmla="*/ 19 w 30"/>
              <a:gd name="T67" fmla="*/ 17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" h="23">
                <a:moveTo>
                  <a:pt x="19" y="17"/>
                </a:moveTo>
                <a:cubicBezTo>
                  <a:pt x="19" y="13"/>
                  <a:pt x="19" y="10"/>
                  <a:pt x="19" y="7"/>
                </a:cubicBezTo>
                <a:cubicBezTo>
                  <a:pt x="19" y="6"/>
                  <a:pt x="19" y="4"/>
                  <a:pt x="19" y="3"/>
                </a:cubicBezTo>
                <a:cubicBezTo>
                  <a:pt x="19" y="2"/>
                  <a:pt x="16" y="0"/>
                  <a:pt x="15" y="1"/>
                </a:cubicBezTo>
                <a:cubicBezTo>
                  <a:pt x="14" y="2"/>
                  <a:pt x="12" y="1"/>
                  <a:pt x="12" y="3"/>
                </a:cubicBezTo>
                <a:cubicBezTo>
                  <a:pt x="11" y="5"/>
                  <a:pt x="9" y="7"/>
                  <a:pt x="13" y="6"/>
                </a:cubicBezTo>
                <a:cubicBezTo>
                  <a:pt x="13" y="6"/>
                  <a:pt x="15" y="6"/>
                  <a:pt x="15" y="6"/>
                </a:cubicBezTo>
                <a:cubicBezTo>
                  <a:pt x="16" y="6"/>
                  <a:pt x="14" y="8"/>
                  <a:pt x="14" y="8"/>
                </a:cubicBezTo>
                <a:cubicBezTo>
                  <a:pt x="13" y="8"/>
                  <a:pt x="11" y="10"/>
                  <a:pt x="13" y="11"/>
                </a:cubicBezTo>
                <a:cubicBezTo>
                  <a:pt x="13" y="12"/>
                  <a:pt x="16" y="12"/>
                  <a:pt x="16" y="13"/>
                </a:cubicBezTo>
                <a:cubicBezTo>
                  <a:pt x="16" y="13"/>
                  <a:pt x="12" y="13"/>
                  <a:pt x="12" y="13"/>
                </a:cubicBezTo>
                <a:cubicBezTo>
                  <a:pt x="11" y="13"/>
                  <a:pt x="9" y="12"/>
                  <a:pt x="9" y="12"/>
                </a:cubicBezTo>
                <a:cubicBezTo>
                  <a:pt x="9" y="12"/>
                  <a:pt x="10" y="13"/>
                  <a:pt x="10" y="12"/>
                </a:cubicBezTo>
                <a:cubicBezTo>
                  <a:pt x="10" y="11"/>
                  <a:pt x="11" y="10"/>
                  <a:pt x="10" y="9"/>
                </a:cubicBezTo>
                <a:cubicBezTo>
                  <a:pt x="10" y="9"/>
                  <a:pt x="8" y="11"/>
                  <a:pt x="8" y="11"/>
                </a:cubicBezTo>
                <a:cubicBezTo>
                  <a:pt x="7" y="12"/>
                  <a:pt x="6" y="11"/>
                  <a:pt x="5" y="11"/>
                </a:cubicBezTo>
                <a:cubicBezTo>
                  <a:pt x="4" y="11"/>
                  <a:pt x="0" y="10"/>
                  <a:pt x="0" y="12"/>
                </a:cubicBezTo>
                <a:cubicBezTo>
                  <a:pt x="0" y="13"/>
                  <a:pt x="2" y="12"/>
                  <a:pt x="2" y="12"/>
                </a:cubicBezTo>
                <a:cubicBezTo>
                  <a:pt x="3" y="11"/>
                  <a:pt x="2" y="12"/>
                  <a:pt x="3" y="12"/>
                </a:cubicBezTo>
                <a:cubicBezTo>
                  <a:pt x="4" y="13"/>
                  <a:pt x="4" y="11"/>
                  <a:pt x="5" y="12"/>
                </a:cubicBezTo>
                <a:cubicBezTo>
                  <a:pt x="5" y="12"/>
                  <a:pt x="6" y="13"/>
                  <a:pt x="6" y="13"/>
                </a:cubicBezTo>
                <a:cubicBezTo>
                  <a:pt x="6" y="13"/>
                  <a:pt x="2" y="14"/>
                  <a:pt x="4" y="15"/>
                </a:cubicBezTo>
                <a:cubicBezTo>
                  <a:pt x="5" y="16"/>
                  <a:pt x="6" y="14"/>
                  <a:pt x="6" y="15"/>
                </a:cubicBezTo>
                <a:cubicBezTo>
                  <a:pt x="7" y="15"/>
                  <a:pt x="8" y="16"/>
                  <a:pt x="8" y="16"/>
                </a:cubicBezTo>
                <a:cubicBezTo>
                  <a:pt x="8" y="16"/>
                  <a:pt x="8" y="16"/>
                  <a:pt x="7" y="16"/>
                </a:cubicBezTo>
                <a:cubicBezTo>
                  <a:pt x="7" y="17"/>
                  <a:pt x="9" y="17"/>
                  <a:pt x="10" y="17"/>
                </a:cubicBezTo>
                <a:cubicBezTo>
                  <a:pt x="11" y="17"/>
                  <a:pt x="11" y="15"/>
                  <a:pt x="12" y="17"/>
                </a:cubicBezTo>
                <a:cubicBezTo>
                  <a:pt x="12" y="17"/>
                  <a:pt x="16" y="22"/>
                  <a:pt x="17" y="21"/>
                </a:cubicBezTo>
                <a:cubicBezTo>
                  <a:pt x="17" y="21"/>
                  <a:pt x="16" y="20"/>
                  <a:pt x="16" y="20"/>
                </a:cubicBezTo>
                <a:cubicBezTo>
                  <a:pt x="16" y="19"/>
                  <a:pt x="22" y="23"/>
                  <a:pt x="23" y="23"/>
                </a:cubicBezTo>
                <a:cubicBezTo>
                  <a:pt x="23" y="22"/>
                  <a:pt x="19" y="19"/>
                  <a:pt x="19" y="18"/>
                </a:cubicBezTo>
                <a:cubicBezTo>
                  <a:pt x="20" y="18"/>
                  <a:pt x="24" y="19"/>
                  <a:pt x="24" y="19"/>
                </a:cubicBezTo>
                <a:cubicBezTo>
                  <a:pt x="26" y="19"/>
                  <a:pt x="28" y="19"/>
                  <a:pt x="30" y="18"/>
                </a:cubicBezTo>
                <a:cubicBezTo>
                  <a:pt x="27" y="16"/>
                  <a:pt x="23" y="17"/>
                  <a:pt x="19" y="1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22" name="Freeform 618">
            <a:extLst>
              <a:ext uri="{FF2B5EF4-FFF2-40B4-BE49-F238E27FC236}">
                <a16:creationId xmlns:a16="http://schemas.microsoft.com/office/drawing/2014/main" id="{50107CB9-0893-A34E-85B0-70516071B7A0}"/>
              </a:ext>
            </a:extLst>
          </p:cNvPr>
          <p:cNvSpPr>
            <a:spLocks/>
          </p:cNvSpPr>
          <p:nvPr/>
        </p:nvSpPr>
        <p:spPr bwMode="auto">
          <a:xfrm>
            <a:off x="3959371" y="4595891"/>
            <a:ext cx="393562" cy="285979"/>
          </a:xfrm>
          <a:custGeom>
            <a:avLst/>
            <a:gdLst>
              <a:gd name="T0" fmla="*/ 63 w 76"/>
              <a:gd name="T1" fmla="*/ 28 h 55"/>
              <a:gd name="T2" fmla="*/ 66 w 76"/>
              <a:gd name="T3" fmla="*/ 24 h 55"/>
              <a:gd name="T4" fmla="*/ 67 w 76"/>
              <a:gd name="T5" fmla="*/ 22 h 55"/>
              <a:gd name="T6" fmla="*/ 67 w 76"/>
              <a:gd name="T7" fmla="*/ 18 h 55"/>
              <a:gd name="T8" fmla="*/ 61 w 76"/>
              <a:gd name="T9" fmla="*/ 15 h 55"/>
              <a:gd name="T10" fmla="*/ 63 w 76"/>
              <a:gd name="T11" fmla="*/ 14 h 55"/>
              <a:gd name="T12" fmla="*/ 64 w 76"/>
              <a:gd name="T13" fmla="*/ 11 h 55"/>
              <a:gd name="T14" fmla="*/ 60 w 76"/>
              <a:gd name="T15" fmla="*/ 9 h 55"/>
              <a:gd name="T16" fmla="*/ 59 w 76"/>
              <a:gd name="T17" fmla="*/ 8 h 55"/>
              <a:gd name="T18" fmla="*/ 57 w 76"/>
              <a:gd name="T19" fmla="*/ 9 h 55"/>
              <a:gd name="T20" fmla="*/ 57 w 76"/>
              <a:gd name="T21" fmla="*/ 7 h 55"/>
              <a:gd name="T22" fmla="*/ 54 w 76"/>
              <a:gd name="T23" fmla="*/ 8 h 55"/>
              <a:gd name="T24" fmla="*/ 54 w 76"/>
              <a:gd name="T25" fmla="*/ 6 h 55"/>
              <a:gd name="T26" fmla="*/ 58 w 76"/>
              <a:gd name="T27" fmla="*/ 5 h 55"/>
              <a:gd name="T28" fmla="*/ 55 w 76"/>
              <a:gd name="T29" fmla="*/ 4 h 55"/>
              <a:gd name="T30" fmla="*/ 49 w 76"/>
              <a:gd name="T31" fmla="*/ 4 h 55"/>
              <a:gd name="T32" fmla="*/ 44 w 76"/>
              <a:gd name="T33" fmla="*/ 7 h 55"/>
              <a:gd name="T34" fmla="*/ 38 w 76"/>
              <a:gd name="T35" fmla="*/ 5 h 55"/>
              <a:gd name="T36" fmla="*/ 29 w 76"/>
              <a:gd name="T37" fmla="*/ 5 h 55"/>
              <a:gd name="T38" fmla="*/ 26 w 76"/>
              <a:gd name="T39" fmla="*/ 2 h 55"/>
              <a:gd name="T40" fmla="*/ 20 w 76"/>
              <a:gd name="T41" fmla="*/ 0 h 55"/>
              <a:gd name="T42" fmla="*/ 11 w 76"/>
              <a:gd name="T43" fmla="*/ 4 h 55"/>
              <a:gd name="T44" fmla="*/ 13 w 76"/>
              <a:gd name="T45" fmla="*/ 12 h 55"/>
              <a:gd name="T46" fmla="*/ 8 w 76"/>
              <a:gd name="T47" fmla="*/ 8 h 55"/>
              <a:gd name="T48" fmla="*/ 10 w 76"/>
              <a:gd name="T49" fmla="*/ 5 h 55"/>
              <a:gd name="T50" fmla="*/ 8 w 76"/>
              <a:gd name="T51" fmla="*/ 1 h 55"/>
              <a:gd name="T52" fmla="*/ 4 w 76"/>
              <a:gd name="T53" fmla="*/ 7 h 55"/>
              <a:gd name="T54" fmla="*/ 3 w 76"/>
              <a:gd name="T55" fmla="*/ 12 h 55"/>
              <a:gd name="T56" fmla="*/ 5 w 76"/>
              <a:gd name="T57" fmla="*/ 13 h 55"/>
              <a:gd name="T58" fmla="*/ 7 w 76"/>
              <a:gd name="T59" fmla="*/ 16 h 55"/>
              <a:gd name="T60" fmla="*/ 10 w 76"/>
              <a:gd name="T61" fmla="*/ 23 h 55"/>
              <a:gd name="T62" fmla="*/ 13 w 76"/>
              <a:gd name="T63" fmla="*/ 23 h 55"/>
              <a:gd name="T64" fmla="*/ 15 w 76"/>
              <a:gd name="T65" fmla="*/ 22 h 55"/>
              <a:gd name="T66" fmla="*/ 21 w 76"/>
              <a:gd name="T67" fmla="*/ 27 h 55"/>
              <a:gd name="T68" fmla="*/ 23 w 76"/>
              <a:gd name="T69" fmla="*/ 27 h 55"/>
              <a:gd name="T70" fmla="*/ 26 w 76"/>
              <a:gd name="T71" fmla="*/ 27 h 55"/>
              <a:gd name="T72" fmla="*/ 31 w 76"/>
              <a:gd name="T73" fmla="*/ 29 h 55"/>
              <a:gd name="T74" fmla="*/ 31 w 76"/>
              <a:gd name="T75" fmla="*/ 38 h 55"/>
              <a:gd name="T76" fmla="*/ 32 w 76"/>
              <a:gd name="T77" fmla="*/ 41 h 55"/>
              <a:gd name="T78" fmla="*/ 30 w 76"/>
              <a:gd name="T79" fmla="*/ 44 h 55"/>
              <a:gd name="T80" fmla="*/ 40 w 76"/>
              <a:gd name="T81" fmla="*/ 53 h 55"/>
              <a:gd name="T82" fmla="*/ 42 w 76"/>
              <a:gd name="T83" fmla="*/ 54 h 55"/>
              <a:gd name="T84" fmla="*/ 45 w 76"/>
              <a:gd name="T85" fmla="*/ 52 h 55"/>
              <a:gd name="T86" fmla="*/ 51 w 76"/>
              <a:gd name="T87" fmla="*/ 47 h 55"/>
              <a:gd name="T88" fmla="*/ 49 w 76"/>
              <a:gd name="T89" fmla="*/ 44 h 55"/>
              <a:gd name="T90" fmla="*/ 48 w 76"/>
              <a:gd name="T91" fmla="*/ 41 h 55"/>
              <a:gd name="T92" fmla="*/ 45 w 76"/>
              <a:gd name="T93" fmla="*/ 38 h 55"/>
              <a:gd name="T94" fmla="*/ 52 w 76"/>
              <a:gd name="T95" fmla="*/ 38 h 55"/>
              <a:gd name="T96" fmla="*/ 54 w 76"/>
              <a:gd name="T97" fmla="*/ 40 h 55"/>
              <a:gd name="T98" fmla="*/ 56 w 76"/>
              <a:gd name="T99" fmla="*/ 38 h 55"/>
              <a:gd name="T100" fmla="*/ 62 w 76"/>
              <a:gd name="T101" fmla="*/ 36 h 55"/>
              <a:gd name="T102" fmla="*/ 67 w 76"/>
              <a:gd name="T103" fmla="*/ 33 h 55"/>
              <a:gd name="T104" fmla="*/ 63 w 76"/>
              <a:gd name="T105" fmla="*/ 28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6" h="55">
                <a:moveTo>
                  <a:pt x="63" y="28"/>
                </a:moveTo>
                <a:cubicBezTo>
                  <a:pt x="63" y="26"/>
                  <a:pt x="63" y="25"/>
                  <a:pt x="66" y="24"/>
                </a:cubicBezTo>
                <a:cubicBezTo>
                  <a:pt x="66" y="23"/>
                  <a:pt x="68" y="23"/>
                  <a:pt x="67" y="22"/>
                </a:cubicBezTo>
                <a:cubicBezTo>
                  <a:pt x="66" y="21"/>
                  <a:pt x="65" y="19"/>
                  <a:pt x="67" y="18"/>
                </a:cubicBezTo>
                <a:cubicBezTo>
                  <a:pt x="76" y="14"/>
                  <a:pt x="61" y="15"/>
                  <a:pt x="61" y="15"/>
                </a:cubicBezTo>
                <a:cubicBezTo>
                  <a:pt x="61" y="14"/>
                  <a:pt x="62" y="14"/>
                  <a:pt x="63" y="14"/>
                </a:cubicBezTo>
                <a:cubicBezTo>
                  <a:pt x="64" y="14"/>
                  <a:pt x="64" y="12"/>
                  <a:pt x="64" y="11"/>
                </a:cubicBezTo>
                <a:cubicBezTo>
                  <a:pt x="64" y="10"/>
                  <a:pt x="60" y="8"/>
                  <a:pt x="60" y="9"/>
                </a:cubicBezTo>
                <a:cubicBezTo>
                  <a:pt x="60" y="10"/>
                  <a:pt x="59" y="8"/>
                  <a:pt x="59" y="8"/>
                </a:cubicBezTo>
                <a:cubicBezTo>
                  <a:pt x="58" y="8"/>
                  <a:pt x="58" y="10"/>
                  <a:pt x="57" y="9"/>
                </a:cubicBezTo>
                <a:cubicBezTo>
                  <a:pt x="57" y="9"/>
                  <a:pt x="57" y="8"/>
                  <a:pt x="57" y="7"/>
                </a:cubicBezTo>
                <a:cubicBezTo>
                  <a:pt x="56" y="6"/>
                  <a:pt x="55" y="8"/>
                  <a:pt x="54" y="8"/>
                </a:cubicBezTo>
                <a:cubicBezTo>
                  <a:pt x="54" y="8"/>
                  <a:pt x="54" y="6"/>
                  <a:pt x="54" y="6"/>
                </a:cubicBezTo>
                <a:cubicBezTo>
                  <a:pt x="54" y="4"/>
                  <a:pt x="57" y="5"/>
                  <a:pt x="58" y="5"/>
                </a:cubicBezTo>
                <a:cubicBezTo>
                  <a:pt x="59" y="4"/>
                  <a:pt x="55" y="4"/>
                  <a:pt x="55" y="4"/>
                </a:cubicBezTo>
                <a:cubicBezTo>
                  <a:pt x="53" y="4"/>
                  <a:pt x="51" y="3"/>
                  <a:pt x="49" y="4"/>
                </a:cubicBezTo>
                <a:cubicBezTo>
                  <a:pt x="47" y="5"/>
                  <a:pt x="46" y="8"/>
                  <a:pt x="44" y="7"/>
                </a:cubicBezTo>
                <a:cubicBezTo>
                  <a:pt x="41" y="7"/>
                  <a:pt x="40" y="7"/>
                  <a:pt x="38" y="5"/>
                </a:cubicBezTo>
                <a:cubicBezTo>
                  <a:pt x="36" y="3"/>
                  <a:pt x="32" y="5"/>
                  <a:pt x="29" y="5"/>
                </a:cubicBezTo>
                <a:cubicBezTo>
                  <a:pt x="27" y="5"/>
                  <a:pt x="27" y="4"/>
                  <a:pt x="26" y="2"/>
                </a:cubicBezTo>
                <a:cubicBezTo>
                  <a:pt x="25" y="0"/>
                  <a:pt x="23" y="0"/>
                  <a:pt x="20" y="0"/>
                </a:cubicBezTo>
                <a:cubicBezTo>
                  <a:pt x="19" y="0"/>
                  <a:pt x="11" y="1"/>
                  <a:pt x="11" y="4"/>
                </a:cubicBezTo>
                <a:cubicBezTo>
                  <a:pt x="11" y="7"/>
                  <a:pt x="15" y="8"/>
                  <a:pt x="13" y="12"/>
                </a:cubicBezTo>
                <a:cubicBezTo>
                  <a:pt x="11" y="14"/>
                  <a:pt x="7" y="10"/>
                  <a:pt x="8" y="8"/>
                </a:cubicBezTo>
                <a:cubicBezTo>
                  <a:pt x="8" y="7"/>
                  <a:pt x="10" y="6"/>
                  <a:pt x="10" y="5"/>
                </a:cubicBezTo>
                <a:cubicBezTo>
                  <a:pt x="11" y="3"/>
                  <a:pt x="8" y="2"/>
                  <a:pt x="8" y="1"/>
                </a:cubicBezTo>
                <a:cubicBezTo>
                  <a:pt x="5" y="3"/>
                  <a:pt x="4" y="4"/>
                  <a:pt x="4" y="7"/>
                </a:cubicBezTo>
                <a:cubicBezTo>
                  <a:pt x="3" y="8"/>
                  <a:pt x="0" y="12"/>
                  <a:pt x="3" y="12"/>
                </a:cubicBezTo>
                <a:cubicBezTo>
                  <a:pt x="3" y="12"/>
                  <a:pt x="4" y="12"/>
                  <a:pt x="5" y="13"/>
                </a:cubicBezTo>
                <a:cubicBezTo>
                  <a:pt x="5" y="14"/>
                  <a:pt x="6" y="15"/>
                  <a:pt x="7" y="16"/>
                </a:cubicBezTo>
                <a:cubicBezTo>
                  <a:pt x="9" y="18"/>
                  <a:pt x="5" y="22"/>
                  <a:pt x="10" y="23"/>
                </a:cubicBezTo>
                <a:cubicBezTo>
                  <a:pt x="10" y="23"/>
                  <a:pt x="12" y="23"/>
                  <a:pt x="13" y="23"/>
                </a:cubicBezTo>
                <a:cubicBezTo>
                  <a:pt x="14" y="23"/>
                  <a:pt x="14" y="22"/>
                  <a:pt x="15" y="22"/>
                </a:cubicBezTo>
                <a:cubicBezTo>
                  <a:pt x="18" y="22"/>
                  <a:pt x="19" y="25"/>
                  <a:pt x="21" y="27"/>
                </a:cubicBezTo>
                <a:cubicBezTo>
                  <a:pt x="21" y="27"/>
                  <a:pt x="22" y="28"/>
                  <a:pt x="23" y="27"/>
                </a:cubicBezTo>
                <a:cubicBezTo>
                  <a:pt x="23" y="26"/>
                  <a:pt x="24" y="27"/>
                  <a:pt x="26" y="27"/>
                </a:cubicBezTo>
                <a:cubicBezTo>
                  <a:pt x="28" y="28"/>
                  <a:pt x="33" y="25"/>
                  <a:pt x="31" y="29"/>
                </a:cubicBezTo>
                <a:cubicBezTo>
                  <a:pt x="29" y="32"/>
                  <a:pt x="29" y="35"/>
                  <a:pt x="31" y="38"/>
                </a:cubicBezTo>
                <a:cubicBezTo>
                  <a:pt x="31" y="39"/>
                  <a:pt x="32" y="40"/>
                  <a:pt x="32" y="41"/>
                </a:cubicBezTo>
                <a:cubicBezTo>
                  <a:pt x="32" y="42"/>
                  <a:pt x="29" y="43"/>
                  <a:pt x="30" y="44"/>
                </a:cubicBezTo>
                <a:cubicBezTo>
                  <a:pt x="33" y="47"/>
                  <a:pt x="34" y="55"/>
                  <a:pt x="40" y="53"/>
                </a:cubicBezTo>
                <a:cubicBezTo>
                  <a:pt x="41" y="53"/>
                  <a:pt x="41" y="54"/>
                  <a:pt x="42" y="54"/>
                </a:cubicBezTo>
                <a:cubicBezTo>
                  <a:pt x="43" y="54"/>
                  <a:pt x="44" y="53"/>
                  <a:pt x="45" y="52"/>
                </a:cubicBezTo>
                <a:cubicBezTo>
                  <a:pt x="47" y="51"/>
                  <a:pt x="48" y="49"/>
                  <a:pt x="51" y="47"/>
                </a:cubicBezTo>
                <a:cubicBezTo>
                  <a:pt x="53" y="46"/>
                  <a:pt x="49" y="46"/>
                  <a:pt x="49" y="44"/>
                </a:cubicBezTo>
                <a:cubicBezTo>
                  <a:pt x="49" y="43"/>
                  <a:pt x="48" y="42"/>
                  <a:pt x="48" y="41"/>
                </a:cubicBezTo>
                <a:cubicBezTo>
                  <a:pt x="48" y="40"/>
                  <a:pt x="45" y="39"/>
                  <a:pt x="45" y="38"/>
                </a:cubicBezTo>
                <a:cubicBezTo>
                  <a:pt x="45" y="37"/>
                  <a:pt x="51" y="38"/>
                  <a:pt x="52" y="38"/>
                </a:cubicBezTo>
                <a:cubicBezTo>
                  <a:pt x="54" y="38"/>
                  <a:pt x="53" y="39"/>
                  <a:pt x="54" y="40"/>
                </a:cubicBezTo>
                <a:cubicBezTo>
                  <a:pt x="55" y="40"/>
                  <a:pt x="55" y="38"/>
                  <a:pt x="56" y="38"/>
                </a:cubicBezTo>
                <a:cubicBezTo>
                  <a:pt x="57" y="37"/>
                  <a:pt x="60" y="37"/>
                  <a:pt x="62" y="36"/>
                </a:cubicBezTo>
                <a:cubicBezTo>
                  <a:pt x="63" y="35"/>
                  <a:pt x="65" y="34"/>
                  <a:pt x="67" y="33"/>
                </a:cubicBezTo>
                <a:cubicBezTo>
                  <a:pt x="66" y="31"/>
                  <a:pt x="63" y="30"/>
                  <a:pt x="63" y="2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23" name="Freeform 619">
            <a:extLst>
              <a:ext uri="{FF2B5EF4-FFF2-40B4-BE49-F238E27FC236}">
                <a16:creationId xmlns:a16="http://schemas.microsoft.com/office/drawing/2014/main" id="{BDBA59FB-7C86-BC43-A43B-C9C3E8993503}"/>
              </a:ext>
            </a:extLst>
          </p:cNvPr>
          <p:cNvSpPr>
            <a:spLocks/>
          </p:cNvSpPr>
          <p:nvPr/>
        </p:nvSpPr>
        <p:spPr bwMode="auto">
          <a:xfrm>
            <a:off x="4275279" y="4673565"/>
            <a:ext cx="134127" cy="197714"/>
          </a:xfrm>
          <a:custGeom>
            <a:avLst/>
            <a:gdLst>
              <a:gd name="T0" fmla="*/ 22 w 26"/>
              <a:gd name="T1" fmla="*/ 29 h 38"/>
              <a:gd name="T2" fmla="*/ 18 w 26"/>
              <a:gd name="T3" fmla="*/ 21 h 38"/>
              <a:gd name="T4" fmla="*/ 20 w 26"/>
              <a:gd name="T5" fmla="*/ 18 h 38"/>
              <a:gd name="T6" fmla="*/ 22 w 26"/>
              <a:gd name="T7" fmla="*/ 15 h 38"/>
              <a:gd name="T8" fmla="*/ 22 w 26"/>
              <a:gd name="T9" fmla="*/ 13 h 38"/>
              <a:gd name="T10" fmla="*/ 20 w 26"/>
              <a:gd name="T11" fmla="*/ 11 h 38"/>
              <a:gd name="T12" fmla="*/ 16 w 26"/>
              <a:gd name="T13" fmla="*/ 7 h 38"/>
              <a:gd name="T14" fmla="*/ 9 w 26"/>
              <a:gd name="T15" fmla="*/ 0 h 38"/>
              <a:gd name="T16" fmla="*/ 5 w 26"/>
              <a:gd name="T17" fmla="*/ 5 h 38"/>
              <a:gd name="T18" fmla="*/ 6 w 26"/>
              <a:gd name="T19" fmla="*/ 8 h 38"/>
              <a:gd name="T20" fmla="*/ 3 w 26"/>
              <a:gd name="T21" fmla="*/ 10 h 38"/>
              <a:gd name="T22" fmla="*/ 4 w 26"/>
              <a:gd name="T23" fmla="*/ 16 h 38"/>
              <a:gd name="T24" fmla="*/ 7 w 26"/>
              <a:gd name="T25" fmla="*/ 18 h 38"/>
              <a:gd name="T26" fmla="*/ 8 w 26"/>
              <a:gd name="T27" fmla="*/ 20 h 38"/>
              <a:gd name="T28" fmla="*/ 8 w 26"/>
              <a:gd name="T29" fmla="*/ 27 h 38"/>
              <a:gd name="T30" fmla="*/ 11 w 26"/>
              <a:gd name="T31" fmla="*/ 35 h 38"/>
              <a:gd name="T32" fmla="*/ 17 w 26"/>
              <a:gd name="T33" fmla="*/ 35 h 38"/>
              <a:gd name="T34" fmla="*/ 21 w 26"/>
              <a:gd name="T35" fmla="*/ 34 h 38"/>
              <a:gd name="T36" fmla="*/ 26 w 26"/>
              <a:gd name="T37" fmla="*/ 34 h 38"/>
              <a:gd name="T38" fmla="*/ 22 w 26"/>
              <a:gd name="T39" fmla="*/ 29 h 38"/>
              <a:gd name="T40" fmla="*/ 22 w 26"/>
              <a:gd name="T41" fmla="*/ 29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6" h="38">
                <a:moveTo>
                  <a:pt x="22" y="29"/>
                </a:moveTo>
                <a:cubicBezTo>
                  <a:pt x="22" y="28"/>
                  <a:pt x="17" y="22"/>
                  <a:pt x="18" y="21"/>
                </a:cubicBezTo>
                <a:cubicBezTo>
                  <a:pt x="19" y="20"/>
                  <a:pt x="18" y="19"/>
                  <a:pt x="20" y="18"/>
                </a:cubicBezTo>
                <a:cubicBezTo>
                  <a:pt x="23" y="18"/>
                  <a:pt x="22" y="16"/>
                  <a:pt x="22" y="15"/>
                </a:cubicBezTo>
                <a:cubicBezTo>
                  <a:pt x="22" y="14"/>
                  <a:pt x="22" y="13"/>
                  <a:pt x="22" y="13"/>
                </a:cubicBezTo>
                <a:cubicBezTo>
                  <a:pt x="22" y="12"/>
                  <a:pt x="21" y="12"/>
                  <a:pt x="20" y="11"/>
                </a:cubicBezTo>
                <a:cubicBezTo>
                  <a:pt x="19" y="9"/>
                  <a:pt x="16" y="9"/>
                  <a:pt x="16" y="7"/>
                </a:cubicBezTo>
                <a:cubicBezTo>
                  <a:pt x="15" y="4"/>
                  <a:pt x="11" y="1"/>
                  <a:pt x="9" y="0"/>
                </a:cubicBezTo>
                <a:cubicBezTo>
                  <a:pt x="9" y="3"/>
                  <a:pt x="4" y="3"/>
                  <a:pt x="5" y="5"/>
                </a:cubicBezTo>
                <a:cubicBezTo>
                  <a:pt x="5" y="6"/>
                  <a:pt x="7" y="7"/>
                  <a:pt x="6" y="8"/>
                </a:cubicBezTo>
                <a:cubicBezTo>
                  <a:pt x="5" y="8"/>
                  <a:pt x="3" y="9"/>
                  <a:pt x="3" y="10"/>
                </a:cubicBezTo>
                <a:cubicBezTo>
                  <a:pt x="0" y="11"/>
                  <a:pt x="2" y="14"/>
                  <a:pt x="4" y="16"/>
                </a:cubicBezTo>
                <a:cubicBezTo>
                  <a:pt x="5" y="17"/>
                  <a:pt x="5" y="18"/>
                  <a:pt x="7" y="18"/>
                </a:cubicBezTo>
                <a:cubicBezTo>
                  <a:pt x="8" y="18"/>
                  <a:pt x="7" y="19"/>
                  <a:pt x="8" y="20"/>
                </a:cubicBezTo>
                <a:cubicBezTo>
                  <a:pt x="10" y="23"/>
                  <a:pt x="9" y="24"/>
                  <a:pt x="8" y="27"/>
                </a:cubicBezTo>
                <a:cubicBezTo>
                  <a:pt x="8" y="30"/>
                  <a:pt x="10" y="33"/>
                  <a:pt x="11" y="35"/>
                </a:cubicBezTo>
                <a:cubicBezTo>
                  <a:pt x="14" y="38"/>
                  <a:pt x="15" y="35"/>
                  <a:pt x="17" y="35"/>
                </a:cubicBezTo>
                <a:cubicBezTo>
                  <a:pt x="19" y="35"/>
                  <a:pt x="20" y="34"/>
                  <a:pt x="21" y="34"/>
                </a:cubicBezTo>
                <a:cubicBezTo>
                  <a:pt x="23" y="33"/>
                  <a:pt x="24" y="33"/>
                  <a:pt x="26" y="34"/>
                </a:cubicBezTo>
                <a:cubicBezTo>
                  <a:pt x="25" y="32"/>
                  <a:pt x="24" y="30"/>
                  <a:pt x="22" y="29"/>
                </a:cubicBezTo>
                <a:cubicBezTo>
                  <a:pt x="21" y="27"/>
                  <a:pt x="23" y="29"/>
                  <a:pt x="22" y="2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24" name="Freeform 620">
            <a:extLst>
              <a:ext uri="{FF2B5EF4-FFF2-40B4-BE49-F238E27FC236}">
                <a16:creationId xmlns:a16="http://schemas.microsoft.com/office/drawing/2014/main" id="{7DDFCE9B-159B-2C46-8039-99C31DCFC913}"/>
              </a:ext>
            </a:extLst>
          </p:cNvPr>
          <p:cNvSpPr>
            <a:spLocks/>
          </p:cNvSpPr>
          <p:nvPr/>
        </p:nvSpPr>
        <p:spPr bwMode="auto">
          <a:xfrm>
            <a:off x="4361756" y="4735351"/>
            <a:ext cx="114715" cy="120040"/>
          </a:xfrm>
          <a:custGeom>
            <a:avLst/>
            <a:gdLst>
              <a:gd name="T0" fmla="*/ 19 w 22"/>
              <a:gd name="T1" fmla="*/ 7 h 23"/>
              <a:gd name="T2" fmla="*/ 22 w 22"/>
              <a:gd name="T3" fmla="*/ 2 h 23"/>
              <a:gd name="T4" fmla="*/ 12 w 22"/>
              <a:gd name="T5" fmla="*/ 2 h 23"/>
              <a:gd name="T6" fmla="*/ 9 w 22"/>
              <a:gd name="T7" fmla="*/ 0 h 23"/>
              <a:gd name="T8" fmla="*/ 5 w 22"/>
              <a:gd name="T9" fmla="*/ 1 h 23"/>
              <a:gd name="T10" fmla="*/ 4 w 22"/>
              <a:gd name="T11" fmla="*/ 6 h 23"/>
              <a:gd name="T12" fmla="*/ 1 w 22"/>
              <a:gd name="T13" fmla="*/ 10 h 23"/>
              <a:gd name="T14" fmla="*/ 4 w 22"/>
              <a:gd name="T15" fmla="*/ 15 h 23"/>
              <a:gd name="T16" fmla="*/ 9 w 22"/>
              <a:gd name="T17" fmla="*/ 22 h 23"/>
              <a:gd name="T18" fmla="*/ 12 w 22"/>
              <a:gd name="T19" fmla="*/ 19 h 23"/>
              <a:gd name="T20" fmla="*/ 16 w 22"/>
              <a:gd name="T21" fmla="*/ 18 h 23"/>
              <a:gd name="T22" fmla="*/ 19 w 22"/>
              <a:gd name="T23" fmla="*/ 19 h 23"/>
              <a:gd name="T24" fmla="*/ 20 w 22"/>
              <a:gd name="T25" fmla="*/ 14 h 23"/>
              <a:gd name="T26" fmla="*/ 19 w 22"/>
              <a:gd name="T27" fmla="*/ 7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2" h="23">
                <a:moveTo>
                  <a:pt x="19" y="7"/>
                </a:moveTo>
                <a:cubicBezTo>
                  <a:pt x="19" y="5"/>
                  <a:pt x="21" y="3"/>
                  <a:pt x="22" y="2"/>
                </a:cubicBezTo>
                <a:cubicBezTo>
                  <a:pt x="19" y="1"/>
                  <a:pt x="14" y="0"/>
                  <a:pt x="12" y="2"/>
                </a:cubicBezTo>
                <a:cubicBezTo>
                  <a:pt x="10" y="3"/>
                  <a:pt x="9" y="1"/>
                  <a:pt x="9" y="0"/>
                </a:cubicBezTo>
                <a:cubicBezTo>
                  <a:pt x="8" y="0"/>
                  <a:pt x="7" y="2"/>
                  <a:pt x="5" y="1"/>
                </a:cubicBezTo>
                <a:cubicBezTo>
                  <a:pt x="5" y="2"/>
                  <a:pt x="7" y="6"/>
                  <a:pt x="4" y="6"/>
                </a:cubicBezTo>
                <a:cubicBezTo>
                  <a:pt x="2" y="7"/>
                  <a:pt x="0" y="8"/>
                  <a:pt x="1" y="10"/>
                </a:cubicBezTo>
                <a:cubicBezTo>
                  <a:pt x="2" y="12"/>
                  <a:pt x="3" y="13"/>
                  <a:pt x="4" y="15"/>
                </a:cubicBezTo>
                <a:cubicBezTo>
                  <a:pt x="5" y="17"/>
                  <a:pt x="7" y="19"/>
                  <a:pt x="9" y="22"/>
                </a:cubicBezTo>
                <a:cubicBezTo>
                  <a:pt x="12" y="23"/>
                  <a:pt x="10" y="19"/>
                  <a:pt x="12" y="19"/>
                </a:cubicBezTo>
                <a:cubicBezTo>
                  <a:pt x="14" y="19"/>
                  <a:pt x="15" y="19"/>
                  <a:pt x="16" y="18"/>
                </a:cubicBezTo>
                <a:cubicBezTo>
                  <a:pt x="17" y="18"/>
                  <a:pt x="17" y="20"/>
                  <a:pt x="19" y="19"/>
                </a:cubicBezTo>
                <a:cubicBezTo>
                  <a:pt x="20" y="17"/>
                  <a:pt x="21" y="16"/>
                  <a:pt x="20" y="14"/>
                </a:cubicBezTo>
                <a:cubicBezTo>
                  <a:pt x="20" y="12"/>
                  <a:pt x="19" y="9"/>
                  <a:pt x="19" y="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25" name="Freeform 621">
            <a:extLst>
              <a:ext uri="{FF2B5EF4-FFF2-40B4-BE49-F238E27FC236}">
                <a16:creationId xmlns:a16="http://schemas.microsoft.com/office/drawing/2014/main" id="{D9691365-E6E2-F341-BF9B-D587F46767E8}"/>
              </a:ext>
            </a:extLst>
          </p:cNvPr>
          <p:cNvSpPr>
            <a:spLocks/>
          </p:cNvSpPr>
          <p:nvPr/>
        </p:nvSpPr>
        <p:spPr bwMode="auto">
          <a:xfrm>
            <a:off x="4455294" y="4745944"/>
            <a:ext cx="82948" cy="93563"/>
          </a:xfrm>
          <a:custGeom>
            <a:avLst/>
            <a:gdLst>
              <a:gd name="T0" fmla="*/ 12 w 16"/>
              <a:gd name="T1" fmla="*/ 5 h 18"/>
              <a:gd name="T2" fmla="*/ 5 w 16"/>
              <a:gd name="T3" fmla="*/ 1 h 18"/>
              <a:gd name="T4" fmla="*/ 1 w 16"/>
              <a:gd name="T5" fmla="*/ 6 h 18"/>
              <a:gd name="T6" fmla="*/ 2 w 16"/>
              <a:gd name="T7" fmla="*/ 12 h 18"/>
              <a:gd name="T8" fmla="*/ 0 w 16"/>
              <a:gd name="T9" fmla="*/ 17 h 18"/>
              <a:gd name="T10" fmla="*/ 4 w 16"/>
              <a:gd name="T11" fmla="*/ 17 h 18"/>
              <a:gd name="T12" fmla="*/ 9 w 16"/>
              <a:gd name="T13" fmla="*/ 17 h 18"/>
              <a:gd name="T14" fmla="*/ 16 w 16"/>
              <a:gd name="T15" fmla="*/ 8 h 18"/>
              <a:gd name="T16" fmla="*/ 12 w 16"/>
              <a:gd name="T17" fmla="*/ 5 h 18"/>
              <a:gd name="T18" fmla="*/ 12 w 16"/>
              <a:gd name="T19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" h="18">
                <a:moveTo>
                  <a:pt x="12" y="5"/>
                </a:moveTo>
                <a:cubicBezTo>
                  <a:pt x="10" y="3"/>
                  <a:pt x="8" y="1"/>
                  <a:pt x="5" y="1"/>
                </a:cubicBezTo>
                <a:cubicBezTo>
                  <a:pt x="3" y="0"/>
                  <a:pt x="0" y="4"/>
                  <a:pt x="1" y="6"/>
                </a:cubicBezTo>
                <a:cubicBezTo>
                  <a:pt x="1" y="8"/>
                  <a:pt x="2" y="10"/>
                  <a:pt x="2" y="12"/>
                </a:cubicBezTo>
                <a:cubicBezTo>
                  <a:pt x="3" y="14"/>
                  <a:pt x="1" y="16"/>
                  <a:pt x="0" y="17"/>
                </a:cubicBezTo>
                <a:cubicBezTo>
                  <a:pt x="1" y="18"/>
                  <a:pt x="3" y="17"/>
                  <a:pt x="4" y="17"/>
                </a:cubicBezTo>
                <a:cubicBezTo>
                  <a:pt x="6" y="17"/>
                  <a:pt x="7" y="18"/>
                  <a:pt x="9" y="17"/>
                </a:cubicBezTo>
                <a:cubicBezTo>
                  <a:pt x="12" y="16"/>
                  <a:pt x="13" y="10"/>
                  <a:pt x="16" y="8"/>
                </a:cubicBezTo>
                <a:cubicBezTo>
                  <a:pt x="14" y="7"/>
                  <a:pt x="13" y="6"/>
                  <a:pt x="12" y="5"/>
                </a:cubicBezTo>
                <a:cubicBezTo>
                  <a:pt x="10" y="4"/>
                  <a:pt x="13" y="6"/>
                  <a:pt x="12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26" name="Freeform 622">
            <a:extLst>
              <a:ext uri="{FF2B5EF4-FFF2-40B4-BE49-F238E27FC236}">
                <a16:creationId xmlns:a16="http://schemas.microsoft.com/office/drawing/2014/main" id="{A93C10C3-8170-8F49-8966-A1CCBBFA03E6}"/>
              </a:ext>
            </a:extLst>
          </p:cNvPr>
          <p:cNvSpPr>
            <a:spLocks/>
          </p:cNvSpPr>
          <p:nvPr/>
        </p:nvSpPr>
        <p:spPr bwMode="auto">
          <a:xfrm>
            <a:off x="3715824" y="4569413"/>
            <a:ext cx="418270" cy="436031"/>
          </a:xfrm>
          <a:custGeom>
            <a:avLst/>
            <a:gdLst>
              <a:gd name="T0" fmla="*/ 76 w 81"/>
              <a:gd name="T1" fmla="*/ 39 h 84"/>
              <a:gd name="T2" fmla="*/ 74 w 81"/>
              <a:gd name="T3" fmla="*/ 32 h 84"/>
              <a:gd name="T4" fmla="*/ 69 w 81"/>
              <a:gd name="T5" fmla="*/ 33 h 84"/>
              <a:gd name="T6" fmla="*/ 58 w 81"/>
              <a:gd name="T7" fmla="*/ 28 h 84"/>
              <a:gd name="T8" fmla="*/ 53 w 81"/>
              <a:gd name="T9" fmla="*/ 20 h 84"/>
              <a:gd name="T10" fmla="*/ 50 w 81"/>
              <a:gd name="T11" fmla="*/ 15 h 84"/>
              <a:gd name="T12" fmla="*/ 56 w 81"/>
              <a:gd name="T13" fmla="*/ 5 h 84"/>
              <a:gd name="T14" fmla="*/ 56 w 81"/>
              <a:gd name="T15" fmla="*/ 1 h 84"/>
              <a:gd name="T16" fmla="*/ 44 w 81"/>
              <a:gd name="T17" fmla="*/ 8 h 84"/>
              <a:gd name="T18" fmla="*/ 36 w 81"/>
              <a:gd name="T19" fmla="*/ 16 h 84"/>
              <a:gd name="T20" fmla="*/ 31 w 81"/>
              <a:gd name="T21" fmla="*/ 23 h 84"/>
              <a:gd name="T22" fmla="*/ 25 w 81"/>
              <a:gd name="T23" fmla="*/ 17 h 84"/>
              <a:gd name="T24" fmla="*/ 7 w 81"/>
              <a:gd name="T25" fmla="*/ 18 h 84"/>
              <a:gd name="T26" fmla="*/ 1 w 81"/>
              <a:gd name="T27" fmla="*/ 16 h 84"/>
              <a:gd name="T28" fmla="*/ 1 w 81"/>
              <a:gd name="T29" fmla="*/ 21 h 84"/>
              <a:gd name="T30" fmla="*/ 8 w 81"/>
              <a:gd name="T31" fmla="*/ 24 h 84"/>
              <a:gd name="T32" fmla="*/ 11 w 81"/>
              <a:gd name="T33" fmla="*/ 26 h 84"/>
              <a:gd name="T34" fmla="*/ 13 w 81"/>
              <a:gd name="T35" fmla="*/ 23 h 84"/>
              <a:gd name="T36" fmla="*/ 20 w 81"/>
              <a:gd name="T37" fmla="*/ 18 h 84"/>
              <a:gd name="T38" fmla="*/ 24 w 81"/>
              <a:gd name="T39" fmla="*/ 20 h 84"/>
              <a:gd name="T40" fmla="*/ 25 w 81"/>
              <a:gd name="T41" fmla="*/ 26 h 84"/>
              <a:gd name="T42" fmla="*/ 28 w 81"/>
              <a:gd name="T43" fmla="*/ 42 h 84"/>
              <a:gd name="T44" fmla="*/ 28 w 81"/>
              <a:gd name="T45" fmla="*/ 47 h 84"/>
              <a:gd name="T46" fmla="*/ 22 w 81"/>
              <a:gd name="T47" fmla="*/ 53 h 84"/>
              <a:gd name="T48" fmla="*/ 26 w 81"/>
              <a:gd name="T49" fmla="*/ 58 h 84"/>
              <a:gd name="T50" fmla="*/ 34 w 81"/>
              <a:gd name="T51" fmla="*/ 61 h 84"/>
              <a:gd name="T52" fmla="*/ 41 w 81"/>
              <a:gd name="T53" fmla="*/ 64 h 84"/>
              <a:gd name="T54" fmla="*/ 54 w 81"/>
              <a:gd name="T55" fmla="*/ 76 h 84"/>
              <a:gd name="T56" fmla="*/ 60 w 81"/>
              <a:gd name="T57" fmla="*/ 75 h 84"/>
              <a:gd name="T58" fmla="*/ 64 w 81"/>
              <a:gd name="T59" fmla="*/ 80 h 84"/>
              <a:gd name="T60" fmla="*/ 65 w 81"/>
              <a:gd name="T61" fmla="*/ 84 h 84"/>
              <a:gd name="T62" fmla="*/ 65 w 81"/>
              <a:gd name="T63" fmla="*/ 63 h 84"/>
              <a:gd name="T64" fmla="*/ 70 w 81"/>
              <a:gd name="T65" fmla="*/ 58 h 84"/>
              <a:gd name="T66" fmla="*/ 66 w 81"/>
              <a:gd name="T67" fmla="*/ 55 h 84"/>
              <a:gd name="T68" fmla="*/ 79 w 81"/>
              <a:gd name="T69" fmla="*/ 53 h 84"/>
              <a:gd name="T70" fmla="*/ 77 w 81"/>
              <a:gd name="T71" fmla="*/ 48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81" h="84">
                <a:moveTo>
                  <a:pt x="77" y="48"/>
                </a:moveTo>
                <a:cubicBezTo>
                  <a:pt x="81" y="45"/>
                  <a:pt x="76" y="42"/>
                  <a:pt x="76" y="39"/>
                </a:cubicBezTo>
                <a:cubicBezTo>
                  <a:pt x="76" y="37"/>
                  <a:pt x="78" y="35"/>
                  <a:pt x="78" y="33"/>
                </a:cubicBezTo>
                <a:cubicBezTo>
                  <a:pt x="79" y="30"/>
                  <a:pt x="75" y="32"/>
                  <a:pt x="74" y="32"/>
                </a:cubicBezTo>
                <a:cubicBezTo>
                  <a:pt x="73" y="32"/>
                  <a:pt x="72" y="32"/>
                  <a:pt x="71" y="32"/>
                </a:cubicBezTo>
                <a:cubicBezTo>
                  <a:pt x="70" y="32"/>
                  <a:pt x="70" y="33"/>
                  <a:pt x="69" y="33"/>
                </a:cubicBezTo>
                <a:cubicBezTo>
                  <a:pt x="68" y="33"/>
                  <a:pt x="67" y="30"/>
                  <a:pt x="66" y="30"/>
                </a:cubicBezTo>
                <a:cubicBezTo>
                  <a:pt x="64" y="26"/>
                  <a:pt x="62" y="28"/>
                  <a:pt x="58" y="28"/>
                </a:cubicBezTo>
                <a:cubicBezTo>
                  <a:pt x="56" y="28"/>
                  <a:pt x="55" y="28"/>
                  <a:pt x="54" y="26"/>
                </a:cubicBezTo>
                <a:cubicBezTo>
                  <a:pt x="53" y="24"/>
                  <a:pt x="56" y="22"/>
                  <a:pt x="53" y="20"/>
                </a:cubicBezTo>
                <a:cubicBezTo>
                  <a:pt x="52" y="19"/>
                  <a:pt x="52" y="17"/>
                  <a:pt x="50" y="17"/>
                </a:cubicBezTo>
                <a:cubicBezTo>
                  <a:pt x="48" y="17"/>
                  <a:pt x="49" y="17"/>
                  <a:pt x="50" y="15"/>
                </a:cubicBezTo>
                <a:cubicBezTo>
                  <a:pt x="51" y="13"/>
                  <a:pt x="50" y="11"/>
                  <a:pt x="51" y="9"/>
                </a:cubicBezTo>
                <a:cubicBezTo>
                  <a:pt x="52" y="7"/>
                  <a:pt x="54" y="6"/>
                  <a:pt x="56" y="5"/>
                </a:cubicBezTo>
                <a:cubicBezTo>
                  <a:pt x="57" y="4"/>
                  <a:pt x="59" y="4"/>
                  <a:pt x="60" y="2"/>
                </a:cubicBezTo>
                <a:cubicBezTo>
                  <a:pt x="60" y="0"/>
                  <a:pt x="56" y="0"/>
                  <a:pt x="56" y="1"/>
                </a:cubicBezTo>
                <a:cubicBezTo>
                  <a:pt x="54" y="3"/>
                  <a:pt x="51" y="6"/>
                  <a:pt x="48" y="6"/>
                </a:cubicBezTo>
                <a:cubicBezTo>
                  <a:pt x="45" y="6"/>
                  <a:pt x="45" y="6"/>
                  <a:pt x="44" y="8"/>
                </a:cubicBezTo>
                <a:cubicBezTo>
                  <a:pt x="43" y="10"/>
                  <a:pt x="43" y="7"/>
                  <a:pt x="41" y="7"/>
                </a:cubicBezTo>
                <a:cubicBezTo>
                  <a:pt x="37" y="8"/>
                  <a:pt x="39" y="14"/>
                  <a:pt x="36" y="16"/>
                </a:cubicBezTo>
                <a:cubicBezTo>
                  <a:pt x="35" y="17"/>
                  <a:pt x="33" y="18"/>
                  <a:pt x="32" y="20"/>
                </a:cubicBezTo>
                <a:cubicBezTo>
                  <a:pt x="32" y="20"/>
                  <a:pt x="32" y="23"/>
                  <a:pt x="31" y="23"/>
                </a:cubicBezTo>
                <a:cubicBezTo>
                  <a:pt x="30" y="21"/>
                  <a:pt x="29" y="20"/>
                  <a:pt x="28" y="19"/>
                </a:cubicBezTo>
                <a:cubicBezTo>
                  <a:pt x="27" y="17"/>
                  <a:pt x="26" y="17"/>
                  <a:pt x="25" y="17"/>
                </a:cubicBezTo>
                <a:cubicBezTo>
                  <a:pt x="21" y="16"/>
                  <a:pt x="19" y="13"/>
                  <a:pt x="15" y="16"/>
                </a:cubicBezTo>
                <a:cubicBezTo>
                  <a:pt x="13" y="17"/>
                  <a:pt x="9" y="20"/>
                  <a:pt x="7" y="18"/>
                </a:cubicBezTo>
                <a:cubicBezTo>
                  <a:pt x="6" y="17"/>
                  <a:pt x="5" y="17"/>
                  <a:pt x="4" y="16"/>
                </a:cubicBezTo>
                <a:cubicBezTo>
                  <a:pt x="2" y="16"/>
                  <a:pt x="3" y="14"/>
                  <a:pt x="1" y="16"/>
                </a:cubicBezTo>
                <a:cubicBezTo>
                  <a:pt x="0" y="17"/>
                  <a:pt x="1" y="17"/>
                  <a:pt x="2" y="18"/>
                </a:cubicBezTo>
                <a:cubicBezTo>
                  <a:pt x="2" y="19"/>
                  <a:pt x="1" y="20"/>
                  <a:pt x="1" y="21"/>
                </a:cubicBezTo>
                <a:cubicBezTo>
                  <a:pt x="3" y="21"/>
                  <a:pt x="5" y="22"/>
                  <a:pt x="6" y="22"/>
                </a:cubicBezTo>
                <a:cubicBezTo>
                  <a:pt x="7" y="23"/>
                  <a:pt x="8" y="23"/>
                  <a:pt x="8" y="24"/>
                </a:cubicBezTo>
                <a:cubicBezTo>
                  <a:pt x="9" y="25"/>
                  <a:pt x="9" y="24"/>
                  <a:pt x="10" y="24"/>
                </a:cubicBezTo>
                <a:cubicBezTo>
                  <a:pt x="10" y="23"/>
                  <a:pt x="10" y="26"/>
                  <a:pt x="11" y="26"/>
                </a:cubicBezTo>
                <a:cubicBezTo>
                  <a:pt x="12" y="27"/>
                  <a:pt x="13" y="26"/>
                  <a:pt x="15" y="25"/>
                </a:cubicBezTo>
                <a:cubicBezTo>
                  <a:pt x="16" y="25"/>
                  <a:pt x="13" y="23"/>
                  <a:pt x="13" y="23"/>
                </a:cubicBezTo>
                <a:cubicBezTo>
                  <a:pt x="13" y="22"/>
                  <a:pt x="16" y="20"/>
                  <a:pt x="16" y="19"/>
                </a:cubicBezTo>
                <a:cubicBezTo>
                  <a:pt x="17" y="18"/>
                  <a:pt x="19" y="17"/>
                  <a:pt x="20" y="18"/>
                </a:cubicBezTo>
                <a:cubicBezTo>
                  <a:pt x="21" y="18"/>
                  <a:pt x="23" y="19"/>
                  <a:pt x="23" y="19"/>
                </a:cubicBezTo>
                <a:cubicBezTo>
                  <a:pt x="23" y="20"/>
                  <a:pt x="23" y="20"/>
                  <a:pt x="24" y="20"/>
                </a:cubicBezTo>
                <a:cubicBezTo>
                  <a:pt x="24" y="21"/>
                  <a:pt x="23" y="22"/>
                  <a:pt x="23" y="22"/>
                </a:cubicBezTo>
                <a:cubicBezTo>
                  <a:pt x="23" y="23"/>
                  <a:pt x="25" y="25"/>
                  <a:pt x="25" y="26"/>
                </a:cubicBezTo>
                <a:cubicBezTo>
                  <a:pt x="27" y="29"/>
                  <a:pt x="29" y="29"/>
                  <a:pt x="29" y="33"/>
                </a:cubicBezTo>
                <a:cubicBezTo>
                  <a:pt x="29" y="36"/>
                  <a:pt x="29" y="39"/>
                  <a:pt x="28" y="42"/>
                </a:cubicBezTo>
                <a:cubicBezTo>
                  <a:pt x="28" y="43"/>
                  <a:pt x="30" y="43"/>
                  <a:pt x="30" y="44"/>
                </a:cubicBezTo>
                <a:cubicBezTo>
                  <a:pt x="29" y="45"/>
                  <a:pt x="28" y="46"/>
                  <a:pt x="28" y="47"/>
                </a:cubicBezTo>
                <a:cubicBezTo>
                  <a:pt x="27" y="48"/>
                  <a:pt x="27" y="50"/>
                  <a:pt x="26" y="50"/>
                </a:cubicBezTo>
                <a:cubicBezTo>
                  <a:pt x="24" y="51"/>
                  <a:pt x="22" y="50"/>
                  <a:pt x="22" y="53"/>
                </a:cubicBezTo>
                <a:cubicBezTo>
                  <a:pt x="22" y="55"/>
                  <a:pt x="19" y="55"/>
                  <a:pt x="22" y="56"/>
                </a:cubicBezTo>
                <a:cubicBezTo>
                  <a:pt x="23" y="57"/>
                  <a:pt x="24" y="57"/>
                  <a:pt x="26" y="58"/>
                </a:cubicBezTo>
                <a:cubicBezTo>
                  <a:pt x="27" y="59"/>
                  <a:pt x="28" y="60"/>
                  <a:pt x="29" y="61"/>
                </a:cubicBezTo>
                <a:cubicBezTo>
                  <a:pt x="31" y="62"/>
                  <a:pt x="32" y="61"/>
                  <a:pt x="34" y="61"/>
                </a:cubicBezTo>
                <a:cubicBezTo>
                  <a:pt x="35" y="61"/>
                  <a:pt x="36" y="62"/>
                  <a:pt x="38" y="63"/>
                </a:cubicBezTo>
                <a:cubicBezTo>
                  <a:pt x="39" y="63"/>
                  <a:pt x="40" y="63"/>
                  <a:pt x="41" y="64"/>
                </a:cubicBezTo>
                <a:cubicBezTo>
                  <a:pt x="44" y="66"/>
                  <a:pt x="46" y="68"/>
                  <a:pt x="48" y="71"/>
                </a:cubicBezTo>
                <a:cubicBezTo>
                  <a:pt x="49" y="74"/>
                  <a:pt x="50" y="75"/>
                  <a:pt x="54" y="76"/>
                </a:cubicBezTo>
                <a:cubicBezTo>
                  <a:pt x="55" y="76"/>
                  <a:pt x="56" y="75"/>
                  <a:pt x="57" y="74"/>
                </a:cubicBezTo>
                <a:cubicBezTo>
                  <a:pt x="58" y="74"/>
                  <a:pt x="59" y="76"/>
                  <a:pt x="60" y="75"/>
                </a:cubicBezTo>
                <a:cubicBezTo>
                  <a:pt x="62" y="74"/>
                  <a:pt x="64" y="75"/>
                  <a:pt x="65" y="76"/>
                </a:cubicBezTo>
                <a:cubicBezTo>
                  <a:pt x="65" y="77"/>
                  <a:pt x="64" y="79"/>
                  <a:pt x="64" y="80"/>
                </a:cubicBezTo>
                <a:cubicBezTo>
                  <a:pt x="63" y="81"/>
                  <a:pt x="62" y="81"/>
                  <a:pt x="64" y="82"/>
                </a:cubicBezTo>
                <a:cubicBezTo>
                  <a:pt x="64" y="82"/>
                  <a:pt x="66" y="84"/>
                  <a:pt x="65" y="84"/>
                </a:cubicBezTo>
                <a:cubicBezTo>
                  <a:pt x="67" y="84"/>
                  <a:pt x="68" y="73"/>
                  <a:pt x="69" y="71"/>
                </a:cubicBezTo>
                <a:cubicBezTo>
                  <a:pt x="69" y="67"/>
                  <a:pt x="66" y="66"/>
                  <a:pt x="65" y="63"/>
                </a:cubicBezTo>
                <a:cubicBezTo>
                  <a:pt x="65" y="61"/>
                  <a:pt x="65" y="60"/>
                  <a:pt x="66" y="60"/>
                </a:cubicBezTo>
                <a:cubicBezTo>
                  <a:pt x="67" y="60"/>
                  <a:pt x="70" y="59"/>
                  <a:pt x="70" y="58"/>
                </a:cubicBezTo>
                <a:cubicBezTo>
                  <a:pt x="69" y="58"/>
                  <a:pt x="67" y="58"/>
                  <a:pt x="67" y="57"/>
                </a:cubicBezTo>
                <a:cubicBezTo>
                  <a:pt x="66" y="57"/>
                  <a:pt x="66" y="55"/>
                  <a:pt x="66" y="55"/>
                </a:cubicBezTo>
                <a:cubicBezTo>
                  <a:pt x="68" y="55"/>
                  <a:pt x="70" y="55"/>
                  <a:pt x="72" y="55"/>
                </a:cubicBezTo>
                <a:cubicBezTo>
                  <a:pt x="73" y="55"/>
                  <a:pt x="79" y="52"/>
                  <a:pt x="79" y="53"/>
                </a:cubicBezTo>
                <a:cubicBezTo>
                  <a:pt x="79" y="51"/>
                  <a:pt x="76" y="48"/>
                  <a:pt x="77" y="48"/>
                </a:cubicBezTo>
                <a:cubicBezTo>
                  <a:pt x="78" y="47"/>
                  <a:pt x="76" y="48"/>
                  <a:pt x="77" y="4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27" name="Freeform 623">
            <a:extLst>
              <a:ext uri="{FF2B5EF4-FFF2-40B4-BE49-F238E27FC236}">
                <a16:creationId xmlns:a16="http://schemas.microsoft.com/office/drawing/2014/main" id="{3595A068-C639-CD46-A80A-F3F043C4B285}"/>
              </a:ext>
            </a:extLst>
          </p:cNvPr>
          <p:cNvSpPr>
            <a:spLocks/>
          </p:cNvSpPr>
          <p:nvPr/>
        </p:nvSpPr>
        <p:spPr bwMode="auto">
          <a:xfrm>
            <a:off x="3772298" y="4860687"/>
            <a:ext cx="144716" cy="171236"/>
          </a:xfrm>
          <a:custGeom>
            <a:avLst/>
            <a:gdLst>
              <a:gd name="T0" fmla="*/ 20 w 28"/>
              <a:gd name="T1" fmla="*/ 6 h 33"/>
              <a:gd name="T2" fmla="*/ 15 w 28"/>
              <a:gd name="T3" fmla="*/ 3 h 33"/>
              <a:gd name="T4" fmla="*/ 10 w 28"/>
              <a:gd name="T5" fmla="*/ 0 h 33"/>
              <a:gd name="T6" fmla="*/ 4 w 28"/>
              <a:gd name="T7" fmla="*/ 4 h 33"/>
              <a:gd name="T8" fmla="*/ 3 w 28"/>
              <a:gd name="T9" fmla="*/ 7 h 33"/>
              <a:gd name="T10" fmla="*/ 2 w 28"/>
              <a:gd name="T11" fmla="*/ 10 h 33"/>
              <a:gd name="T12" fmla="*/ 0 w 28"/>
              <a:gd name="T13" fmla="*/ 13 h 33"/>
              <a:gd name="T14" fmla="*/ 0 w 28"/>
              <a:gd name="T15" fmla="*/ 15 h 33"/>
              <a:gd name="T16" fmla="*/ 0 w 28"/>
              <a:gd name="T17" fmla="*/ 18 h 33"/>
              <a:gd name="T18" fmla="*/ 2 w 28"/>
              <a:gd name="T19" fmla="*/ 20 h 33"/>
              <a:gd name="T20" fmla="*/ 5 w 28"/>
              <a:gd name="T21" fmla="*/ 18 h 33"/>
              <a:gd name="T22" fmla="*/ 5 w 28"/>
              <a:gd name="T23" fmla="*/ 20 h 33"/>
              <a:gd name="T24" fmla="*/ 3 w 28"/>
              <a:gd name="T25" fmla="*/ 24 h 33"/>
              <a:gd name="T26" fmla="*/ 3 w 28"/>
              <a:gd name="T27" fmla="*/ 26 h 33"/>
              <a:gd name="T28" fmla="*/ 3 w 28"/>
              <a:gd name="T29" fmla="*/ 28 h 33"/>
              <a:gd name="T30" fmla="*/ 8 w 28"/>
              <a:gd name="T31" fmla="*/ 32 h 33"/>
              <a:gd name="T32" fmla="*/ 11 w 28"/>
              <a:gd name="T33" fmla="*/ 29 h 33"/>
              <a:gd name="T34" fmla="*/ 16 w 28"/>
              <a:gd name="T35" fmla="*/ 22 h 33"/>
              <a:gd name="T36" fmla="*/ 22 w 28"/>
              <a:gd name="T37" fmla="*/ 19 h 33"/>
              <a:gd name="T38" fmla="*/ 27 w 28"/>
              <a:gd name="T39" fmla="*/ 13 h 33"/>
              <a:gd name="T40" fmla="*/ 27 w 28"/>
              <a:gd name="T41" fmla="*/ 8 h 33"/>
              <a:gd name="T42" fmla="*/ 24 w 28"/>
              <a:gd name="T43" fmla="*/ 5 h 33"/>
              <a:gd name="T44" fmla="*/ 20 w 28"/>
              <a:gd name="T45" fmla="*/ 6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8" h="33">
                <a:moveTo>
                  <a:pt x="20" y="6"/>
                </a:moveTo>
                <a:cubicBezTo>
                  <a:pt x="18" y="6"/>
                  <a:pt x="17" y="4"/>
                  <a:pt x="15" y="3"/>
                </a:cubicBezTo>
                <a:cubicBezTo>
                  <a:pt x="14" y="2"/>
                  <a:pt x="12" y="0"/>
                  <a:pt x="10" y="0"/>
                </a:cubicBezTo>
                <a:cubicBezTo>
                  <a:pt x="10" y="3"/>
                  <a:pt x="4" y="1"/>
                  <a:pt x="4" y="4"/>
                </a:cubicBezTo>
                <a:cubicBezTo>
                  <a:pt x="4" y="6"/>
                  <a:pt x="4" y="6"/>
                  <a:pt x="3" y="7"/>
                </a:cubicBezTo>
                <a:cubicBezTo>
                  <a:pt x="1" y="8"/>
                  <a:pt x="2" y="9"/>
                  <a:pt x="2" y="10"/>
                </a:cubicBezTo>
                <a:cubicBezTo>
                  <a:pt x="2" y="11"/>
                  <a:pt x="1" y="12"/>
                  <a:pt x="0" y="13"/>
                </a:cubicBezTo>
                <a:cubicBezTo>
                  <a:pt x="0" y="13"/>
                  <a:pt x="0" y="14"/>
                  <a:pt x="0" y="15"/>
                </a:cubicBezTo>
                <a:cubicBezTo>
                  <a:pt x="1" y="16"/>
                  <a:pt x="0" y="17"/>
                  <a:pt x="0" y="18"/>
                </a:cubicBezTo>
                <a:cubicBezTo>
                  <a:pt x="0" y="18"/>
                  <a:pt x="1" y="21"/>
                  <a:pt x="2" y="20"/>
                </a:cubicBezTo>
                <a:cubicBezTo>
                  <a:pt x="4" y="20"/>
                  <a:pt x="4" y="18"/>
                  <a:pt x="5" y="18"/>
                </a:cubicBezTo>
                <a:cubicBezTo>
                  <a:pt x="4" y="18"/>
                  <a:pt x="6" y="20"/>
                  <a:pt x="5" y="20"/>
                </a:cubicBezTo>
                <a:cubicBezTo>
                  <a:pt x="5" y="22"/>
                  <a:pt x="5" y="23"/>
                  <a:pt x="3" y="24"/>
                </a:cubicBezTo>
                <a:cubicBezTo>
                  <a:pt x="3" y="24"/>
                  <a:pt x="4" y="26"/>
                  <a:pt x="3" y="26"/>
                </a:cubicBezTo>
                <a:cubicBezTo>
                  <a:pt x="3" y="27"/>
                  <a:pt x="2" y="27"/>
                  <a:pt x="3" y="28"/>
                </a:cubicBezTo>
                <a:cubicBezTo>
                  <a:pt x="5" y="29"/>
                  <a:pt x="6" y="29"/>
                  <a:pt x="8" y="32"/>
                </a:cubicBezTo>
                <a:cubicBezTo>
                  <a:pt x="9" y="33"/>
                  <a:pt x="10" y="29"/>
                  <a:pt x="11" y="29"/>
                </a:cubicBezTo>
                <a:cubicBezTo>
                  <a:pt x="12" y="26"/>
                  <a:pt x="13" y="23"/>
                  <a:pt x="16" y="22"/>
                </a:cubicBezTo>
                <a:cubicBezTo>
                  <a:pt x="18" y="21"/>
                  <a:pt x="20" y="21"/>
                  <a:pt x="22" y="19"/>
                </a:cubicBezTo>
                <a:cubicBezTo>
                  <a:pt x="24" y="18"/>
                  <a:pt x="26" y="16"/>
                  <a:pt x="27" y="13"/>
                </a:cubicBezTo>
                <a:cubicBezTo>
                  <a:pt x="27" y="11"/>
                  <a:pt x="28" y="10"/>
                  <a:pt x="27" y="8"/>
                </a:cubicBezTo>
                <a:cubicBezTo>
                  <a:pt x="26" y="7"/>
                  <a:pt x="25" y="6"/>
                  <a:pt x="24" y="5"/>
                </a:cubicBezTo>
                <a:cubicBezTo>
                  <a:pt x="23" y="5"/>
                  <a:pt x="21" y="6"/>
                  <a:pt x="20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28" name="Freeform 624">
            <a:extLst>
              <a:ext uri="{FF2B5EF4-FFF2-40B4-BE49-F238E27FC236}">
                <a16:creationId xmlns:a16="http://schemas.microsoft.com/office/drawing/2014/main" id="{5DB10F33-46F0-5F41-B494-F1BD476E04A4}"/>
              </a:ext>
            </a:extLst>
          </p:cNvPr>
          <p:cNvSpPr>
            <a:spLocks/>
          </p:cNvSpPr>
          <p:nvPr/>
        </p:nvSpPr>
        <p:spPr bwMode="auto">
          <a:xfrm>
            <a:off x="3756414" y="4892463"/>
            <a:ext cx="331791" cy="492521"/>
          </a:xfrm>
          <a:custGeom>
            <a:avLst/>
            <a:gdLst>
              <a:gd name="T0" fmla="*/ 57 w 64"/>
              <a:gd name="T1" fmla="*/ 21 h 95"/>
              <a:gd name="T2" fmla="*/ 56 w 64"/>
              <a:gd name="T3" fmla="*/ 14 h 95"/>
              <a:gd name="T4" fmla="*/ 50 w 64"/>
              <a:gd name="T5" fmla="*/ 13 h 95"/>
              <a:gd name="T6" fmla="*/ 46 w 64"/>
              <a:gd name="T7" fmla="*/ 14 h 95"/>
              <a:gd name="T8" fmla="*/ 41 w 64"/>
              <a:gd name="T9" fmla="*/ 11 h 95"/>
              <a:gd name="T10" fmla="*/ 38 w 64"/>
              <a:gd name="T11" fmla="*/ 6 h 95"/>
              <a:gd name="T12" fmla="*/ 33 w 64"/>
              <a:gd name="T13" fmla="*/ 2 h 95"/>
              <a:gd name="T14" fmla="*/ 28 w 64"/>
              <a:gd name="T15" fmla="*/ 0 h 95"/>
              <a:gd name="T16" fmla="*/ 31 w 64"/>
              <a:gd name="T17" fmla="*/ 5 h 95"/>
              <a:gd name="T18" fmla="*/ 28 w 64"/>
              <a:gd name="T19" fmla="*/ 10 h 95"/>
              <a:gd name="T20" fmla="*/ 23 w 64"/>
              <a:gd name="T21" fmla="*/ 14 h 95"/>
              <a:gd name="T22" fmla="*/ 17 w 64"/>
              <a:gd name="T23" fmla="*/ 17 h 95"/>
              <a:gd name="T24" fmla="*/ 11 w 64"/>
              <a:gd name="T25" fmla="*/ 26 h 95"/>
              <a:gd name="T26" fmla="*/ 6 w 64"/>
              <a:gd name="T27" fmla="*/ 22 h 95"/>
              <a:gd name="T28" fmla="*/ 6 w 64"/>
              <a:gd name="T29" fmla="*/ 21 h 95"/>
              <a:gd name="T30" fmla="*/ 6 w 64"/>
              <a:gd name="T31" fmla="*/ 18 h 95"/>
              <a:gd name="T32" fmla="*/ 2 w 64"/>
              <a:gd name="T33" fmla="*/ 26 h 95"/>
              <a:gd name="T34" fmla="*/ 3 w 64"/>
              <a:gd name="T35" fmla="*/ 30 h 95"/>
              <a:gd name="T36" fmla="*/ 3 w 64"/>
              <a:gd name="T37" fmla="*/ 32 h 95"/>
              <a:gd name="T38" fmla="*/ 14 w 64"/>
              <a:gd name="T39" fmla="*/ 47 h 95"/>
              <a:gd name="T40" fmla="*/ 23 w 64"/>
              <a:gd name="T41" fmla="*/ 63 h 95"/>
              <a:gd name="T42" fmla="*/ 26 w 64"/>
              <a:gd name="T43" fmla="*/ 70 h 95"/>
              <a:gd name="T44" fmla="*/ 25 w 64"/>
              <a:gd name="T45" fmla="*/ 71 h 95"/>
              <a:gd name="T46" fmla="*/ 28 w 64"/>
              <a:gd name="T47" fmla="*/ 74 h 95"/>
              <a:gd name="T48" fmla="*/ 32 w 64"/>
              <a:gd name="T49" fmla="*/ 79 h 95"/>
              <a:gd name="T50" fmla="*/ 41 w 64"/>
              <a:gd name="T51" fmla="*/ 83 h 95"/>
              <a:gd name="T52" fmla="*/ 48 w 64"/>
              <a:gd name="T53" fmla="*/ 87 h 95"/>
              <a:gd name="T54" fmla="*/ 54 w 64"/>
              <a:gd name="T55" fmla="*/ 93 h 95"/>
              <a:gd name="T56" fmla="*/ 59 w 64"/>
              <a:gd name="T57" fmla="*/ 90 h 95"/>
              <a:gd name="T58" fmla="*/ 61 w 64"/>
              <a:gd name="T59" fmla="*/ 86 h 95"/>
              <a:gd name="T60" fmla="*/ 63 w 64"/>
              <a:gd name="T61" fmla="*/ 82 h 95"/>
              <a:gd name="T62" fmla="*/ 61 w 64"/>
              <a:gd name="T63" fmla="*/ 78 h 95"/>
              <a:gd name="T64" fmla="*/ 61 w 64"/>
              <a:gd name="T65" fmla="*/ 76 h 95"/>
              <a:gd name="T66" fmla="*/ 63 w 64"/>
              <a:gd name="T67" fmla="*/ 74 h 95"/>
              <a:gd name="T68" fmla="*/ 64 w 64"/>
              <a:gd name="T69" fmla="*/ 64 h 95"/>
              <a:gd name="T70" fmla="*/ 62 w 64"/>
              <a:gd name="T71" fmla="*/ 59 h 95"/>
              <a:gd name="T72" fmla="*/ 57 w 64"/>
              <a:gd name="T73" fmla="*/ 57 h 95"/>
              <a:gd name="T74" fmla="*/ 55 w 64"/>
              <a:gd name="T75" fmla="*/ 48 h 95"/>
              <a:gd name="T76" fmla="*/ 50 w 64"/>
              <a:gd name="T77" fmla="*/ 51 h 95"/>
              <a:gd name="T78" fmla="*/ 46 w 64"/>
              <a:gd name="T79" fmla="*/ 51 h 95"/>
              <a:gd name="T80" fmla="*/ 44 w 64"/>
              <a:gd name="T81" fmla="*/ 48 h 95"/>
              <a:gd name="T82" fmla="*/ 40 w 64"/>
              <a:gd name="T83" fmla="*/ 42 h 95"/>
              <a:gd name="T84" fmla="*/ 39 w 64"/>
              <a:gd name="T85" fmla="*/ 35 h 95"/>
              <a:gd name="T86" fmla="*/ 42 w 64"/>
              <a:gd name="T87" fmla="*/ 33 h 95"/>
              <a:gd name="T88" fmla="*/ 42 w 64"/>
              <a:gd name="T89" fmla="*/ 30 h 95"/>
              <a:gd name="T90" fmla="*/ 45 w 64"/>
              <a:gd name="T91" fmla="*/ 25 h 95"/>
              <a:gd name="T92" fmla="*/ 50 w 64"/>
              <a:gd name="T93" fmla="*/ 24 h 95"/>
              <a:gd name="T94" fmla="*/ 53 w 64"/>
              <a:gd name="T95" fmla="*/ 22 h 95"/>
              <a:gd name="T96" fmla="*/ 57 w 64"/>
              <a:gd name="T97" fmla="*/ 21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" h="95">
                <a:moveTo>
                  <a:pt x="57" y="21"/>
                </a:moveTo>
                <a:cubicBezTo>
                  <a:pt x="53" y="19"/>
                  <a:pt x="59" y="15"/>
                  <a:pt x="56" y="14"/>
                </a:cubicBezTo>
                <a:cubicBezTo>
                  <a:pt x="54" y="12"/>
                  <a:pt x="52" y="13"/>
                  <a:pt x="50" y="13"/>
                </a:cubicBezTo>
                <a:cubicBezTo>
                  <a:pt x="48" y="12"/>
                  <a:pt x="48" y="14"/>
                  <a:pt x="46" y="14"/>
                </a:cubicBezTo>
                <a:cubicBezTo>
                  <a:pt x="44" y="13"/>
                  <a:pt x="42" y="13"/>
                  <a:pt x="41" y="11"/>
                </a:cubicBezTo>
                <a:cubicBezTo>
                  <a:pt x="40" y="10"/>
                  <a:pt x="39" y="7"/>
                  <a:pt x="38" y="6"/>
                </a:cubicBezTo>
                <a:cubicBezTo>
                  <a:pt x="36" y="5"/>
                  <a:pt x="35" y="3"/>
                  <a:pt x="33" y="2"/>
                </a:cubicBezTo>
                <a:cubicBezTo>
                  <a:pt x="32" y="0"/>
                  <a:pt x="30" y="1"/>
                  <a:pt x="28" y="0"/>
                </a:cubicBezTo>
                <a:cubicBezTo>
                  <a:pt x="30" y="2"/>
                  <a:pt x="31" y="3"/>
                  <a:pt x="31" y="5"/>
                </a:cubicBezTo>
                <a:cubicBezTo>
                  <a:pt x="30" y="7"/>
                  <a:pt x="30" y="9"/>
                  <a:pt x="28" y="10"/>
                </a:cubicBezTo>
                <a:cubicBezTo>
                  <a:pt x="26" y="12"/>
                  <a:pt x="25" y="14"/>
                  <a:pt x="23" y="14"/>
                </a:cubicBezTo>
                <a:cubicBezTo>
                  <a:pt x="21" y="15"/>
                  <a:pt x="19" y="15"/>
                  <a:pt x="17" y="17"/>
                </a:cubicBezTo>
                <a:cubicBezTo>
                  <a:pt x="16" y="18"/>
                  <a:pt x="12" y="27"/>
                  <a:pt x="11" y="26"/>
                </a:cubicBezTo>
                <a:cubicBezTo>
                  <a:pt x="9" y="23"/>
                  <a:pt x="8" y="23"/>
                  <a:pt x="6" y="22"/>
                </a:cubicBezTo>
                <a:cubicBezTo>
                  <a:pt x="5" y="22"/>
                  <a:pt x="5" y="22"/>
                  <a:pt x="6" y="21"/>
                </a:cubicBezTo>
                <a:cubicBezTo>
                  <a:pt x="7" y="20"/>
                  <a:pt x="7" y="19"/>
                  <a:pt x="6" y="18"/>
                </a:cubicBezTo>
                <a:cubicBezTo>
                  <a:pt x="4" y="19"/>
                  <a:pt x="0" y="23"/>
                  <a:pt x="2" y="26"/>
                </a:cubicBezTo>
                <a:cubicBezTo>
                  <a:pt x="2" y="26"/>
                  <a:pt x="4" y="29"/>
                  <a:pt x="3" y="30"/>
                </a:cubicBezTo>
                <a:cubicBezTo>
                  <a:pt x="2" y="30"/>
                  <a:pt x="1" y="31"/>
                  <a:pt x="3" y="32"/>
                </a:cubicBezTo>
                <a:cubicBezTo>
                  <a:pt x="8" y="35"/>
                  <a:pt x="12" y="41"/>
                  <a:pt x="14" y="47"/>
                </a:cubicBezTo>
                <a:cubicBezTo>
                  <a:pt x="17" y="52"/>
                  <a:pt x="19" y="58"/>
                  <a:pt x="23" y="63"/>
                </a:cubicBezTo>
                <a:cubicBezTo>
                  <a:pt x="24" y="65"/>
                  <a:pt x="26" y="67"/>
                  <a:pt x="26" y="70"/>
                </a:cubicBezTo>
                <a:cubicBezTo>
                  <a:pt x="26" y="71"/>
                  <a:pt x="25" y="70"/>
                  <a:pt x="25" y="71"/>
                </a:cubicBezTo>
                <a:cubicBezTo>
                  <a:pt x="26" y="72"/>
                  <a:pt x="27" y="73"/>
                  <a:pt x="28" y="74"/>
                </a:cubicBezTo>
                <a:cubicBezTo>
                  <a:pt x="29" y="76"/>
                  <a:pt x="30" y="78"/>
                  <a:pt x="32" y="79"/>
                </a:cubicBezTo>
                <a:cubicBezTo>
                  <a:pt x="35" y="80"/>
                  <a:pt x="38" y="82"/>
                  <a:pt x="41" y="83"/>
                </a:cubicBezTo>
                <a:cubicBezTo>
                  <a:pt x="43" y="84"/>
                  <a:pt x="45" y="86"/>
                  <a:pt x="48" y="87"/>
                </a:cubicBezTo>
                <a:cubicBezTo>
                  <a:pt x="50" y="89"/>
                  <a:pt x="52" y="91"/>
                  <a:pt x="54" y="93"/>
                </a:cubicBezTo>
                <a:cubicBezTo>
                  <a:pt x="58" y="95"/>
                  <a:pt x="57" y="91"/>
                  <a:pt x="59" y="90"/>
                </a:cubicBezTo>
                <a:cubicBezTo>
                  <a:pt x="60" y="89"/>
                  <a:pt x="60" y="87"/>
                  <a:pt x="61" y="86"/>
                </a:cubicBezTo>
                <a:cubicBezTo>
                  <a:pt x="61" y="85"/>
                  <a:pt x="64" y="83"/>
                  <a:pt x="63" y="82"/>
                </a:cubicBezTo>
                <a:cubicBezTo>
                  <a:pt x="61" y="81"/>
                  <a:pt x="60" y="81"/>
                  <a:pt x="61" y="78"/>
                </a:cubicBezTo>
                <a:cubicBezTo>
                  <a:pt x="61" y="77"/>
                  <a:pt x="61" y="76"/>
                  <a:pt x="61" y="76"/>
                </a:cubicBezTo>
                <a:cubicBezTo>
                  <a:pt x="62" y="75"/>
                  <a:pt x="63" y="74"/>
                  <a:pt x="63" y="74"/>
                </a:cubicBezTo>
                <a:cubicBezTo>
                  <a:pt x="64" y="71"/>
                  <a:pt x="62" y="66"/>
                  <a:pt x="64" y="64"/>
                </a:cubicBezTo>
                <a:cubicBezTo>
                  <a:pt x="64" y="63"/>
                  <a:pt x="63" y="61"/>
                  <a:pt x="62" y="59"/>
                </a:cubicBezTo>
                <a:cubicBezTo>
                  <a:pt x="61" y="56"/>
                  <a:pt x="60" y="56"/>
                  <a:pt x="57" y="57"/>
                </a:cubicBezTo>
                <a:cubicBezTo>
                  <a:pt x="53" y="57"/>
                  <a:pt x="55" y="50"/>
                  <a:pt x="55" y="48"/>
                </a:cubicBezTo>
                <a:cubicBezTo>
                  <a:pt x="53" y="49"/>
                  <a:pt x="52" y="51"/>
                  <a:pt x="50" y="51"/>
                </a:cubicBezTo>
                <a:cubicBezTo>
                  <a:pt x="49" y="51"/>
                  <a:pt x="47" y="51"/>
                  <a:pt x="46" y="51"/>
                </a:cubicBezTo>
                <a:cubicBezTo>
                  <a:pt x="45" y="50"/>
                  <a:pt x="45" y="48"/>
                  <a:pt x="44" y="48"/>
                </a:cubicBezTo>
                <a:cubicBezTo>
                  <a:pt x="41" y="48"/>
                  <a:pt x="41" y="44"/>
                  <a:pt x="40" y="42"/>
                </a:cubicBezTo>
                <a:cubicBezTo>
                  <a:pt x="38" y="40"/>
                  <a:pt x="37" y="37"/>
                  <a:pt x="39" y="35"/>
                </a:cubicBezTo>
                <a:cubicBezTo>
                  <a:pt x="40" y="34"/>
                  <a:pt x="42" y="34"/>
                  <a:pt x="42" y="33"/>
                </a:cubicBezTo>
                <a:cubicBezTo>
                  <a:pt x="42" y="32"/>
                  <a:pt x="42" y="31"/>
                  <a:pt x="42" y="30"/>
                </a:cubicBezTo>
                <a:cubicBezTo>
                  <a:pt x="42" y="27"/>
                  <a:pt x="42" y="26"/>
                  <a:pt x="45" y="25"/>
                </a:cubicBezTo>
                <a:cubicBezTo>
                  <a:pt x="47" y="24"/>
                  <a:pt x="48" y="24"/>
                  <a:pt x="50" y="24"/>
                </a:cubicBezTo>
                <a:cubicBezTo>
                  <a:pt x="51" y="24"/>
                  <a:pt x="52" y="23"/>
                  <a:pt x="53" y="22"/>
                </a:cubicBezTo>
                <a:cubicBezTo>
                  <a:pt x="54" y="22"/>
                  <a:pt x="59" y="23"/>
                  <a:pt x="57" y="2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29" name="Freeform 625">
            <a:extLst>
              <a:ext uri="{FF2B5EF4-FFF2-40B4-BE49-F238E27FC236}">
                <a16:creationId xmlns:a16="http://schemas.microsoft.com/office/drawing/2014/main" id="{3DB24A6E-8645-5E4E-8BDF-8B60AB20B96A}"/>
              </a:ext>
            </a:extLst>
          </p:cNvPr>
          <p:cNvSpPr>
            <a:spLocks/>
          </p:cNvSpPr>
          <p:nvPr/>
        </p:nvSpPr>
        <p:spPr bwMode="auto">
          <a:xfrm>
            <a:off x="3902897" y="5353208"/>
            <a:ext cx="225900" cy="1099786"/>
          </a:xfrm>
          <a:custGeom>
            <a:avLst/>
            <a:gdLst>
              <a:gd name="T0" fmla="*/ 38 w 44"/>
              <a:gd name="T1" fmla="*/ 20 h 212"/>
              <a:gd name="T2" fmla="*/ 36 w 44"/>
              <a:gd name="T3" fmla="*/ 12 h 212"/>
              <a:gd name="T4" fmla="*/ 34 w 44"/>
              <a:gd name="T5" fmla="*/ 5 h 212"/>
              <a:gd name="T6" fmla="*/ 30 w 44"/>
              <a:gd name="T7" fmla="*/ 3 h 212"/>
              <a:gd name="T8" fmla="*/ 28 w 44"/>
              <a:gd name="T9" fmla="*/ 15 h 212"/>
              <a:gd name="T10" fmla="*/ 26 w 44"/>
              <a:gd name="T11" fmla="*/ 31 h 212"/>
              <a:gd name="T12" fmla="*/ 23 w 44"/>
              <a:gd name="T13" fmla="*/ 56 h 212"/>
              <a:gd name="T14" fmla="*/ 21 w 44"/>
              <a:gd name="T15" fmla="*/ 68 h 212"/>
              <a:gd name="T16" fmla="*/ 21 w 44"/>
              <a:gd name="T17" fmla="*/ 80 h 212"/>
              <a:gd name="T18" fmla="*/ 20 w 44"/>
              <a:gd name="T19" fmla="*/ 88 h 212"/>
              <a:gd name="T20" fmla="*/ 11 w 44"/>
              <a:gd name="T21" fmla="*/ 110 h 212"/>
              <a:gd name="T22" fmla="*/ 10 w 44"/>
              <a:gd name="T23" fmla="*/ 132 h 212"/>
              <a:gd name="T24" fmla="*/ 17 w 44"/>
              <a:gd name="T25" fmla="*/ 133 h 212"/>
              <a:gd name="T26" fmla="*/ 16 w 44"/>
              <a:gd name="T27" fmla="*/ 136 h 212"/>
              <a:gd name="T28" fmla="*/ 14 w 44"/>
              <a:gd name="T29" fmla="*/ 145 h 212"/>
              <a:gd name="T30" fmla="*/ 15 w 44"/>
              <a:gd name="T31" fmla="*/ 150 h 212"/>
              <a:gd name="T32" fmla="*/ 13 w 44"/>
              <a:gd name="T33" fmla="*/ 152 h 212"/>
              <a:gd name="T34" fmla="*/ 11 w 44"/>
              <a:gd name="T35" fmla="*/ 158 h 212"/>
              <a:gd name="T36" fmla="*/ 8 w 44"/>
              <a:gd name="T37" fmla="*/ 159 h 212"/>
              <a:gd name="T38" fmla="*/ 4 w 44"/>
              <a:gd name="T39" fmla="*/ 159 h 212"/>
              <a:gd name="T40" fmla="*/ 0 w 44"/>
              <a:gd name="T41" fmla="*/ 164 h 212"/>
              <a:gd name="T42" fmla="*/ 2 w 44"/>
              <a:gd name="T43" fmla="*/ 163 h 212"/>
              <a:gd name="T44" fmla="*/ 7 w 44"/>
              <a:gd name="T45" fmla="*/ 171 h 212"/>
              <a:gd name="T46" fmla="*/ 11 w 44"/>
              <a:gd name="T47" fmla="*/ 173 h 212"/>
              <a:gd name="T48" fmla="*/ 7 w 44"/>
              <a:gd name="T49" fmla="*/ 174 h 212"/>
              <a:gd name="T50" fmla="*/ 7 w 44"/>
              <a:gd name="T51" fmla="*/ 179 h 212"/>
              <a:gd name="T52" fmla="*/ 9 w 44"/>
              <a:gd name="T53" fmla="*/ 182 h 212"/>
              <a:gd name="T54" fmla="*/ 9 w 44"/>
              <a:gd name="T55" fmla="*/ 185 h 212"/>
              <a:gd name="T56" fmla="*/ 7 w 44"/>
              <a:gd name="T57" fmla="*/ 187 h 212"/>
              <a:gd name="T58" fmla="*/ 10 w 44"/>
              <a:gd name="T59" fmla="*/ 190 h 212"/>
              <a:gd name="T60" fmla="*/ 8 w 44"/>
              <a:gd name="T61" fmla="*/ 193 h 212"/>
              <a:gd name="T62" fmla="*/ 11 w 44"/>
              <a:gd name="T63" fmla="*/ 194 h 212"/>
              <a:gd name="T64" fmla="*/ 11 w 44"/>
              <a:gd name="T65" fmla="*/ 198 h 212"/>
              <a:gd name="T66" fmla="*/ 15 w 44"/>
              <a:gd name="T67" fmla="*/ 197 h 212"/>
              <a:gd name="T68" fmla="*/ 15 w 44"/>
              <a:gd name="T69" fmla="*/ 197 h 212"/>
              <a:gd name="T70" fmla="*/ 16 w 44"/>
              <a:gd name="T71" fmla="*/ 198 h 212"/>
              <a:gd name="T72" fmla="*/ 18 w 44"/>
              <a:gd name="T73" fmla="*/ 202 h 212"/>
              <a:gd name="T74" fmla="*/ 16 w 44"/>
              <a:gd name="T75" fmla="*/ 207 h 212"/>
              <a:gd name="T76" fmla="*/ 18 w 44"/>
              <a:gd name="T77" fmla="*/ 209 h 212"/>
              <a:gd name="T78" fmla="*/ 25 w 44"/>
              <a:gd name="T79" fmla="*/ 204 h 212"/>
              <a:gd name="T80" fmla="*/ 26 w 44"/>
              <a:gd name="T81" fmla="*/ 199 h 212"/>
              <a:gd name="T82" fmla="*/ 17 w 44"/>
              <a:gd name="T83" fmla="*/ 192 h 212"/>
              <a:gd name="T84" fmla="*/ 12 w 44"/>
              <a:gd name="T85" fmla="*/ 185 h 212"/>
              <a:gd name="T86" fmla="*/ 15 w 44"/>
              <a:gd name="T87" fmla="*/ 177 h 212"/>
              <a:gd name="T88" fmla="*/ 17 w 44"/>
              <a:gd name="T89" fmla="*/ 169 h 212"/>
              <a:gd name="T90" fmla="*/ 21 w 44"/>
              <a:gd name="T91" fmla="*/ 158 h 212"/>
              <a:gd name="T92" fmla="*/ 21 w 44"/>
              <a:gd name="T93" fmla="*/ 152 h 212"/>
              <a:gd name="T94" fmla="*/ 19 w 44"/>
              <a:gd name="T95" fmla="*/ 140 h 212"/>
              <a:gd name="T96" fmla="*/ 23 w 44"/>
              <a:gd name="T97" fmla="*/ 117 h 212"/>
              <a:gd name="T98" fmla="*/ 26 w 44"/>
              <a:gd name="T99" fmla="*/ 102 h 212"/>
              <a:gd name="T100" fmla="*/ 29 w 44"/>
              <a:gd name="T101" fmla="*/ 85 h 212"/>
              <a:gd name="T102" fmla="*/ 27 w 44"/>
              <a:gd name="T103" fmla="*/ 73 h 212"/>
              <a:gd name="T104" fmla="*/ 30 w 44"/>
              <a:gd name="T105" fmla="*/ 62 h 212"/>
              <a:gd name="T106" fmla="*/ 34 w 44"/>
              <a:gd name="T107" fmla="*/ 54 h 212"/>
              <a:gd name="T108" fmla="*/ 36 w 44"/>
              <a:gd name="T109" fmla="*/ 44 h 212"/>
              <a:gd name="T110" fmla="*/ 40 w 44"/>
              <a:gd name="T111" fmla="*/ 35 h 212"/>
              <a:gd name="T112" fmla="*/ 40 w 44"/>
              <a:gd name="T113" fmla="*/ 28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4" h="212">
                <a:moveTo>
                  <a:pt x="40" y="28"/>
                </a:moveTo>
                <a:cubicBezTo>
                  <a:pt x="38" y="27"/>
                  <a:pt x="40" y="22"/>
                  <a:pt x="38" y="20"/>
                </a:cubicBezTo>
                <a:cubicBezTo>
                  <a:pt x="37" y="19"/>
                  <a:pt x="35" y="16"/>
                  <a:pt x="36" y="14"/>
                </a:cubicBezTo>
                <a:cubicBezTo>
                  <a:pt x="38" y="13"/>
                  <a:pt x="35" y="13"/>
                  <a:pt x="36" y="12"/>
                </a:cubicBezTo>
                <a:cubicBezTo>
                  <a:pt x="37" y="11"/>
                  <a:pt x="36" y="10"/>
                  <a:pt x="35" y="9"/>
                </a:cubicBezTo>
                <a:cubicBezTo>
                  <a:pt x="34" y="8"/>
                  <a:pt x="34" y="7"/>
                  <a:pt x="34" y="5"/>
                </a:cubicBezTo>
                <a:cubicBezTo>
                  <a:pt x="34" y="3"/>
                  <a:pt x="33" y="2"/>
                  <a:pt x="32" y="0"/>
                </a:cubicBezTo>
                <a:cubicBezTo>
                  <a:pt x="31" y="1"/>
                  <a:pt x="30" y="2"/>
                  <a:pt x="30" y="3"/>
                </a:cubicBezTo>
                <a:cubicBezTo>
                  <a:pt x="29" y="5"/>
                  <a:pt x="27" y="4"/>
                  <a:pt x="28" y="6"/>
                </a:cubicBezTo>
                <a:cubicBezTo>
                  <a:pt x="28" y="9"/>
                  <a:pt x="28" y="12"/>
                  <a:pt x="28" y="15"/>
                </a:cubicBezTo>
                <a:cubicBezTo>
                  <a:pt x="28" y="19"/>
                  <a:pt x="29" y="24"/>
                  <a:pt x="28" y="28"/>
                </a:cubicBezTo>
                <a:cubicBezTo>
                  <a:pt x="27" y="29"/>
                  <a:pt x="26" y="30"/>
                  <a:pt x="26" y="31"/>
                </a:cubicBezTo>
                <a:cubicBezTo>
                  <a:pt x="26" y="33"/>
                  <a:pt x="27" y="35"/>
                  <a:pt x="27" y="37"/>
                </a:cubicBezTo>
                <a:cubicBezTo>
                  <a:pt x="27" y="43"/>
                  <a:pt x="25" y="50"/>
                  <a:pt x="23" y="56"/>
                </a:cubicBezTo>
                <a:cubicBezTo>
                  <a:pt x="22" y="59"/>
                  <a:pt x="22" y="61"/>
                  <a:pt x="23" y="64"/>
                </a:cubicBezTo>
                <a:cubicBezTo>
                  <a:pt x="23" y="66"/>
                  <a:pt x="23" y="67"/>
                  <a:pt x="21" y="68"/>
                </a:cubicBezTo>
                <a:cubicBezTo>
                  <a:pt x="20" y="69"/>
                  <a:pt x="21" y="70"/>
                  <a:pt x="21" y="71"/>
                </a:cubicBezTo>
                <a:cubicBezTo>
                  <a:pt x="21" y="74"/>
                  <a:pt x="21" y="77"/>
                  <a:pt x="21" y="80"/>
                </a:cubicBezTo>
                <a:cubicBezTo>
                  <a:pt x="21" y="81"/>
                  <a:pt x="21" y="83"/>
                  <a:pt x="21" y="84"/>
                </a:cubicBezTo>
                <a:cubicBezTo>
                  <a:pt x="20" y="85"/>
                  <a:pt x="21" y="87"/>
                  <a:pt x="20" y="88"/>
                </a:cubicBezTo>
                <a:cubicBezTo>
                  <a:pt x="18" y="93"/>
                  <a:pt x="16" y="98"/>
                  <a:pt x="14" y="103"/>
                </a:cubicBezTo>
                <a:cubicBezTo>
                  <a:pt x="13" y="106"/>
                  <a:pt x="10" y="107"/>
                  <a:pt x="11" y="110"/>
                </a:cubicBezTo>
                <a:cubicBezTo>
                  <a:pt x="12" y="113"/>
                  <a:pt x="14" y="118"/>
                  <a:pt x="12" y="122"/>
                </a:cubicBezTo>
                <a:cubicBezTo>
                  <a:pt x="10" y="124"/>
                  <a:pt x="8" y="129"/>
                  <a:pt x="10" y="132"/>
                </a:cubicBezTo>
                <a:cubicBezTo>
                  <a:pt x="11" y="134"/>
                  <a:pt x="12" y="134"/>
                  <a:pt x="13" y="133"/>
                </a:cubicBezTo>
                <a:cubicBezTo>
                  <a:pt x="14" y="132"/>
                  <a:pt x="18" y="132"/>
                  <a:pt x="17" y="133"/>
                </a:cubicBezTo>
                <a:cubicBezTo>
                  <a:pt x="17" y="133"/>
                  <a:pt x="16" y="133"/>
                  <a:pt x="15" y="134"/>
                </a:cubicBezTo>
                <a:cubicBezTo>
                  <a:pt x="15" y="135"/>
                  <a:pt x="15" y="135"/>
                  <a:pt x="16" y="136"/>
                </a:cubicBezTo>
                <a:cubicBezTo>
                  <a:pt x="16" y="136"/>
                  <a:pt x="15" y="137"/>
                  <a:pt x="15" y="137"/>
                </a:cubicBezTo>
                <a:cubicBezTo>
                  <a:pt x="14" y="139"/>
                  <a:pt x="13" y="143"/>
                  <a:pt x="14" y="145"/>
                </a:cubicBezTo>
                <a:cubicBezTo>
                  <a:pt x="14" y="146"/>
                  <a:pt x="14" y="146"/>
                  <a:pt x="13" y="148"/>
                </a:cubicBezTo>
                <a:cubicBezTo>
                  <a:pt x="12" y="149"/>
                  <a:pt x="14" y="149"/>
                  <a:pt x="15" y="150"/>
                </a:cubicBezTo>
                <a:cubicBezTo>
                  <a:pt x="15" y="150"/>
                  <a:pt x="15" y="150"/>
                  <a:pt x="14" y="151"/>
                </a:cubicBezTo>
                <a:cubicBezTo>
                  <a:pt x="13" y="151"/>
                  <a:pt x="11" y="152"/>
                  <a:pt x="13" y="152"/>
                </a:cubicBezTo>
                <a:cubicBezTo>
                  <a:pt x="12" y="153"/>
                  <a:pt x="13" y="156"/>
                  <a:pt x="14" y="156"/>
                </a:cubicBezTo>
                <a:cubicBezTo>
                  <a:pt x="13" y="156"/>
                  <a:pt x="10" y="155"/>
                  <a:pt x="11" y="158"/>
                </a:cubicBezTo>
                <a:cubicBezTo>
                  <a:pt x="11" y="158"/>
                  <a:pt x="12" y="163"/>
                  <a:pt x="10" y="162"/>
                </a:cubicBezTo>
                <a:cubicBezTo>
                  <a:pt x="10" y="162"/>
                  <a:pt x="8" y="160"/>
                  <a:pt x="8" y="159"/>
                </a:cubicBezTo>
                <a:cubicBezTo>
                  <a:pt x="6" y="158"/>
                  <a:pt x="7" y="157"/>
                  <a:pt x="5" y="158"/>
                </a:cubicBezTo>
                <a:cubicBezTo>
                  <a:pt x="5" y="158"/>
                  <a:pt x="4" y="159"/>
                  <a:pt x="4" y="159"/>
                </a:cubicBezTo>
                <a:cubicBezTo>
                  <a:pt x="4" y="160"/>
                  <a:pt x="5" y="160"/>
                  <a:pt x="4" y="161"/>
                </a:cubicBezTo>
                <a:cubicBezTo>
                  <a:pt x="4" y="162"/>
                  <a:pt x="0" y="162"/>
                  <a:pt x="0" y="164"/>
                </a:cubicBezTo>
                <a:cubicBezTo>
                  <a:pt x="0" y="164"/>
                  <a:pt x="1" y="165"/>
                  <a:pt x="2" y="165"/>
                </a:cubicBezTo>
                <a:cubicBezTo>
                  <a:pt x="2" y="165"/>
                  <a:pt x="1" y="164"/>
                  <a:pt x="2" y="163"/>
                </a:cubicBezTo>
                <a:cubicBezTo>
                  <a:pt x="2" y="163"/>
                  <a:pt x="5" y="165"/>
                  <a:pt x="7" y="164"/>
                </a:cubicBezTo>
                <a:cubicBezTo>
                  <a:pt x="11" y="163"/>
                  <a:pt x="5" y="170"/>
                  <a:pt x="7" y="171"/>
                </a:cubicBezTo>
                <a:cubicBezTo>
                  <a:pt x="8" y="171"/>
                  <a:pt x="10" y="170"/>
                  <a:pt x="11" y="171"/>
                </a:cubicBezTo>
                <a:cubicBezTo>
                  <a:pt x="12" y="171"/>
                  <a:pt x="12" y="174"/>
                  <a:pt x="11" y="173"/>
                </a:cubicBezTo>
                <a:cubicBezTo>
                  <a:pt x="11" y="173"/>
                  <a:pt x="8" y="171"/>
                  <a:pt x="8" y="172"/>
                </a:cubicBezTo>
                <a:cubicBezTo>
                  <a:pt x="7" y="173"/>
                  <a:pt x="6" y="173"/>
                  <a:pt x="7" y="174"/>
                </a:cubicBezTo>
                <a:cubicBezTo>
                  <a:pt x="7" y="174"/>
                  <a:pt x="9" y="176"/>
                  <a:pt x="8" y="176"/>
                </a:cubicBezTo>
                <a:cubicBezTo>
                  <a:pt x="7" y="176"/>
                  <a:pt x="7" y="179"/>
                  <a:pt x="7" y="179"/>
                </a:cubicBezTo>
                <a:cubicBezTo>
                  <a:pt x="6" y="182"/>
                  <a:pt x="9" y="178"/>
                  <a:pt x="9" y="178"/>
                </a:cubicBezTo>
                <a:cubicBezTo>
                  <a:pt x="9" y="178"/>
                  <a:pt x="8" y="183"/>
                  <a:pt x="9" y="182"/>
                </a:cubicBezTo>
                <a:cubicBezTo>
                  <a:pt x="9" y="182"/>
                  <a:pt x="8" y="182"/>
                  <a:pt x="8" y="183"/>
                </a:cubicBezTo>
                <a:cubicBezTo>
                  <a:pt x="7" y="184"/>
                  <a:pt x="8" y="184"/>
                  <a:pt x="9" y="185"/>
                </a:cubicBezTo>
                <a:cubicBezTo>
                  <a:pt x="9" y="185"/>
                  <a:pt x="7" y="186"/>
                  <a:pt x="7" y="186"/>
                </a:cubicBezTo>
                <a:cubicBezTo>
                  <a:pt x="6" y="186"/>
                  <a:pt x="7" y="186"/>
                  <a:pt x="7" y="187"/>
                </a:cubicBezTo>
                <a:cubicBezTo>
                  <a:pt x="6" y="189"/>
                  <a:pt x="10" y="189"/>
                  <a:pt x="10" y="188"/>
                </a:cubicBezTo>
                <a:cubicBezTo>
                  <a:pt x="10" y="189"/>
                  <a:pt x="9" y="189"/>
                  <a:pt x="10" y="190"/>
                </a:cubicBezTo>
                <a:cubicBezTo>
                  <a:pt x="10" y="190"/>
                  <a:pt x="10" y="190"/>
                  <a:pt x="10" y="190"/>
                </a:cubicBezTo>
                <a:cubicBezTo>
                  <a:pt x="10" y="191"/>
                  <a:pt x="8" y="192"/>
                  <a:pt x="8" y="193"/>
                </a:cubicBezTo>
                <a:cubicBezTo>
                  <a:pt x="7" y="195"/>
                  <a:pt x="10" y="192"/>
                  <a:pt x="11" y="192"/>
                </a:cubicBezTo>
                <a:cubicBezTo>
                  <a:pt x="10" y="193"/>
                  <a:pt x="11" y="194"/>
                  <a:pt x="11" y="194"/>
                </a:cubicBezTo>
                <a:cubicBezTo>
                  <a:pt x="11" y="195"/>
                  <a:pt x="8" y="196"/>
                  <a:pt x="8" y="196"/>
                </a:cubicBezTo>
                <a:cubicBezTo>
                  <a:pt x="10" y="197"/>
                  <a:pt x="10" y="196"/>
                  <a:pt x="11" y="198"/>
                </a:cubicBezTo>
                <a:cubicBezTo>
                  <a:pt x="12" y="200"/>
                  <a:pt x="14" y="195"/>
                  <a:pt x="13" y="195"/>
                </a:cubicBezTo>
                <a:cubicBezTo>
                  <a:pt x="14" y="195"/>
                  <a:pt x="14" y="196"/>
                  <a:pt x="15" y="197"/>
                </a:cubicBezTo>
                <a:cubicBezTo>
                  <a:pt x="15" y="197"/>
                  <a:pt x="15" y="195"/>
                  <a:pt x="15" y="195"/>
                </a:cubicBezTo>
                <a:cubicBezTo>
                  <a:pt x="15" y="195"/>
                  <a:pt x="15" y="197"/>
                  <a:pt x="15" y="197"/>
                </a:cubicBezTo>
                <a:cubicBezTo>
                  <a:pt x="16" y="196"/>
                  <a:pt x="16" y="195"/>
                  <a:pt x="16" y="196"/>
                </a:cubicBezTo>
                <a:cubicBezTo>
                  <a:pt x="17" y="196"/>
                  <a:pt x="16" y="198"/>
                  <a:pt x="16" y="198"/>
                </a:cubicBezTo>
                <a:cubicBezTo>
                  <a:pt x="15" y="199"/>
                  <a:pt x="17" y="199"/>
                  <a:pt x="16" y="200"/>
                </a:cubicBezTo>
                <a:cubicBezTo>
                  <a:pt x="15" y="202"/>
                  <a:pt x="17" y="201"/>
                  <a:pt x="18" y="202"/>
                </a:cubicBezTo>
                <a:cubicBezTo>
                  <a:pt x="21" y="202"/>
                  <a:pt x="24" y="204"/>
                  <a:pt x="21" y="206"/>
                </a:cubicBezTo>
                <a:cubicBezTo>
                  <a:pt x="20" y="207"/>
                  <a:pt x="17" y="206"/>
                  <a:pt x="16" y="207"/>
                </a:cubicBezTo>
                <a:cubicBezTo>
                  <a:pt x="15" y="209"/>
                  <a:pt x="18" y="208"/>
                  <a:pt x="19" y="209"/>
                </a:cubicBezTo>
                <a:cubicBezTo>
                  <a:pt x="18" y="209"/>
                  <a:pt x="18" y="209"/>
                  <a:pt x="18" y="209"/>
                </a:cubicBezTo>
                <a:cubicBezTo>
                  <a:pt x="18" y="209"/>
                  <a:pt x="22" y="212"/>
                  <a:pt x="24" y="210"/>
                </a:cubicBezTo>
                <a:cubicBezTo>
                  <a:pt x="25" y="208"/>
                  <a:pt x="23" y="206"/>
                  <a:pt x="25" y="204"/>
                </a:cubicBezTo>
                <a:cubicBezTo>
                  <a:pt x="26" y="202"/>
                  <a:pt x="29" y="202"/>
                  <a:pt x="30" y="202"/>
                </a:cubicBezTo>
                <a:cubicBezTo>
                  <a:pt x="35" y="199"/>
                  <a:pt x="28" y="199"/>
                  <a:pt x="26" y="199"/>
                </a:cubicBezTo>
                <a:cubicBezTo>
                  <a:pt x="24" y="199"/>
                  <a:pt x="21" y="199"/>
                  <a:pt x="19" y="198"/>
                </a:cubicBezTo>
                <a:cubicBezTo>
                  <a:pt x="17" y="196"/>
                  <a:pt x="17" y="196"/>
                  <a:pt x="17" y="192"/>
                </a:cubicBezTo>
                <a:cubicBezTo>
                  <a:pt x="17" y="188"/>
                  <a:pt x="16" y="191"/>
                  <a:pt x="13" y="189"/>
                </a:cubicBezTo>
                <a:cubicBezTo>
                  <a:pt x="12" y="189"/>
                  <a:pt x="12" y="186"/>
                  <a:pt x="12" y="185"/>
                </a:cubicBezTo>
                <a:cubicBezTo>
                  <a:pt x="11" y="183"/>
                  <a:pt x="11" y="180"/>
                  <a:pt x="13" y="179"/>
                </a:cubicBezTo>
                <a:cubicBezTo>
                  <a:pt x="14" y="178"/>
                  <a:pt x="14" y="178"/>
                  <a:pt x="15" y="177"/>
                </a:cubicBezTo>
                <a:cubicBezTo>
                  <a:pt x="15" y="176"/>
                  <a:pt x="16" y="175"/>
                  <a:pt x="17" y="175"/>
                </a:cubicBezTo>
                <a:cubicBezTo>
                  <a:pt x="18" y="174"/>
                  <a:pt x="16" y="171"/>
                  <a:pt x="17" y="169"/>
                </a:cubicBezTo>
                <a:cubicBezTo>
                  <a:pt x="17" y="168"/>
                  <a:pt x="19" y="167"/>
                  <a:pt x="20" y="165"/>
                </a:cubicBezTo>
                <a:cubicBezTo>
                  <a:pt x="20" y="163"/>
                  <a:pt x="20" y="160"/>
                  <a:pt x="21" y="158"/>
                </a:cubicBezTo>
                <a:cubicBezTo>
                  <a:pt x="21" y="156"/>
                  <a:pt x="23" y="156"/>
                  <a:pt x="21" y="154"/>
                </a:cubicBezTo>
                <a:cubicBezTo>
                  <a:pt x="20" y="153"/>
                  <a:pt x="17" y="153"/>
                  <a:pt x="21" y="152"/>
                </a:cubicBezTo>
                <a:cubicBezTo>
                  <a:pt x="26" y="151"/>
                  <a:pt x="20" y="151"/>
                  <a:pt x="19" y="149"/>
                </a:cubicBezTo>
                <a:cubicBezTo>
                  <a:pt x="19" y="146"/>
                  <a:pt x="19" y="142"/>
                  <a:pt x="19" y="140"/>
                </a:cubicBezTo>
                <a:cubicBezTo>
                  <a:pt x="19" y="136"/>
                  <a:pt x="19" y="131"/>
                  <a:pt x="19" y="127"/>
                </a:cubicBezTo>
                <a:cubicBezTo>
                  <a:pt x="20" y="124"/>
                  <a:pt x="21" y="119"/>
                  <a:pt x="23" y="117"/>
                </a:cubicBezTo>
                <a:cubicBezTo>
                  <a:pt x="26" y="114"/>
                  <a:pt x="23" y="109"/>
                  <a:pt x="23" y="106"/>
                </a:cubicBezTo>
                <a:cubicBezTo>
                  <a:pt x="23" y="104"/>
                  <a:pt x="24" y="103"/>
                  <a:pt x="26" y="102"/>
                </a:cubicBezTo>
                <a:cubicBezTo>
                  <a:pt x="28" y="100"/>
                  <a:pt x="27" y="99"/>
                  <a:pt x="27" y="96"/>
                </a:cubicBezTo>
                <a:cubicBezTo>
                  <a:pt x="27" y="92"/>
                  <a:pt x="30" y="89"/>
                  <a:pt x="29" y="85"/>
                </a:cubicBezTo>
                <a:cubicBezTo>
                  <a:pt x="29" y="82"/>
                  <a:pt x="28" y="79"/>
                  <a:pt x="27" y="76"/>
                </a:cubicBezTo>
                <a:cubicBezTo>
                  <a:pt x="27" y="75"/>
                  <a:pt x="26" y="74"/>
                  <a:pt x="27" y="73"/>
                </a:cubicBezTo>
                <a:cubicBezTo>
                  <a:pt x="28" y="72"/>
                  <a:pt x="29" y="68"/>
                  <a:pt x="29" y="67"/>
                </a:cubicBezTo>
                <a:cubicBezTo>
                  <a:pt x="29" y="66"/>
                  <a:pt x="28" y="64"/>
                  <a:pt x="30" y="62"/>
                </a:cubicBezTo>
                <a:cubicBezTo>
                  <a:pt x="31" y="61"/>
                  <a:pt x="30" y="59"/>
                  <a:pt x="31" y="58"/>
                </a:cubicBezTo>
                <a:cubicBezTo>
                  <a:pt x="31" y="56"/>
                  <a:pt x="33" y="55"/>
                  <a:pt x="34" y="54"/>
                </a:cubicBezTo>
                <a:cubicBezTo>
                  <a:pt x="34" y="53"/>
                  <a:pt x="37" y="50"/>
                  <a:pt x="37" y="49"/>
                </a:cubicBezTo>
                <a:cubicBezTo>
                  <a:pt x="37" y="48"/>
                  <a:pt x="36" y="46"/>
                  <a:pt x="36" y="44"/>
                </a:cubicBezTo>
                <a:cubicBezTo>
                  <a:pt x="36" y="42"/>
                  <a:pt x="36" y="41"/>
                  <a:pt x="36" y="39"/>
                </a:cubicBezTo>
                <a:cubicBezTo>
                  <a:pt x="36" y="36"/>
                  <a:pt x="37" y="36"/>
                  <a:pt x="40" y="35"/>
                </a:cubicBezTo>
                <a:cubicBezTo>
                  <a:pt x="44" y="34"/>
                  <a:pt x="44" y="32"/>
                  <a:pt x="44" y="28"/>
                </a:cubicBezTo>
                <a:cubicBezTo>
                  <a:pt x="43" y="29"/>
                  <a:pt x="41" y="29"/>
                  <a:pt x="40" y="28"/>
                </a:cubicBezTo>
                <a:cubicBezTo>
                  <a:pt x="40" y="28"/>
                  <a:pt x="40" y="29"/>
                  <a:pt x="40" y="2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30" name="Freeform 626">
            <a:extLst>
              <a:ext uri="{FF2B5EF4-FFF2-40B4-BE49-F238E27FC236}">
                <a16:creationId xmlns:a16="http://schemas.microsoft.com/office/drawing/2014/main" id="{C7DD8649-5E94-A745-A804-08080AEF063C}"/>
              </a:ext>
            </a:extLst>
          </p:cNvPr>
          <p:cNvSpPr>
            <a:spLocks/>
          </p:cNvSpPr>
          <p:nvPr/>
        </p:nvSpPr>
        <p:spPr bwMode="auto">
          <a:xfrm>
            <a:off x="4056438" y="5141371"/>
            <a:ext cx="331791" cy="361888"/>
          </a:xfrm>
          <a:custGeom>
            <a:avLst/>
            <a:gdLst>
              <a:gd name="T0" fmla="*/ 61 w 64"/>
              <a:gd name="T1" fmla="*/ 42 h 70"/>
              <a:gd name="T2" fmla="*/ 58 w 64"/>
              <a:gd name="T3" fmla="*/ 35 h 70"/>
              <a:gd name="T4" fmla="*/ 50 w 64"/>
              <a:gd name="T5" fmla="*/ 35 h 70"/>
              <a:gd name="T6" fmla="*/ 49 w 64"/>
              <a:gd name="T7" fmla="*/ 33 h 70"/>
              <a:gd name="T8" fmla="*/ 47 w 64"/>
              <a:gd name="T9" fmla="*/ 30 h 70"/>
              <a:gd name="T10" fmla="*/ 48 w 64"/>
              <a:gd name="T11" fmla="*/ 28 h 70"/>
              <a:gd name="T12" fmla="*/ 47 w 64"/>
              <a:gd name="T13" fmla="*/ 26 h 70"/>
              <a:gd name="T14" fmla="*/ 47 w 64"/>
              <a:gd name="T15" fmla="*/ 23 h 70"/>
              <a:gd name="T16" fmla="*/ 41 w 64"/>
              <a:gd name="T17" fmla="*/ 21 h 70"/>
              <a:gd name="T18" fmla="*/ 37 w 64"/>
              <a:gd name="T19" fmla="*/ 18 h 70"/>
              <a:gd name="T20" fmla="*/ 33 w 64"/>
              <a:gd name="T21" fmla="*/ 16 h 70"/>
              <a:gd name="T22" fmla="*/ 29 w 64"/>
              <a:gd name="T23" fmla="*/ 16 h 70"/>
              <a:gd name="T24" fmla="*/ 23 w 64"/>
              <a:gd name="T25" fmla="*/ 9 h 70"/>
              <a:gd name="T26" fmla="*/ 23 w 64"/>
              <a:gd name="T27" fmla="*/ 6 h 70"/>
              <a:gd name="T28" fmla="*/ 23 w 64"/>
              <a:gd name="T29" fmla="*/ 4 h 70"/>
              <a:gd name="T30" fmla="*/ 18 w 64"/>
              <a:gd name="T31" fmla="*/ 3 h 70"/>
              <a:gd name="T32" fmla="*/ 10 w 64"/>
              <a:gd name="T33" fmla="*/ 6 h 70"/>
              <a:gd name="T34" fmla="*/ 7 w 64"/>
              <a:gd name="T35" fmla="*/ 9 h 70"/>
              <a:gd name="T36" fmla="*/ 2 w 64"/>
              <a:gd name="T37" fmla="*/ 8 h 70"/>
              <a:gd name="T38" fmla="*/ 6 w 64"/>
              <a:gd name="T39" fmla="*/ 16 h 70"/>
              <a:gd name="T40" fmla="*/ 5 w 64"/>
              <a:gd name="T41" fmla="*/ 23 h 70"/>
              <a:gd name="T42" fmla="*/ 4 w 64"/>
              <a:gd name="T43" fmla="*/ 27 h 70"/>
              <a:gd name="T44" fmla="*/ 3 w 64"/>
              <a:gd name="T45" fmla="*/ 31 h 70"/>
              <a:gd name="T46" fmla="*/ 5 w 64"/>
              <a:gd name="T47" fmla="*/ 35 h 70"/>
              <a:gd name="T48" fmla="*/ 3 w 64"/>
              <a:gd name="T49" fmla="*/ 38 h 70"/>
              <a:gd name="T50" fmla="*/ 4 w 64"/>
              <a:gd name="T51" fmla="*/ 46 h 70"/>
              <a:gd name="T52" fmla="*/ 4 w 64"/>
              <a:gd name="T53" fmla="*/ 49 h 70"/>
              <a:gd name="T54" fmla="*/ 7 w 64"/>
              <a:gd name="T55" fmla="*/ 52 h 70"/>
              <a:gd name="T56" fmla="*/ 7 w 64"/>
              <a:gd name="T57" fmla="*/ 54 h 70"/>
              <a:gd name="T58" fmla="*/ 6 w 64"/>
              <a:gd name="T59" fmla="*/ 56 h 70"/>
              <a:gd name="T60" fmla="*/ 9 w 64"/>
              <a:gd name="T61" fmla="*/ 63 h 70"/>
              <a:gd name="T62" fmla="*/ 13 w 64"/>
              <a:gd name="T63" fmla="*/ 69 h 70"/>
              <a:gd name="T64" fmla="*/ 14 w 64"/>
              <a:gd name="T65" fmla="*/ 67 h 70"/>
              <a:gd name="T66" fmla="*/ 17 w 64"/>
              <a:gd name="T67" fmla="*/ 65 h 70"/>
              <a:gd name="T68" fmla="*/ 20 w 64"/>
              <a:gd name="T69" fmla="*/ 65 h 70"/>
              <a:gd name="T70" fmla="*/ 25 w 64"/>
              <a:gd name="T71" fmla="*/ 65 h 70"/>
              <a:gd name="T72" fmla="*/ 28 w 64"/>
              <a:gd name="T73" fmla="*/ 68 h 70"/>
              <a:gd name="T74" fmla="*/ 31 w 64"/>
              <a:gd name="T75" fmla="*/ 65 h 70"/>
              <a:gd name="T76" fmla="*/ 37 w 64"/>
              <a:gd name="T77" fmla="*/ 64 h 70"/>
              <a:gd name="T78" fmla="*/ 44 w 64"/>
              <a:gd name="T79" fmla="*/ 52 h 70"/>
              <a:gd name="T80" fmla="*/ 52 w 64"/>
              <a:gd name="T81" fmla="*/ 51 h 70"/>
              <a:gd name="T82" fmla="*/ 59 w 64"/>
              <a:gd name="T83" fmla="*/ 54 h 70"/>
              <a:gd name="T84" fmla="*/ 61 w 64"/>
              <a:gd name="T85" fmla="*/ 42 h 70"/>
              <a:gd name="T86" fmla="*/ 61 w 64"/>
              <a:gd name="T87" fmla="*/ 4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4" h="70">
                <a:moveTo>
                  <a:pt x="61" y="42"/>
                </a:moveTo>
                <a:cubicBezTo>
                  <a:pt x="57" y="40"/>
                  <a:pt x="58" y="39"/>
                  <a:pt x="58" y="35"/>
                </a:cubicBezTo>
                <a:cubicBezTo>
                  <a:pt x="55" y="35"/>
                  <a:pt x="52" y="35"/>
                  <a:pt x="50" y="35"/>
                </a:cubicBezTo>
                <a:cubicBezTo>
                  <a:pt x="48" y="35"/>
                  <a:pt x="49" y="34"/>
                  <a:pt x="49" y="33"/>
                </a:cubicBezTo>
                <a:cubicBezTo>
                  <a:pt x="49" y="32"/>
                  <a:pt x="48" y="30"/>
                  <a:pt x="47" y="30"/>
                </a:cubicBezTo>
                <a:cubicBezTo>
                  <a:pt x="47" y="29"/>
                  <a:pt x="48" y="29"/>
                  <a:pt x="48" y="28"/>
                </a:cubicBezTo>
                <a:cubicBezTo>
                  <a:pt x="49" y="27"/>
                  <a:pt x="48" y="26"/>
                  <a:pt x="47" y="26"/>
                </a:cubicBezTo>
                <a:cubicBezTo>
                  <a:pt x="47" y="25"/>
                  <a:pt x="48" y="24"/>
                  <a:pt x="47" y="23"/>
                </a:cubicBezTo>
                <a:cubicBezTo>
                  <a:pt x="45" y="21"/>
                  <a:pt x="43" y="21"/>
                  <a:pt x="41" y="21"/>
                </a:cubicBezTo>
                <a:cubicBezTo>
                  <a:pt x="40" y="21"/>
                  <a:pt x="38" y="19"/>
                  <a:pt x="37" y="18"/>
                </a:cubicBezTo>
                <a:cubicBezTo>
                  <a:pt x="35" y="18"/>
                  <a:pt x="34" y="16"/>
                  <a:pt x="33" y="16"/>
                </a:cubicBezTo>
                <a:cubicBezTo>
                  <a:pt x="31" y="16"/>
                  <a:pt x="30" y="16"/>
                  <a:pt x="29" y="16"/>
                </a:cubicBezTo>
                <a:cubicBezTo>
                  <a:pt x="27" y="16"/>
                  <a:pt x="23" y="11"/>
                  <a:pt x="23" y="9"/>
                </a:cubicBezTo>
                <a:cubicBezTo>
                  <a:pt x="23" y="8"/>
                  <a:pt x="23" y="7"/>
                  <a:pt x="23" y="6"/>
                </a:cubicBezTo>
                <a:cubicBezTo>
                  <a:pt x="23" y="5"/>
                  <a:pt x="23" y="5"/>
                  <a:pt x="23" y="4"/>
                </a:cubicBezTo>
                <a:cubicBezTo>
                  <a:pt x="23" y="0"/>
                  <a:pt x="21" y="2"/>
                  <a:pt x="18" y="3"/>
                </a:cubicBezTo>
                <a:cubicBezTo>
                  <a:pt x="15" y="3"/>
                  <a:pt x="13" y="6"/>
                  <a:pt x="10" y="6"/>
                </a:cubicBezTo>
                <a:cubicBezTo>
                  <a:pt x="8" y="6"/>
                  <a:pt x="8" y="8"/>
                  <a:pt x="7" y="9"/>
                </a:cubicBezTo>
                <a:cubicBezTo>
                  <a:pt x="6" y="9"/>
                  <a:pt x="3" y="8"/>
                  <a:pt x="2" y="8"/>
                </a:cubicBezTo>
                <a:cubicBezTo>
                  <a:pt x="4" y="9"/>
                  <a:pt x="5" y="14"/>
                  <a:pt x="6" y="16"/>
                </a:cubicBezTo>
                <a:cubicBezTo>
                  <a:pt x="4" y="17"/>
                  <a:pt x="5" y="21"/>
                  <a:pt x="5" y="23"/>
                </a:cubicBezTo>
                <a:cubicBezTo>
                  <a:pt x="5" y="25"/>
                  <a:pt x="5" y="26"/>
                  <a:pt x="4" y="27"/>
                </a:cubicBezTo>
                <a:cubicBezTo>
                  <a:pt x="3" y="28"/>
                  <a:pt x="3" y="30"/>
                  <a:pt x="3" y="31"/>
                </a:cubicBezTo>
                <a:cubicBezTo>
                  <a:pt x="2" y="33"/>
                  <a:pt x="5" y="33"/>
                  <a:pt x="5" y="35"/>
                </a:cubicBezTo>
                <a:cubicBezTo>
                  <a:pt x="5" y="36"/>
                  <a:pt x="3" y="37"/>
                  <a:pt x="3" y="38"/>
                </a:cubicBezTo>
                <a:cubicBezTo>
                  <a:pt x="0" y="41"/>
                  <a:pt x="4" y="42"/>
                  <a:pt x="4" y="46"/>
                </a:cubicBezTo>
                <a:cubicBezTo>
                  <a:pt x="4" y="47"/>
                  <a:pt x="4" y="48"/>
                  <a:pt x="4" y="49"/>
                </a:cubicBezTo>
                <a:cubicBezTo>
                  <a:pt x="5" y="50"/>
                  <a:pt x="6" y="51"/>
                  <a:pt x="7" y="52"/>
                </a:cubicBezTo>
                <a:cubicBezTo>
                  <a:pt x="7" y="53"/>
                  <a:pt x="5" y="53"/>
                  <a:pt x="7" y="54"/>
                </a:cubicBezTo>
                <a:cubicBezTo>
                  <a:pt x="7" y="54"/>
                  <a:pt x="6" y="56"/>
                  <a:pt x="6" y="56"/>
                </a:cubicBezTo>
                <a:cubicBezTo>
                  <a:pt x="6" y="59"/>
                  <a:pt x="9" y="61"/>
                  <a:pt x="9" y="63"/>
                </a:cubicBezTo>
                <a:cubicBezTo>
                  <a:pt x="10" y="66"/>
                  <a:pt x="8" y="69"/>
                  <a:pt x="13" y="69"/>
                </a:cubicBezTo>
                <a:cubicBezTo>
                  <a:pt x="14" y="70"/>
                  <a:pt x="14" y="68"/>
                  <a:pt x="14" y="67"/>
                </a:cubicBezTo>
                <a:cubicBezTo>
                  <a:pt x="14" y="66"/>
                  <a:pt x="16" y="65"/>
                  <a:pt x="17" y="65"/>
                </a:cubicBezTo>
                <a:cubicBezTo>
                  <a:pt x="18" y="64"/>
                  <a:pt x="19" y="63"/>
                  <a:pt x="20" y="65"/>
                </a:cubicBezTo>
                <a:cubicBezTo>
                  <a:pt x="22" y="66"/>
                  <a:pt x="24" y="65"/>
                  <a:pt x="25" y="65"/>
                </a:cubicBezTo>
                <a:cubicBezTo>
                  <a:pt x="27" y="65"/>
                  <a:pt x="27" y="68"/>
                  <a:pt x="28" y="68"/>
                </a:cubicBezTo>
                <a:cubicBezTo>
                  <a:pt x="29" y="68"/>
                  <a:pt x="30" y="66"/>
                  <a:pt x="31" y="65"/>
                </a:cubicBezTo>
                <a:cubicBezTo>
                  <a:pt x="32" y="63"/>
                  <a:pt x="36" y="66"/>
                  <a:pt x="37" y="64"/>
                </a:cubicBezTo>
                <a:cubicBezTo>
                  <a:pt x="39" y="59"/>
                  <a:pt x="38" y="54"/>
                  <a:pt x="44" y="52"/>
                </a:cubicBezTo>
                <a:cubicBezTo>
                  <a:pt x="46" y="51"/>
                  <a:pt x="49" y="51"/>
                  <a:pt x="52" y="51"/>
                </a:cubicBezTo>
                <a:cubicBezTo>
                  <a:pt x="55" y="51"/>
                  <a:pt x="57" y="52"/>
                  <a:pt x="59" y="54"/>
                </a:cubicBezTo>
                <a:cubicBezTo>
                  <a:pt x="60" y="51"/>
                  <a:pt x="64" y="43"/>
                  <a:pt x="61" y="42"/>
                </a:cubicBezTo>
                <a:cubicBezTo>
                  <a:pt x="60" y="41"/>
                  <a:pt x="62" y="42"/>
                  <a:pt x="61" y="4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31" name="Freeform 627">
            <a:extLst>
              <a:ext uri="{FF2B5EF4-FFF2-40B4-BE49-F238E27FC236}">
                <a16:creationId xmlns:a16="http://schemas.microsoft.com/office/drawing/2014/main" id="{ECACC0AE-370D-FE43-B6F5-72D0D77911AD}"/>
              </a:ext>
            </a:extLst>
          </p:cNvPr>
          <p:cNvSpPr>
            <a:spLocks/>
          </p:cNvSpPr>
          <p:nvPr/>
        </p:nvSpPr>
        <p:spPr bwMode="auto">
          <a:xfrm>
            <a:off x="4243513" y="5399105"/>
            <a:ext cx="232960" cy="229490"/>
          </a:xfrm>
          <a:custGeom>
            <a:avLst/>
            <a:gdLst>
              <a:gd name="T0" fmla="*/ 40 w 45"/>
              <a:gd name="T1" fmla="*/ 24 h 44"/>
              <a:gd name="T2" fmla="*/ 36 w 45"/>
              <a:gd name="T3" fmla="*/ 24 h 44"/>
              <a:gd name="T4" fmla="*/ 36 w 45"/>
              <a:gd name="T5" fmla="*/ 20 h 44"/>
              <a:gd name="T6" fmla="*/ 34 w 45"/>
              <a:gd name="T7" fmla="*/ 17 h 44"/>
              <a:gd name="T8" fmla="*/ 29 w 45"/>
              <a:gd name="T9" fmla="*/ 16 h 44"/>
              <a:gd name="T10" fmla="*/ 25 w 45"/>
              <a:gd name="T11" fmla="*/ 15 h 44"/>
              <a:gd name="T12" fmla="*/ 25 w 45"/>
              <a:gd name="T13" fmla="*/ 12 h 44"/>
              <a:gd name="T14" fmla="*/ 24 w 45"/>
              <a:gd name="T15" fmla="*/ 7 h 44"/>
              <a:gd name="T16" fmla="*/ 21 w 45"/>
              <a:gd name="T17" fmla="*/ 3 h 44"/>
              <a:gd name="T18" fmla="*/ 14 w 45"/>
              <a:gd name="T19" fmla="*/ 1 h 44"/>
              <a:gd name="T20" fmla="*/ 5 w 45"/>
              <a:gd name="T21" fmla="*/ 3 h 44"/>
              <a:gd name="T22" fmla="*/ 2 w 45"/>
              <a:gd name="T23" fmla="*/ 11 h 44"/>
              <a:gd name="T24" fmla="*/ 1 w 45"/>
              <a:gd name="T25" fmla="*/ 14 h 44"/>
              <a:gd name="T26" fmla="*/ 2 w 45"/>
              <a:gd name="T27" fmla="*/ 17 h 44"/>
              <a:gd name="T28" fmla="*/ 9 w 45"/>
              <a:gd name="T29" fmla="*/ 24 h 44"/>
              <a:gd name="T30" fmla="*/ 13 w 45"/>
              <a:gd name="T31" fmla="*/ 25 h 44"/>
              <a:gd name="T32" fmla="*/ 17 w 45"/>
              <a:gd name="T33" fmla="*/ 27 h 44"/>
              <a:gd name="T34" fmla="*/ 25 w 45"/>
              <a:gd name="T35" fmla="*/ 35 h 44"/>
              <a:gd name="T36" fmla="*/ 22 w 45"/>
              <a:gd name="T37" fmla="*/ 39 h 44"/>
              <a:gd name="T38" fmla="*/ 20 w 45"/>
              <a:gd name="T39" fmla="*/ 42 h 44"/>
              <a:gd name="T40" fmla="*/ 28 w 45"/>
              <a:gd name="T41" fmla="*/ 44 h 44"/>
              <a:gd name="T42" fmla="*/ 32 w 45"/>
              <a:gd name="T43" fmla="*/ 43 h 44"/>
              <a:gd name="T44" fmla="*/ 37 w 45"/>
              <a:gd name="T45" fmla="*/ 42 h 44"/>
              <a:gd name="T46" fmla="*/ 40 w 45"/>
              <a:gd name="T47" fmla="*/ 39 h 44"/>
              <a:gd name="T48" fmla="*/ 41 w 45"/>
              <a:gd name="T49" fmla="*/ 34 h 44"/>
              <a:gd name="T50" fmla="*/ 40 w 45"/>
              <a:gd name="T51" fmla="*/ 24 h 44"/>
              <a:gd name="T52" fmla="*/ 40 w 45"/>
              <a:gd name="T53" fmla="*/ 24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45" h="44">
                <a:moveTo>
                  <a:pt x="40" y="24"/>
                </a:moveTo>
                <a:cubicBezTo>
                  <a:pt x="39" y="25"/>
                  <a:pt x="37" y="26"/>
                  <a:pt x="36" y="24"/>
                </a:cubicBezTo>
                <a:cubicBezTo>
                  <a:pt x="35" y="23"/>
                  <a:pt x="37" y="22"/>
                  <a:pt x="36" y="20"/>
                </a:cubicBezTo>
                <a:cubicBezTo>
                  <a:pt x="35" y="19"/>
                  <a:pt x="35" y="18"/>
                  <a:pt x="34" y="17"/>
                </a:cubicBezTo>
                <a:cubicBezTo>
                  <a:pt x="31" y="15"/>
                  <a:pt x="31" y="17"/>
                  <a:pt x="29" y="16"/>
                </a:cubicBezTo>
                <a:cubicBezTo>
                  <a:pt x="28" y="16"/>
                  <a:pt x="27" y="16"/>
                  <a:pt x="25" y="15"/>
                </a:cubicBezTo>
                <a:cubicBezTo>
                  <a:pt x="23" y="15"/>
                  <a:pt x="24" y="13"/>
                  <a:pt x="25" y="12"/>
                </a:cubicBezTo>
                <a:cubicBezTo>
                  <a:pt x="25" y="10"/>
                  <a:pt x="24" y="8"/>
                  <a:pt x="24" y="7"/>
                </a:cubicBezTo>
                <a:cubicBezTo>
                  <a:pt x="23" y="4"/>
                  <a:pt x="24" y="4"/>
                  <a:pt x="21" y="3"/>
                </a:cubicBezTo>
                <a:cubicBezTo>
                  <a:pt x="19" y="1"/>
                  <a:pt x="18" y="0"/>
                  <a:pt x="14" y="1"/>
                </a:cubicBezTo>
                <a:cubicBezTo>
                  <a:pt x="11" y="1"/>
                  <a:pt x="7" y="2"/>
                  <a:pt x="5" y="3"/>
                </a:cubicBezTo>
                <a:cubicBezTo>
                  <a:pt x="2" y="6"/>
                  <a:pt x="3" y="8"/>
                  <a:pt x="2" y="11"/>
                </a:cubicBezTo>
                <a:cubicBezTo>
                  <a:pt x="2" y="12"/>
                  <a:pt x="1" y="13"/>
                  <a:pt x="1" y="14"/>
                </a:cubicBezTo>
                <a:cubicBezTo>
                  <a:pt x="0" y="15"/>
                  <a:pt x="1" y="15"/>
                  <a:pt x="2" y="17"/>
                </a:cubicBezTo>
                <a:cubicBezTo>
                  <a:pt x="4" y="20"/>
                  <a:pt x="6" y="21"/>
                  <a:pt x="9" y="24"/>
                </a:cubicBezTo>
                <a:cubicBezTo>
                  <a:pt x="10" y="25"/>
                  <a:pt x="12" y="25"/>
                  <a:pt x="13" y="25"/>
                </a:cubicBezTo>
                <a:cubicBezTo>
                  <a:pt x="15" y="25"/>
                  <a:pt x="16" y="26"/>
                  <a:pt x="17" y="27"/>
                </a:cubicBezTo>
                <a:cubicBezTo>
                  <a:pt x="19" y="28"/>
                  <a:pt x="27" y="31"/>
                  <a:pt x="25" y="35"/>
                </a:cubicBezTo>
                <a:cubicBezTo>
                  <a:pt x="24" y="36"/>
                  <a:pt x="22" y="37"/>
                  <a:pt x="22" y="39"/>
                </a:cubicBezTo>
                <a:cubicBezTo>
                  <a:pt x="22" y="41"/>
                  <a:pt x="22" y="41"/>
                  <a:pt x="20" y="42"/>
                </a:cubicBezTo>
                <a:cubicBezTo>
                  <a:pt x="19" y="44"/>
                  <a:pt x="27" y="43"/>
                  <a:pt x="28" y="44"/>
                </a:cubicBezTo>
                <a:cubicBezTo>
                  <a:pt x="30" y="44"/>
                  <a:pt x="30" y="44"/>
                  <a:pt x="32" y="43"/>
                </a:cubicBezTo>
                <a:cubicBezTo>
                  <a:pt x="33" y="41"/>
                  <a:pt x="36" y="43"/>
                  <a:pt x="37" y="42"/>
                </a:cubicBezTo>
                <a:cubicBezTo>
                  <a:pt x="38" y="41"/>
                  <a:pt x="39" y="40"/>
                  <a:pt x="40" y="39"/>
                </a:cubicBezTo>
                <a:cubicBezTo>
                  <a:pt x="41" y="37"/>
                  <a:pt x="40" y="35"/>
                  <a:pt x="41" y="34"/>
                </a:cubicBezTo>
                <a:cubicBezTo>
                  <a:pt x="41" y="32"/>
                  <a:pt x="45" y="24"/>
                  <a:pt x="40" y="24"/>
                </a:cubicBezTo>
                <a:cubicBezTo>
                  <a:pt x="40" y="25"/>
                  <a:pt x="41" y="24"/>
                  <a:pt x="40" y="2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32" name="Freeform 628">
            <a:extLst>
              <a:ext uri="{FF2B5EF4-FFF2-40B4-BE49-F238E27FC236}">
                <a16:creationId xmlns:a16="http://schemas.microsoft.com/office/drawing/2014/main" id="{FD3BA9A1-6942-5447-8E50-3C843760BC64}"/>
              </a:ext>
            </a:extLst>
          </p:cNvPr>
          <p:cNvSpPr>
            <a:spLocks noEditPoints="1"/>
          </p:cNvSpPr>
          <p:nvPr/>
        </p:nvSpPr>
        <p:spPr bwMode="auto">
          <a:xfrm>
            <a:off x="3948783" y="4761830"/>
            <a:ext cx="1028905" cy="1043296"/>
          </a:xfrm>
          <a:custGeom>
            <a:avLst/>
            <a:gdLst>
              <a:gd name="T0" fmla="*/ 188 w 199"/>
              <a:gd name="T1" fmla="*/ 51 h 201"/>
              <a:gd name="T2" fmla="*/ 165 w 199"/>
              <a:gd name="T3" fmla="*/ 41 h 201"/>
              <a:gd name="T4" fmla="*/ 135 w 199"/>
              <a:gd name="T5" fmla="*/ 30 h 201"/>
              <a:gd name="T6" fmla="*/ 122 w 199"/>
              <a:gd name="T7" fmla="*/ 36 h 201"/>
              <a:gd name="T8" fmla="*/ 116 w 199"/>
              <a:gd name="T9" fmla="*/ 29 h 201"/>
              <a:gd name="T10" fmla="*/ 111 w 199"/>
              <a:gd name="T11" fmla="*/ 33 h 201"/>
              <a:gd name="T12" fmla="*/ 120 w 199"/>
              <a:gd name="T13" fmla="*/ 23 h 201"/>
              <a:gd name="T14" fmla="*/ 116 w 199"/>
              <a:gd name="T15" fmla="*/ 8 h 201"/>
              <a:gd name="T16" fmla="*/ 105 w 199"/>
              <a:gd name="T17" fmla="*/ 15 h 201"/>
              <a:gd name="T18" fmla="*/ 93 w 199"/>
              <a:gd name="T19" fmla="*/ 14 h 201"/>
              <a:gd name="T20" fmla="*/ 77 w 199"/>
              <a:gd name="T21" fmla="*/ 19 h 201"/>
              <a:gd name="T22" fmla="*/ 69 w 199"/>
              <a:gd name="T23" fmla="*/ 1 h 201"/>
              <a:gd name="T24" fmla="*/ 56 w 199"/>
              <a:gd name="T25" fmla="*/ 7 h 201"/>
              <a:gd name="T26" fmla="*/ 50 w 199"/>
              <a:gd name="T27" fmla="*/ 11 h 201"/>
              <a:gd name="T28" fmla="*/ 51 w 199"/>
              <a:gd name="T29" fmla="*/ 16 h 201"/>
              <a:gd name="T30" fmla="*/ 41 w 199"/>
              <a:gd name="T31" fmla="*/ 22 h 201"/>
              <a:gd name="T32" fmla="*/ 27 w 199"/>
              <a:gd name="T33" fmla="*/ 18 h 201"/>
              <a:gd name="T34" fmla="*/ 25 w 199"/>
              <a:gd name="T35" fmla="*/ 21 h 201"/>
              <a:gd name="T36" fmla="*/ 22 w 199"/>
              <a:gd name="T37" fmla="*/ 39 h 201"/>
              <a:gd name="T38" fmla="*/ 10 w 199"/>
              <a:gd name="T39" fmla="*/ 49 h 201"/>
              <a:gd name="T40" fmla="*/ 2 w 199"/>
              <a:gd name="T41" fmla="*/ 66 h 201"/>
              <a:gd name="T42" fmla="*/ 9 w 199"/>
              <a:gd name="T43" fmla="*/ 75 h 201"/>
              <a:gd name="T44" fmla="*/ 24 w 199"/>
              <a:gd name="T45" fmla="*/ 81 h 201"/>
              <a:gd name="T46" fmla="*/ 39 w 199"/>
              <a:gd name="T47" fmla="*/ 76 h 201"/>
              <a:gd name="T48" fmla="*/ 49 w 199"/>
              <a:gd name="T49" fmla="*/ 88 h 201"/>
              <a:gd name="T50" fmla="*/ 61 w 199"/>
              <a:gd name="T51" fmla="*/ 94 h 201"/>
              <a:gd name="T52" fmla="*/ 68 w 199"/>
              <a:gd name="T53" fmla="*/ 102 h 201"/>
              <a:gd name="T54" fmla="*/ 80 w 199"/>
              <a:gd name="T55" fmla="*/ 114 h 201"/>
              <a:gd name="T56" fmla="*/ 82 w 199"/>
              <a:gd name="T57" fmla="*/ 135 h 201"/>
              <a:gd name="T58" fmla="*/ 93 w 199"/>
              <a:gd name="T59" fmla="*/ 145 h 201"/>
              <a:gd name="T60" fmla="*/ 98 w 199"/>
              <a:gd name="T61" fmla="*/ 157 h 201"/>
              <a:gd name="T62" fmla="*/ 90 w 199"/>
              <a:gd name="T63" fmla="*/ 173 h 201"/>
              <a:gd name="T64" fmla="*/ 86 w 199"/>
              <a:gd name="T65" fmla="*/ 181 h 201"/>
              <a:gd name="T66" fmla="*/ 94 w 199"/>
              <a:gd name="T67" fmla="*/ 187 h 201"/>
              <a:gd name="T68" fmla="*/ 107 w 199"/>
              <a:gd name="T69" fmla="*/ 197 h 201"/>
              <a:gd name="T70" fmla="*/ 119 w 199"/>
              <a:gd name="T71" fmla="*/ 180 h 201"/>
              <a:gd name="T72" fmla="*/ 128 w 199"/>
              <a:gd name="T73" fmla="*/ 157 h 201"/>
              <a:gd name="T74" fmla="*/ 137 w 199"/>
              <a:gd name="T75" fmla="*/ 149 h 201"/>
              <a:gd name="T76" fmla="*/ 144 w 199"/>
              <a:gd name="T77" fmla="*/ 147 h 201"/>
              <a:gd name="T78" fmla="*/ 155 w 199"/>
              <a:gd name="T79" fmla="*/ 142 h 201"/>
              <a:gd name="T80" fmla="*/ 163 w 199"/>
              <a:gd name="T81" fmla="*/ 139 h 201"/>
              <a:gd name="T82" fmla="*/ 169 w 199"/>
              <a:gd name="T83" fmla="*/ 130 h 201"/>
              <a:gd name="T84" fmla="*/ 175 w 199"/>
              <a:gd name="T85" fmla="*/ 116 h 201"/>
              <a:gd name="T86" fmla="*/ 176 w 199"/>
              <a:gd name="T87" fmla="*/ 98 h 201"/>
              <a:gd name="T88" fmla="*/ 178 w 199"/>
              <a:gd name="T89" fmla="*/ 91 h 201"/>
              <a:gd name="T90" fmla="*/ 182 w 199"/>
              <a:gd name="T91" fmla="*/ 86 h 201"/>
              <a:gd name="T92" fmla="*/ 196 w 199"/>
              <a:gd name="T93" fmla="*/ 57 h 201"/>
              <a:gd name="T94" fmla="*/ 110 w 199"/>
              <a:gd name="T95" fmla="*/ 190 h 201"/>
              <a:gd name="T96" fmla="*/ 115 w 199"/>
              <a:gd name="T97" fmla="*/ 186 h 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9" h="201">
                <a:moveTo>
                  <a:pt x="196" y="57"/>
                </a:moveTo>
                <a:cubicBezTo>
                  <a:pt x="195" y="55"/>
                  <a:pt x="195" y="53"/>
                  <a:pt x="194" y="52"/>
                </a:cubicBezTo>
                <a:cubicBezTo>
                  <a:pt x="192" y="51"/>
                  <a:pt x="189" y="52"/>
                  <a:pt x="188" y="51"/>
                </a:cubicBezTo>
                <a:cubicBezTo>
                  <a:pt x="183" y="50"/>
                  <a:pt x="180" y="46"/>
                  <a:pt x="177" y="44"/>
                </a:cubicBezTo>
                <a:cubicBezTo>
                  <a:pt x="175" y="43"/>
                  <a:pt x="173" y="42"/>
                  <a:pt x="172" y="41"/>
                </a:cubicBezTo>
                <a:cubicBezTo>
                  <a:pt x="169" y="40"/>
                  <a:pt x="168" y="41"/>
                  <a:pt x="165" y="41"/>
                </a:cubicBezTo>
                <a:cubicBezTo>
                  <a:pt x="161" y="42"/>
                  <a:pt x="157" y="37"/>
                  <a:pt x="153" y="39"/>
                </a:cubicBezTo>
                <a:cubicBezTo>
                  <a:pt x="150" y="40"/>
                  <a:pt x="147" y="35"/>
                  <a:pt x="145" y="34"/>
                </a:cubicBezTo>
                <a:cubicBezTo>
                  <a:pt x="142" y="32"/>
                  <a:pt x="138" y="30"/>
                  <a:pt x="135" y="30"/>
                </a:cubicBezTo>
                <a:cubicBezTo>
                  <a:pt x="133" y="29"/>
                  <a:pt x="131" y="29"/>
                  <a:pt x="130" y="30"/>
                </a:cubicBezTo>
                <a:cubicBezTo>
                  <a:pt x="129" y="33"/>
                  <a:pt x="126" y="34"/>
                  <a:pt x="125" y="36"/>
                </a:cubicBezTo>
                <a:cubicBezTo>
                  <a:pt x="123" y="39"/>
                  <a:pt x="124" y="38"/>
                  <a:pt x="122" y="36"/>
                </a:cubicBezTo>
                <a:cubicBezTo>
                  <a:pt x="122" y="36"/>
                  <a:pt x="121" y="35"/>
                  <a:pt x="121" y="35"/>
                </a:cubicBezTo>
                <a:cubicBezTo>
                  <a:pt x="119" y="34"/>
                  <a:pt x="120" y="36"/>
                  <a:pt x="119" y="37"/>
                </a:cubicBezTo>
                <a:cubicBezTo>
                  <a:pt x="118" y="38"/>
                  <a:pt x="115" y="29"/>
                  <a:pt x="116" y="29"/>
                </a:cubicBezTo>
                <a:cubicBezTo>
                  <a:pt x="116" y="29"/>
                  <a:pt x="113" y="33"/>
                  <a:pt x="112" y="33"/>
                </a:cubicBezTo>
                <a:cubicBezTo>
                  <a:pt x="112" y="33"/>
                  <a:pt x="116" y="30"/>
                  <a:pt x="115" y="29"/>
                </a:cubicBezTo>
                <a:cubicBezTo>
                  <a:pt x="113" y="28"/>
                  <a:pt x="113" y="33"/>
                  <a:pt x="111" y="33"/>
                </a:cubicBezTo>
                <a:cubicBezTo>
                  <a:pt x="111" y="33"/>
                  <a:pt x="115" y="27"/>
                  <a:pt x="115" y="26"/>
                </a:cubicBezTo>
                <a:cubicBezTo>
                  <a:pt x="115" y="25"/>
                  <a:pt x="117" y="25"/>
                  <a:pt x="117" y="24"/>
                </a:cubicBezTo>
                <a:cubicBezTo>
                  <a:pt x="118" y="23"/>
                  <a:pt x="119" y="25"/>
                  <a:pt x="120" y="23"/>
                </a:cubicBezTo>
                <a:cubicBezTo>
                  <a:pt x="121" y="22"/>
                  <a:pt x="120" y="22"/>
                  <a:pt x="120" y="20"/>
                </a:cubicBezTo>
                <a:cubicBezTo>
                  <a:pt x="121" y="19"/>
                  <a:pt x="121" y="17"/>
                  <a:pt x="119" y="16"/>
                </a:cubicBezTo>
                <a:cubicBezTo>
                  <a:pt x="116" y="15"/>
                  <a:pt x="116" y="11"/>
                  <a:pt x="116" y="8"/>
                </a:cubicBezTo>
                <a:cubicBezTo>
                  <a:pt x="116" y="7"/>
                  <a:pt x="115" y="6"/>
                  <a:pt x="114" y="5"/>
                </a:cubicBezTo>
                <a:cubicBezTo>
                  <a:pt x="113" y="4"/>
                  <a:pt x="112" y="7"/>
                  <a:pt x="111" y="8"/>
                </a:cubicBezTo>
                <a:cubicBezTo>
                  <a:pt x="110" y="11"/>
                  <a:pt x="108" y="15"/>
                  <a:pt x="105" y="15"/>
                </a:cubicBezTo>
                <a:cubicBezTo>
                  <a:pt x="104" y="15"/>
                  <a:pt x="103" y="14"/>
                  <a:pt x="101" y="14"/>
                </a:cubicBezTo>
                <a:cubicBezTo>
                  <a:pt x="100" y="14"/>
                  <a:pt x="99" y="15"/>
                  <a:pt x="98" y="14"/>
                </a:cubicBezTo>
                <a:cubicBezTo>
                  <a:pt x="96" y="13"/>
                  <a:pt x="95" y="14"/>
                  <a:pt x="93" y="14"/>
                </a:cubicBezTo>
                <a:cubicBezTo>
                  <a:pt x="91" y="14"/>
                  <a:pt x="92" y="14"/>
                  <a:pt x="91" y="16"/>
                </a:cubicBezTo>
                <a:cubicBezTo>
                  <a:pt x="90" y="17"/>
                  <a:pt x="85" y="16"/>
                  <a:pt x="84" y="17"/>
                </a:cubicBezTo>
                <a:cubicBezTo>
                  <a:pt x="82" y="17"/>
                  <a:pt x="79" y="19"/>
                  <a:pt x="77" y="19"/>
                </a:cubicBezTo>
                <a:cubicBezTo>
                  <a:pt x="74" y="19"/>
                  <a:pt x="72" y="15"/>
                  <a:pt x="72" y="13"/>
                </a:cubicBezTo>
                <a:cubicBezTo>
                  <a:pt x="70" y="10"/>
                  <a:pt x="74" y="8"/>
                  <a:pt x="73" y="5"/>
                </a:cubicBezTo>
                <a:cubicBezTo>
                  <a:pt x="72" y="3"/>
                  <a:pt x="71" y="0"/>
                  <a:pt x="69" y="1"/>
                </a:cubicBezTo>
                <a:cubicBezTo>
                  <a:pt x="69" y="2"/>
                  <a:pt x="62" y="5"/>
                  <a:pt x="61" y="5"/>
                </a:cubicBezTo>
                <a:cubicBezTo>
                  <a:pt x="60" y="5"/>
                  <a:pt x="58" y="5"/>
                  <a:pt x="58" y="6"/>
                </a:cubicBezTo>
                <a:cubicBezTo>
                  <a:pt x="57" y="6"/>
                  <a:pt x="57" y="9"/>
                  <a:pt x="56" y="7"/>
                </a:cubicBezTo>
                <a:cubicBezTo>
                  <a:pt x="55" y="6"/>
                  <a:pt x="47" y="5"/>
                  <a:pt x="47" y="6"/>
                </a:cubicBezTo>
                <a:cubicBezTo>
                  <a:pt x="47" y="6"/>
                  <a:pt x="49" y="7"/>
                  <a:pt x="49" y="7"/>
                </a:cubicBezTo>
                <a:cubicBezTo>
                  <a:pt x="50" y="8"/>
                  <a:pt x="50" y="9"/>
                  <a:pt x="50" y="11"/>
                </a:cubicBezTo>
                <a:cubicBezTo>
                  <a:pt x="51" y="11"/>
                  <a:pt x="51" y="13"/>
                  <a:pt x="52" y="14"/>
                </a:cubicBezTo>
                <a:cubicBezTo>
                  <a:pt x="52" y="14"/>
                  <a:pt x="54" y="14"/>
                  <a:pt x="54" y="14"/>
                </a:cubicBezTo>
                <a:cubicBezTo>
                  <a:pt x="54" y="15"/>
                  <a:pt x="52" y="16"/>
                  <a:pt x="51" y="16"/>
                </a:cubicBezTo>
                <a:cubicBezTo>
                  <a:pt x="50" y="17"/>
                  <a:pt x="50" y="18"/>
                  <a:pt x="49" y="19"/>
                </a:cubicBezTo>
                <a:cubicBezTo>
                  <a:pt x="49" y="19"/>
                  <a:pt x="44" y="23"/>
                  <a:pt x="43" y="22"/>
                </a:cubicBezTo>
                <a:cubicBezTo>
                  <a:pt x="43" y="21"/>
                  <a:pt x="42" y="21"/>
                  <a:pt x="41" y="22"/>
                </a:cubicBezTo>
                <a:cubicBezTo>
                  <a:pt x="40" y="23"/>
                  <a:pt x="38" y="21"/>
                  <a:pt x="38" y="21"/>
                </a:cubicBezTo>
                <a:cubicBezTo>
                  <a:pt x="36" y="20"/>
                  <a:pt x="35" y="16"/>
                  <a:pt x="34" y="16"/>
                </a:cubicBezTo>
                <a:cubicBezTo>
                  <a:pt x="32" y="15"/>
                  <a:pt x="29" y="18"/>
                  <a:pt x="27" y="18"/>
                </a:cubicBezTo>
                <a:cubicBezTo>
                  <a:pt x="25" y="18"/>
                  <a:pt x="23" y="18"/>
                  <a:pt x="21" y="18"/>
                </a:cubicBezTo>
                <a:cubicBezTo>
                  <a:pt x="21" y="18"/>
                  <a:pt x="21" y="20"/>
                  <a:pt x="22" y="20"/>
                </a:cubicBezTo>
                <a:cubicBezTo>
                  <a:pt x="22" y="21"/>
                  <a:pt x="24" y="21"/>
                  <a:pt x="25" y="21"/>
                </a:cubicBezTo>
                <a:cubicBezTo>
                  <a:pt x="25" y="22"/>
                  <a:pt x="21" y="23"/>
                  <a:pt x="20" y="23"/>
                </a:cubicBezTo>
                <a:cubicBezTo>
                  <a:pt x="19" y="24"/>
                  <a:pt x="21" y="27"/>
                  <a:pt x="22" y="28"/>
                </a:cubicBezTo>
                <a:cubicBezTo>
                  <a:pt x="24" y="32"/>
                  <a:pt x="24" y="35"/>
                  <a:pt x="22" y="39"/>
                </a:cubicBezTo>
                <a:cubicBezTo>
                  <a:pt x="22" y="41"/>
                  <a:pt x="22" y="47"/>
                  <a:pt x="20" y="47"/>
                </a:cubicBezTo>
                <a:cubicBezTo>
                  <a:pt x="19" y="48"/>
                  <a:pt x="17" y="47"/>
                  <a:pt x="15" y="48"/>
                </a:cubicBezTo>
                <a:cubicBezTo>
                  <a:pt x="14" y="49"/>
                  <a:pt x="11" y="49"/>
                  <a:pt x="10" y="49"/>
                </a:cubicBezTo>
                <a:cubicBezTo>
                  <a:pt x="5" y="51"/>
                  <a:pt x="5" y="53"/>
                  <a:pt x="5" y="57"/>
                </a:cubicBezTo>
                <a:cubicBezTo>
                  <a:pt x="5" y="59"/>
                  <a:pt x="2" y="59"/>
                  <a:pt x="2" y="60"/>
                </a:cubicBezTo>
                <a:cubicBezTo>
                  <a:pt x="2" y="63"/>
                  <a:pt x="0" y="64"/>
                  <a:pt x="2" y="66"/>
                </a:cubicBezTo>
                <a:cubicBezTo>
                  <a:pt x="4" y="68"/>
                  <a:pt x="4" y="70"/>
                  <a:pt x="5" y="72"/>
                </a:cubicBezTo>
                <a:cubicBezTo>
                  <a:pt x="5" y="73"/>
                  <a:pt x="6" y="73"/>
                  <a:pt x="7" y="73"/>
                </a:cubicBezTo>
                <a:cubicBezTo>
                  <a:pt x="8" y="73"/>
                  <a:pt x="8" y="74"/>
                  <a:pt x="9" y="75"/>
                </a:cubicBezTo>
                <a:cubicBezTo>
                  <a:pt x="11" y="78"/>
                  <a:pt x="16" y="75"/>
                  <a:pt x="18" y="73"/>
                </a:cubicBezTo>
                <a:cubicBezTo>
                  <a:pt x="18" y="76"/>
                  <a:pt x="16" y="81"/>
                  <a:pt x="19" y="82"/>
                </a:cubicBezTo>
                <a:cubicBezTo>
                  <a:pt x="20" y="82"/>
                  <a:pt x="23" y="81"/>
                  <a:pt x="24" y="81"/>
                </a:cubicBezTo>
                <a:cubicBezTo>
                  <a:pt x="27" y="82"/>
                  <a:pt x="28" y="82"/>
                  <a:pt x="30" y="80"/>
                </a:cubicBezTo>
                <a:cubicBezTo>
                  <a:pt x="30" y="79"/>
                  <a:pt x="32" y="79"/>
                  <a:pt x="33" y="79"/>
                </a:cubicBezTo>
                <a:cubicBezTo>
                  <a:pt x="35" y="77"/>
                  <a:pt x="37" y="76"/>
                  <a:pt x="39" y="76"/>
                </a:cubicBezTo>
                <a:cubicBezTo>
                  <a:pt x="41" y="75"/>
                  <a:pt x="46" y="73"/>
                  <a:pt x="44" y="77"/>
                </a:cubicBezTo>
                <a:cubicBezTo>
                  <a:pt x="44" y="79"/>
                  <a:pt x="43" y="81"/>
                  <a:pt x="44" y="83"/>
                </a:cubicBezTo>
                <a:cubicBezTo>
                  <a:pt x="45" y="85"/>
                  <a:pt x="47" y="87"/>
                  <a:pt x="49" y="88"/>
                </a:cubicBezTo>
                <a:cubicBezTo>
                  <a:pt x="51" y="90"/>
                  <a:pt x="54" y="89"/>
                  <a:pt x="56" y="90"/>
                </a:cubicBezTo>
                <a:cubicBezTo>
                  <a:pt x="57" y="91"/>
                  <a:pt x="58" y="92"/>
                  <a:pt x="59" y="92"/>
                </a:cubicBezTo>
                <a:cubicBezTo>
                  <a:pt x="60" y="92"/>
                  <a:pt x="61" y="93"/>
                  <a:pt x="61" y="94"/>
                </a:cubicBezTo>
                <a:cubicBezTo>
                  <a:pt x="63" y="94"/>
                  <a:pt x="68" y="93"/>
                  <a:pt x="68" y="96"/>
                </a:cubicBezTo>
                <a:cubicBezTo>
                  <a:pt x="69" y="98"/>
                  <a:pt x="68" y="98"/>
                  <a:pt x="69" y="100"/>
                </a:cubicBezTo>
                <a:cubicBezTo>
                  <a:pt x="70" y="101"/>
                  <a:pt x="69" y="101"/>
                  <a:pt x="68" y="102"/>
                </a:cubicBezTo>
                <a:cubicBezTo>
                  <a:pt x="68" y="102"/>
                  <a:pt x="70" y="107"/>
                  <a:pt x="70" y="108"/>
                </a:cubicBezTo>
                <a:cubicBezTo>
                  <a:pt x="70" y="109"/>
                  <a:pt x="78" y="108"/>
                  <a:pt x="79" y="108"/>
                </a:cubicBezTo>
                <a:cubicBezTo>
                  <a:pt x="79" y="110"/>
                  <a:pt x="78" y="113"/>
                  <a:pt x="80" y="114"/>
                </a:cubicBezTo>
                <a:cubicBezTo>
                  <a:pt x="83" y="116"/>
                  <a:pt x="83" y="118"/>
                  <a:pt x="82" y="122"/>
                </a:cubicBezTo>
                <a:cubicBezTo>
                  <a:pt x="81" y="124"/>
                  <a:pt x="80" y="127"/>
                  <a:pt x="81" y="130"/>
                </a:cubicBezTo>
                <a:cubicBezTo>
                  <a:pt x="81" y="131"/>
                  <a:pt x="82" y="133"/>
                  <a:pt x="82" y="135"/>
                </a:cubicBezTo>
                <a:cubicBezTo>
                  <a:pt x="82" y="136"/>
                  <a:pt x="80" y="138"/>
                  <a:pt x="82" y="138"/>
                </a:cubicBezTo>
                <a:cubicBezTo>
                  <a:pt x="83" y="139"/>
                  <a:pt x="86" y="140"/>
                  <a:pt x="88" y="139"/>
                </a:cubicBezTo>
                <a:cubicBezTo>
                  <a:pt x="90" y="137"/>
                  <a:pt x="94" y="144"/>
                  <a:pt x="93" y="145"/>
                </a:cubicBezTo>
                <a:cubicBezTo>
                  <a:pt x="93" y="146"/>
                  <a:pt x="93" y="147"/>
                  <a:pt x="94" y="148"/>
                </a:cubicBezTo>
                <a:cubicBezTo>
                  <a:pt x="95" y="149"/>
                  <a:pt x="97" y="147"/>
                  <a:pt x="98" y="148"/>
                </a:cubicBezTo>
                <a:cubicBezTo>
                  <a:pt x="102" y="150"/>
                  <a:pt x="98" y="154"/>
                  <a:pt x="98" y="157"/>
                </a:cubicBezTo>
                <a:cubicBezTo>
                  <a:pt x="100" y="154"/>
                  <a:pt x="102" y="160"/>
                  <a:pt x="102" y="160"/>
                </a:cubicBezTo>
                <a:cubicBezTo>
                  <a:pt x="103" y="164"/>
                  <a:pt x="101" y="165"/>
                  <a:pt x="98" y="166"/>
                </a:cubicBezTo>
                <a:cubicBezTo>
                  <a:pt x="94" y="168"/>
                  <a:pt x="92" y="170"/>
                  <a:pt x="90" y="173"/>
                </a:cubicBezTo>
                <a:cubicBezTo>
                  <a:pt x="89" y="175"/>
                  <a:pt x="88" y="176"/>
                  <a:pt x="86" y="177"/>
                </a:cubicBezTo>
                <a:cubicBezTo>
                  <a:pt x="85" y="179"/>
                  <a:pt x="83" y="180"/>
                  <a:pt x="81" y="182"/>
                </a:cubicBezTo>
                <a:cubicBezTo>
                  <a:pt x="83" y="182"/>
                  <a:pt x="85" y="181"/>
                  <a:pt x="86" y="181"/>
                </a:cubicBezTo>
                <a:cubicBezTo>
                  <a:pt x="87" y="181"/>
                  <a:pt x="88" y="183"/>
                  <a:pt x="89" y="183"/>
                </a:cubicBezTo>
                <a:cubicBezTo>
                  <a:pt x="89" y="184"/>
                  <a:pt x="90" y="185"/>
                  <a:pt x="91" y="186"/>
                </a:cubicBezTo>
                <a:cubicBezTo>
                  <a:pt x="92" y="187"/>
                  <a:pt x="93" y="186"/>
                  <a:pt x="94" y="187"/>
                </a:cubicBezTo>
                <a:cubicBezTo>
                  <a:pt x="96" y="189"/>
                  <a:pt x="100" y="190"/>
                  <a:pt x="101" y="193"/>
                </a:cubicBezTo>
                <a:cubicBezTo>
                  <a:pt x="102" y="195"/>
                  <a:pt x="103" y="199"/>
                  <a:pt x="104" y="201"/>
                </a:cubicBezTo>
                <a:cubicBezTo>
                  <a:pt x="105" y="200"/>
                  <a:pt x="106" y="199"/>
                  <a:pt x="107" y="197"/>
                </a:cubicBezTo>
                <a:cubicBezTo>
                  <a:pt x="107" y="196"/>
                  <a:pt x="108" y="194"/>
                  <a:pt x="109" y="193"/>
                </a:cubicBezTo>
                <a:cubicBezTo>
                  <a:pt x="110" y="190"/>
                  <a:pt x="113" y="189"/>
                  <a:pt x="116" y="187"/>
                </a:cubicBezTo>
                <a:cubicBezTo>
                  <a:pt x="118" y="185"/>
                  <a:pt x="118" y="183"/>
                  <a:pt x="119" y="180"/>
                </a:cubicBezTo>
                <a:cubicBezTo>
                  <a:pt x="121" y="176"/>
                  <a:pt x="124" y="175"/>
                  <a:pt x="126" y="172"/>
                </a:cubicBezTo>
                <a:cubicBezTo>
                  <a:pt x="129" y="169"/>
                  <a:pt x="126" y="165"/>
                  <a:pt x="127" y="161"/>
                </a:cubicBezTo>
                <a:cubicBezTo>
                  <a:pt x="128" y="160"/>
                  <a:pt x="128" y="159"/>
                  <a:pt x="128" y="157"/>
                </a:cubicBezTo>
                <a:cubicBezTo>
                  <a:pt x="128" y="156"/>
                  <a:pt x="128" y="156"/>
                  <a:pt x="129" y="156"/>
                </a:cubicBezTo>
                <a:cubicBezTo>
                  <a:pt x="131" y="155"/>
                  <a:pt x="132" y="153"/>
                  <a:pt x="133" y="152"/>
                </a:cubicBezTo>
                <a:cubicBezTo>
                  <a:pt x="134" y="151"/>
                  <a:pt x="135" y="150"/>
                  <a:pt x="137" y="149"/>
                </a:cubicBezTo>
                <a:cubicBezTo>
                  <a:pt x="138" y="149"/>
                  <a:pt x="139" y="148"/>
                  <a:pt x="141" y="147"/>
                </a:cubicBezTo>
                <a:cubicBezTo>
                  <a:pt x="142" y="147"/>
                  <a:pt x="143" y="148"/>
                  <a:pt x="144" y="148"/>
                </a:cubicBezTo>
                <a:cubicBezTo>
                  <a:pt x="145" y="148"/>
                  <a:pt x="144" y="147"/>
                  <a:pt x="144" y="147"/>
                </a:cubicBezTo>
                <a:cubicBezTo>
                  <a:pt x="143" y="146"/>
                  <a:pt x="147" y="145"/>
                  <a:pt x="147" y="145"/>
                </a:cubicBezTo>
                <a:cubicBezTo>
                  <a:pt x="147" y="145"/>
                  <a:pt x="149" y="142"/>
                  <a:pt x="149" y="143"/>
                </a:cubicBezTo>
                <a:cubicBezTo>
                  <a:pt x="150" y="144"/>
                  <a:pt x="155" y="142"/>
                  <a:pt x="155" y="142"/>
                </a:cubicBezTo>
                <a:cubicBezTo>
                  <a:pt x="156" y="142"/>
                  <a:pt x="155" y="143"/>
                  <a:pt x="156" y="143"/>
                </a:cubicBezTo>
                <a:cubicBezTo>
                  <a:pt x="157" y="143"/>
                  <a:pt x="160" y="143"/>
                  <a:pt x="161" y="142"/>
                </a:cubicBezTo>
                <a:cubicBezTo>
                  <a:pt x="162" y="141"/>
                  <a:pt x="162" y="140"/>
                  <a:pt x="163" y="139"/>
                </a:cubicBezTo>
                <a:cubicBezTo>
                  <a:pt x="164" y="139"/>
                  <a:pt x="165" y="138"/>
                  <a:pt x="165" y="137"/>
                </a:cubicBezTo>
                <a:cubicBezTo>
                  <a:pt x="166" y="136"/>
                  <a:pt x="165" y="134"/>
                  <a:pt x="166" y="133"/>
                </a:cubicBezTo>
                <a:cubicBezTo>
                  <a:pt x="167" y="132"/>
                  <a:pt x="168" y="131"/>
                  <a:pt x="169" y="130"/>
                </a:cubicBezTo>
                <a:cubicBezTo>
                  <a:pt x="171" y="127"/>
                  <a:pt x="172" y="126"/>
                  <a:pt x="172" y="123"/>
                </a:cubicBezTo>
                <a:cubicBezTo>
                  <a:pt x="172" y="121"/>
                  <a:pt x="172" y="120"/>
                  <a:pt x="173" y="118"/>
                </a:cubicBezTo>
                <a:cubicBezTo>
                  <a:pt x="173" y="117"/>
                  <a:pt x="174" y="117"/>
                  <a:pt x="175" y="116"/>
                </a:cubicBezTo>
                <a:cubicBezTo>
                  <a:pt x="176" y="115"/>
                  <a:pt x="175" y="113"/>
                  <a:pt x="175" y="112"/>
                </a:cubicBezTo>
                <a:cubicBezTo>
                  <a:pt x="175" y="110"/>
                  <a:pt x="176" y="109"/>
                  <a:pt x="176" y="107"/>
                </a:cubicBezTo>
                <a:cubicBezTo>
                  <a:pt x="177" y="104"/>
                  <a:pt x="176" y="101"/>
                  <a:pt x="176" y="98"/>
                </a:cubicBezTo>
                <a:cubicBezTo>
                  <a:pt x="176" y="96"/>
                  <a:pt x="175" y="94"/>
                  <a:pt x="176" y="93"/>
                </a:cubicBezTo>
                <a:cubicBezTo>
                  <a:pt x="177" y="91"/>
                  <a:pt x="176" y="92"/>
                  <a:pt x="176" y="90"/>
                </a:cubicBezTo>
                <a:cubicBezTo>
                  <a:pt x="176" y="90"/>
                  <a:pt x="178" y="91"/>
                  <a:pt x="178" y="91"/>
                </a:cubicBezTo>
                <a:cubicBezTo>
                  <a:pt x="178" y="91"/>
                  <a:pt x="178" y="90"/>
                  <a:pt x="178" y="90"/>
                </a:cubicBezTo>
                <a:cubicBezTo>
                  <a:pt x="178" y="90"/>
                  <a:pt x="179" y="90"/>
                  <a:pt x="179" y="90"/>
                </a:cubicBezTo>
                <a:cubicBezTo>
                  <a:pt x="181" y="90"/>
                  <a:pt x="182" y="87"/>
                  <a:pt x="182" y="86"/>
                </a:cubicBezTo>
                <a:cubicBezTo>
                  <a:pt x="183" y="85"/>
                  <a:pt x="184" y="83"/>
                  <a:pt x="185" y="81"/>
                </a:cubicBezTo>
                <a:cubicBezTo>
                  <a:pt x="187" y="79"/>
                  <a:pt x="189" y="79"/>
                  <a:pt x="190" y="77"/>
                </a:cubicBezTo>
                <a:cubicBezTo>
                  <a:pt x="195" y="71"/>
                  <a:pt x="199" y="64"/>
                  <a:pt x="196" y="57"/>
                </a:cubicBezTo>
                <a:cubicBezTo>
                  <a:pt x="194" y="53"/>
                  <a:pt x="198" y="60"/>
                  <a:pt x="196" y="57"/>
                </a:cubicBezTo>
                <a:close/>
                <a:moveTo>
                  <a:pt x="115" y="186"/>
                </a:moveTo>
                <a:cubicBezTo>
                  <a:pt x="113" y="187"/>
                  <a:pt x="112" y="189"/>
                  <a:pt x="110" y="190"/>
                </a:cubicBezTo>
                <a:cubicBezTo>
                  <a:pt x="107" y="191"/>
                  <a:pt x="112" y="188"/>
                  <a:pt x="112" y="187"/>
                </a:cubicBezTo>
                <a:cubicBezTo>
                  <a:pt x="113" y="186"/>
                  <a:pt x="114" y="184"/>
                  <a:pt x="116" y="182"/>
                </a:cubicBezTo>
                <a:cubicBezTo>
                  <a:pt x="118" y="180"/>
                  <a:pt x="117" y="184"/>
                  <a:pt x="115" y="186"/>
                </a:cubicBezTo>
                <a:cubicBezTo>
                  <a:pt x="115" y="186"/>
                  <a:pt x="116" y="185"/>
                  <a:pt x="115" y="18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33" name="Freeform 629">
            <a:extLst>
              <a:ext uri="{FF2B5EF4-FFF2-40B4-BE49-F238E27FC236}">
                <a16:creationId xmlns:a16="http://schemas.microsoft.com/office/drawing/2014/main" id="{7F92C120-3021-F644-925A-964C67423D9B}"/>
              </a:ext>
            </a:extLst>
          </p:cNvPr>
          <p:cNvSpPr>
            <a:spLocks/>
          </p:cNvSpPr>
          <p:nvPr/>
        </p:nvSpPr>
        <p:spPr bwMode="auto">
          <a:xfrm>
            <a:off x="4347638" y="5695677"/>
            <a:ext cx="139423" cy="144755"/>
          </a:xfrm>
          <a:custGeom>
            <a:avLst/>
            <a:gdLst>
              <a:gd name="T0" fmla="*/ 21 w 27"/>
              <a:gd name="T1" fmla="*/ 10 h 28"/>
              <a:gd name="T2" fmla="*/ 17 w 27"/>
              <a:gd name="T3" fmla="*/ 7 h 28"/>
              <a:gd name="T4" fmla="*/ 14 w 27"/>
              <a:gd name="T5" fmla="*/ 6 h 28"/>
              <a:gd name="T6" fmla="*/ 11 w 27"/>
              <a:gd name="T7" fmla="*/ 3 h 28"/>
              <a:gd name="T8" fmla="*/ 6 w 27"/>
              <a:gd name="T9" fmla="*/ 2 h 28"/>
              <a:gd name="T10" fmla="*/ 4 w 27"/>
              <a:gd name="T11" fmla="*/ 3 h 28"/>
              <a:gd name="T12" fmla="*/ 3 w 27"/>
              <a:gd name="T13" fmla="*/ 6 h 28"/>
              <a:gd name="T14" fmla="*/ 3 w 27"/>
              <a:gd name="T15" fmla="*/ 12 h 28"/>
              <a:gd name="T16" fmla="*/ 2 w 27"/>
              <a:gd name="T17" fmla="*/ 17 h 28"/>
              <a:gd name="T18" fmla="*/ 1 w 27"/>
              <a:gd name="T19" fmla="*/ 22 h 28"/>
              <a:gd name="T20" fmla="*/ 4 w 27"/>
              <a:gd name="T21" fmla="*/ 25 h 28"/>
              <a:gd name="T22" fmla="*/ 9 w 27"/>
              <a:gd name="T23" fmla="*/ 26 h 28"/>
              <a:gd name="T24" fmla="*/ 13 w 27"/>
              <a:gd name="T25" fmla="*/ 28 h 28"/>
              <a:gd name="T26" fmla="*/ 19 w 27"/>
              <a:gd name="T27" fmla="*/ 28 h 28"/>
              <a:gd name="T28" fmla="*/ 24 w 27"/>
              <a:gd name="T29" fmla="*/ 25 h 28"/>
              <a:gd name="T30" fmla="*/ 26 w 27"/>
              <a:gd name="T31" fmla="*/ 19 h 28"/>
              <a:gd name="T32" fmla="*/ 24 w 27"/>
              <a:gd name="T33" fmla="*/ 14 h 28"/>
              <a:gd name="T34" fmla="*/ 21 w 27"/>
              <a:gd name="T35" fmla="*/ 10 h 28"/>
              <a:gd name="T36" fmla="*/ 21 w 27"/>
              <a:gd name="T37" fmla="*/ 1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7" h="28">
                <a:moveTo>
                  <a:pt x="21" y="10"/>
                </a:moveTo>
                <a:cubicBezTo>
                  <a:pt x="20" y="8"/>
                  <a:pt x="18" y="8"/>
                  <a:pt x="17" y="7"/>
                </a:cubicBezTo>
                <a:cubicBezTo>
                  <a:pt x="16" y="6"/>
                  <a:pt x="15" y="7"/>
                  <a:pt x="14" y="6"/>
                </a:cubicBezTo>
                <a:cubicBezTo>
                  <a:pt x="13" y="5"/>
                  <a:pt x="12" y="4"/>
                  <a:pt x="11" y="3"/>
                </a:cubicBezTo>
                <a:cubicBezTo>
                  <a:pt x="10" y="0"/>
                  <a:pt x="9" y="1"/>
                  <a:pt x="6" y="2"/>
                </a:cubicBezTo>
                <a:cubicBezTo>
                  <a:pt x="5" y="2"/>
                  <a:pt x="5" y="1"/>
                  <a:pt x="4" y="3"/>
                </a:cubicBezTo>
                <a:cubicBezTo>
                  <a:pt x="3" y="4"/>
                  <a:pt x="3" y="5"/>
                  <a:pt x="3" y="6"/>
                </a:cubicBezTo>
                <a:cubicBezTo>
                  <a:pt x="3" y="8"/>
                  <a:pt x="3" y="10"/>
                  <a:pt x="3" y="12"/>
                </a:cubicBezTo>
                <a:cubicBezTo>
                  <a:pt x="3" y="13"/>
                  <a:pt x="3" y="15"/>
                  <a:pt x="2" y="17"/>
                </a:cubicBezTo>
                <a:cubicBezTo>
                  <a:pt x="0" y="19"/>
                  <a:pt x="0" y="19"/>
                  <a:pt x="1" y="22"/>
                </a:cubicBezTo>
                <a:cubicBezTo>
                  <a:pt x="2" y="24"/>
                  <a:pt x="2" y="24"/>
                  <a:pt x="4" y="25"/>
                </a:cubicBezTo>
                <a:cubicBezTo>
                  <a:pt x="6" y="25"/>
                  <a:pt x="8" y="25"/>
                  <a:pt x="9" y="26"/>
                </a:cubicBezTo>
                <a:cubicBezTo>
                  <a:pt x="10" y="26"/>
                  <a:pt x="12" y="28"/>
                  <a:pt x="13" y="28"/>
                </a:cubicBezTo>
                <a:cubicBezTo>
                  <a:pt x="15" y="27"/>
                  <a:pt x="17" y="28"/>
                  <a:pt x="19" y="28"/>
                </a:cubicBezTo>
                <a:cubicBezTo>
                  <a:pt x="20" y="28"/>
                  <a:pt x="23" y="26"/>
                  <a:pt x="24" y="25"/>
                </a:cubicBezTo>
                <a:cubicBezTo>
                  <a:pt x="26" y="23"/>
                  <a:pt x="27" y="21"/>
                  <a:pt x="26" y="19"/>
                </a:cubicBezTo>
                <a:cubicBezTo>
                  <a:pt x="25" y="17"/>
                  <a:pt x="25" y="16"/>
                  <a:pt x="24" y="14"/>
                </a:cubicBezTo>
                <a:cubicBezTo>
                  <a:pt x="24" y="12"/>
                  <a:pt x="23" y="11"/>
                  <a:pt x="21" y="10"/>
                </a:cubicBezTo>
                <a:cubicBezTo>
                  <a:pt x="20" y="9"/>
                  <a:pt x="22" y="10"/>
                  <a:pt x="21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34" name="Freeform 630">
            <a:extLst>
              <a:ext uri="{FF2B5EF4-FFF2-40B4-BE49-F238E27FC236}">
                <a16:creationId xmlns:a16="http://schemas.microsoft.com/office/drawing/2014/main" id="{6290E1C6-9AD0-934B-A307-DA26AFA6EC0C}"/>
              </a:ext>
            </a:extLst>
          </p:cNvPr>
          <p:cNvSpPr>
            <a:spLocks/>
          </p:cNvSpPr>
          <p:nvPr/>
        </p:nvSpPr>
        <p:spPr bwMode="auto">
          <a:xfrm>
            <a:off x="3948783" y="5467953"/>
            <a:ext cx="532983" cy="926786"/>
          </a:xfrm>
          <a:custGeom>
            <a:avLst/>
            <a:gdLst>
              <a:gd name="T0" fmla="*/ 80 w 103"/>
              <a:gd name="T1" fmla="*/ 52 h 179"/>
              <a:gd name="T2" fmla="*/ 85 w 103"/>
              <a:gd name="T3" fmla="*/ 42 h 179"/>
              <a:gd name="T4" fmla="*/ 102 w 103"/>
              <a:gd name="T5" fmla="*/ 29 h 179"/>
              <a:gd name="T6" fmla="*/ 99 w 103"/>
              <a:gd name="T7" fmla="*/ 21 h 179"/>
              <a:gd name="T8" fmla="*/ 94 w 103"/>
              <a:gd name="T9" fmla="*/ 29 h 179"/>
              <a:gd name="T10" fmla="*/ 82 w 103"/>
              <a:gd name="T11" fmla="*/ 30 h 179"/>
              <a:gd name="T12" fmla="*/ 79 w 103"/>
              <a:gd name="T13" fmla="*/ 28 h 179"/>
              <a:gd name="T14" fmla="*/ 81 w 103"/>
              <a:gd name="T15" fmla="*/ 22 h 179"/>
              <a:gd name="T16" fmla="*/ 64 w 103"/>
              <a:gd name="T17" fmla="*/ 9 h 179"/>
              <a:gd name="T18" fmla="*/ 57 w 103"/>
              <a:gd name="T19" fmla="*/ 2 h 179"/>
              <a:gd name="T20" fmla="*/ 48 w 103"/>
              <a:gd name="T21" fmla="*/ 4 h 179"/>
              <a:gd name="T22" fmla="*/ 39 w 103"/>
              <a:gd name="T23" fmla="*/ 1 h 179"/>
              <a:gd name="T24" fmla="*/ 35 w 103"/>
              <a:gd name="T25" fmla="*/ 9 h 179"/>
              <a:gd name="T26" fmla="*/ 27 w 103"/>
              <a:gd name="T27" fmla="*/ 22 h 179"/>
              <a:gd name="T28" fmla="*/ 25 w 103"/>
              <a:gd name="T29" fmla="*/ 32 h 179"/>
              <a:gd name="T30" fmla="*/ 21 w 103"/>
              <a:gd name="T31" fmla="*/ 39 h 179"/>
              <a:gd name="T32" fmla="*/ 19 w 103"/>
              <a:gd name="T33" fmla="*/ 47 h 179"/>
              <a:gd name="T34" fmla="*/ 17 w 103"/>
              <a:gd name="T35" fmla="*/ 52 h 179"/>
              <a:gd name="T36" fmla="*/ 20 w 103"/>
              <a:gd name="T37" fmla="*/ 61 h 179"/>
              <a:gd name="T38" fmla="*/ 18 w 103"/>
              <a:gd name="T39" fmla="*/ 79 h 179"/>
              <a:gd name="T40" fmla="*/ 15 w 103"/>
              <a:gd name="T41" fmla="*/ 94 h 179"/>
              <a:gd name="T42" fmla="*/ 10 w 103"/>
              <a:gd name="T43" fmla="*/ 117 h 179"/>
              <a:gd name="T44" fmla="*/ 13 w 103"/>
              <a:gd name="T45" fmla="*/ 130 h 179"/>
              <a:gd name="T46" fmla="*/ 12 w 103"/>
              <a:gd name="T47" fmla="*/ 135 h 179"/>
              <a:gd name="T48" fmla="*/ 8 w 103"/>
              <a:gd name="T49" fmla="*/ 147 h 179"/>
              <a:gd name="T50" fmla="*/ 5 w 103"/>
              <a:gd name="T51" fmla="*/ 156 h 179"/>
              <a:gd name="T52" fmla="*/ 8 w 103"/>
              <a:gd name="T53" fmla="*/ 170 h 179"/>
              <a:gd name="T54" fmla="*/ 13 w 103"/>
              <a:gd name="T55" fmla="*/ 176 h 179"/>
              <a:gd name="T56" fmla="*/ 23 w 103"/>
              <a:gd name="T57" fmla="*/ 178 h 179"/>
              <a:gd name="T58" fmla="*/ 27 w 103"/>
              <a:gd name="T59" fmla="*/ 179 h 179"/>
              <a:gd name="T60" fmla="*/ 24 w 103"/>
              <a:gd name="T61" fmla="*/ 169 h 179"/>
              <a:gd name="T62" fmla="*/ 25 w 103"/>
              <a:gd name="T63" fmla="*/ 163 h 179"/>
              <a:gd name="T64" fmla="*/ 28 w 103"/>
              <a:gd name="T65" fmla="*/ 163 h 179"/>
              <a:gd name="T66" fmla="*/ 31 w 103"/>
              <a:gd name="T67" fmla="*/ 157 h 179"/>
              <a:gd name="T68" fmla="*/ 40 w 103"/>
              <a:gd name="T69" fmla="*/ 151 h 179"/>
              <a:gd name="T70" fmla="*/ 41 w 103"/>
              <a:gd name="T71" fmla="*/ 145 h 179"/>
              <a:gd name="T72" fmla="*/ 32 w 103"/>
              <a:gd name="T73" fmla="*/ 140 h 179"/>
              <a:gd name="T74" fmla="*/ 39 w 103"/>
              <a:gd name="T75" fmla="*/ 131 h 179"/>
              <a:gd name="T76" fmla="*/ 43 w 103"/>
              <a:gd name="T77" fmla="*/ 124 h 179"/>
              <a:gd name="T78" fmla="*/ 48 w 103"/>
              <a:gd name="T79" fmla="*/ 116 h 179"/>
              <a:gd name="T80" fmla="*/ 51 w 103"/>
              <a:gd name="T81" fmla="*/ 114 h 179"/>
              <a:gd name="T82" fmla="*/ 45 w 103"/>
              <a:gd name="T83" fmla="*/ 113 h 179"/>
              <a:gd name="T84" fmla="*/ 54 w 103"/>
              <a:gd name="T85" fmla="*/ 108 h 179"/>
              <a:gd name="T86" fmla="*/ 58 w 103"/>
              <a:gd name="T87" fmla="*/ 102 h 179"/>
              <a:gd name="T88" fmla="*/ 59 w 103"/>
              <a:gd name="T89" fmla="*/ 97 h 179"/>
              <a:gd name="T90" fmla="*/ 60 w 103"/>
              <a:gd name="T91" fmla="*/ 96 h 179"/>
              <a:gd name="T92" fmla="*/ 76 w 103"/>
              <a:gd name="T93" fmla="*/ 93 h 179"/>
              <a:gd name="T94" fmla="*/ 84 w 103"/>
              <a:gd name="T95" fmla="*/ 87 h 179"/>
              <a:gd name="T96" fmla="*/ 83 w 103"/>
              <a:gd name="T97" fmla="*/ 78 h 179"/>
              <a:gd name="T98" fmla="*/ 78 w 103"/>
              <a:gd name="T99" fmla="*/ 69 h 179"/>
              <a:gd name="T100" fmla="*/ 78 w 103"/>
              <a:gd name="T101" fmla="*/ 66 h 179"/>
              <a:gd name="T102" fmla="*/ 78 w 103"/>
              <a:gd name="T103" fmla="*/ 62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3" h="179">
                <a:moveTo>
                  <a:pt x="78" y="62"/>
                </a:moveTo>
                <a:cubicBezTo>
                  <a:pt x="81" y="59"/>
                  <a:pt x="79" y="56"/>
                  <a:pt x="80" y="52"/>
                </a:cubicBezTo>
                <a:cubicBezTo>
                  <a:pt x="80" y="51"/>
                  <a:pt x="80" y="49"/>
                  <a:pt x="80" y="48"/>
                </a:cubicBezTo>
                <a:cubicBezTo>
                  <a:pt x="81" y="45"/>
                  <a:pt x="83" y="44"/>
                  <a:pt x="85" y="42"/>
                </a:cubicBezTo>
                <a:cubicBezTo>
                  <a:pt x="89" y="39"/>
                  <a:pt x="91" y="34"/>
                  <a:pt x="95" y="31"/>
                </a:cubicBezTo>
                <a:cubicBezTo>
                  <a:pt x="97" y="30"/>
                  <a:pt x="100" y="30"/>
                  <a:pt x="102" y="29"/>
                </a:cubicBezTo>
                <a:cubicBezTo>
                  <a:pt x="103" y="27"/>
                  <a:pt x="102" y="24"/>
                  <a:pt x="101" y="23"/>
                </a:cubicBezTo>
                <a:cubicBezTo>
                  <a:pt x="100" y="21"/>
                  <a:pt x="101" y="21"/>
                  <a:pt x="99" y="21"/>
                </a:cubicBezTo>
                <a:cubicBezTo>
                  <a:pt x="97" y="20"/>
                  <a:pt x="98" y="24"/>
                  <a:pt x="97" y="25"/>
                </a:cubicBezTo>
                <a:cubicBezTo>
                  <a:pt x="96" y="26"/>
                  <a:pt x="95" y="28"/>
                  <a:pt x="94" y="29"/>
                </a:cubicBezTo>
                <a:cubicBezTo>
                  <a:pt x="93" y="30"/>
                  <a:pt x="90" y="29"/>
                  <a:pt x="88" y="30"/>
                </a:cubicBezTo>
                <a:cubicBezTo>
                  <a:pt x="87" y="32"/>
                  <a:pt x="84" y="30"/>
                  <a:pt x="82" y="30"/>
                </a:cubicBezTo>
                <a:cubicBezTo>
                  <a:pt x="81" y="30"/>
                  <a:pt x="79" y="31"/>
                  <a:pt x="78" y="30"/>
                </a:cubicBezTo>
                <a:cubicBezTo>
                  <a:pt x="76" y="30"/>
                  <a:pt x="79" y="28"/>
                  <a:pt x="79" y="28"/>
                </a:cubicBezTo>
                <a:cubicBezTo>
                  <a:pt x="80" y="27"/>
                  <a:pt x="79" y="26"/>
                  <a:pt x="79" y="26"/>
                </a:cubicBezTo>
                <a:cubicBezTo>
                  <a:pt x="79" y="24"/>
                  <a:pt x="80" y="23"/>
                  <a:pt x="81" y="22"/>
                </a:cubicBezTo>
                <a:cubicBezTo>
                  <a:pt x="85" y="18"/>
                  <a:pt x="77" y="16"/>
                  <a:pt x="74" y="14"/>
                </a:cubicBezTo>
                <a:cubicBezTo>
                  <a:pt x="71" y="12"/>
                  <a:pt x="67" y="12"/>
                  <a:pt x="64" y="9"/>
                </a:cubicBezTo>
                <a:cubicBezTo>
                  <a:pt x="63" y="8"/>
                  <a:pt x="61" y="7"/>
                  <a:pt x="60" y="6"/>
                </a:cubicBezTo>
                <a:cubicBezTo>
                  <a:pt x="59" y="4"/>
                  <a:pt x="58" y="2"/>
                  <a:pt x="57" y="2"/>
                </a:cubicBezTo>
                <a:cubicBezTo>
                  <a:pt x="56" y="1"/>
                  <a:pt x="53" y="1"/>
                  <a:pt x="52" y="2"/>
                </a:cubicBezTo>
                <a:cubicBezTo>
                  <a:pt x="51" y="3"/>
                  <a:pt x="50" y="6"/>
                  <a:pt x="48" y="4"/>
                </a:cubicBezTo>
                <a:cubicBezTo>
                  <a:pt x="47" y="2"/>
                  <a:pt x="45" y="2"/>
                  <a:pt x="43" y="2"/>
                </a:cubicBezTo>
                <a:cubicBezTo>
                  <a:pt x="41" y="2"/>
                  <a:pt x="41" y="0"/>
                  <a:pt x="39" y="1"/>
                </a:cubicBezTo>
                <a:cubicBezTo>
                  <a:pt x="38" y="2"/>
                  <a:pt x="35" y="3"/>
                  <a:pt x="35" y="4"/>
                </a:cubicBezTo>
                <a:cubicBezTo>
                  <a:pt x="34" y="6"/>
                  <a:pt x="35" y="8"/>
                  <a:pt x="35" y="9"/>
                </a:cubicBezTo>
                <a:cubicBezTo>
                  <a:pt x="34" y="13"/>
                  <a:pt x="31" y="13"/>
                  <a:pt x="28" y="14"/>
                </a:cubicBezTo>
                <a:cubicBezTo>
                  <a:pt x="26" y="15"/>
                  <a:pt x="27" y="20"/>
                  <a:pt x="27" y="22"/>
                </a:cubicBezTo>
                <a:cubicBezTo>
                  <a:pt x="27" y="24"/>
                  <a:pt x="28" y="26"/>
                  <a:pt x="28" y="27"/>
                </a:cubicBezTo>
                <a:cubicBezTo>
                  <a:pt x="28" y="28"/>
                  <a:pt x="25" y="31"/>
                  <a:pt x="25" y="32"/>
                </a:cubicBezTo>
                <a:cubicBezTo>
                  <a:pt x="24" y="33"/>
                  <a:pt x="21" y="35"/>
                  <a:pt x="21" y="36"/>
                </a:cubicBezTo>
                <a:cubicBezTo>
                  <a:pt x="21" y="37"/>
                  <a:pt x="21" y="38"/>
                  <a:pt x="21" y="39"/>
                </a:cubicBezTo>
                <a:cubicBezTo>
                  <a:pt x="21" y="40"/>
                  <a:pt x="20" y="41"/>
                  <a:pt x="20" y="42"/>
                </a:cubicBezTo>
                <a:cubicBezTo>
                  <a:pt x="20" y="43"/>
                  <a:pt x="21" y="46"/>
                  <a:pt x="19" y="47"/>
                </a:cubicBezTo>
                <a:cubicBezTo>
                  <a:pt x="19" y="48"/>
                  <a:pt x="19" y="50"/>
                  <a:pt x="19" y="51"/>
                </a:cubicBezTo>
                <a:cubicBezTo>
                  <a:pt x="18" y="51"/>
                  <a:pt x="17" y="51"/>
                  <a:pt x="17" y="52"/>
                </a:cubicBezTo>
                <a:cubicBezTo>
                  <a:pt x="17" y="54"/>
                  <a:pt x="19" y="55"/>
                  <a:pt x="19" y="57"/>
                </a:cubicBezTo>
                <a:cubicBezTo>
                  <a:pt x="19" y="58"/>
                  <a:pt x="19" y="60"/>
                  <a:pt x="20" y="61"/>
                </a:cubicBezTo>
                <a:cubicBezTo>
                  <a:pt x="22" y="65"/>
                  <a:pt x="18" y="69"/>
                  <a:pt x="18" y="73"/>
                </a:cubicBezTo>
                <a:cubicBezTo>
                  <a:pt x="17" y="75"/>
                  <a:pt x="19" y="77"/>
                  <a:pt x="18" y="79"/>
                </a:cubicBezTo>
                <a:cubicBezTo>
                  <a:pt x="17" y="80"/>
                  <a:pt x="15" y="81"/>
                  <a:pt x="14" y="83"/>
                </a:cubicBezTo>
                <a:cubicBezTo>
                  <a:pt x="13" y="85"/>
                  <a:pt x="17" y="93"/>
                  <a:pt x="15" y="94"/>
                </a:cubicBezTo>
                <a:cubicBezTo>
                  <a:pt x="11" y="96"/>
                  <a:pt x="12" y="101"/>
                  <a:pt x="11" y="105"/>
                </a:cubicBezTo>
                <a:cubicBezTo>
                  <a:pt x="9" y="108"/>
                  <a:pt x="10" y="113"/>
                  <a:pt x="10" y="117"/>
                </a:cubicBezTo>
                <a:cubicBezTo>
                  <a:pt x="10" y="120"/>
                  <a:pt x="10" y="123"/>
                  <a:pt x="10" y="126"/>
                </a:cubicBezTo>
                <a:cubicBezTo>
                  <a:pt x="10" y="127"/>
                  <a:pt x="15" y="130"/>
                  <a:pt x="13" y="130"/>
                </a:cubicBezTo>
                <a:cubicBezTo>
                  <a:pt x="13" y="130"/>
                  <a:pt x="9" y="131"/>
                  <a:pt x="11" y="132"/>
                </a:cubicBezTo>
                <a:cubicBezTo>
                  <a:pt x="13" y="132"/>
                  <a:pt x="13" y="133"/>
                  <a:pt x="12" y="135"/>
                </a:cubicBezTo>
                <a:cubicBezTo>
                  <a:pt x="11" y="137"/>
                  <a:pt x="11" y="139"/>
                  <a:pt x="11" y="142"/>
                </a:cubicBezTo>
                <a:cubicBezTo>
                  <a:pt x="11" y="144"/>
                  <a:pt x="9" y="145"/>
                  <a:pt x="8" y="147"/>
                </a:cubicBezTo>
                <a:cubicBezTo>
                  <a:pt x="7" y="148"/>
                  <a:pt x="8" y="150"/>
                  <a:pt x="8" y="152"/>
                </a:cubicBezTo>
                <a:cubicBezTo>
                  <a:pt x="8" y="153"/>
                  <a:pt x="6" y="156"/>
                  <a:pt x="5" y="156"/>
                </a:cubicBezTo>
                <a:cubicBezTo>
                  <a:pt x="0" y="158"/>
                  <a:pt x="3" y="164"/>
                  <a:pt x="4" y="167"/>
                </a:cubicBezTo>
                <a:cubicBezTo>
                  <a:pt x="5" y="169"/>
                  <a:pt x="8" y="166"/>
                  <a:pt x="8" y="170"/>
                </a:cubicBezTo>
                <a:cubicBezTo>
                  <a:pt x="8" y="171"/>
                  <a:pt x="7" y="174"/>
                  <a:pt x="9" y="175"/>
                </a:cubicBezTo>
                <a:cubicBezTo>
                  <a:pt x="10" y="176"/>
                  <a:pt x="11" y="176"/>
                  <a:pt x="13" y="176"/>
                </a:cubicBezTo>
                <a:cubicBezTo>
                  <a:pt x="15" y="177"/>
                  <a:pt x="18" y="177"/>
                  <a:pt x="20" y="177"/>
                </a:cubicBezTo>
                <a:cubicBezTo>
                  <a:pt x="21" y="177"/>
                  <a:pt x="22" y="177"/>
                  <a:pt x="23" y="178"/>
                </a:cubicBezTo>
                <a:cubicBezTo>
                  <a:pt x="23" y="177"/>
                  <a:pt x="24" y="177"/>
                  <a:pt x="25" y="177"/>
                </a:cubicBezTo>
                <a:cubicBezTo>
                  <a:pt x="25" y="178"/>
                  <a:pt x="27" y="179"/>
                  <a:pt x="27" y="179"/>
                </a:cubicBezTo>
                <a:cubicBezTo>
                  <a:pt x="28" y="179"/>
                  <a:pt x="26" y="176"/>
                  <a:pt x="26" y="175"/>
                </a:cubicBezTo>
                <a:cubicBezTo>
                  <a:pt x="24" y="173"/>
                  <a:pt x="24" y="171"/>
                  <a:pt x="24" y="169"/>
                </a:cubicBezTo>
                <a:cubicBezTo>
                  <a:pt x="24" y="167"/>
                  <a:pt x="24" y="166"/>
                  <a:pt x="27" y="164"/>
                </a:cubicBezTo>
                <a:cubicBezTo>
                  <a:pt x="29" y="163"/>
                  <a:pt x="25" y="163"/>
                  <a:pt x="25" y="163"/>
                </a:cubicBezTo>
                <a:cubicBezTo>
                  <a:pt x="25" y="163"/>
                  <a:pt x="27" y="162"/>
                  <a:pt x="26" y="162"/>
                </a:cubicBezTo>
                <a:cubicBezTo>
                  <a:pt x="27" y="162"/>
                  <a:pt x="27" y="163"/>
                  <a:pt x="28" y="163"/>
                </a:cubicBezTo>
                <a:cubicBezTo>
                  <a:pt x="29" y="164"/>
                  <a:pt x="30" y="163"/>
                  <a:pt x="31" y="163"/>
                </a:cubicBezTo>
                <a:cubicBezTo>
                  <a:pt x="32" y="161"/>
                  <a:pt x="31" y="159"/>
                  <a:pt x="31" y="157"/>
                </a:cubicBezTo>
                <a:cubicBezTo>
                  <a:pt x="32" y="155"/>
                  <a:pt x="34" y="154"/>
                  <a:pt x="37" y="153"/>
                </a:cubicBezTo>
                <a:cubicBezTo>
                  <a:pt x="38" y="152"/>
                  <a:pt x="39" y="152"/>
                  <a:pt x="40" y="151"/>
                </a:cubicBezTo>
                <a:cubicBezTo>
                  <a:pt x="41" y="150"/>
                  <a:pt x="39" y="149"/>
                  <a:pt x="39" y="149"/>
                </a:cubicBezTo>
                <a:cubicBezTo>
                  <a:pt x="39" y="148"/>
                  <a:pt x="42" y="147"/>
                  <a:pt x="41" y="145"/>
                </a:cubicBezTo>
                <a:cubicBezTo>
                  <a:pt x="40" y="143"/>
                  <a:pt x="36" y="145"/>
                  <a:pt x="35" y="143"/>
                </a:cubicBezTo>
                <a:cubicBezTo>
                  <a:pt x="34" y="142"/>
                  <a:pt x="33" y="142"/>
                  <a:pt x="32" y="140"/>
                </a:cubicBezTo>
                <a:cubicBezTo>
                  <a:pt x="31" y="138"/>
                  <a:pt x="33" y="135"/>
                  <a:pt x="34" y="134"/>
                </a:cubicBezTo>
                <a:cubicBezTo>
                  <a:pt x="36" y="133"/>
                  <a:pt x="37" y="131"/>
                  <a:pt x="39" y="131"/>
                </a:cubicBezTo>
                <a:cubicBezTo>
                  <a:pt x="41" y="130"/>
                  <a:pt x="41" y="132"/>
                  <a:pt x="42" y="129"/>
                </a:cubicBezTo>
                <a:cubicBezTo>
                  <a:pt x="42" y="127"/>
                  <a:pt x="44" y="126"/>
                  <a:pt x="43" y="124"/>
                </a:cubicBezTo>
                <a:cubicBezTo>
                  <a:pt x="42" y="121"/>
                  <a:pt x="47" y="121"/>
                  <a:pt x="48" y="119"/>
                </a:cubicBezTo>
                <a:cubicBezTo>
                  <a:pt x="48" y="119"/>
                  <a:pt x="43" y="115"/>
                  <a:pt x="48" y="116"/>
                </a:cubicBezTo>
                <a:cubicBezTo>
                  <a:pt x="49" y="117"/>
                  <a:pt x="49" y="118"/>
                  <a:pt x="50" y="118"/>
                </a:cubicBezTo>
                <a:cubicBezTo>
                  <a:pt x="52" y="118"/>
                  <a:pt x="52" y="115"/>
                  <a:pt x="51" y="114"/>
                </a:cubicBezTo>
                <a:cubicBezTo>
                  <a:pt x="51" y="113"/>
                  <a:pt x="49" y="115"/>
                  <a:pt x="49" y="115"/>
                </a:cubicBezTo>
                <a:cubicBezTo>
                  <a:pt x="47" y="115"/>
                  <a:pt x="45" y="114"/>
                  <a:pt x="45" y="113"/>
                </a:cubicBezTo>
                <a:cubicBezTo>
                  <a:pt x="45" y="112"/>
                  <a:pt x="43" y="105"/>
                  <a:pt x="45" y="105"/>
                </a:cubicBezTo>
                <a:cubicBezTo>
                  <a:pt x="48" y="106"/>
                  <a:pt x="50" y="108"/>
                  <a:pt x="54" y="108"/>
                </a:cubicBezTo>
                <a:cubicBezTo>
                  <a:pt x="55" y="108"/>
                  <a:pt x="56" y="107"/>
                  <a:pt x="57" y="107"/>
                </a:cubicBezTo>
                <a:cubicBezTo>
                  <a:pt x="59" y="105"/>
                  <a:pt x="57" y="104"/>
                  <a:pt x="58" y="102"/>
                </a:cubicBezTo>
                <a:cubicBezTo>
                  <a:pt x="58" y="101"/>
                  <a:pt x="59" y="100"/>
                  <a:pt x="59" y="100"/>
                </a:cubicBezTo>
                <a:cubicBezTo>
                  <a:pt x="60" y="98"/>
                  <a:pt x="59" y="98"/>
                  <a:pt x="59" y="97"/>
                </a:cubicBezTo>
                <a:cubicBezTo>
                  <a:pt x="58" y="96"/>
                  <a:pt x="58" y="94"/>
                  <a:pt x="59" y="94"/>
                </a:cubicBezTo>
                <a:cubicBezTo>
                  <a:pt x="61" y="94"/>
                  <a:pt x="60" y="96"/>
                  <a:pt x="60" y="96"/>
                </a:cubicBezTo>
                <a:cubicBezTo>
                  <a:pt x="59" y="95"/>
                  <a:pt x="65" y="95"/>
                  <a:pt x="65" y="95"/>
                </a:cubicBezTo>
                <a:cubicBezTo>
                  <a:pt x="69" y="95"/>
                  <a:pt x="72" y="93"/>
                  <a:pt x="76" y="93"/>
                </a:cubicBezTo>
                <a:cubicBezTo>
                  <a:pt x="77" y="92"/>
                  <a:pt x="80" y="91"/>
                  <a:pt x="82" y="90"/>
                </a:cubicBezTo>
                <a:cubicBezTo>
                  <a:pt x="83" y="89"/>
                  <a:pt x="83" y="88"/>
                  <a:pt x="84" y="87"/>
                </a:cubicBezTo>
                <a:cubicBezTo>
                  <a:pt x="85" y="86"/>
                  <a:pt x="86" y="85"/>
                  <a:pt x="87" y="83"/>
                </a:cubicBezTo>
                <a:cubicBezTo>
                  <a:pt x="87" y="80"/>
                  <a:pt x="85" y="80"/>
                  <a:pt x="83" y="78"/>
                </a:cubicBezTo>
                <a:cubicBezTo>
                  <a:pt x="82" y="76"/>
                  <a:pt x="85" y="75"/>
                  <a:pt x="83" y="73"/>
                </a:cubicBezTo>
                <a:cubicBezTo>
                  <a:pt x="82" y="72"/>
                  <a:pt x="78" y="71"/>
                  <a:pt x="78" y="69"/>
                </a:cubicBezTo>
                <a:cubicBezTo>
                  <a:pt x="78" y="69"/>
                  <a:pt x="78" y="68"/>
                  <a:pt x="79" y="68"/>
                </a:cubicBezTo>
                <a:cubicBezTo>
                  <a:pt x="79" y="67"/>
                  <a:pt x="78" y="67"/>
                  <a:pt x="78" y="66"/>
                </a:cubicBezTo>
                <a:cubicBezTo>
                  <a:pt x="78" y="65"/>
                  <a:pt x="77" y="63"/>
                  <a:pt x="78" y="62"/>
                </a:cubicBezTo>
                <a:cubicBezTo>
                  <a:pt x="79" y="61"/>
                  <a:pt x="77" y="63"/>
                  <a:pt x="78" y="6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35" name="Freeform 631">
            <a:extLst>
              <a:ext uri="{FF2B5EF4-FFF2-40B4-BE49-F238E27FC236}">
                <a16:creationId xmlns:a16="http://schemas.microsoft.com/office/drawing/2014/main" id="{0EF82384-5B06-A949-AE0B-76DD8681BA11}"/>
              </a:ext>
            </a:extLst>
          </p:cNvPr>
          <p:cNvSpPr>
            <a:spLocks/>
          </p:cNvSpPr>
          <p:nvPr/>
        </p:nvSpPr>
        <p:spPr bwMode="auto">
          <a:xfrm>
            <a:off x="3602872" y="4491740"/>
            <a:ext cx="112951" cy="125336"/>
          </a:xfrm>
          <a:custGeom>
            <a:avLst/>
            <a:gdLst>
              <a:gd name="T0" fmla="*/ 15 w 22"/>
              <a:gd name="T1" fmla="*/ 23 h 24"/>
              <a:gd name="T2" fmla="*/ 19 w 22"/>
              <a:gd name="T3" fmla="*/ 24 h 24"/>
              <a:gd name="T4" fmla="*/ 19 w 22"/>
              <a:gd name="T5" fmla="*/ 17 h 24"/>
              <a:gd name="T6" fmla="*/ 20 w 22"/>
              <a:gd name="T7" fmla="*/ 10 h 24"/>
              <a:gd name="T8" fmla="*/ 21 w 22"/>
              <a:gd name="T9" fmla="*/ 7 h 24"/>
              <a:gd name="T10" fmla="*/ 22 w 22"/>
              <a:gd name="T11" fmla="*/ 3 h 24"/>
              <a:gd name="T12" fmla="*/ 17 w 22"/>
              <a:gd name="T13" fmla="*/ 4 h 24"/>
              <a:gd name="T14" fmla="*/ 12 w 22"/>
              <a:gd name="T15" fmla="*/ 5 h 24"/>
              <a:gd name="T16" fmla="*/ 9 w 22"/>
              <a:gd name="T17" fmla="*/ 8 h 24"/>
              <a:gd name="T18" fmla="*/ 4 w 22"/>
              <a:gd name="T19" fmla="*/ 9 h 24"/>
              <a:gd name="T20" fmla="*/ 3 w 22"/>
              <a:gd name="T21" fmla="*/ 12 h 24"/>
              <a:gd name="T22" fmla="*/ 0 w 22"/>
              <a:gd name="T23" fmla="*/ 13 h 24"/>
              <a:gd name="T24" fmla="*/ 6 w 22"/>
              <a:gd name="T25" fmla="*/ 19 h 24"/>
              <a:gd name="T26" fmla="*/ 11 w 22"/>
              <a:gd name="T27" fmla="*/ 22 h 24"/>
              <a:gd name="T28" fmla="*/ 15 w 22"/>
              <a:gd name="T29" fmla="*/ 23 h 24"/>
              <a:gd name="T30" fmla="*/ 15 w 22"/>
              <a:gd name="T31" fmla="*/ 23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" h="24">
                <a:moveTo>
                  <a:pt x="15" y="23"/>
                </a:moveTo>
                <a:cubicBezTo>
                  <a:pt x="16" y="24"/>
                  <a:pt x="17" y="24"/>
                  <a:pt x="19" y="24"/>
                </a:cubicBezTo>
                <a:cubicBezTo>
                  <a:pt x="17" y="21"/>
                  <a:pt x="19" y="20"/>
                  <a:pt x="19" y="17"/>
                </a:cubicBezTo>
                <a:cubicBezTo>
                  <a:pt x="19" y="15"/>
                  <a:pt x="20" y="12"/>
                  <a:pt x="20" y="10"/>
                </a:cubicBezTo>
                <a:cubicBezTo>
                  <a:pt x="20" y="9"/>
                  <a:pt x="21" y="8"/>
                  <a:pt x="21" y="7"/>
                </a:cubicBezTo>
                <a:cubicBezTo>
                  <a:pt x="22" y="6"/>
                  <a:pt x="21" y="5"/>
                  <a:pt x="22" y="3"/>
                </a:cubicBezTo>
                <a:cubicBezTo>
                  <a:pt x="22" y="0"/>
                  <a:pt x="18" y="4"/>
                  <a:pt x="17" y="4"/>
                </a:cubicBezTo>
                <a:cubicBezTo>
                  <a:pt x="15" y="4"/>
                  <a:pt x="14" y="3"/>
                  <a:pt x="12" y="5"/>
                </a:cubicBezTo>
                <a:cubicBezTo>
                  <a:pt x="12" y="5"/>
                  <a:pt x="10" y="9"/>
                  <a:pt x="9" y="8"/>
                </a:cubicBezTo>
                <a:cubicBezTo>
                  <a:pt x="7" y="8"/>
                  <a:pt x="6" y="8"/>
                  <a:pt x="4" y="9"/>
                </a:cubicBezTo>
                <a:cubicBezTo>
                  <a:pt x="4" y="10"/>
                  <a:pt x="4" y="12"/>
                  <a:pt x="3" y="12"/>
                </a:cubicBezTo>
                <a:cubicBezTo>
                  <a:pt x="3" y="13"/>
                  <a:pt x="1" y="13"/>
                  <a:pt x="0" y="13"/>
                </a:cubicBezTo>
                <a:cubicBezTo>
                  <a:pt x="2" y="15"/>
                  <a:pt x="4" y="18"/>
                  <a:pt x="6" y="19"/>
                </a:cubicBezTo>
                <a:cubicBezTo>
                  <a:pt x="7" y="21"/>
                  <a:pt x="9" y="22"/>
                  <a:pt x="11" y="22"/>
                </a:cubicBezTo>
                <a:cubicBezTo>
                  <a:pt x="12" y="22"/>
                  <a:pt x="14" y="22"/>
                  <a:pt x="15" y="23"/>
                </a:cubicBezTo>
                <a:cubicBezTo>
                  <a:pt x="16" y="23"/>
                  <a:pt x="15" y="22"/>
                  <a:pt x="15" y="2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36" name="Freeform 632">
            <a:extLst>
              <a:ext uri="{FF2B5EF4-FFF2-40B4-BE49-F238E27FC236}">
                <a16:creationId xmlns:a16="http://schemas.microsoft.com/office/drawing/2014/main" id="{81456E7E-093F-204A-AE74-681AF061DE20}"/>
              </a:ext>
            </a:extLst>
          </p:cNvPr>
          <p:cNvSpPr>
            <a:spLocks/>
          </p:cNvSpPr>
          <p:nvPr/>
        </p:nvSpPr>
        <p:spPr bwMode="auto">
          <a:xfrm>
            <a:off x="3638171" y="4606483"/>
            <a:ext cx="88242" cy="77673"/>
          </a:xfrm>
          <a:custGeom>
            <a:avLst/>
            <a:gdLst>
              <a:gd name="T0" fmla="*/ 16 w 17"/>
              <a:gd name="T1" fmla="*/ 10 h 15"/>
              <a:gd name="T2" fmla="*/ 17 w 17"/>
              <a:gd name="T3" fmla="*/ 8 h 15"/>
              <a:gd name="T4" fmla="*/ 15 w 17"/>
              <a:gd name="T5" fmla="*/ 6 h 15"/>
              <a:gd name="T6" fmla="*/ 12 w 17"/>
              <a:gd name="T7" fmla="*/ 2 h 15"/>
              <a:gd name="T8" fmla="*/ 8 w 17"/>
              <a:gd name="T9" fmla="*/ 1 h 15"/>
              <a:gd name="T10" fmla="*/ 3 w 17"/>
              <a:gd name="T11" fmla="*/ 0 h 15"/>
              <a:gd name="T12" fmla="*/ 3 w 17"/>
              <a:gd name="T13" fmla="*/ 6 h 15"/>
              <a:gd name="T14" fmla="*/ 6 w 17"/>
              <a:gd name="T15" fmla="*/ 7 h 15"/>
              <a:gd name="T16" fmla="*/ 4 w 17"/>
              <a:gd name="T17" fmla="*/ 5 h 15"/>
              <a:gd name="T18" fmla="*/ 7 w 17"/>
              <a:gd name="T19" fmla="*/ 7 h 15"/>
              <a:gd name="T20" fmla="*/ 11 w 17"/>
              <a:gd name="T21" fmla="*/ 10 h 15"/>
              <a:gd name="T22" fmla="*/ 14 w 17"/>
              <a:gd name="T23" fmla="*/ 14 h 15"/>
              <a:gd name="T24" fmla="*/ 16 w 17"/>
              <a:gd name="T25" fmla="*/ 10 h 15"/>
              <a:gd name="T26" fmla="*/ 16 w 17"/>
              <a:gd name="T27" fmla="*/ 1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7" h="15">
                <a:moveTo>
                  <a:pt x="16" y="10"/>
                </a:moveTo>
                <a:cubicBezTo>
                  <a:pt x="16" y="9"/>
                  <a:pt x="16" y="8"/>
                  <a:pt x="17" y="8"/>
                </a:cubicBezTo>
                <a:cubicBezTo>
                  <a:pt x="16" y="7"/>
                  <a:pt x="16" y="6"/>
                  <a:pt x="15" y="6"/>
                </a:cubicBezTo>
                <a:cubicBezTo>
                  <a:pt x="14" y="5"/>
                  <a:pt x="13" y="2"/>
                  <a:pt x="12" y="2"/>
                </a:cubicBezTo>
                <a:cubicBezTo>
                  <a:pt x="10" y="2"/>
                  <a:pt x="9" y="2"/>
                  <a:pt x="8" y="1"/>
                </a:cubicBezTo>
                <a:cubicBezTo>
                  <a:pt x="7" y="0"/>
                  <a:pt x="4" y="0"/>
                  <a:pt x="3" y="0"/>
                </a:cubicBezTo>
                <a:cubicBezTo>
                  <a:pt x="4" y="1"/>
                  <a:pt x="0" y="6"/>
                  <a:pt x="3" y="6"/>
                </a:cubicBezTo>
                <a:cubicBezTo>
                  <a:pt x="4" y="6"/>
                  <a:pt x="4" y="8"/>
                  <a:pt x="6" y="7"/>
                </a:cubicBezTo>
                <a:cubicBezTo>
                  <a:pt x="7" y="6"/>
                  <a:pt x="4" y="5"/>
                  <a:pt x="4" y="5"/>
                </a:cubicBezTo>
                <a:cubicBezTo>
                  <a:pt x="5" y="5"/>
                  <a:pt x="7" y="6"/>
                  <a:pt x="7" y="7"/>
                </a:cubicBezTo>
                <a:cubicBezTo>
                  <a:pt x="8" y="9"/>
                  <a:pt x="10" y="8"/>
                  <a:pt x="11" y="10"/>
                </a:cubicBezTo>
                <a:cubicBezTo>
                  <a:pt x="12" y="11"/>
                  <a:pt x="12" y="13"/>
                  <a:pt x="14" y="14"/>
                </a:cubicBezTo>
                <a:cubicBezTo>
                  <a:pt x="17" y="15"/>
                  <a:pt x="17" y="12"/>
                  <a:pt x="16" y="10"/>
                </a:cubicBezTo>
                <a:cubicBezTo>
                  <a:pt x="16" y="9"/>
                  <a:pt x="16" y="11"/>
                  <a:pt x="16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37" name="Freeform 633">
            <a:extLst>
              <a:ext uri="{FF2B5EF4-FFF2-40B4-BE49-F238E27FC236}">
                <a16:creationId xmlns:a16="http://schemas.microsoft.com/office/drawing/2014/main" id="{616552F4-A8DE-3F42-9FF4-1289BCDE8B5C}"/>
              </a:ext>
            </a:extLst>
          </p:cNvPr>
          <p:cNvSpPr>
            <a:spLocks/>
          </p:cNvSpPr>
          <p:nvPr/>
        </p:nvSpPr>
        <p:spPr bwMode="auto">
          <a:xfrm>
            <a:off x="3539338" y="4518218"/>
            <a:ext cx="58240" cy="45899"/>
          </a:xfrm>
          <a:custGeom>
            <a:avLst/>
            <a:gdLst>
              <a:gd name="T0" fmla="*/ 4 w 11"/>
              <a:gd name="T1" fmla="*/ 1 h 9"/>
              <a:gd name="T2" fmla="*/ 4 w 11"/>
              <a:gd name="T3" fmla="*/ 0 h 9"/>
              <a:gd name="T4" fmla="*/ 0 w 11"/>
              <a:gd name="T5" fmla="*/ 4 h 9"/>
              <a:gd name="T6" fmla="*/ 11 w 11"/>
              <a:gd name="T7" fmla="*/ 5 h 9"/>
              <a:gd name="T8" fmla="*/ 4 w 11"/>
              <a:gd name="T9" fmla="*/ 1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" h="9">
                <a:moveTo>
                  <a:pt x="4" y="1"/>
                </a:moveTo>
                <a:cubicBezTo>
                  <a:pt x="4" y="0"/>
                  <a:pt x="4" y="0"/>
                  <a:pt x="4" y="0"/>
                </a:cubicBezTo>
                <a:cubicBezTo>
                  <a:pt x="3" y="1"/>
                  <a:pt x="1" y="3"/>
                  <a:pt x="0" y="4"/>
                </a:cubicBezTo>
                <a:cubicBezTo>
                  <a:pt x="2" y="5"/>
                  <a:pt x="11" y="9"/>
                  <a:pt x="11" y="5"/>
                </a:cubicBezTo>
                <a:cubicBezTo>
                  <a:pt x="11" y="2"/>
                  <a:pt x="6" y="3"/>
                  <a:pt x="4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38" name="Freeform 634">
            <a:extLst>
              <a:ext uri="{FF2B5EF4-FFF2-40B4-BE49-F238E27FC236}">
                <a16:creationId xmlns:a16="http://schemas.microsoft.com/office/drawing/2014/main" id="{A371F280-3418-AE42-BE2C-0303D6C94A2D}"/>
              </a:ext>
            </a:extLst>
          </p:cNvPr>
          <p:cNvSpPr>
            <a:spLocks/>
          </p:cNvSpPr>
          <p:nvPr/>
        </p:nvSpPr>
        <p:spPr bwMode="auto">
          <a:xfrm>
            <a:off x="3477568" y="4424659"/>
            <a:ext cx="104128" cy="120040"/>
          </a:xfrm>
          <a:custGeom>
            <a:avLst/>
            <a:gdLst>
              <a:gd name="T0" fmla="*/ 16 w 20"/>
              <a:gd name="T1" fmla="*/ 16 h 23"/>
              <a:gd name="T2" fmla="*/ 20 w 20"/>
              <a:gd name="T3" fmla="*/ 12 h 23"/>
              <a:gd name="T4" fmla="*/ 16 w 20"/>
              <a:gd name="T5" fmla="*/ 8 h 23"/>
              <a:gd name="T6" fmla="*/ 16 w 20"/>
              <a:gd name="T7" fmla="*/ 1 h 23"/>
              <a:gd name="T8" fmla="*/ 8 w 20"/>
              <a:gd name="T9" fmla="*/ 1 h 23"/>
              <a:gd name="T10" fmla="*/ 7 w 20"/>
              <a:gd name="T11" fmla="*/ 6 h 23"/>
              <a:gd name="T12" fmla="*/ 8 w 20"/>
              <a:gd name="T13" fmla="*/ 10 h 23"/>
              <a:gd name="T14" fmla="*/ 4 w 20"/>
              <a:gd name="T15" fmla="*/ 10 h 23"/>
              <a:gd name="T16" fmla="*/ 2 w 20"/>
              <a:gd name="T17" fmla="*/ 15 h 23"/>
              <a:gd name="T18" fmla="*/ 12 w 20"/>
              <a:gd name="T19" fmla="*/ 21 h 23"/>
              <a:gd name="T20" fmla="*/ 16 w 20"/>
              <a:gd name="T21" fmla="*/ 16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0" h="23">
                <a:moveTo>
                  <a:pt x="16" y="16"/>
                </a:moveTo>
                <a:cubicBezTo>
                  <a:pt x="16" y="14"/>
                  <a:pt x="19" y="13"/>
                  <a:pt x="20" y="12"/>
                </a:cubicBezTo>
                <a:cubicBezTo>
                  <a:pt x="17" y="11"/>
                  <a:pt x="16" y="11"/>
                  <a:pt x="16" y="8"/>
                </a:cubicBezTo>
                <a:cubicBezTo>
                  <a:pt x="16" y="7"/>
                  <a:pt x="17" y="2"/>
                  <a:pt x="16" y="1"/>
                </a:cubicBezTo>
                <a:cubicBezTo>
                  <a:pt x="15" y="0"/>
                  <a:pt x="10" y="1"/>
                  <a:pt x="8" y="1"/>
                </a:cubicBezTo>
                <a:cubicBezTo>
                  <a:pt x="6" y="1"/>
                  <a:pt x="6" y="4"/>
                  <a:pt x="7" y="6"/>
                </a:cubicBezTo>
                <a:cubicBezTo>
                  <a:pt x="8" y="7"/>
                  <a:pt x="12" y="10"/>
                  <a:pt x="8" y="10"/>
                </a:cubicBezTo>
                <a:cubicBezTo>
                  <a:pt x="7" y="10"/>
                  <a:pt x="5" y="10"/>
                  <a:pt x="4" y="10"/>
                </a:cubicBezTo>
                <a:cubicBezTo>
                  <a:pt x="2" y="10"/>
                  <a:pt x="2" y="14"/>
                  <a:pt x="2" y="15"/>
                </a:cubicBezTo>
                <a:cubicBezTo>
                  <a:pt x="0" y="21"/>
                  <a:pt x="8" y="20"/>
                  <a:pt x="12" y="21"/>
                </a:cubicBezTo>
                <a:cubicBezTo>
                  <a:pt x="13" y="23"/>
                  <a:pt x="16" y="17"/>
                  <a:pt x="16" y="1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39" name="Freeform 635">
            <a:extLst>
              <a:ext uri="{FF2B5EF4-FFF2-40B4-BE49-F238E27FC236}">
                <a16:creationId xmlns:a16="http://schemas.microsoft.com/office/drawing/2014/main" id="{848E020D-7D51-E74E-A963-F344DC69A2A8}"/>
              </a:ext>
            </a:extLst>
          </p:cNvPr>
          <p:cNvSpPr>
            <a:spLocks/>
          </p:cNvSpPr>
          <p:nvPr/>
        </p:nvSpPr>
        <p:spPr bwMode="auto">
          <a:xfrm>
            <a:off x="2847519" y="4015108"/>
            <a:ext cx="774769" cy="497816"/>
          </a:xfrm>
          <a:custGeom>
            <a:avLst/>
            <a:gdLst>
              <a:gd name="T0" fmla="*/ 132 w 150"/>
              <a:gd name="T1" fmla="*/ 88 h 96"/>
              <a:gd name="T2" fmla="*/ 130 w 150"/>
              <a:gd name="T3" fmla="*/ 80 h 96"/>
              <a:gd name="T4" fmla="*/ 144 w 150"/>
              <a:gd name="T5" fmla="*/ 78 h 96"/>
              <a:gd name="T6" fmla="*/ 146 w 150"/>
              <a:gd name="T7" fmla="*/ 68 h 96"/>
              <a:gd name="T8" fmla="*/ 146 w 150"/>
              <a:gd name="T9" fmla="*/ 61 h 96"/>
              <a:gd name="T10" fmla="*/ 132 w 150"/>
              <a:gd name="T11" fmla="*/ 64 h 96"/>
              <a:gd name="T12" fmla="*/ 126 w 150"/>
              <a:gd name="T13" fmla="*/ 76 h 96"/>
              <a:gd name="T14" fmla="*/ 110 w 150"/>
              <a:gd name="T15" fmla="*/ 76 h 96"/>
              <a:gd name="T16" fmla="*/ 102 w 150"/>
              <a:gd name="T17" fmla="*/ 69 h 96"/>
              <a:gd name="T18" fmla="*/ 96 w 150"/>
              <a:gd name="T19" fmla="*/ 51 h 96"/>
              <a:gd name="T20" fmla="*/ 98 w 150"/>
              <a:gd name="T21" fmla="*/ 38 h 96"/>
              <a:gd name="T22" fmla="*/ 90 w 150"/>
              <a:gd name="T23" fmla="*/ 35 h 96"/>
              <a:gd name="T24" fmla="*/ 82 w 150"/>
              <a:gd name="T25" fmla="*/ 24 h 96"/>
              <a:gd name="T26" fmla="*/ 75 w 150"/>
              <a:gd name="T27" fmla="*/ 17 h 96"/>
              <a:gd name="T28" fmla="*/ 68 w 150"/>
              <a:gd name="T29" fmla="*/ 20 h 96"/>
              <a:gd name="T30" fmla="*/ 59 w 150"/>
              <a:gd name="T31" fmla="*/ 10 h 96"/>
              <a:gd name="T32" fmla="*/ 45 w 150"/>
              <a:gd name="T33" fmla="*/ 6 h 96"/>
              <a:gd name="T34" fmla="*/ 29 w 150"/>
              <a:gd name="T35" fmla="*/ 8 h 96"/>
              <a:gd name="T36" fmla="*/ 13 w 150"/>
              <a:gd name="T37" fmla="*/ 1 h 96"/>
              <a:gd name="T38" fmla="*/ 7 w 150"/>
              <a:gd name="T39" fmla="*/ 16 h 96"/>
              <a:gd name="T40" fmla="*/ 15 w 150"/>
              <a:gd name="T41" fmla="*/ 28 h 96"/>
              <a:gd name="T42" fmla="*/ 15 w 150"/>
              <a:gd name="T43" fmla="*/ 32 h 96"/>
              <a:gd name="T44" fmla="*/ 25 w 150"/>
              <a:gd name="T45" fmla="*/ 38 h 96"/>
              <a:gd name="T46" fmla="*/ 26 w 150"/>
              <a:gd name="T47" fmla="*/ 44 h 96"/>
              <a:gd name="T48" fmla="*/ 36 w 150"/>
              <a:gd name="T49" fmla="*/ 53 h 96"/>
              <a:gd name="T50" fmla="*/ 36 w 150"/>
              <a:gd name="T51" fmla="*/ 47 h 96"/>
              <a:gd name="T52" fmla="*/ 32 w 150"/>
              <a:gd name="T53" fmla="*/ 42 h 96"/>
              <a:gd name="T54" fmla="*/ 26 w 150"/>
              <a:gd name="T55" fmla="*/ 32 h 96"/>
              <a:gd name="T56" fmla="*/ 20 w 150"/>
              <a:gd name="T57" fmla="*/ 23 h 96"/>
              <a:gd name="T58" fmla="*/ 13 w 150"/>
              <a:gd name="T59" fmla="*/ 16 h 96"/>
              <a:gd name="T60" fmla="*/ 11 w 150"/>
              <a:gd name="T61" fmla="*/ 5 h 96"/>
              <a:gd name="T62" fmla="*/ 15 w 150"/>
              <a:gd name="T63" fmla="*/ 7 h 96"/>
              <a:gd name="T64" fmla="*/ 20 w 150"/>
              <a:gd name="T65" fmla="*/ 9 h 96"/>
              <a:gd name="T66" fmla="*/ 23 w 150"/>
              <a:gd name="T67" fmla="*/ 19 h 96"/>
              <a:gd name="T68" fmla="*/ 23 w 150"/>
              <a:gd name="T69" fmla="*/ 20 h 96"/>
              <a:gd name="T70" fmla="*/ 32 w 150"/>
              <a:gd name="T71" fmla="*/ 27 h 96"/>
              <a:gd name="T72" fmla="*/ 36 w 150"/>
              <a:gd name="T73" fmla="*/ 33 h 96"/>
              <a:gd name="T74" fmla="*/ 38 w 150"/>
              <a:gd name="T75" fmla="*/ 38 h 96"/>
              <a:gd name="T76" fmla="*/ 46 w 150"/>
              <a:gd name="T77" fmla="*/ 45 h 96"/>
              <a:gd name="T78" fmla="*/ 54 w 150"/>
              <a:gd name="T79" fmla="*/ 53 h 96"/>
              <a:gd name="T80" fmla="*/ 56 w 150"/>
              <a:gd name="T81" fmla="*/ 59 h 96"/>
              <a:gd name="T82" fmla="*/ 58 w 150"/>
              <a:gd name="T83" fmla="*/ 65 h 96"/>
              <a:gd name="T84" fmla="*/ 60 w 150"/>
              <a:gd name="T85" fmla="*/ 72 h 96"/>
              <a:gd name="T86" fmla="*/ 68 w 150"/>
              <a:gd name="T87" fmla="*/ 77 h 96"/>
              <a:gd name="T88" fmla="*/ 89 w 150"/>
              <a:gd name="T89" fmla="*/ 86 h 96"/>
              <a:gd name="T90" fmla="*/ 113 w 150"/>
              <a:gd name="T91" fmla="*/ 88 h 96"/>
              <a:gd name="T92" fmla="*/ 126 w 150"/>
              <a:gd name="T93" fmla="*/ 89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50" h="96">
                <a:moveTo>
                  <a:pt x="126" y="89"/>
                </a:moveTo>
                <a:cubicBezTo>
                  <a:pt x="127" y="89"/>
                  <a:pt x="134" y="90"/>
                  <a:pt x="132" y="88"/>
                </a:cubicBezTo>
                <a:cubicBezTo>
                  <a:pt x="131" y="86"/>
                  <a:pt x="129" y="85"/>
                  <a:pt x="128" y="83"/>
                </a:cubicBezTo>
                <a:cubicBezTo>
                  <a:pt x="128" y="83"/>
                  <a:pt x="129" y="80"/>
                  <a:pt x="130" y="80"/>
                </a:cubicBezTo>
                <a:cubicBezTo>
                  <a:pt x="131" y="79"/>
                  <a:pt x="136" y="80"/>
                  <a:pt x="138" y="80"/>
                </a:cubicBezTo>
                <a:cubicBezTo>
                  <a:pt x="141" y="80"/>
                  <a:pt x="140" y="75"/>
                  <a:pt x="144" y="78"/>
                </a:cubicBezTo>
                <a:cubicBezTo>
                  <a:pt x="145" y="76"/>
                  <a:pt x="146" y="75"/>
                  <a:pt x="146" y="73"/>
                </a:cubicBezTo>
                <a:cubicBezTo>
                  <a:pt x="146" y="71"/>
                  <a:pt x="145" y="69"/>
                  <a:pt x="146" y="68"/>
                </a:cubicBezTo>
                <a:cubicBezTo>
                  <a:pt x="147" y="66"/>
                  <a:pt x="150" y="64"/>
                  <a:pt x="150" y="63"/>
                </a:cubicBezTo>
                <a:cubicBezTo>
                  <a:pt x="149" y="61"/>
                  <a:pt x="148" y="61"/>
                  <a:pt x="146" y="61"/>
                </a:cubicBezTo>
                <a:cubicBezTo>
                  <a:pt x="143" y="61"/>
                  <a:pt x="139" y="61"/>
                  <a:pt x="136" y="62"/>
                </a:cubicBezTo>
                <a:cubicBezTo>
                  <a:pt x="134" y="62"/>
                  <a:pt x="133" y="63"/>
                  <a:pt x="132" y="64"/>
                </a:cubicBezTo>
                <a:cubicBezTo>
                  <a:pt x="131" y="66"/>
                  <a:pt x="132" y="68"/>
                  <a:pt x="131" y="70"/>
                </a:cubicBezTo>
                <a:cubicBezTo>
                  <a:pt x="131" y="71"/>
                  <a:pt x="126" y="76"/>
                  <a:pt x="126" y="76"/>
                </a:cubicBezTo>
                <a:cubicBezTo>
                  <a:pt x="122" y="75"/>
                  <a:pt x="118" y="76"/>
                  <a:pt x="114" y="78"/>
                </a:cubicBezTo>
                <a:cubicBezTo>
                  <a:pt x="112" y="78"/>
                  <a:pt x="111" y="77"/>
                  <a:pt x="110" y="76"/>
                </a:cubicBezTo>
                <a:cubicBezTo>
                  <a:pt x="109" y="75"/>
                  <a:pt x="107" y="75"/>
                  <a:pt x="105" y="74"/>
                </a:cubicBezTo>
                <a:cubicBezTo>
                  <a:pt x="103" y="74"/>
                  <a:pt x="103" y="71"/>
                  <a:pt x="102" y="69"/>
                </a:cubicBezTo>
                <a:cubicBezTo>
                  <a:pt x="101" y="67"/>
                  <a:pt x="99" y="66"/>
                  <a:pt x="98" y="64"/>
                </a:cubicBezTo>
                <a:cubicBezTo>
                  <a:pt x="97" y="60"/>
                  <a:pt x="95" y="55"/>
                  <a:pt x="96" y="51"/>
                </a:cubicBezTo>
                <a:cubicBezTo>
                  <a:pt x="96" y="48"/>
                  <a:pt x="95" y="44"/>
                  <a:pt x="97" y="41"/>
                </a:cubicBezTo>
                <a:cubicBezTo>
                  <a:pt x="98" y="40"/>
                  <a:pt x="98" y="39"/>
                  <a:pt x="98" y="38"/>
                </a:cubicBezTo>
                <a:cubicBezTo>
                  <a:pt x="99" y="36"/>
                  <a:pt x="97" y="37"/>
                  <a:pt x="96" y="36"/>
                </a:cubicBezTo>
                <a:cubicBezTo>
                  <a:pt x="94" y="36"/>
                  <a:pt x="92" y="35"/>
                  <a:pt x="90" y="35"/>
                </a:cubicBezTo>
                <a:cubicBezTo>
                  <a:pt x="89" y="34"/>
                  <a:pt x="87" y="32"/>
                  <a:pt x="87" y="30"/>
                </a:cubicBezTo>
                <a:cubicBezTo>
                  <a:pt x="87" y="27"/>
                  <a:pt x="84" y="26"/>
                  <a:pt x="82" y="24"/>
                </a:cubicBezTo>
                <a:cubicBezTo>
                  <a:pt x="81" y="22"/>
                  <a:pt x="81" y="20"/>
                  <a:pt x="80" y="18"/>
                </a:cubicBezTo>
                <a:cubicBezTo>
                  <a:pt x="79" y="17"/>
                  <a:pt x="77" y="17"/>
                  <a:pt x="75" y="17"/>
                </a:cubicBezTo>
                <a:cubicBezTo>
                  <a:pt x="74" y="16"/>
                  <a:pt x="72" y="16"/>
                  <a:pt x="71" y="17"/>
                </a:cubicBezTo>
                <a:cubicBezTo>
                  <a:pt x="71" y="18"/>
                  <a:pt x="70" y="20"/>
                  <a:pt x="68" y="20"/>
                </a:cubicBezTo>
                <a:cubicBezTo>
                  <a:pt x="66" y="20"/>
                  <a:pt x="63" y="18"/>
                  <a:pt x="62" y="16"/>
                </a:cubicBezTo>
                <a:cubicBezTo>
                  <a:pt x="61" y="13"/>
                  <a:pt x="61" y="12"/>
                  <a:pt x="59" y="10"/>
                </a:cubicBezTo>
                <a:cubicBezTo>
                  <a:pt x="57" y="9"/>
                  <a:pt x="54" y="6"/>
                  <a:pt x="52" y="6"/>
                </a:cubicBezTo>
                <a:cubicBezTo>
                  <a:pt x="51" y="5"/>
                  <a:pt x="45" y="5"/>
                  <a:pt x="45" y="6"/>
                </a:cubicBezTo>
                <a:cubicBezTo>
                  <a:pt x="43" y="9"/>
                  <a:pt x="42" y="8"/>
                  <a:pt x="39" y="8"/>
                </a:cubicBezTo>
                <a:cubicBezTo>
                  <a:pt x="35" y="8"/>
                  <a:pt x="32" y="8"/>
                  <a:pt x="29" y="8"/>
                </a:cubicBezTo>
                <a:cubicBezTo>
                  <a:pt x="28" y="8"/>
                  <a:pt x="25" y="6"/>
                  <a:pt x="23" y="5"/>
                </a:cubicBezTo>
                <a:cubicBezTo>
                  <a:pt x="20" y="4"/>
                  <a:pt x="17" y="3"/>
                  <a:pt x="13" y="1"/>
                </a:cubicBezTo>
                <a:cubicBezTo>
                  <a:pt x="9" y="0"/>
                  <a:pt x="4" y="1"/>
                  <a:pt x="0" y="2"/>
                </a:cubicBezTo>
                <a:cubicBezTo>
                  <a:pt x="1" y="7"/>
                  <a:pt x="5" y="11"/>
                  <a:pt x="7" y="16"/>
                </a:cubicBezTo>
                <a:cubicBezTo>
                  <a:pt x="8" y="18"/>
                  <a:pt x="11" y="20"/>
                  <a:pt x="13" y="21"/>
                </a:cubicBezTo>
                <a:cubicBezTo>
                  <a:pt x="14" y="23"/>
                  <a:pt x="16" y="26"/>
                  <a:pt x="15" y="28"/>
                </a:cubicBezTo>
                <a:cubicBezTo>
                  <a:pt x="15" y="28"/>
                  <a:pt x="8" y="26"/>
                  <a:pt x="12" y="29"/>
                </a:cubicBezTo>
                <a:cubicBezTo>
                  <a:pt x="13" y="30"/>
                  <a:pt x="14" y="31"/>
                  <a:pt x="15" y="32"/>
                </a:cubicBezTo>
                <a:cubicBezTo>
                  <a:pt x="17" y="32"/>
                  <a:pt x="18" y="32"/>
                  <a:pt x="19" y="33"/>
                </a:cubicBezTo>
                <a:cubicBezTo>
                  <a:pt x="21" y="34"/>
                  <a:pt x="23" y="36"/>
                  <a:pt x="25" y="38"/>
                </a:cubicBezTo>
                <a:cubicBezTo>
                  <a:pt x="26" y="39"/>
                  <a:pt x="25" y="41"/>
                  <a:pt x="24" y="42"/>
                </a:cubicBezTo>
                <a:cubicBezTo>
                  <a:pt x="23" y="43"/>
                  <a:pt x="25" y="44"/>
                  <a:pt x="26" y="44"/>
                </a:cubicBezTo>
                <a:cubicBezTo>
                  <a:pt x="29" y="46"/>
                  <a:pt x="31" y="48"/>
                  <a:pt x="33" y="50"/>
                </a:cubicBezTo>
                <a:cubicBezTo>
                  <a:pt x="34" y="51"/>
                  <a:pt x="35" y="53"/>
                  <a:pt x="36" y="53"/>
                </a:cubicBezTo>
                <a:cubicBezTo>
                  <a:pt x="37" y="53"/>
                  <a:pt x="38" y="51"/>
                  <a:pt x="37" y="50"/>
                </a:cubicBezTo>
                <a:cubicBezTo>
                  <a:pt x="37" y="49"/>
                  <a:pt x="36" y="48"/>
                  <a:pt x="36" y="47"/>
                </a:cubicBezTo>
                <a:cubicBezTo>
                  <a:pt x="35" y="46"/>
                  <a:pt x="33" y="47"/>
                  <a:pt x="32" y="46"/>
                </a:cubicBezTo>
                <a:cubicBezTo>
                  <a:pt x="30" y="44"/>
                  <a:pt x="32" y="44"/>
                  <a:pt x="32" y="42"/>
                </a:cubicBezTo>
                <a:cubicBezTo>
                  <a:pt x="32" y="42"/>
                  <a:pt x="30" y="40"/>
                  <a:pt x="30" y="39"/>
                </a:cubicBezTo>
                <a:cubicBezTo>
                  <a:pt x="28" y="37"/>
                  <a:pt x="28" y="34"/>
                  <a:pt x="26" y="32"/>
                </a:cubicBezTo>
                <a:cubicBezTo>
                  <a:pt x="24" y="31"/>
                  <a:pt x="22" y="29"/>
                  <a:pt x="21" y="27"/>
                </a:cubicBezTo>
                <a:cubicBezTo>
                  <a:pt x="21" y="26"/>
                  <a:pt x="21" y="24"/>
                  <a:pt x="20" y="23"/>
                </a:cubicBezTo>
                <a:cubicBezTo>
                  <a:pt x="19" y="22"/>
                  <a:pt x="18" y="21"/>
                  <a:pt x="17" y="20"/>
                </a:cubicBezTo>
                <a:cubicBezTo>
                  <a:pt x="16" y="18"/>
                  <a:pt x="15" y="17"/>
                  <a:pt x="13" y="16"/>
                </a:cubicBezTo>
                <a:cubicBezTo>
                  <a:pt x="12" y="15"/>
                  <a:pt x="12" y="13"/>
                  <a:pt x="12" y="12"/>
                </a:cubicBezTo>
                <a:cubicBezTo>
                  <a:pt x="12" y="11"/>
                  <a:pt x="10" y="6"/>
                  <a:pt x="11" y="5"/>
                </a:cubicBezTo>
                <a:cubicBezTo>
                  <a:pt x="12" y="4"/>
                  <a:pt x="13" y="7"/>
                  <a:pt x="14" y="7"/>
                </a:cubicBezTo>
                <a:cubicBezTo>
                  <a:pt x="15" y="7"/>
                  <a:pt x="15" y="7"/>
                  <a:pt x="15" y="7"/>
                </a:cubicBezTo>
                <a:cubicBezTo>
                  <a:pt x="17" y="6"/>
                  <a:pt x="17" y="7"/>
                  <a:pt x="18" y="8"/>
                </a:cubicBezTo>
                <a:cubicBezTo>
                  <a:pt x="19" y="8"/>
                  <a:pt x="20" y="8"/>
                  <a:pt x="20" y="9"/>
                </a:cubicBezTo>
                <a:cubicBezTo>
                  <a:pt x="20" y="11"/>
                  <a:pt x="21" y="13"/>
                  <a:pt x="22" y="15"/>
                </a:cubicBezTo>
                <a:cubicBezTo>
                  <a:pt x="22" y="16"/>
                  <a:pt x="23" y="18"/>
                  <a:pt x="23" y="19"/>
                </a:cubicBezTo>
                <a:cubicBezTo>
                  <a:pt x="23" y="20"/>
                  <a:pt x="22" y="21"/>
                  <a:pt x="22" y="22"/>
                </a:cubicBezTo>
                <a:cubicBezTo>
                  <a:pt x="23" y="22"/>
                  <a:pt x="23" y="20"/>
                  <a:pt x="23" y="20"/>
                </a:cubicBezTo>
                <a:cubicBezTo>
                  <a:pt x="24" y="19"/>
                  <a:pt x="25" y="22"/>
                  <a:pt x="26" y="22"/>
                </a:cubicBezTo>
                <a:cubicBezTo>
                  <a:pt x="27" y="23"/>
                  <a:pt x="32" y="26"/>
                  <a:pt x="32" y="27"/>
                </a:cubicBezTo>
                <a:cubicBezTo>
                  <a:pt x="32" y="29"/>
                  <a:pt x="33" y="30"/>
                  <a:pt x="34" y="30"/>
                </a:cubicBezTo>
                <a:cubicBezTo>
                  <a:pt x="35" y="31"/>
                  <a:pt x="35" y="32"/>
                  <a:pt x="36" y="33"/>
                </a:cubicBezTo>
                <a:cubicBezTo>
                  <a:pt x="37" y="34"/>
                  <a:pt x="38" y="33"/>
                  <a:pt x="38" y="34"/>
                </a:cubicBezTo>
                <a:cubicBezTo>
                  <a:pt x="39" y="35"/>
                  <a:pt x="37" y="36"/>
                  <a:pt x="38" y="38"/>
                </a:cubicBezTo>
                <a:cubicBezTo>
                  <a:pt x="40" y="39"/>
                  <a:pt x="42" y="40"/>
                  <a:pt x="44" y="42"/>
                </a:cubicBezTo>
                <a:cubicBezTo>
                  <a:pt x="45" y="43"/>
                  <a:pt x="45" y="44"/>
                  <a:pt x="46" y="45"/>
                </a:cubicBezTo>
                <a:cubicBezTo>
                  <a:pt x="47" y="46"/>
                  <a:pt x="48" y="46"/>
                  <a:pt x="49" y="48"/>
                </a:cubicBezTo>
                <a:cubicBezTo>
                  <a:pt x="51" y="49"/>
                  <a:pt x="52" y="51"/>
                  <a:pt x="54" y="53"/>
                </a:cubicBezTo>
                <a:cubicBezTo>
                  <a:pt x="55" y="54"/>
                  <a:pt x="56" y="55"/>
                  <a:pt x="57" y="56"/>
                </a:cubicBezTo>
                <a:cubicBezTo>
                  <a:pt x="58" y="58"/>
                  <a:pt x="56" y="58"/>
                  <a:pt x="56" y="59"/>
                </a:cubicBezTo>
                <a:cubicBezTo>
                  <a:pt x="56" y="60"/>
                  <a:pt x="59" y="59"/>
                  <a:pt x="59" y="61"/>
                </a:cubicBezTo>
                <a:cubicBezTo>
                  <a:pt x="58" y="63"/>
                  <a:pt x="57" y="63"/>
                  <a:pt x="58" y="65"/>
                </a:cubicBezTo>
                <a:cubicBezTo>
                  <a:pt x="58" y="65"/>
                  <a:pt x="56" y="67"/>
                  <a:pt x="57" y="68"/>
                </a:cubicBezTo>
                <a:cubicBezTo>
                  <a:pt x="58" y="69"/>
                  <a:pt x="59" y="71"/>
                  <a:pt x="60" y="72"/>
                </a:cubicBezTo>
                <a:cubicBezTo>
                  <a:pt x="61" y="73"/>
                  <a:pt x="62" y="73"/>
                  <a:pt x="63" y="73"/>
                </a:cubicBezTo>
                <a:cubicBezTo>
                  <a:pt x="66" y="74"/>
                  <a:pt x="66" y="76"/>
                  <a:pt x="68" y="77"/>
                </a:cubicBezTo>
                <a:cubicBezTo>
                  <a:pt x="71" y="79"/>
                  <a:pt x="75" y="79"/>
                  <a:pt x="77" y="81"/>
                </a:cubicBezTo>
                <a:cubicBezTo>
                  <a:pt x="81" y="83"/>
                  <a:pt x="85" y="85"/>
                  <a:pt x="89" y="86"/>
                </a:cubicBezTo>
                <a:cubicBezTo>
                  <a:pt x="92" y="88"/>
                  <a:pt x="97" y="90"/>
                  <a:pt x="101" y="91"/>
                </a:cubicBezTo>
                <a:cubicBezTo>
                  <a:pt x="105" y="91"/>
                  <a:pt x="108" y="87"/>
                  <a:pt x="113" y="88"/>
                </a:cubicBezTo>
                <a:cubicBezTo>
                  <a:pt x="117" y="89"/>
                  <a:pt x="120" y="93"/>
                  <a:pt x="123" y="96"/>
                </a:cubicBezTo>
                <a:cubicBezTo>
                  <a:pt x="123" y="95"/>
                  <a:pt x="124" y="90"/>
                  <a:pt x="126" y="89"/>
                </a:cubicBezTo>
                <a:cubicBezTo>
                  <a:pt x="127" y="89"/>
                  <a:pt x="125" y="89"/>
                  <a:pt x="126" y="8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40" name="Freeform 636">
            <a:extLst>
              <a:ext uri="{FF2B5EF4-FFF2-40B4-BE49-F238E27FC236}">
                <a16:creationId xmlns:a16="http://schemas.microsoft.com/office/drawing/2014/main" id="{F741B510-E8DB-214B-BC7F-A8A8A0002141}"/>
              </a:ext>
            </a:extLst>
          </p:cNvPr>
          <p:cNvSpPr>
            <a:spLocks/>
          </p:cNvSpPr>
          <p:nvPr/>
        </p:nvSpPr>
        <p:spPr bwMode="auto">
          <a:xfrm>
            <a:off x="3555223" y="4477618"/>
            <a:ext cx="155307" cy="82970"/>
          </a:xfrm>
          <a:custGeom>
            <a:avLst/>
            <a:gdLst>
              <a:gd name="T0" fmla="*/ 12 w 30"/>
              <a:gd name="T1" fmla="*/ 15 h 16"/>
              <a:gd name="T2" fmla="*/ 13 w 30"/>
              <a:gd name="T3" fmla="*/ 13 h 16"/>
              <a:gd name="T4" fmla="*/ 16 w 30"/>
              <a:gd name="T5" fmla="*/ 11 h 16"/>
              <a:gd name="T6" fmla="*/ 20 w 30"/>
              <a:gd name="T7" fmla="*/ 10 h 16"/>
              <a:gd name="T8" fmla="*/ 24 w 30"/>
              <a:gd name="T9" fmla="*/ 7 h 16"/>
              <a:gd name="T10" fmla="*/ 30 w 30"/>
              <a:gd name="T11" fmla="*/ 5 h 16"/>
              <a:gd name="T12" fmla="*/ 20 w 30"/>
              <a:gd name="T13" fmla="*/ 1 h 16"/>
              <a:gd name="T14" fmla="*/ 14 w 30"/>
              <a:gd name="T15" fmla="*/ 2 h 16"/>
              <a:gd name="T16" fmla="*/ 8 w 30"/>
              <a:gd name="T17" fmla="*/ 1 h 16"/>
              <a:gd name="T18" fmla="*/ 2 w 30"/>
              <a:gd name="T19" fmla="*/ 4 h 16"/>
              <a:gd name="T20" fmla="*/ 1 w 30"/>
              <a:gd name="T21" fmla="*/ 9 h 16"/>
              <a:gd name="T22" fmla="*/ 8 w 30"/>
              <a:gd name="T23" fmla="*/ 14 h 16"/>
              <a:gd name="T24" fmla="*/ 10 w 30"/>
              <a:gd name="T25" fmla="*/ 14 h 16"/>
              <a:gd name="T26" fmla="*/ 9 w 30"/>
              <a:gd name="T27" fmla="*/ 16 h 16"/>
              <a:gd name="T28" fmla="*/ 12 w 30"/>
              <a:gd name="T29" fmla="*/ 1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0" h="16">
                <a:moveTo>
                  <a:pt x="12" y="15"/>
                </a:moveTo>
                <a:cubicBezTo>
                  <a:pt x="13" y="15"/>
                  <a:pt x="13" y="14"/>
                  <a:pt x="13" y="13"/>
                </a:cubicBezTo>
                <a:cubicBezTo>
                  <a:pt x="13" y="12"/>
                  <a:pt x="15" y="11"/>
                  <a:pt x="16" y="11"/>
                </a:cubicBezTo>
                <a:cubicBezTo>
                  <a:pt x="18" y="10"/>
                  <a:pt x="18" y="12"/>
                  <a:pt x="20" y="10"/>
                </a:cubicBezTo>
                <a:cubicBezTo>
                  <a:pt x="21" y="9"/>
                  <a:pt x="22" y="6"/>
                  <a:pt x="24" y="7"/>
                </a:cubicBezTo>
                <a:cubicBezTo>
                  <a:pt x="27" y="7"/>
                  <a:pt x="27" y="6"/>
                  <a:pt x="30" y="5"/>
                </a:cubicBezTo>
                <a:cubicBezTo>
                  <a:pt x="26" y="3"/>
                  <a:pt x="25" y="0"/>
                  <a:pt x="20" y="1"/>
                </a:cubicBezTo>
                <a:cubicBezTo>
                  <a:pt x="18" y="1"/>
                  <a:pt x="16" y="2"/>
                  <a:pt x="14" y="2"/>
                </a:cubicBezTo>
                <a:cubicBezTo>
                  <a:pt x="12" y="2"/>
                  <a:pt x="10" y="1"/>
                  <a:pt x="8" y="1"/>
                </a:cubicBezTo>
                <a:cubicBezTo>
                  <a:pt x="5" y="2"/>
                  <a:pt x="4" y="2"/>
                  <a:pt x="2" y="4"/>
                </a:cubicBezTo>
                <a:cubicBezTo>
                  <a:pt x="2" y="5"/>
                  <a:pt x="0" y="7"/>
                  <a:pt x="1" y="9"/>
                </a:cubicBezTo>
                <a:cubicBezTo>
                  <a:pt x="4" y="11"/>
                  <a:pt x="8" y="9"/>
                  <a:pt x="8" y="14"/>
                </a:cubicBezTo>
                <a:cubicBezTo>
                  <a:pt x="8" y="14"/>
                  <a:pt x="10" y="14"/>
                  <a:pt x="10" y="14"/>
                </a:cubicBezTo>
                <a:cubicBezTo>
                  <a:pt x="10" y="14"/>
                  <a:pt x="9" y="16"/>
                  <a:pt x="9" y="16"/>
                </a:cubicBezTo>
                <a:cubicBezTo>
                  <a:pt x="10" y="16"/>
                  <a:pt x="12" y="16"/>
                  <a:pt x="12" y="1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41" name="Freeform 637">
            <a:extLst>
              <a:ext uri="{FF2B5EF4-FFF2-40B4-BE49-F238E27FC236}">
                <a16:creationId xmlns:a16="http://schemas.microsoft.com/office/drawing/2014/main" id="{B0615003-73C1-2F44-84D7-3538031028C8}"/>
              </a:ext>
            </a:extLst>
          </p:cNvPr>
          <p:cNvSpPr>
            <a:spLocks/>
          </p:cNvSpPr>
          <p:nvPr/>
        </p:nvSpPr>
        <p:spPr bwMode="auto">
          <a:xfrm>
            <a:off x="3555223" y="4408770"/>
            <a:ext cx="37062" cy="77673"/>
          </a:xfrm>
          <a:custGeom>
            <a:avLst/>
            <a:gdLst>
              <a:gd name="T0" fmla="*/ 5 w 7"/>
              <a:gd name="T1" fmla="*/ 1 h 15"/>
              <a:gd name="T2" fmla="*/ 2 w 7"/>
              <a:gd name="T3" fmla="*/ 4 h 15"/>
              <a:gd name="T4" fmla="*/ 1 w 7"/>
              <a:gd name="T5" fmla="*/ 6 h 15"/>
              <a:gd name="T6" fmla="*/ 2 w 7"/>
              <a:gd name="T7" fmla="*/ 14 h 15"/>
              <a:gd name="T8" fmla="*/ 6 w 7"/>
              <a:gd name="T9" fmla="*/ 8 h 15"/>
              <a:gd name="T10" fmla="*/ 7 w 7"/>
              <a:gd name="T11" fmla="*/ 2 h 15"/>
              <a:gd name="T12" fmla="*/ 5 w 7"/>
              <a:gd name="T13" fmla="*/ 1 h 15"/>
              <a:gd name="T14" fmla="*/ 5 w 7"/>
              <a:gd name="T15" fmla="*/ 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" h="15">
                <a:moveTo>
                  <a:pt x="5" y="1"/>
                </a:moveTo>
                <a:cubicBezTo>
                  <a:pt x="4" y="0"/>
                  <a:pt x="2" y="3"/>
                  <a:pt x="2" y="4"/>
                </a:cubicBezTo>
                <a:cubicBezTo>
                  <a:pt x="1" y="5"/>
                  <a:pt x="1" y="4"/>
                  <a:pt x="1" y="6"/>
                </a:cubicBezTo>
                <a:cubicBezTo>
                  <a:pt x="1" y="7"/>
                  <a:pt x="0" y="15"/>
                  <a:pt x="2" y="14"/>
                </a:cubicBezTo>
                <a:cubicBezTo>
                  <a:pt x="2" y="13"/>
                  <a:pt x="5" y="10"/>
                  <a:pt x="6" y="8"/>
                </a:cubicBezTo>
                <a:cubicBezTo>
                  <a:pt x="6" y="5"/>
                  <a:pt x="6" y="4"/>
                  <a:pt x="7" y="2"/>
                </a:cubicBezTo>
                <a:cubicBezTo>
                  <a:pt x="7" y="1"/>
                  <a:pt x="6" y="1"/>
                  <a:pt x="5" y="1"/>
                </a:cubicBezTo>
                <a:cubicBezTo>
                  <a:pt x="4" y="0"/>
                  <a:pt x="6" y="1"/>
                  <a:pt x="5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42" name="Freeform 638">
            <a:extLst>
              <a:ext uri="{FF2B5EF4-FFF2-40B4-BE49-F238E27FC236}">
                <a16:creationId xmlns:a16="http://schemas.microsoft.com/office/drawing/2014/main" id="{7EA31C53-E300-074D-804E-C1B7288A97CA}"/>
              </a:ext>
            </a:extLst>
          </p:cNvPr>
          <p:cNvSpPr>
            <a:spLocks/>
          </p:cNvSpPr>
          <p:nvPr/>
        </p:nvSpPr>
        <p:spPr bwMode="auto">
          <a:xfrm>
            <a:off x="3943487" y="4362871"/>
            <a:ext cx="67063" cy="56489"/>
          </a:xfrm>
          <a:custGeom>
            <a:avLst/>
            <a:gdLst>
              <a:gd name="T0" fmla="*/ 12 w 13"/>
              <a:gd name="T1" fmla="*/ 3 h 11"/>
              <a:gd name="T2" fmla="*/ 6 w 13"/>
              <a:gd name="T3" fmla="*/ 1 h 11"/>
              <a:gd name="T4" fmla="*/ 7 w 13"/>
              <a:gd name="T5" fmla="*/ 5 h 11"/>
              <a:gd name="T6" fmla="*/ 9 w 13"/>
              <a:gd name="T7" fmla="*/ 9 h 11"/>
              <a:gd name="T8" fmla="*/ 6 w 13"/>
              <a:gd name="T9" fmla="*/ 10 h 11"/>
              <a:gd name="T10" fmla="*/ 5 w 13"/>
              <a:gd name="T11" fmla="*/ 8 h 11"/>
              <a:gd name="T12" fmla="*/ 0 w 13"/>
              <a:gd name="T13" fmla="*/ 9 h 11"/>
              <a:gd name="T14" fmla="*/ 3 w 13"/>
              <a:gd name="T15" fmla="*/ 11 h 11"/>
              <a:gd name="T16" fmla="*/ 13 w 13"/>
              <a:gd name="T17" fmla="*/ 11 h 11"/>
              <a:gd name="T18" fmla="*/ 12 w 13"/>
              <a:gd name="T19" fmla="*/ 3 h 11"/>
              <a:gd name="T20" fmla="*/ 12 w 13"/>
              <a:gd name="T21" fmla="*/ 3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" h="11">
                <a:moveTo>
                  <a:pt x="12" y="3"/>
                </a:moveTo>
                <a:cubicBezTo>
                  <a:pt x="10" y="3"/>
                  <a:pt x="8" y="0"/>
                  <a:pt x="6" y="1"/>
                </a:cubicBezTo>
                <a:cubicBezTo>
                  <a:pt x="3" y="2"/>
                  <a:pt x="7" y="3"/>
                  <a:pt x="7" y="5"/>
                </a:cubicBezTo>
                <a:cubicBezTo>
                  <a:pt x="8" y="6"/>
                  <a:pt x="10" y="8"/>
                  <a:pt x="9" y="9"/>
                </a:cubicBezTo>
                <a:cubicBezTo>
                  <a:pt x="8" y="10"/>
                  <a:pt x="7" y="10"/>
                  <a:pt x="6" y="10"/>
                </a:cubicBezTo>
                <a:cubicBezTo>
                  <a:pt x="4" y="9"/>
                  <a:pt x="6" y="9"/>
                  <a:pt x="5" y="8"/>
                </a:cubicBezTo>
                <a:cubicBezTo>
                  <a:pt x="5" y="8"/>
                  <a:pt x="0" y="9"/>
                  <a:pt x="0" y="9"/>
                </a:cubicBezTo>
                <a:cubicBezTo>
                  <a:pt x="0" y="11"/>
                  <a:pt x="2" y="11"/>
                  <a:pt x="3" y="11"/>
                </a:cubicBezTo>
                <a:cubicBezTo>
                  <a:pt x="6" y="10"/>
                  <a:pt x="9" y="11"/>
                  <a:pt x="13" y="11"/>
                </a:cubicBezTo>
                <a:cubicBezTo>
                  <a:pt x="13" y="8"/>
                  <a:pt x="12" y="5"/>
                  <a:pt x="12" y="3"/>
                </a:cubicBezTo>
                <a:cubicBezTo>
                  <a:pt x="11" y="3"/>
                  <a:pt x="12" y="5"/>
                  <a:pt x="12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43" name="Freeform 639">
            <a:extLst>
              <a:ext uri="{FF2B5EF4-FFF2-40B4-BE49-F238E27FC236}">
                <a16:creationId xmlns:a16="http://schemas.microsoft.com/office/drawing/2014/main" id="{AB1E3FD9-C37C-5740-9C9B-148A311BB199}"/>
              </a:ext>
            </a:extLst>
          </p:cNvPr>
          <p:cNvSpPr>
            <a:spLocks/>
          </p:cNvSpPr>
          <p:nvPr/>
        </p:nvSpPr>
        <p:spPr bwMode="auto">
          <a:xfrm>
            <a:off x="4005258" y="4362871"/>
            <a:ext cx="93537" cy="77673"/>
          </a:xfrm>
          <a:custGeom>
            <a:avLst/>
            <a:gdLst>
              <a:gd name="T0" fmla="*/ 14 w 18"/>
              <a:gd name="T1" fmla="*/ 7 h 15"/>
              <a:gd name="T2" fmla="*/ 8 w 18"/>
              <a:gd name="T3" fmla="*/ 3 h 15"/>
              <a:gd name="T4" fmla="*/ 1 w 18"/>
              <a:gd name="T5" fmla="*/ 1 h 15"/>
              <a:gd name="T6" fmla="*/ 0 w 18"/>
              <a:gd name="T7" fmla="*/ 3 h 15"/>
              <a:gd name="T8" fmla="*/ 1 w 18"/>
              <a:gd name="T9" fmla="*/ 10 h 15"/>
              <a:gd name="T10" fmla="*/ 2 w 18"/>
              <a:gd name="T11" fmla="*/ 12 h 15"/>
              <a:gd name="T12" fmla="*/ 4 w 18"/>
              <a:gd name="T13" fmla="*/ 10 h 15"/>
              <a:gd name="T14" fmla="*/ 13 w 18"/>
              <a:gd name="T15" fmla="*/ 10 h 15"/>
              <a:gd name="T16" fmla="*/ 17 w 18"/>
              <a:gd name="T17" fmla="*/ 10 h 15"/>
              <a:gd name="T18" fmla="*/ 14 w 18"/>
              <a:gd name="T19" fmla="*/ 7 h 15"/>
              <a:gd name="T20" fmla="*/ 14 w 18"/>
              <a:gd name="T21" fmla="*/ 7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8" h="15">
                <a:moveTo>
                  <a:pt x="14" y="7"/>
                </a:moveTo>
                <a:cubicBezTo>
                  <a:pt x="12" y="6"/>
                  <a:pt x="10" y="4"/>
                  <a:pt x="8" y="3"/>
                </a:cubicBezTo>
                <a:cubicBezTo>
                  <a:pt x="7" y="2"/>
                  <a:pt x="2" y="0"/>
                  <a:pt x="1" y="1"/>
                </a:cubicBezTo>
                <a:cubicBezTo>
                  <a:pt x="1" y="1"/>
                  <a:pt x="3" y="3"/>
                  <a:pt x="0" y="3"/>
                </a:cubicBezTo>
                <a:cubicBezTo>
                  <a:pt x="0" y="5"/>
                  <a:pt x="1" y="7"/>
                  <a:pt x="1" y="10"/>
                </a:cubicBezTo>
                <a:cubicBezTo>
                  <a:pt x="1" y="11"/>
                  <a:pt x="1" y="11"/>
                  <a:pt x="2" y="12"/>
                </a:cubicBezTo>
                <a:cubicBezTo>
                  <a:pt x="3" y="15"/>
                  <a:pt x="3" y="11"/>
                  <a:pt x="4" y="10"/>
                </a:cubicBezTo>
                <a:cubicBezTo>
                  <a:pt x="6" y="8"/>
                  <a:pt x="11" y="10"/>
                  <a:pt x="13" y="10"/>
                </a:cubicBezTo>
                <a:cubicBezTo>
                  <a:pt x="15" y="10"/>
                  <a:pt x="15" y="11"/>
                  <a:pt x="17" y="10"/>
                </a:cubicBezTo>
                <a:cubicBezTo>
                  <a:pt x="18" y="8"/>
                  <a:pt x="17" y="7"/>
                  <a:pt x="14" y="7"/>
                </a:cubicBezTo>
                <a:cubicBezTo>
                  <a:pt x="12" y="7"/>
                  <a:pt x="16" y="7"/>
                  <a:pt x="14" y="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44" name="Freeform 640">
            <a:extLst>
              <a:ext uri="{FF2B5EF4-FFF2-40B4-BE49-F238E27FC236}">
                <a16:creationId xmlns:a16="http://schemas.microsoft.com/office/drawing/2014/main" id="{3198B969-FF33-484D-8C31-74DF794E93F5}"/>
              </a:ext>
            </a:extLst>
          </p:cNvPr>
          <p:cNvSpPr>
            <a:spLocks/>
          </p:cNvSpPr>
          <p:nvPr/>
        </p:nvSpPr>
        <p:spPr bwMode="auto">
          <a:xfrm>
            <a:off x="1511530" y="2636403"/>
            <a:ext cx="1004199" cy="674346"/>
          </a:xfrm>
          <a:custGeom>
            <a:avLst/>
            <a:gdLst>
              <a:gd name="T0" fmla="*/ 184 w 194"/>
              <a:gd name="T1" fmla="*/ 118 h 130"/>
              <a:gd name="T2" fmla="*/ 161 w 194"/>
              <a:gd name="T3" fmla="*/ 97 h 130"/>
              <a:gd name="T4" fmla="*/ 143 w 194"/>
              <a:gd name="T5" fmla="*/ 92 h 130"/>
              <a:gd name="T6" fmla="*/ 138 w 194"/>
              <a:gd name="T7" fmla="*/ 76 h 130"/>
              <a:gd name="T8" fmla="*/ 135 w 194"/>
              <a:gd name="T9" fmla="*/ 14 h 130"/>
              <a:gd name="T10" fmla="*/ 84 w 194"/>
              <a:gd name="T11" fmla="*/ 8 h 130"/>
              <a:gd name="T12" fmla="*/ 71 w 194"/>
              <a:gd name="T13" fmla="*/ 5 h 130"/>
              <a:gd name="T14" fmla="*/ 62 w 194"/>
              <a:gd name="T15" fmla="*/ 1 h 130"/>
              <a:gd name="T16" fmla="*/ 43 w 194"/>
              <a:gd name="T17" fmla="*/ 8 h 130"/>
              <a:gd name="T18" fmla="*/ 32 w 194"/>
              <a:gd name="T19" fmla="*/ 11 h 130"/>
              <a:gd name="T20" fmla="*/ 12 w 194"/>
              <a:gd name="T21" fmla="*/ 23 h 130"/>
              <a:gd name="T22" fmla="*/ 26 w 194"/>
              <a:gd name="T23" fmla="*/ 38 h 130"/>
              <a:gd name="T24" fmla="*/ 33 w 194"/>
              <a:gd name="T25" fmla="*/ 42 h 130"/>
              <a:gd name="T26" fmla="*/ 38 w 194"/>
              <a:gd name="T27" fmla="*/ 45 h 130"/>
              <a:gd name="T28" fmla="*/ 24 w 194"/>
              <a:gd name="T29" fmla="*/ 42 h 130"/>
              <a:gd name="T30" fmla="*/ 9 w 194"/>
              <a:gd name="T31" fmla="*/ 46 h 130"/>
              <a:gd name="T32" fmla="*/ 12 w 194"/>
              <a:gd name="T33" fmla="*/ 58 h 130"/>
              <a:gd name="T34" fmla="*/ 32 w 194"/>
              <a:gd name="T35" fmla="*/ 58 h 130"/>
              <a:gd name="T36" fmla="*/ 38 w 194"/>
              <a:gd name="T37" fmla="*/ 61 h 130"/>
              <a:gd name="T38" fmla="*/ 21 w 194"/>
              <a:gd name="T39" fmla="*/ 71 h 130"/>
              <a:gd name="T40" fmla="*/ 15 w 194"/>
              <a:gd name="T41" fmla="*/ 78 h 130"/>
              <a:gd name="T42" fmla="*/ 17 w 194"/>
              <a:gd name="T43" fmla="*/ 84 h 130"/>
              <a:gd name="T44" fmla="*/ 26 w 194"/>
              <a:gd name="T45" fmla="*/ 89 h 130"/>
              <a:gd name="T46" fmla="*/ 22 w 194"/>
              <a:gd name="T47" fmla="*/ 94 h 130"/>
              <a:gd name="T48" fmla="*/ 31 w 194"/>
              <a:gd name="T49" fmla="*/ 93 h 130"/>
              <a:gd name="T50" fmla="*/ 38 w 194"/>
              <a:gd name="T51" fmla="*/ 102 h 130"/>
              <a:gd name="T52" fmla="*/ 48 w 194"/>
              <a:gd name="T53" fmla="*/ 105 h 130"/>
              <a:gd name="T54" fmla="*/ 54 w 194"/>
              <a:gd name="T55" fmla="*/ 103 h 130"/>
              <a:gd name="T56" fmla="*/ 55 w 194"/>
              <a:gd name="T57" fmla="*/ 106 h 130"/>
              <a:gd name="T58" fmla="*/ 51 w 194"/>
              <a:gd name="T59" fmla="*/ 114 h 130"/>
              <a:gd name="T60" fmla="*/ 41 w 194"/>
              <a:gd name="T61" fmla="*/ 124 h 130"/>
              <a:gd name="T62" fmla="*/ 36 w 194"/>
              <a:gd name="T63" fmla="*/ 126 h 130"/>
              <a:gd name="T64" fmla="*/ 43 w 194"/>
              <a:gd name="T65" fmla="*/ 125 h 130"/>
              <a:gd name="T66" fmla="*/ 54 w 194"/>
              <a:gd name="T67" fmla="*/ 118 h 130"/>
              <a:gd name="T68" fmla="*/ 72 w 194"/>
              <a:gd name="T69" fmla="*/ 107 h 130"/>
              <a:gd name="T70" fmla="*/ 77 w 194"/>
              <a:gd name="T71" fmla="*/ 91 h 130"/>
              <a:gd name="T72" fmla="*/ 94 w 194"/>
              <a:gd name="T73" fmla="*/ 86 h 130"/>
              <a:gd name="T74" fmla="*/ 87 w 194"/>
              <a:gd name="T75" fmla="*/ 97 h 130"/>
              <a:gd name="T76" fmla="*/ 101 w 194"/>
              <a:gd name="T77" fmla="*/ 88 h 130"/>
              <a:gd name="T78" fmla="*/ 119 w 194"/>
              <a:gd name="T79" fmla="*/ 92 h 130"/>
              <a:gd name="T80" fmla="*/ 136 w 194"/>
              <a:gd name="T81" fmla="*/ 95 h 130"/>
              <a:gd name="T82" fmla="*/ 145 w 194"/>
              <a:gd name="T83" fmla="*/ 98 h 130"/>
              <a:gd name="T84" fmla="*/ 160 w 194"/>
              <a:gd name="T85" fmla="*/ 102 h 130"/>
              <a:gd name="T86" fmla="*/ 169 w 194"/>
              <a:gd name="T87" fmla="*/ 104 h 130"/>
              <a:gd name="T88" fmla="*/ 176 w 194"/>
              <a:gd name="T89" fmla="*/ 111 h 130"/>
              <a:gd name="T90" fmla="*/ 184 w 194"/>
              <a:gd name="T91" fmla="*/ 121 h 130"/>
              <a:gd name="T92" fmla="*/ 186 w 194"/>
              <a:gd name="T93" fmla="*/ 125 h 130"/>
              <a:gd name="T94" fmla="*/ 194 w 194"/>
              <a:gd name="T95" fmla="*/ 126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94" h="130">
                <a:moveTo>
                  <a:pt x="194" y="126"/>
                </a:moveTo>
                <a:cubicBezTo>
                  <a:pt x="193" y="125"/>
                  <a:pt x="191" y="125"/>
                  <a:pt x="193" y="123"/>
                </a:cubicBezTo>
                <a:cubicBezTo>
                  <a:pt x="193" y="122"/>
                  <a:pt x="192" y="122"/>
                  <a:pt x="191" y="122"/>
                </a:cubicBezTo>
                <a:cubicBezTo>
                  <a:pt x="189" y="120"/>
                  <a:pt x="185" y="119"/>
                  <a:pt x="184" y="118"/>
                </a:cubicBezTo>
                <a:cubicBezTo>
                  <a:pt x="180" y="113"/>
                  <a:pt x="178" y="107"/>
                  <a:pt x="174" y="103"/>
                </a:cubicBezTo>
                <a:cubicBezTo>
                  <a:pt x="172" y="102"/>
                  <a:pt x="170" y="100"/>
                  <a:pt x="169" y="99"/>
                </a:cubicBezTo>
                <a:cubicBezTo>
                  <a:pt x="167" y="98"/>
                  <a:pt x="167" y="95"/>
                  <a:pt x="165" y="95"/>
                </a:cubicBezTo>
                <a:cubicBezTo>
                  <a:pt x="164" y="95"/>
                  <a:pt x="161" y="97"/>
                  <a:pt x="161" y="97"/>
                </a:cubicBezTo>
                <a:cubicBezTo>
                  <a:pt x="162" y="99"/>
                  <a:pt x="159" y="100"/>
                  <a:pt x="158" y="100"/>
                </a:cubicBezTo>
                <a:cubicBezTo>
                  <a:pt x="155" y="101"/>
                  <a:pt x="152" y="97"/>
                  <a:pt x="150" y="95"/>
                </a:cubicBezTo>
                <a:cubicBezTo>
                  <a:pt x="149" y="94"/>
                  <a:pt x="148" y="94"/>
                  <a:pt x="147" y="92"/>
                </a:cubicBezTo>
                <a:cubicBezTo>
                  <a:pt x="146" y="90"/>
                  <a:pt x="144" y="91"/>
                  <a:pt x="143" y="92"/>
                </a:cubicBezTo>
                <a:cubicBezTo>
                  <a:pt x="141" y="92"/>
                  <a:pt x="141" y="91"/>
                  <a:pt x="139" y="92"/>
                </a:cubicBezTo>
                <a:cubicBezTo>
                  <a:pt x="139" y="92"/>
                  <a:pt x="138" y="92"/>
                  <a:pt x="138" y="91"/>
                </a:cubicBezTo>
                <a:cubicBezTo>
                  <a:pt x="138" y="90"/>
                  <a:pt x="138" y="90"/>
                  <a:pt x="138" y="89"/>
                </a:cubicBezTo>
                <a:cubicBezTo>
                  <a:pt x="138" y="85"/>
                  <a:pt x="138" y="80"/>
                  <a:pt x="138" y="76"/>
                </a:cubicBezTo>
                <a:cubicBezTo>
                  <a:pt x="138" y="64"/>
                  <a:pt x="138" y="51"/>
                  <a:pt x="138" y="38"/>
                </a:cubicBezTo>
                <a:cubicBezTo>
                  <a:pt x="138" y="33"/>
                  <a:pt x="138" y="27"/>
                  <a:pt x="138" y="21"/>
                </a:cubicBezTo>
                <a:cubicBezTo>
                  <a:pt x="138" y="20"/>
                  <a:pt x="138" y="18"/>
                  <a:pt x="138" y="16"/>
                </a:cubicBezTo>
                <a:cubicBezTo>
                  <a:pt x="138" y="15"/>
                  <a:pt x="137" y="15"/>
                  <a:pt x="135" y="14"/>
                </a:cubicBezTo>
                <a:cubicBezTo>
                  <a:pt x="130" y="12"/>
                  <a:pt x="127" y="12"/>
                  <a:pt x="122" y="12"/>
                </a:cubicBezTo>
                <a:cubicBezTo>
                  <a:pt x="117" y="12"/>
                  <a:pt x="113" y="11"/>
                  <a:pt x="108" y="10"/>
                </a:cubicBezTo>
                <a:cubicBezTo>
                  <a:pt x="102" y="10"/>
                  <a:pt x="97" y="8"/>
                  <a:pt x="92" y="8"/>
                </a:cubicBezTo>
                <a:cubicBezTo>
                  <a:pt x="89" y="8"/>
                  <a:pt x="87" y="9"/>
                  <a:pt x="84" y="8"/>
                </a:cubicBezTo>
                <a:cubicBezTo>
                  <a:pt x="84" y="8"/>
                  <a:pt x="80" y="7"/>
                  <a:pt x="80" y="7"/>
                </a:cubicBezTo>
                <a:cubicBezTo>
                  <a:pt x="80" y="7"/>
                  <a:pt x="81" y="5"/>
                  <a:pt x="81" y="4"/>
                </a:cubicBezTo>
                <a:cubicBezTo>
                  <a:pt x="81" y="4"/>
                  <a:pt x="78" y="4"/>
                  <a:pt x="78" y="4"/>
                </a:cubicBezTo>
                <a:cubicBezTo>
                  <a:pt x="76" y="4"/>
                  <a:pt x="73" y="5"/>
                  <a:pt x="71" y="5"/>
                </a:cubicBezTo>
                <a:cubicBezTo>
                  <a:pt x="69" y="5"/>
                  <a:pt x="70" y="1"/>
                  <a:pt x="67" y="3"/>
                </a:cubicBezTo>
                <a:cubicBezTo>
                  <a:pt x="66" y="3"/>
                  <a:pt x="65" y="5"/>
                  <a:pt x="64" y="4"/>
                </a:cubicBezTo>
                <a:cubicBezTo>
                  <a:pt x="62" y="4"/>
                  <a:pt x="62" y="3"/>
                  <a:pt x="64" y="2"/>
                </a:cubicBezTo>
                <a:cubicBezTo>
                  <a:pt x="66" y="2"/>
                  <a:pt x="63" y="1"/>
                  <a:pt x="62" y="1"/>
                </a:cubicBezTo>
                <a:cubicBezTo>
                  <a:pt x="58" y="0"/>
                  <a:pt x="58" y="1"/>
                  <a:pt x="56" y="3"/>
                </a:cubicBezTo>
                <a:cubicBezTo>
                  <a:pt x="53" y="6"/>
                  <a:pt x="49" y="4"/>
                  <a:pt x="45" y="5"/>
                </a:cubicBezTo>
                <a:cubicBezTo>
                  <a:pt x="41" y="6"/>
                  <a:pt x="45" y="8"/>
                  <a:pt x="45" y="8"/>
                </a:cubicBezTo>
                <a:cubicBezTo>
                  <a:pt x="44" y="8"/>
                  <a:pt x="43" y="8"/>
                  <a:pt x="43" y="8"/>
                </a:cubicBezTo>
                <a:cubicBezTo>
                  <a:pt x="43" y="8"/>
                  <a:pt x="44" y="10"/>
                  <a:pt x="43" y="10"/>
                </a:cubicBezTo>
                <a:cubicBezTo>
                  <a:pt x="42" y="10"/>
                  <a:pt x="42" y="8"/>
                  <a:pt x="42" y="7"/>
                </a:cubicBezTo>
                <a:cubicBezTo>
                  <a:pt x="41" y="7"/>
                  <a:pt x="38" y="10"/>
                  <a:pt x="38" y="10"/>
                </a:cubicBezTo>
                <a:cubicBezTo>
                  <a:pt x="36" y="11"/>
                  <a:pt x="34" y="9"/>
                  <a:pt x="32" y="11"/>
                </a:cubicBezTo>
                <a:cubicBezTo>
                  <a:pt x="30" y="12"/>
                  <a:pt x="28" y="13"/>
                  <a:pt x="27" y="15"/>
                </a:cubicBezTo>
                <a:cubicBezTo>
                  <a:pt x="27" y="17"/>
                  <a:pt x="27" y="19"/>
                  <a:pt x="25" y="20"/>
                </a:cubicBezTo>
                <a:cubicBezTo>
                  <a:pt x="23" y="21"/>
                  <a:pt x="22" y="22"/>
                  <a:pt x="20" y="22"/>
                </a:cubicBezTo>
                <a:cubicBezTo>
                  <a:pt x="19" y="22"/>
                  <a:pt x="13" y="22"/>
                  <a:pt x="12" y="23"/>
                </a:cubicBezTo>
                <a:cubicBezTo>
                  <a:pt x="12" y="24"/>
                  <a:pt x="10" y="27"/>
                  <a:pt x="10" y="27"/>
                </a:cubicBezTo>
                <a:cubicBezTo>
                  <a:pt x="11" y="28"/>
                  <a:pt x="14" y="28"/>
                  <a:pt x="15" y="29"/>
                </a:cubicBezTo>
                <a:cubicBezTo>
                  <a:pt x="18" y="30"/>
                  <a:pt x="21" y="32"/>
                  <a:pt x="23" y="34"/>
                </a:cubicBezTo>
                <a:cubicBezTo>
                  <a:pt x="24" y="35"/>
                  <a:pt x="24" y="37"/>
                  <a:pt x="26" y="38"/>
                </a:cubicBezTo>
                <a:cubicBezTo>
                  <a:pt x="28" y="38"/>
                  <a:pt x="29" y="38"/>
                  <a:pt x="31" y="37"/>
                </a:cubicBezTo>
                <a:cubicBezTo>
                  <a:pt x="31" y="37"/>
                  <a:pt x="34" y="38"/>
                  <a:pt x="34" y="38"/>
                </a:cubicBezTo>
                <a:cubicBezTo>
                  <a:pt x="36" y="41"/>
                  <a:pt x="31" y="39"/>
                  <a:pt x="31" y="39"/>
                </a:cubicBezTo>
                <a:cubicBezTo>
                  <a:pt x="29" y="39"/>
                  <a:pt x="32" y="41"/>
                  <a:pt x="33" y="42"/>
                </a:cubicBezTo>
                <a:cubicBezTo>
                  <a:pt x="34" y="44"/>
                  <a:pt x="35" y="43"/>
                  <a:pt x="37" y="42"/>
                </a:cubicBezTo>
                <a:cubicBezTo>
                  <a:pt x="38" y="41"/>
                  <a:pt x="41" y="41"/>
                  <a:pt x="42" y="42"/>
                </a:cubicBezTo>
                <a:cubicBezTo>
                  <a:pt x="43" y="43"/>
                  <a:pt x="38" y="44"/>
                  <a:pt x="38" y="44"/>
                </a:cubicBezTo>
                <a:cubicBezTo>
                  <a:pt x="37" y="44"/>
                  <a:pt x="38" y="44"/>
                  <a:pt x="38" y="45"/>
                </a:cubicBezTo>
                <a:cubicBezTo>
                  <a:pt x="38" y="46"/>
                  <a:pt x="36" y="45"/>
                  <a:pt x="36" y="45"/>
                </a:cubicBezTo>
                <a:cubicBezTo>
                  <a:pt x="35" y="45"/>
                  <a:pt x="34" y="46"/>
                  <a:pt x="32" y="46"/>
                </a:cubicBezTo>
                <a:cubicBezTo>
                  <a:pt x="30" y="46"/>
                  <a:pt x="26" y="47"/>
                  <a:pt x="24" y="46"/>
                </a:cubicBezTo>
                <a:cubicBezTo>
                  <a:pt x="22" y="45"/>
                  <a:pt x="25" y="43"/>
                  <a:pt x="24" y="42"/>
                </a:cubicBezTo>
                <a:cubicBezTo>
                  <a:pt x="23" y="42"/>
                  <a:pt x="21" y="42"/>
                  <a:pt x="20" y="43"/>
                </a:cubicBezTo>
                <a:cubicBezTo>
                  <a:pt x="19" y="43"/>
                  <a:pt x="17" y="43"/>
                  <a:pt x="16" y="43"/>
                </a:cubicBezTo>
                <a:cubicBezTo>
                  <a:pt x="14" y="44"/>
                  <a:pt x="15" y="46"/>
                  <a:pt x="15" y="46"/>
                </a:cubicBezTo>
                <a:cubicBezTo>
                  <a:pt x="13" y="46"/>
                  <a:pt x="11" y="45"/>
                  <a:pt x="9" y="46"/>
                </a:cubicBezTo>
                <a:cubicBezTo>
                  <a:pt x="8" y="47"/>
                  <a:pt x="6" y="48"/>
                  <a:pt x="5" y="49"/>
                </a:cubicBezTo>
                <a:cubicBezTo>
                  <a:pt x="0" y="52"/>
                  <a:pt x="12" y="52"/>
                  <a:pt x="12" y="53"/>
                </a:cubicBezTo>
                <a:cubicBezTo>
                  <a:pt x="11" y="54"/>
                  <a:pt x="8" y="54"/>
                  <a:pt x="10" y="55"/>
                </a:cubicBezTo>
                <a:cubicBezTo>
                  <a:pt x="11" y="56"/>
                  <a:pt x="11" y="58"/>
                  <a:pt x="12" y="58"/>
                </a:cubicBezTo>
                <a:cubicBezTo>
                  <a:pt x="16" y="59"/>
                  <a:pt x="19" y="58"/>
                  <a:pt x="23" y="58"/>
                </a:cubicBezTo>
                <a:cubicBezTo>
                  <a:pt x="24" y="59"/>
                  <a:pt x="25" y="59"/>
                  <a:pt x="26" y="59"/>
                </a:cubicBezTo>
                <a:cubicBezTo>
                  <a:pt x="28" y="59"/>
                  <a:pt x="27" y="59"/>
                  <a:pt x="29" y="60"/>
                </a:cubicBezTo>
                <a:cubicBezTo>
                  <a:pt x="29" y="60"/>
                  <a:pt x="31" y="58"/>
                  <a:pt x="32" y="58"/>
                </a:cubicBezTo>
                <a:cubicBezTo>
                  <a:pt x="33" y="57"/>
                  <a:pt x="34" y="57"/>
                  <a:pt x="35" y="57"/>
                </a:cubicBezTo>
                <a:cubicBezTo>
                  <a:pt x="36" y="56"/>
                  <a:pt x="37" y="55"/>
                  <a:pt x="37" y="55"/>
                </a:cubicBezTo>
                <a:cubicBezTo>
                  <a:pt x="38" y="56"/>
                  <a:pt x="39" y="57"/>
                  <a:pt x="38" y="58"/>
                </a:cubicBezTo>
                <a:cubicBezTo>
                  <a:pt x="37" y="59"/>
                  <a:pt x="36" y="59"/>
                  <a:pt x="38" y="61"/>
                </a:cubicBezTo>
                <a:cubicBezTo>
                  <a:pt x="40" y="65"/>
                  <a:pt x="38" y="68"/>
                  <a:pt x="33" y="67"/>
                </a:cubicBezTo>
                <a:cubicBezTo>
                  <a:pt x="33" y="67"/>
                  <a:pt x="32" y="66"/>
                  <a:pt x="31" y="67"/>
                </a:cubicBezTo>
                <a:cubicBezTo>
                  <a:pt x="30" y="68"/>
                  <a:pt x="29" y="70"/>
                  <a:pt x="28" y="70"/>
                </a:cubicBezTo>
                <a:cubicBezTo>
                  <a:pt x="26" y="71"/>
                  <a:pt x="20" y="68"/>
                  <a:pt x="21" y="71"/>
                </a:cubicBezTo>
                <a:cubicBezTo>
                  <a:pt x="21" y="71"/>
                  <a:pt x="18" y="73"/>
                  <a:pt x="19" y="73"/>
                </a:cubicBezTo>
                <a:cubicBezTo>
                  <a:pt x="19" y="73"/>
                  <a:pt x="20" y="73"/>
                  <a:pt x="20" y="73"/>
                </a:cubicBezTo>
                <a:cubicBezTo>
                  <a:pt x="21" y="74"/>
                  <a:pt x="18" y="75"/>
                  <a:pt x="17" y="76"/>
                </a:cubicBezTo>
                <a:cubicBezTo>
                  <a:pt x="16" y="76"/>
                  <a:pt x="15" y="77"/>
                  <a:pt x="15" y="78"/>
                </a:cubicBezTo>
                <a:cubicBezTo>
                  <a:pt x="14" y="80"/>
                  <a:pt x="16" y="80"/>
                  <a:pt x="14" y="81"/>
                </a:cubicBezTo>
                <a:cubicBezTo>
                  <a:pt x="12" y="82"/>
                  <a:pt x="14" y="84"/>
                  <a:pt x="15" y="85"/>
                </a:cubicBezTo>
                <a:cubicBezTo>
                  <a:pt x="15" y="86"/>
                  <a:pt x="18" y="81"/>
                  <a:pt x="19" y="81"/>
                </a:cubicBezTo>
                <a:cubicBezTo>
                  <a:pt x="19" y="81"/>
                  <a:pt x="17" y="84"/>
                  <a:pt x="17" y="84"/>
                </a:cubicBezTo>
                <a:cubicBezTo>
                  <a:pt x="16" y="85"/>
                  <a:pt x="19" y="87"/>
                  <a:pt x="20" y="87"/>
                </a:cubicBezTo>
                <a:cubicBezTo>
                  <a:pt x="21" y="88"/>
                  <a:pt x="21" y="89"/>
                  <a:pt x="22" y="88"/>
                </a:cubicBezTo>
                <a:cubicBezTo>
                  <a:pt x="23" y="87"/>
                  <a:pt x="24" y="86"/>
                  <a:pt x="24" y="86"/>
                </a:cubicBezTo>
                <a:cubicBezTo>
                  <a:pt x="24" y="87"/>
                  <a:pt x="25" y="89"/>
                  <a:pt x="26" y="89"/>
                </a:cubicBezTo>
                <a:cubicBezTo>
                  <a:pt x="24" y="90"/>
                  <a:pt x="23" y="89"/>
                  <a:pt x="22" y="89"/>
                </a:cubicBezTo>
                <a:cubicBezTo>
                  <a:pt x="21" y="90"/>
                  <a:pt x="20" y="87"/>
                  <a:pt x="19" y="87"/>
                </a:cubicBezTo>
                <a:cubicBezTo>
                  <a:pt x="18" y="87"/>
                  <a:pt x="16" y="90"/>
                  <a:pt x="18" y="91"/>
                </a:cubicBezTo>
                <a:cubicBezTo>
                  <a:pt x="20" y="92"/>
                  <a:pt x="20" y="93"/>
                  <a:pt x="22" y="94"/>
                </a:cubicBezTo>
                <a:cubicBezTo>
                  <a:pt x="23" y="96"/>
                  <a:pt x="25" y="95"/>
                  <a:pt x="27" y="95"/>
                </a:cubicBezTo>
                <a:cubicBezTo>
                  <a:pt x="28" y="94"/>
                  <a:pt x="30" y="95"/>
                  <a:pt x="30" y="93"/>
                </a:cubicBezTo>
                <a:cubicBezTo>
                  <a:pt x="30" y="91"/>
                  <a:pt x="31" y="88"/>
                  <a:pt x="33" y="89"/>
                </a:cubicBezTo>
                <a:cubicBezTo>
                  <a:pt x="33" y="88"/>
                  <a:pt x="31" y="92"/>
                  <a:pt x="31" y="93"/>
                </a:cubicBezTo>
                <a:cubicBezTo>
                  <a:pt x="31" y="94"/>
                  <a:pt x="35" y="97"/>
                  <a:pt x="34" y="98"/>
                </a:cubicBezTo>
                <a:cubicBezTo>
                  <a:pt x="32" y="100"/>
                  <a:pt x="35" y="101"/>
                  <a:pt x="35" y="101"/>
                </a:cubicBezTo>
                <a:cubicBezTo>
                  <a:pt x="34" y="101"/>
                  <a:pt x="32" y="104"/>
                  <a:pt x="32" y="104"/>
                </a:cubicBezTo>
                <a:cubicBezTo>
                  <a:pt x="33" y="105"/>
                  <a:pt x="38" y="102"/>
                  <a:pt x="38" y="102"/>
                </a:cubicBezTo>
                <a:cubicBezTo>
                  <a:pt x="38" y="103"/>
                  <a:pt x="37" y="103"/>
                  <a:pt x="37" y="104"/>
                </a:cubicBezTo>
                <a:cubicBezTo>
                  <a:pt x="37" y="104"/>
                  <a:pt x="39" y="102"/>
                  <a:pt x="40" y="101"/>
                </a:cubicBezTo>
                <a:cubicBezTo>
                  <a:pt x="41" y="101"/>
                  <a:pt x="45" y="102"/>
                  <a:pt x="45" y="103"/>
                </a:cubicBezTo>
                <a:cubicBezTo>
                  <a:pt x="46" y="104"/>
                  <a:pt x="48" y="107"/>
                  <a:pt x="48" y="105"/>
                </a:cubicBezTo>
                <a:cubicBezTo>
                  <a:pt x="48" y="104"/>
                  <a:pt x="50" y="100"/>
                  <a:pt x="50" y="100"/>
                </a:cubicBezTo>
                <a:cubicBezTo>
                  <a:pt x="50" y="99"/>
                  <a:pt x="53" y="102"/>
                  <a:pt x="53" y="101"/>
                </a:cubicBezTo>
                <a:cubicBezTo>
                  <a:pt x="53" y="101"/>
                  <a:pt x="50" y="101"/>
                  <a:pt x="50" y="102"/>
                </a:cubicBezTo>
                <a:cubicBezTo>
                  <a:pt x="50" y="104"/>
                  <a:pt x="53" y="104"/>
                  <a:pt x="54" y="103"/>
                </a:cubicBezTo>
                <a:cubicBezTo>
                  <a:pt x="55" y="102"/>
                  <a:pt x="56" y="103"/>
                  <a:pt x="57" y="102"/>
                </a:cubicBezTo>
                <a:cubicBezTo>
                  <a:pt x="57" y="102"/>
                  <a:pt x="59" y="100"/>
                  <a:pt x="59" y="100"/>
                </a:cubicBezTo>
                <a:cubicBezTo>
                  <a:pt x="59" y="100"/>
                  <a:pt x="57" y="103"/>
                  <a:pt x="56" y="104"/>
                </a:cubicBezTo>
                <a:cubicBezTo>
                  <a:pt x="56" y="105"/>
                  <a:pt x="56" y="105"/>
                  <a:pt x="55" y="106"/>
                </a:cubicBezTo>
                <a:cubicBezTo>
                  <a:pt x="55" y="107"/>
                  <a:pt x="56" y="106"/>
                  <a:pt x="56" y="107"/>
                </a:cubicBezTo>
                <a:cubicBezTo>
                  <a:pt x="56" y="107"/>
                  <a:pt x="55" y="108"/>
                  <a:pt x="54" y="109"/>
                </a:cubicBezTo>
                <a:cubicBezTo>
                  <a:pt x="54" y="111"/>
                  <a:pt x="54" y="111"/>
                  <a:pt x="55" y="112"/>
                </a:cubicBezTo>
                <a:cubicBezTo>
                  <a:pt x="55" y="112"/>
                  <a:pt x="52" y="114"/>
                  <a:pt x="51" y="114"/>
                </a:cubicBezTo>
                <a:cubicBezTo>
                  <a:pt x="50" y="116"/>
                  <a:pt x="49" y="117"/>
                  <a:pt x="47" y="118"/>
                </a:cubicBezTo>
                <a:cubicBezTo>
                  <a:pt x="45" y="118"/>
                  <a:pt x="43" y="120"/>
                  <a:pt x="42" y="121"/>
                </a:cubicBezTo>
                <a:cubicBezTo>
                  <a:pt x="41" y="121"/>
                  <a:pt x="41" y="122"/>
                  <a:pt x="40" y="122"/>
                </a:cubicBezTo>
                <a:cubicBezTo>
                  <a:pt x="40" y="123"/>
                  <a:pt x="41" y="124"/>
                  <a:pt x="41" y="124"/>
                </a:cubicBezTo>
                <a:cubicBezTo>
                  <a:pt x="40" y="125"/>
                  <a:pt x="37" y="124"/>
                  <a:pt x="36" y="124"/>
                </a:cubicBezTo>
                <a:cubicBezTo>
                  <a:pt x="33" y="124"/>
                  <a:pt x="32" y="125"/>
                  <a:pt x="30" y="127"/>
                </a:cubicBezTo>
                <a:cubicBezTo>
                  <a:pt x="29" y="128"/>
                  <a:pt x="30" y="130"/>
                  <a:pt x="31" y="129"/>
                </a:cubicBezTo>
                <a:cubicBezTo>
                  <a:pt x="33" y="128"/>
                  <a:pt x="35" y="125"/>
                  <a:pt x="36" y="126"/>
                </a:cubicBezTo>
                <a:cubicBezTo>
                  <a:pt x="36" y="125"/>
                  <a:pt x="35" y="129"/>
                  <a:pt x="38" y="126"/>
                </a:cubicBezTo>
                <a:cubicBezTo>
                  <a:pt x="38" y="126"/>
                  <a:pt x="40" y="129"/>
                  <a:pt x="41" y="127"/>
                </a:cubicBezTo>
                <a:cubicBezTo>
                  <a:pt x="41" y="126"/>
                  <a:pt x="40" y="126"/>
                  <a:pt x="41" y="126"/>
                </a:cubicBezTo>
                <a:cubicBezTo>
                  <a:pt x="42" y="125"/>
                  <a:pt x="42" y="125"/>
                  <a:pt x="43" y="125"/>
                </a:cubicBezTo>
                <a:cubicBezTo>
                  <a:pt x="44" y="125"/>
                  <a:pt x="44" y="125"/>
                  <a:pt x="45" y="124"/>
                </a:cubicBezTo>
                <a:cubicBezTo>
                  <a:pt x="46" y="123"/>
                  <a:pt x="48" y="123"/>
                  <a:pt x="50" y="122"/>
                </a:cubicBezTo>
                <a:cubicBezTo>
                  <a:pt x="53" y="121"/>
                  <a:pt x="49" y="121"/>
                  <a:pt x="51" y="120"/>
                </a:cubicBezTo>
                <a:cubicBezTo>
                  <a:pt x="52" y="119"/>
                  <a:pt x="53" y="118"/>
                  <a:pt x="54" y="118"/>
                </a:cubicBezTo>
                <a:cubicBezTo>
                  <a:pt x="56" y="117"/>
                  <a:pt x="58" y="116"/>
                  <a:pt x="59" y="116"/>
                </a:cubicBezTo>
                <a:cubicBezTo>
                  <a:pt x="62" y="114"/>
                  <a:pt x="60" y="115"/>
                  <a:pt x="60" y="113"/>
                </a:cubicBezTo>
                <a:cubicBezTo>
                  <a:pt x="60" y="113"/>
                  <a:pt x="68" y="109"/>
                  <a:pt x="69" y="108"/>
                </a:cubicBezTo>
                <a:cubicBezTo>
                  <a:pt x="70" y="108"/>
                  <a:pt x="72" y="108"/>
                  <a:pt x="72" y="107"/>
                </a:cubicBezTo>
                <a:cubicBezTo>
                  <a:pt x="72" y="104"/>
                  <a:pt x="73" y="105"/>
                  <a:pt x="75" y="104"/>
                </a:cubicBezTo>
                <a:cubicBezTo>
                  <a:pt x="78" y="102"/>
                  <a:pt x="69" y="101"/>
                  <a:pt x="73" y="97"/>
                </a:cubicBezTo>
                <a:cubicBezTo>
                  <a:pt x="75" y="96"/>
                  <a:pt x="77" y="96"/>
                  <a:pt x="78" y="95"/>
                </a:cubicBezTo>
                <a:cubicBezTo>
                  <a:pt x="79" y="94"/>
                  <a:pt x="79" y="91"/>
                  <a:pt x="77" y="91"/>
                </a:cubicBezTo>
                <a:cubicBezTo>
                  <a:pt x="79" y="91"/>
                  <a:pt x="79" y="92"/>
                  <a:pt x="81" y="91"/>
                </a:cubicBezTo>
                <a:cubicBezTo>
                  <a:pt x="82" y="90"/>
                  <a:pt x="83" y="88"/>
                  <a:pt x="85" y="87"/>
                </a:cubicBezTo>
                <a:cubicBezTo>
                  <a:pt x="86" y="86"/>
                  <a:pt x="88" y="84"/>
                  <a:pt x="89" y="84"/>
                </a:cubicBezTo>
                <a:cubicBezTo>
                  <a:pt x="90" y="84"/>
                  <a:pt x="95" y="84"/>
                  <a:pt x="94" y="86"/>
                </a:cubicBezTo>
                <a:cubicBezTo>
                  <a:pt x="93" y="87"/>
                  <a:pt x="91" y="85"/>
                  <a:pt x="89" y="86"/>
                </a:cubicBezTo>
                <a:cubicBezTo>
                  <a:pt x="87" y="87"/>
                  <a:pt x="87" y="88"/>
                  <a:pt x="86" y="90"/>
                </a:cubicBezTo>
                <a:cubicBezTo>
                  <a:pt x="86" y="92"/>
                  <a:pt x="84" y="94"/>
                  <a:pt x="84" y="96"/>
                </a:cubicBezTo>
                <a:cubicBezTo>
                  <a:pt x="83" y="97"/>
                  <a:pt x="87" y="96"/>
                  <a:pt x="87" y="97"/>
                </a:cubicBezTo>
                <a:cubicBezTo>
                  <a:pt x="86" y="97"/>
                  <a:pt x="81" y="99"/>
                  <a:pt x="85" y="99"/>
                </a:cubicBezTo>
                <a:cubicBezTo>
                  <a:pt x="88" y="99"/>
                  <a:pt x="90" y="97"/>
                  <a:pt x="93" y="96"/>
                </a:cubicBezTo>
                <a:cubicBezTo>
                  <a:pt x="95" y="94"/>
                  <a:pt x="97" y="94"/>
                  <a:pt x="99" y="93"/>
                </a:cubicBezTo>
                <a:cubicBezTo>
                  <a:pt x="103" y="92"/>
                  <a:pt x="101" y="90"/>
                  <a:pt x="101" y="88"/>
                </a:cubicBezTo>
                <a:cubicBezTo>
                  <a:pt x="100" y="84"/>
                  <a:pt x="109" y="87"/>
                  <a:pt x="111" y="88"/>
                </a:cubicBezTo>
                <a:cubicBezTo>
                  <a:pt x="113" y="88"/>
                  <a:pt x="114" y="90"/>
                  <a:pt x="116" y="91"/>
                </a:cubicBezTo>
                <a:cubicBezTo>
                  <a:pt x="116" y="91"/>
                  <a:pt x="118" y="88"/>
                  <a:pt x="119" y="89"/>
                </a:cubicBezTo>
                <a:cubicBezTo>
                  <a:pt x="119" y="89"/>
                  <a:pt x="119" y="91"/>
                  <a:pt x="119" y="92"/>
                </a:cubicBezTo>
                <a:cubicBezTo>
                  <a:pt x="121" y="93"/>
                  <a:pt x="122" y="93"/>
                  <a:pt x="123" y="93"/>
                </a:cubicBezTo>
                <a:cubicBezTo>
                  <a:pt x="126" y="93"/>
                  <a:pt x="129" y="92"/>
                  <a:pt x="131" y="93"/>
                </a:cubicBezTo>
                <a:cubicBezTo>
                  <a:pt x="132" y="93"/>
                  <a:pt x="133" y="94"/>
                  <a:pt x="134" y="93"/>
                </a:cubicBezTo>
                <a:cubicBezTo>
                  <a:pt x="135" y="93"/>
                  <a:pt x="135" y="94"/>
                  <a:pt x="136" y="95"/>
                </a:cubicBezTo>
                <a:cubicBezTo>
                  <a:pt x="137" y="95"/>
                  <a:pt x="139" y="96"/>
                  <a:pt x="140" y="96"/>
                </a:cubicBezTo>
                <a:cubicBezTo>
                  <a:pt x="142" y="96"/>
                  <a:pt x="143" y="94"/>
                  <a:pt x="144" y="94"/>
                </a:cubicBezTo>
                <a:cubicBezTo>
                  <a:pt x="146" y="93"/>
                  <a:pt x="145" y="96"/>
                  <a:pt x="145" y="96"/>
                </a:cubicBezTo>
                <a:cubicBezTo>
                  <a:pt x="144" y="97"/>
                  <a:pt x="144" y="97"/>
                  <a:pt x="145" y="98"/>
                </a:cubicBezTo>
                <a:cubicBezTo>
                  <a:pt x="148" y="99"/>
                  <a:pt x="150" y="100"/>
                  <a:pt x="152" y="101"/>
                </a:cubicBezTo>
                <a:cubicBezTo>
                  <a:pt x="154" y="103"/>
                  <a:pt x="156" y="105"/>
                  <a:pt x="158" y="106"/>
                </a:cubicBezTo>
                <a:cubicBezTo>
                  <a:pt x="159" y="106"/>
                  <a:pt x="160" y="105"/>
                  <a:pt x="161" y="105"/>
                </a:cubicBezTo>
                <a:cubicBezTo>
                  <a:pt x="162" y="104"/>
                  <a:pt x="160" y="103"/>
                  <a:pt x="160" y="102"/>
                </a:cubicBezTo>
                <a:cubicBezTo>
                  <a:pt x="160" y="101"/>
                  <a:pt x="163" y="103"/>
                  <a:pt x="163" y="103"/>
                </a:cubicBezTo>
                <a:cubicBezTo>
                  <a:pt x="163" y="104"/>
                  <a:pt x="166" y="106"/>
                  <a:pt x="167" y="105"/>
                </a:cubicBezTo>
                <a:cubicBezTo>
                  <a:pt x="167" y="105"/>
                  <a:pt x="165" y="99"/>
                  <a:pt x="165" y="99"/>
                </a:cubicBezTo>
                <a:cubicBezTo>
                  <a:pt x="166" y="99"/>
                  <a:pt x="168" y="104"/>
                  <a:pt x="169" y="104"/>
                </a:cubicBezTo>
                <a:cubicBezTo>
                  <a:pt x="169" y="105"/>
                  <a:pt x="170" y="107"/>
                  <a:pt x="171" y="107"/>
                </a:cubicBezTo>
                <a:cubicBezTo>
                  <a:pt x="172" y="107"/>
                  <a:pt x="173" y="105"/>
                  <a:pt x="173" y="105"/>
                </a:cubicBezTo>
                <a:cubicBezTo>
                  <a:pt x="171" y="106"/>
                  <a:pt x="177" y="110"/>
                  <a:pt x="177" y="111"/>
                </a:cubicBezTo>
                <a:cubicBezTo>
                  <a:pt x="176" y="111"/>
                  <a:pt x="176" y="111"/>
                  <a:pt x="176" y="111"/>
                </a:cubicBezTo>
                <a:cubicBezTo>
                  <a:pt x="175" y="112"/>
                  <a:pt x="177" y="112"/>
                  <a:pt x="177" y="113"/>
                </a:cubicBezTo>
                <a:cubicBezTo>
                  <a:pt x="177" y="113"/>
                  <a:pt x="175" y="114"/>
                  <a:pt x="176" y="114"/>
                </a:cubicBezTo>
                <a:cubicBezTo>
                  <a:pt x="177" y="115"/>
                  <a:pt x="178" y="116"/>
                  <a:pt x="179" y="117"/>
                </a:cubicBezTo>
                <a:cubicBezTo>
                  <a:pt x="181" y="119"/>
                  <a:pt x="182" y="120"/>
                  <a:pt x="184" y="121"/>
                </a:cubicBezTo>
                <a:cubicBezTo>
                  <a:pt x="184" y="121"/>
                  <a:pt x="182" y="125"/>
                  <a:pt x="183" y="125"/>
                </a:cubicBezTo>
                <a:cubicBezTo>
                  <a:pt x="184" y="126"/>
                  <a:pt x="184" y="124"/>
                  <a:pt x="184" y="124"/>
                </a:cubicBezTo>
                <a:cubicBezTo>
                  <a:pt x="185" y="123"/>
                  <a:pt x="185" y="126"/>
                  <a:pt x="186" y="127"/>
                </a:cubicBezTo>
                <a:cubicBezTo>
                  <a:pt x="186" y="127"/>
                  <a:pt x="186" y="126"/>
                  <a:pt x="186" y="125"/>
                </a:cubicBezTo>
                <a:cubicBezTo>
                  <a:pt x="186" y="127"/>
                  <a:pt x="192" y="130"/>
                  <a:pt x="193" y="127"/>
                </a:cubicBezTo>
                <a:cubicBezTo>
                  <a:pt x="193" y="127"/>
                  <a:pt x="193" y="128"/>
                  <a:pt x="193" y="128"/>
                </a:cubicBezTo>
                <a:cubicBezTo>
                  <a:pt x="193" y="128"/>
                  <a:pt x="194" y="127"/>
                  <a:pt x="194" y="126"/>
                </a:cubicBezTo>
                <a:cubicBezTo>
                  <a:pt x="193" y="126"/>
                  <a:pt x="194" y="127"/>
                  <a:pt x="194" y="12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45" name="Freeform 641">
            <a:extLst>
              <a:ext uri="{FF2B5EF4-FFF2-40B4-BE49-F238E27FC236}">
                <a16:creationId xmlns:a16="http://schemas.microsoft.com/office/drawing/2014/main" id="{2A510D79-8D96-864F-A964-7CEE6328DA3C}"/>
              </a:ext>
            </a:extLst>
          </p:cNvPr>
          <p:cNvSpPr>
            <a:spLocks/>
          </p:cNvSpPr>
          <p:nvPr/>
        </p:nvSpPr>
        <p:spPr bwMode="auto">
          <a:xfrm>
            <a:off x="2644561" y="3496106"/>
            <a:ext cx="1494825" cy="741429"/>
          </a:xfrm>
          <a:custGeom>
            <a:avLst/>
            <a:gdLst>
              <a:gd name="T0" fmla="*/ 84 w 289"/>
              <a:gd name="T1" fmla="*/ 106 h 143"/>
              <a:gd name="T2" fmla="*/ 105 w 289"/>
              <a:gd name="T3" fmla="*/ 119 h 143"/>
              <a:gd name="T4" fmla="*/ 125 w 289"/>
              <a:gd name="T5" fmla="*/ 127 h 143"/>
              <a:gd name="T6" fmla="*/ 137 w 289"/>
              <a:gd name="T7" fmla="*/ 127 h 143"/>
              <a:gd name="T8" fmla="*/ 149 w 289"/>
              <a:gd name="T9" fmla="*/ 119 h 143"/>
              <a:gd name="T10" fmla="*/ 162 w 289"/>
              <a:gd name="T11" fmla="*/ 118 h 143"/>
              <a:gd name="T12" fmla="*/ 177 w 289"/>
              <a:gd name="T13" fmla="*/ 119 h 143"/>
              <a:gd name="T14" fmla="*/ 171 w 289"/>
              <a:gd name="T15" fmla="*/ 113 h 143"/>
              <a:gd name="T16" fmla="*/ 186 w 289"/>
              <a:gd name="T17" fmla="*/ 113 h 143"/>
              <a:gd name="T18" fmla="*/ 209 w 289"/>
              <a:gd name="T19" fmla="*/ 122 h 143"/>
              <a:gd name="T20" fmla="*/ 213 w 289"/>
              <a:gd name="T21" fmla="*/ 133 h 143"/>
              <a:gd name="T22" fmla="*/ 220 w 289"/>
              <a:gd name="T23" fmla="*/ 143 h 143"/>
              <a:gd name="T24" fmla="*/ 215 w 289"/>
              <a:gd name="T25" fmla="*/ 108 h 143"/>
              <a:gd name="T26" fmla="*/ 234 w 289"/>
              <a:gd name="T27" fmla="*/ 92 h 143"/>
              <a:gd name="T28" fmla="*/ 239 w 289"/>
              <a:gd name="T29" fmla="*/ 86 h 143"/>
              <a:gd name="T30" fmla="*/ 244 w 289"/>
              <a:gd name="T31" fmla="*/ 82 h 143"/>
              <a:gd name="T32" fmla="*/ 242 w 289"/>
              <a:gd name="T33" fmla="*/ 78 h 143"/>
              <a:gd name="T34" fmla="*/ 238 w 289"/>
              <a:gd name="T35" fmla="*/ 71 h 143"/>
              <a:gd name="T36" fmla="*/ 239 w 289"/>
              <a:gd name="T37" fmla="*/ 69 h 143"/>
              <a:gd name="T38" fmla="*/ 242 w 289"/>
              <a:gd name="T39" fmla="*/ 75 h 143"/>
              <a:gd name="T40" fmla="*/ 246 w 289"/>
              <a:gd name="T41" fmla="*/ 62 h 143"/>
              <a:gd name="T42" fmla="*/ 253 w 289"/>
              <a:gd name="T43" fmla="*/ 52 h 143"/>
              <a:gd name="T44" fmla="*/ 265 w 289"/>
              <a:gd name="T45" fmla="*/ 48 h 143"/>
              <a:gd name="T46" fmla="*/ 271 w 289"/>
              <a:gd name="T47" fmla="*/ 48 h 143"/>
              <a:gd name="T48" fmla="*/ 274 w 289"/>
              <a:gd name="T49" fmla="*/ 35 h 143"/>
              <a:gd name="T50" fmla="*/ 288 w 289"/>
              <a:gd name="T51" fmla="*/ 28 h 143"/>
              <a:gd name="T52" fmla="*/ 276 w 289"/>
              <a:gd name="T53" fmla="*/ 13 h 143"/>
              <a:gd name="T54" fmla="*/ 264 w 289"/>
              <a:gd name="T55" fmla="*/ 28 h 143"/>
              <a:gd name="T56" fmla="*/ 237 w 289"/>
              <a:gd name="T57" fmla="*/ 39 h 143"/>
              <a:gd name="T58" fmla="*/ 224 w 289"/>
              <a:gd name="T59" fmla="*/ 45 h 143"/>
              <a:gd name="T60" fmla="*/ 208 w 289"/>
              <a:gd name="T61" fmla="*/ 44 h 143"/>
              <a:gd name="T62" fmla="*/ 203 w 289"/>
              <a:gd name="T63" fmla="*/ 36 h 143"/>
              <a:gd name="T64" fmla="*/ 196 w 289"/>
              <a:gd name="T65" fmla="*/ 28 h 143"/>
              <a:gd name="T66" fmla="*/ 185 w 289"/>
              <a:gd name="T67" fmla="*/ 48 h 143"/>
              <a:gd name="T68" fmla="*/ 187 w 289"/>
              <a:gd name="T69" fmla="*/ 25 h 143"/>
              <a:gd name="T70" fmla="*/ 196 w 289"/>
              <a:gd name="T71" fmla="*/ 17 h 143"/>
              <a:gd name="T72" fmla="*/ 184 w 289"/>
              <a:gd name="T73" fmla="*/ 13 h 143"/>
              <a:gd name="T74" fmla="*/ 165 w 289"/>
              <a:gd name="T75" fmla="*/ 15 h 143"/>
              <a:gd name="T76" fmla="*/ 158 w 289"/>
              <a:gd name="T77" fmla="*/ 5 h 143"/>
              <a:gd name="T78" fmla="*/ 147 w 289"/>
              <a:gd name="T79" fmla="*/ 4 h 143"/>
              <a:gd name="T80" fmla="*/ 30 w 289"/>
              <a:gd name="T81" fmla="*/ 4 h 143"/>
              <a:gd name="T82" fmla="*/ 7 w 289"/>
              <a:gd name="T83" fmla="*/ 9 h 143"/>
              <a:gd name="T84" fmla="*/ 8 w 289"/>
              <a:gd name="T85" fmla="*/ 21 h 143"/>
              <a:gd name="T86" fmla="*/ 2 w 289"/>
              <a:gd name="T87" fmla="*/ 40 h 143"/>
              <a:gd name="T88" fmla="*/ 5 w 289"/>
              <a:gd name="T89" fmla="*/ 63 h 143"/>
              <a:gd name="T90" fmla="*/ 12 w 289"/>
              <a:gd name="T91" fmla="*/ 73 h 143"/>
              <a:gd name="T92" fmla="*/ 21 w 289"/>
              <a:gd name="T93" fmla="*/ 88 h 143"/>
              <a:gd name="T94" fmla="*/ 39 w 289"/>
              <a:gd name="T95" fmla="*/ 102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89" h="143">
                <a:moveTo>
                  <a:pt x="68" y="108"/>
                </a:moveTo>
                <a:cubicBezTo>
                  <a:pt x="71" y="108"/>
                  <a:pt x="74" y="108"/>
                  <a:pt x="78" y="108"/>
                </a:cubicBezTo>
                <a:cubicBezTo>
                  <a:pt x="79" y="108"/>
                  <a:pt x="81" y="108"/>
                  <a:pt x="82" y="108"/>
                </a:cubicBezTo>
                <a:cubicBezTo>
                  <a:pt x="83" y="108"/>
                  <a:pt x="83" y="106"/>
                  <a:pt x="84" y="106"/>
                </a:cubicBezTo>
                <a:cubicBezTo>
                  <a:pt x="85" y="105"/>
                  <a:pt x="91" y="105"/>
                  <a:pt x="91" y="106"/>
                </a:cubicBezTo>
                <a:cubicBezTo>
                  <a:pt x="94" y="108"/>
                  <a:pt x="97" y="110"/>
                  <a:pt x="100" y="112"/>
                </a:cubicBezTo>
                <a:cubicBezTo>
                  <a:pt x="100" y="112"/>
                  <a:pt x="101" y="115"/>
                  <a:pt x="101" y="116"/>
                </a:cubicBezTo>
                <a:cubicBezTo>
                  <a:pt x="102" y="118"/>
                  <a:pt x="102" y="118"/>
                  <a:pt x="105" y="119"/>
                </a:cubicBezTo>
                <a:cubicBezTo>
                  <a:pt x="107" y="120"/>
                  <a:pt x="108" y="121"/>
                  <a:pt x="109" y="119"/>
                </a:cubicBezTo>
                <a:cubicBezTo>
                  <a:pt x="110" y="116"/>
                  <a:pt x="111" y="116"/>
                  <a:pt x="114" y="117"/>
                </a:cubicBezTo>
                <a:cubicBezTo>
                  <a:pt x="116" y="117"/>
                  <a:pt x="119" y="118"/>
                  <a:pt x="119" y="120"/>
                </a:cubicBezTo>
                <a:cubicBezTo>
                  <a:pt x="121" y="123"/>
                  <a:pt x="123" y="124"/>
                  <a:pt x="125" y="127"/>
                </a:cubicBezTo>
                <a:cubicBezTo>
                  <a:pt x="127" y="129"/>
                  <a:pt x="126" y="133"/>
                  <a:pt x="129" y="134"/>
                </a:cubicBezTo>
                <a:cubicBezTo>
                  <a:pt x="131" y="136"/>
                  <a:pt x="135" y="136"/>
                  <a:pt x="137" y="137"/>
                </a:cubicBezTo>
                <a:cubicBezTo>
                  <a:pt x="137" y="136"/>
                  <a:pt x="135" y="129"/>
                  <a:pt x="135" y="129"/>
                </a:cubicBezTo>
                <a:cubicBezTo>
                  <a:pt x="137" y="130"/>
                  <a:pt x="136" y="127"/>
                  <a:pt x="137" y="127"/>
                </a:cubicBezTo>
                <a:cubicBezTo>
                  <a:pt x="137" y="126"/>
                  <a:pt x="139" y="126"/>
                  <a:pt x="140" y="125"/>
                </a:cubicBezTo>
                <a:cubicBezTo>
                  <a:pt x="141" y="125"/>
                  <a:pt x="142" y="122"/>
                  <a:pt x="142" y="122"/>
                </a:cubicBezTo>
                <a:cubicBezTo>
                  <a:pt x="143" y="123"/>
                  <a:pt x="144" y="123"/>
                  <a:pt x="145" y="122"/>
                </a:cubicBezTo>
                <a:cubicBezTo>
                  <a:pt x="147" y="121"/>
                  <a:pt x="148" y="121"/>
                  <a:pt x="149" y="119"/>
                </a:cubicBezTo>
                <a:cubicBezTo>
                  <a:pt x="151" y="118"/>
                  <a:pt x="148" y="118"/>
                  <a:pt x="148" y="117"/>
                </a:cubicBezTo>
                <a:cubicBezTo>
                  <a:pt x="148" y="117"/>
                  <a:pt x="151" y="118"/>
                  <a:pt x="152" y="117"/>
                </a:cubicBezTo>
                <a:cubicBezTo>
                  <a:pt x="154" y="116"/>
                  <a:pt x="155" y="116"/>
                  <a:pt x="157" y="116"/>
                </a:cubicBezTo>
                <a:cubicBezTo>
                  <a:pt x="159" y="116"/>
                  <a:pt x="160" y="119"/>
                  <a:pt x="162" y="118"/>
                </a:cubicBezTo>
                <a:cubicBezTo>
                  <a:pt x="165" y="116"/>
                  <a:pt x="166" y="118"/>
                  <a:pt x="168" y="119"/>
                </a:cubicBezTo>
                <a:cubicBezTo>
                  <a:pt x="170" y="120"/>
                  <a:pt x="171" y="118"/>
                  <a:pt x="172" y="118"/>
                </a:cubicBezTo>
                <a:cubicBezTo>
                  <a:pt x="173" y="117"/>
                  <a:pt x="176" y="119"/>
                  <a:pt x="176" y="120"/>
                </a:cubicBezTo>
                <a:cubicBezTo>
                  <a:pt x="177" y="121"/>
                  <a:pt x="178" y="120"/>
                  <a:pt x="177" y="119"/>
                </a:cubicBezTo>
                <a:cubicBezTo>
                  <a:pt x="177" y="119"/>
                  <a:pt x="176" y="118"/>
                  <a:pt x="175" y="118"/>
                </a:cubicBezTo>
                <a:cubicBezTo>
                  <a:pt x="174" y="117"/>
                  <a:pt x="176" y="117"/>
                  <a:pt x="176" y="117"/>
                </a:cubicBezTo>
                <a:cubicBezTo>
                  <a:pt x="175" y="115"/>
                  <a:pt x="175" y="114"/>
                  <a:pt x="173" y="115"/>
                </a:cubicBezTo>
                <a:cubicBezTo>
                  <a:pt x="173" y="115"/>
                  <a:pt x="169" y="115"/>
                  <a:pt x="171" y="113"/>
                </a:cubicBezTo>
                <a:cubicBezTo>
                  <a:pt x="173" y="113"/>
                  <a:pt x="174" y="114"/>
                  <a:pt x="175" y="114"/>
                </a:cubicBezTo>
                <a:cubicBezTo>
                  <a:pt x="178" y="113"/>
                  <a:pt x="180" y="113"/>
                  <a:pt x="183" y="113"/>
                </a:cubicBezTo>
                <a:cubicBezTo>
                  <a:pt x="184" y="113"/>
                  <a:pt x="183" y="113"/>
                  <a:pt x="184" y="114"/>
                </a:cubicBezTo>
                <a:cubicBezTo>
                  <a:pt x="184" y="114"/>
                  <a:pt x="185" y="114"/>
                  <a:pt x="186" y="113"/>
                </a:cubicBezTo>
                <a:cubicBezTo>
                  <a:pt x="188" y="113"/>
                  <a:pt x="190" y="113"/>
                  <a:pt x="192" y="113"/>
                </a:cubicBezTo>
                <a:cubicBezTo>
                  <a:pt x="194" y="113"/>
                  <a:pt x="194" y="115"/>
                  <a:pt x="196" y="116"/>
                </a:cubicBezTo>
                <a:cubicBezTo>
                  <a:pt x="198" y="118"/>
                  <a:pt x="200" y="116"/>
                  <a:pt x="202" y="115"/>
                </a:cubicBezTo>
                <a:cubicBezTo>
                  <a:pt x="203" y="115"/>
                  <a:pt x="209" y="121"/>
                  <a:pt x="209" y="122"/>
                </a:cubicBezTo>
                <a:cubicBezTo>
                  <a:pt x="210" y="123"/>
                  <a:pt x="208" y="125"/>
                  <a:pt x="209" y="126"/>
                </a:cubicBezTo>
                <a:cubicBezTo>
                  <a:pt x="210" y="128"/>
                  <a:pt x="209" y="128"/>
                  <a:pt x="210" y="130"/>
                </a:cubicBezTo>
                <a:cubicBezTo>
                  <a:pt x="210" y="131"/>
                  <a:pt x="211" y="132"/>
                  <a:pt x="211" y="132"/>
                </a:cubicBezTo>
                <a:cubicBezTo>
                  <a:pt x="212" y="132"/>
                  <a:pt x="212" y="133"/>
                  <a:pt x="213" y="133"/>
                </a:cubicBezTo>
                <a:cubicBezTo>
                  <a:pt x="214" y="134"/>
                  <a:pt x="213" y="136"/>
                  <a:pt x="214" y="137"/>
                </a:cubicBezTo>
                <a:cubicBezTo>
                  <a:pt x="215" y="138"/>
                  <a:pt x="216" y="138"/>
                  <a:pt x="217" y="140"/>
                </a:cubicBezTo>
                <a:cubicBezTo>
                  <a:pt x="219" y="143"/>
                  <a:pt x="218" y="140"/>
                  <a:pt x="220" y="141"/>
                </a:cubicBezTo>
                <a:cubicBezTo>
                  <a:pt x="220" y="141"/>
                  <a:pt x="220" y="143"/>
                  <a:pt x="220" y="143"/>
                </a:cubicBezTo>
                <a:cubicBezTo>
                  <a:pt x="221" y="143"/>
                  <a:pt x="222" y="136"/>
                  <a:pt x="222" y="135"/>
                </a:cubicBezTo>
                <a:cubicBezTo>
                  <a:pt x="222" y="132"/>
                  <a:pt x="221" y="130"/>
                  <a:pt x="220" y="126"/>
                </a:cubicBezTo>
                <a:cubicBezTo>
                  <a:pt x="218" y="123"/>
                  <a:pt x="218" y="120"/>
                  <a:pt x="217" y="117"/>
                </a:cubicBezTo>
                <a:cubicBezTo>
                  <a:pt x="215" y="115"/>
                  <a:pt x="214" y="111"/>
                  <a:pt x="215" y="108"/>
                </a:cubicBezTo>
                <a:cubicBezTo>
                  <a:pt x="216" y="105"/>
                  <a:pt x="218" y="103"/>
                  <a:pt x="221" y="101"/>
                </a:cubicBezTo>
                <a:cubicBezTo>
                  <a:pt x="222" y="100"/>
                  <a:pt x="223" y="100"/>
                  <a:pt x="224" y="99"/>
                </a:cubicBezTo>
                <a:cubicBezTo>
                  <a:pt x="225" y="98"/>
                  <a:pt x="226" y="96"/>
                  <a:pt x="227" y="96"/>
                </a:cubicBezTo>
                <a:cubicBezTo>
                  <a:pt x="229" y="94"/>
                  <a:pt x="232" y="94"/>
                  <a:pt x="234" y="92"/>
                </a:cubicBezTo>
                <a:cubicBezTo>
                  <a:pt x="235" y="91"/>
                  <a:pt x="236" y="89"/>
                  <a:pt x="238" y="89"/>
                </a:cubicBezTo>
                <a:cubicBezTo>
                  <a:pt x="238" y="89"/>
                  <a:pt x="242" y="89"/>
                  <a:pt x="241" y="87"/>
                </a:cubicBezTo>
                <a:cubicBezTo>
                  <a:pt x="241" y="87"/>
                  <a:pt x="238" y="88"/>
                  <a:pt x="238" y="88"/>
                </a:cubicBezTo>
                <a:cubicBezTo>
                  <a:pt x="238" y="87"/>
                  <a:pt x="240" y="88"/>
                  <a:pt x="239" y="86"/>
                </a:cubicBezTo>
                <a:cubicBezTo>
                  <a:pt x="239" y="86"/>
                  <a:pt x="238" y="85"/>
                  <a:pt x="239" y="85"/>
                </a:cubicBezTo>
                <a:cubicBezTo>
                  <a:pt x="239" y="84"/>
                  <a:pt x="239" y="85"/>
                  <a:pt x="240" y="84"/>
                </a:cubicBezTo>
                <a:cubicBezTo>
                  <a:pt x="239" y="85"/>
                  <a:pt x="241" y="86"/>
                  <a:pt x="241" y="85"/>
                </a:cubicBezTo>
                <a:cubicBezTo>
                  <a:pt x="242" y="85"/>
                  <a:pt x="245" y="83"/>
                  <a:pt x="244" y="82"/>
                </a:cubicBezTo>
                <a:cubicBezTo>
                  <a:pt x="244" y="83"/>
                  <a:pt x="238" y="82"/>
                  <a:pt x="239" y="81"/>
                </a:cubicBezTo>
                <a:cubicBezTo>
                  <a:pt x="239" y="80"/>
                  <a:pt x="240" y="82"/>
                  <a:pt x="241" y="81"/>
                </a:cubicBezTo>
                <a:cubicBezTo>
                  <a:pt x="241" y="81"/>
                  <a:pt x="243" y="80"/>
                  <a:pt x="243" y="80"/>
                </a:cubicBezTo>
                <a:cubicBezTo>
                  <a:pt x="243" y="80"/>
                  <a:pt x="242" y="79"/>
                  <a:pt x="242" y="78"/>
                </a:cubicBezTo>
                <a:cubicBezTo>
                  <a:pt x="243" y="77"/>
                  <a:pt x="243" y="76"/>
                  <a:pt x="241" y="76"/>
                </a:cubicBezTo>
                <a:cubicBezTo>
                  <a:pt x="241" y="76"/>
                  <a:pt x="237" y="74"/>
                  <a:pt x="237" y="74"/>
                </a:cubicBezTo>
                <a:cubicBezTo>
                  <a:pt x="238" y="73"/>
                  <a:pt x="239" y="74"/>
                  <a:pt x="240" y="74"/>
                </a:cubicBezTo>
                <a:cubicBezTo>
                  <a:pt x="241" y="73"/>
                  <a:pt x="239" y="71"/>
                  <a:pt x="238" y="71"/>
                </a:cubicBezTo>
                <a:cubicBezTo>
                  <a:pt x="237" y="70"/>
                  <a:pt x="236" y="69"/>
                  <a:pt x="236" y="68"/>
                </a:cubicBezTo>
                <a:cubicBezTo>
                  <a:pt x="235" y="67"/>
                  <a:pt x="238" y="65"/>
                  <a:pt x="237" y="64"/>
                </a:cubicBezTo>
                <a:cubicBezTo>
                  <a:pt x="238" y="65"/>
                  <a:pt x="237" y="66"/>
                  <a:pt x="237" y="67"/>
                </a:cubicBezTo>
                <a:cubicBezTo>
                  <a:pt x="237" y="67"/>
                  <a:pt x="239" y="69"/>
                  <a:pt x="239" y="69"/>
                </a:cubicBezTo>
                <a:cubicBezTo>
                  <a:pt x="241" y="67"/>
                  <a:pt x="239" y="62"/>
                  <a:pt x="242" y="61"/>
                </a:cubicBezTo>
                <a:cubicBezTo>
                  <a:pt x="241" y="61"/>
                  <a:pt x="241" y="66"/>
                  <a:pt x="242" y="67"/>
                </a:cubicBezTo>
                <a:cubicBezTo>
                  <a:pt x="242" y="69"/>
                  <a:pt x="244" y="69"/>
                  <a:pt x="244" y="71"/>
                </a:cubicBezTo>
                <a:cubicBezTo>
                  <a:pt x="244" y="72"/>
                  <a:pt x="241" y="74"/>
                  <a:pt x="242" y="75"/>
                </a:cubicBezTo>
                <a:cubicBezTo>
                  <a:pt x="242" y="75"/>
                  <a:pt x="248" y="69"/>
                  <a:pt x="247" y="67"/>
                </a:cubicBezTo>
                <a:cubicBezTo>
                  <a:pt x="247" y="65"/>
                  <a:pt x="245" y="64"/>
                  <a:pt x="245" y="62"/>
                </a:cubicBezTo>
                <a:cubicBezTo>
                  <a:pt x="244" y="61"/>
                  <a:pt x="245" y="58"/>
                  <a:pt x="247" y="59"/>
                </a:cubicBezTo>
                <a:cubicBezTo>
                  <a:pt x="246" y="58"/>
                  <a:pt x="245" y="61"/>
                  <a:pt x="246" y="62"/>
                </a:cubicBezTo>
                <a:cubicBezTo>
                  <a:pt x="248" y="64"/>
                  <a:pt x="248" y="65"/>
                  <a:pt x="250" y="62"/>
                </a:cubicBezTo>
                <a:cubicBezTo>
                  <a:pt x="251" y="61"/>
                  <a:pt x="253" y="58"/>
                  <a:pt x="252" y="56"/>
                </a:cubicBezTo>
                <a:cubicBezTo>
                  <a:pt x="252" y="56"/>
                  <a:pt x="251" y="55"/>
                  <a:pt x="252" y="54"/>
                </a:cubicBezTo>
                <a:cubicBezTo>
                  <a:pt x="252" y="54"/>
                  <a:pt x="253" y="52"/>
                  <a:pt x="253" y="52"/>
                </a:cubicBezTo>
                <a:cubicBezTo>
                  <a:pt x="253" y="52"/>
                  <a:pt x="253" y="54"/>
                  <a:pt x="253" y="54"/>
                </a:cubicBezTo>
                <a:cubicBezTo>
                  <a:pt x="253" y="54"/>
                  <a:pt x="258" y="51"/>
                  <a:pt x="260" y="51"/>
                </a:cubicBezTo>
                <a:cubicBezTo>
                  <a:pt x="261" y="50"/>
                  <a:pt x="263" y="51"/>
                  <a:pt x="264" y="51"/>
                </a:cubicBezTo>
                <a:cubicBezTo>
                  <a:pt x="266" y="50"/>
                  <a:pt x="265" y="49"/>
                  <a:pt x="265" y="48"/>
                </a:cubicBezTo>
                <a:cubicBezTo>
                  <a:pt x="266" y="48"/>
                  <a:pt x="266" y="50"/>
                  <a:pt x="267" y="50"/>
                </a:cubicBezTo>
                <a:cubicBezTo>
                  <a:pt x="267" y="50"/>
                  <a:pt x="269" y="49"/>
                  <a:pt x="269" y="49"/>
                </a:cubicBezTo>
                <a:cubicBezTo>
                  <a:pt x="271" y="51"/>
                  <a:pt x="275" y="46"/>
                  <a:pt x="272" y="46"/>
                </a:cubicBezTo>
                <a:cubicBezTo>
                  <a:pt x="272" y="46"/>
                  <a:pt x="272" y="48"/>
                  <a:pt x="271" y="48"/>
                </a:cubicBezTo>
                <a:cubicBezTo>
                  <a:pt x="270" y="48"/>
                  <a:pt x="268" y="44"/>
                  <a:pt x="268" y="44"/>
                </a:cubicBezTo>
                <a:cubicBezTo>
                  <a:pt x="269" y="43"/>
                  <a:pt x="268" y="42"/>
                  <a:pt x="269" y="41"/>
                </a:cubicBezTo>
                <a:cubicBezTo>
                  <a:pt x="270" y="39"/>
                  <a:pt x="271" y="37"/>
                  <a:pt x="272" y="36"/>
                </a:cubicBezTo>
                <a:cubicBezTo>
                  <a:pt x="273" y="36"/>
                  <a:pt x="274" y="35"/>
                  <a:pt x="274" y="35"/>
                </a:cubicBezTo>
                <a:cubicBezTo>
                  <a:pt x="276" y="36"/>
                  <a:pt x="277" y="33"/>
                  <a:pt x="278" y="32"/>
                </a:cubicBezTo>
                <a:cubicBezTo>
                  <a:pt x="278" y="32"/>
                  <a:pt x="280" y="33"/>
                  <a:pt x="281" y="32"/>
                </a:cubicBezTo>
                <a:cubicBezTo>
                  <a:pt x="283" y="31"/>
                  <a:pt x="285" y="31"/>
                  <a:pt x="286" y="30"/>
                </a:cubicBezTo>
                <a:cubicBezTo>
                  <a:pt x="287" y="30"/>
                  <a:pt x="289" y="29"/>
                  <a:pt x="288" y="28"/>
                </a:cubicBezTo>
                <a:cubicBezTo>
                  <a:pt x="286" y="26"/>
                  <a:pt x="286" y="25"/>
                  <a:pt x="285" y="24"/>
                </a:cubicBezTo>
                <a:cubicBezTo>
                  <a:pt x="281" y="23"/>
                  <a:pt x="287" y="14"/>
                  <a:pt x="281" y="14"/>
                </a:cubicBezTo>
                <a:cubicBezTo>
                  <a:pt x="280" y="13"/>
                  <a:pt x="279" y="15"/>
                  <a:pt x="278" y="14"/>
                </a:cubicBezTo>
                <a:cubicBezTo>
                  <a:pt x="277" y="13"/>
                  <a:pt x="277" y="12"/>
                  <a:pt x="276" y="13"/>
                </a:cubicBezTo>
                <a:cubicBezTo>
                  <a:pt x="275" y="14"/>
                  <a:pt x="274" y="16"/>
                  <a:pt x="273" y="17"/>
                </a:cubicBezTo>
                <a:cubicBezTo>
                  <a:pt x="272" y="18"/>
                  <a:pt x="272" y="20"/>
                  <a:pt x="271" y="21"/>
                </a:cubicBezTo>
                <a:cubicBezTo>
                  <a:pt x="271" y="23"/>
                  <a:pt x="270" y="26"/>
                  <a:pt x="268" y="26"/>
                </a:cubicBezTo>
                <a:cubicBezTo>
                  <a:pt x="266" y="26"/>
                  <a:pt x="266" y="28"/>
                  <a:pt x="264" y="28"/>
                </a:cubicBezTo>
                <a:cubicBezTo>
                  <a:pt x="259" y="28"/>
                  <a:pt x="254" y="28"/>
                  <a:pt x="249" y="28"/>
                </a:cubicBezTo>
                <a:cubicBezTo>
                  <a:pt x="247" y="28"/>
                  <a:pt x="247" y="28"/>
                  <a:pt x="246" y="29"/>
                </a:cubicBezTo>
                <a:cubicBezTo>
                  <a:pt x="245" y="31"/>
                  <a:pt x="241" y="33"/>
                  <a:pt x="241" y="34"/>
                </a:cubicBezTo>
                <a:cubicBezTo>
                  <a:pt x="242" y="37"/>
                  <a:pt x="239" y="39"/>
                  <a:pt x="237" y="39"/>
                </a:cubicBezTo>
                <a:cubicBezTo>
                  <a:pt x="235" y="39"/>
                  <a:pt x="234" y="38"/>
                  <a:pt x="232" y="38"/>
                </a:cubicBezTo>
                <a:cubicBezTo>
                  <a:pt x="230" y="38"/>
                  <a:pt x="228" y="39"/>
                  <a:pt x="227" y="39"/>
                </a:cubicBezTo>
                <a:cubicBezTo>
                  <a:pt x="227" y="39"/>
                  <a:pt x="227" y="42"/>
                  <a:pt x="228" y="42"/>
                </a:cubicBezTo>
                <a:cubicBezTo>
                  <a:pt x="227" y="43"/>
                  <a:pt x="226" y="44"/>
                  <a:pt x="224" y="45"/>
                </a:cubicBezTo>
                <a:cubicBezTo>
                  <a:pt x="222" y="46"/>
                  <a:pt x="219" y="48"/>
                  <a:pt x="216" y="49"/>
                </a:cubicBezTo>
                <a:cubicBezTo>
                  <a:pt x="213" y="50"/>
                  <a:pt x="210" y="50"/>
                  <a:pt x="207" y="49"/>
                </a:cubicBezTo>
                <a:cubicBezTo>
                  <a:pt x="206" y="48"/>
                  <a:pt x="205" y="47"/>
                  <a:pt x="206" y="46"/>
                </a:cubicBezTo>
                <a:cubicBezTo>
                  <a:pt x="206" y="46"/>
                  <a:pt x="207" y="44"/>
                  <a:pt x="208" y="44"/>
                </a:cubicBezTo>
                <a:cubicBezTo>
                  <a:pt x="208" y="44"/>
                  <a:pt x="208" y="45"/>
                  <a:pt x="208" y="46"/>
                </a:cubicBezTo>
                <a:cubicBezTo>
                  <a:pt x="210" y="42"/>
                  <a:pt x="211" y="39"/>
                  <a:pt x="209" y="35"/>
                </a:cubicBezTo>
                <a:cubicBezTo>
                  <a:pt x="208" y="34"/>
                  <a:pt x="206" y="36"/>
                  <a:pt x="205" y="36"/>
                </a:cubicBezTo>
                <a:cubicBezTo>
                  <a:pt x="204" y="37"/>
                  <a:pt x="204" y="36"/>
                  <a:pt x="203" y="36"/>
                </a:cubicBezTo>
                <a:cubicBezTo>
                  <a:pt x="202" y="35"/>
                  <a:pt x="204" y="34"/>
                  <a:pt x="204" y="34"/>
                </a:cubicBezTo>
                <a:cubicBezTo>
                  <a:pt x="208" y="30"/>
                  <a:pt x="205" y="26"/>
                  <a:pt x="201" y="25"/>
                </a:cubicBezTo>
                <a:cubicBezTo>
                  <a:pt x="198" y="24"/>
                  <a:pt x="198" y="25"/>
                  <a:pt x="196" y="26"/>
                </a:cubicBezTo>
                <a:cubicBezTo>
                  <a:pt x="196" y="27"/>
                  <a:pt x="196" y="27"/>
                  <a:pt x="196" y="28"/>
                </a:cubicBezTo>
                <a:cubicBezTo>
                  <a:pt x="196" y="29"/>
                  <a:pt x="194" y="28"/>
                  <a:pt x="193" y="28"/>
                </a:cubicBezTo>
                <a:cubicBezTo>
                  <a:pt x="192" y="28"/>
                  <a:pt x="190" y="36"/>
                  <a:pt x="190" y="37"/>
                </a:cubicBezTo>
                <a:cubicBezTo>
                  <a:pt x="191" y="42"/>
                  <a:pt x="192" y="45"/>
                  <a:pt x="188" y="47"/>
                </a:cubicBezTo>
                <a:cubicBezTo>
                  <a:pt x="188" y="48"/>
                  <a:pt x="185" y="49"/>
                  <a:pt x="185" y="48"/>
                </a:cubicBezTo>
                <a:cubicBezTo>
                  <a:pt x="185" y="46"/>
                  <a:pt x="184" y="44"/>
                  <a:pt x="184" y="42"/>
                </a:cubicBezTo>
                <a:cubicBezTo>
                  <a:pt x="184" y="41"/>
                  <a:pt x="186" y="30"/>
                  <a:pt x="186" y="30"/>
                </a:cubicBezTo>
                <a:cubicBezTo>
                  <a:pt x="185" y="30"/>
                  <a:pt x="183" y="32"/>
                  <a:pt x="183" y="31"/>
                </a:cubicBezTo>
                <a:cubicBezTo>
                  <a:pt x="183" y="30"/>
                  <a:pt x="186" y="26"/>
                  <a:pt x="187" y="25"/>
                </a:cubicBezTo>
                <a:cubicBezTo>
                  <a:pt x="188" y="23"/>
                  <a:pt x="191" y="23"/>
                  <a:pt x="193" y="22"/>
                </a:cubicBezTo>
                <a:cubicBezTo>
                  <a:pt x="196" y="22"/>
                  <a:pt x="199" y="23"/>
                  <a:pt x="202" y="23"/>
                </a:cubicBezTo>
                <a:cubicBezTo>
                  <a:pt x="205" y="23"/>
                  <a:pt x="201" y="20"/>
                  <a:pt x="199" y="20"/>
                </a:cubicBezTo>
                <a:cubicBezTo>
                  <a:pt x="197" y="20"/>
                  <a:pt x="199" y="17"/>
                  <a:pt x="196" y="17"/>
                </a:cubicBezTo>
                <a:cubicBezTo>
                  <a:pt x="194" y="18"/>
                  <a:pt x="192" y="19"/>
                  <a:pt x="189" y="19"/>
                </a:cubicBezTo>
                <a:cubicBezTo>
                  <a:pt x="187" y="19"/>
                  <a:pt x="185" y="17"/>
                  <a:pt x="183" y="16"/>
                </a:cubicBezTo>
                <a:cubicBezTo>
                  <a:pt x="183" y="16"/>
                  <a:pt x="180" y="16"/>
                  <a:pt x="181" y="15"/>
                </a:cubicBezTo>
                <a:cubicBezTo>
                  <a:pt x="182" y="15"/>
                  <a:pt x="184" y="14"/>
                  <a:pt x="184" y="13"/>
                </a:cubicBezTo>
                <a:cubicBezTo>
                  <a:pt x="184" y="13"/>
                  <a:pt x="176" y="16"/>
                  <a:pt x="175" y="16"/>
                </a:cubicBezTo>
                <a:cubicBezTo>
                  <a:pt x="174" y="17"/>
                  <a:pt x="173" y="18"/>
                  <a:pt x="172" y="18"/>
                </a:cubicBezTo>
                <a:cubicBezTo>
                  <a:pt x="170" y="18"/>
                  <a:pt x="170" y="16"/>
                  <a:pt x="168" y="16"/>
                </a:cubicBezTo>
                <a:cubicBezTo>
                  <a:pt x="167" y="16"/>
                  <a:pt x="162" y="18"/>
                  <a:pt x="165" y="15"/>
                </a:cubicBezTo>
                <a:cubicBezTo>
                  <a:pt x="168" y="13"/>
                  <a:pt x="171" y="11"/>
                  <a:pt x="174" y="9"/>
                </a:cubicBezTo>
                <a:cubicBezTo>
                  <a:pt x="172" y="9"/>
                  <a:pt x="170" y="7"/>
                  <a:pt x="168" y="9"/>
                </a:cubicBezTo>
                <a:cubicBezTo>
                  <a:pt x="165" y="10"/>
                  <a:pt x="164" y="8"/>
                  <a:pt x="161" y="7"/>
                </a:cubicBezTo>
                <a:cubicBezTo>
                  <a:pt x="160" y="7"/>
                  <a:pt x="159" y="6"/>
                  <a:pt x="158" y="5"/>
                </a:cubicBezTo>
                <a:cubicBezTo>
                  <a:pt x="156" y="5"/>
                  <a:pt x="155" y="6"/>
                  <a:pt x="153" y="6"/>
                </a:cubicBezTo>
                <a:cubicBezTo>
                  <a:pt x="152" y="5"/>
                  <a:pt x="150" y="5"/>
                  <a:pt x="150" y="3"/>
                </a:cubicBezTo>
                <a:cubicBezTo>
                  <a:pt x="150" y="3"/>
                  <a:pt x="148" y="0"/>
                  <a:pt x="148" y="1"/>
                </a:cubicBezTo>
                <a:cubicBezTo>
                  <a:pt x="147" y="1"/>
                  <a:pt x="148" y="4"/>
                  <a:pt x="147" y="4"/>
                </a:cubicBezTo>
                <a:cubicBezTo>
                  <a:pt x="146" y="4"/>
                  <a:pt x="145" y="4"/>
                  <a:pt x="145" y="4"/>
                </a:cubicBezTo>
                <a:cubicBezTo>
                  <a:pt x="142" y="4"/>
                  <a:pt x="139" y="4"/>
                  <a:pt x="136" y="4"/>
                </a:cubicBezTo>
                <a:cubicBezTo>
                  <a:pt x="125" y="4"/>
                  <a:pt x="115" y="4"/>
                  <a:pt x="105" y="4"/>
                </a:cubicBezTo>
                <a:cubicBezTo>
                  <a:pt x="80" y="4"/>
                  <a:pt x="55" y="4"/>
                  <a:pt x="30" y="4"/>
                </a:cubicBezTo>
                <a:cubicBezTo>
                  <a:pt x="24" y="4"/>
                  <a:pt x="17" y="4"/>
                  <a:pt x="11" y="4"/>
                </a:cubicBezTo>
                <a:cubicBezTo>
                  <a:pt x="12" y="5"/>
                  <a:pt x="14" y="13"/>
                  <a:pt x="11" y="14"/>
                </a:cubicBezTo>
                <a:cubicBezTo>
                  <a:pt x="9" y="14"/>
                  <a:pt x="8" y="14"/>
                  <a:pt x="10" y="12"/>
                </a:cubicBezTo>
                <a:cubicBezTo>
                  <a:pt x="12" y="9"/>
                  <a:pt x="9" y="9"/>
                  <a:pt x="7" y="9"/>
                </a:cubicBezTo>
                <a:cubicBezTo>
                  <a:pt x="5" y="9"/>
                  <a:pt x="2" y="7"/>
                  <a:pt x="1" y="7"/>
                </a:cubicBezTo>
                <a:cubicBezTo>
                  <a:pt x="0" y="8"/>
                  <a:pt x="2" y="12"/>
                  <a:pt x="2" y="12"/>
                </a:cubicBezTo>
                <a:cubicBezTo>
                  <a:pt x="3" y="15"/>
                  <a:pt x="4" y="16"/>
                  <a:pt x="4" y="18"/>
                </a:cubicBezTo>
                <a:cubicBezTo>
                  <a:pt x="4" y="19"/>
                  <a:pt x="7" y="21"/>
                  <a:pt x="8" y="21"/>
                </a:cubicBezTo>
                <a:cubicBezTo>
                  <a:pt x="7" y="21"/>
                  <a:pt x="6" y="21"/>
                  <a:pt x="5" y="22"/>
                </a:cubicBezTo>
                <a:cubicBezTo>
                  <a:pt x="4" y="23"/>
                  <a:pt x="5" y="24"/>
                  <a:pt x="5" y="25"/>
                </a:cubicBezTo>
                <a:cubicBezTo>
                  <a:pt x="5" y="28"/>
                  <a:pt x="5" y="30"/>
                  <a:pt x="4" y="32"/>
                </a:cubicBezTo>
                <a:cubicBezTo>
                  <a:pt x="4" y="35"/>
                  <a:pt x="3" y="37"/>
                  <a:pt x="2" y="40"/>
                </a:cubicBezTo>
                <a:cubicBezTo>
                  <a:pt x="1" y="43"/>
                  <a:pt x="3" y="46"/>
                  <a:pt x="4" y="49"/>
                </a:cubicBezTo>
                <a:cubicBezTo>
                  <a:pt x="4" y="52"/>
                  <a:pt x="3" y="54"/>
                  <a:pt x="3" y="56"/>
                </a:cubicBezTo>
                <a:cubicBezTo>
                  <a:pt x="3" y="57"/>
                  <a:pt x="4" y="58"/>
                  <a:pt x="4" y="59"/>
                </a:cubicBezTo>
                <a:cubicBezTo>
                  <a:pt x="5" y="60"/>
                  <a:pt x="5" y="62"/>
                  <a:pt x="5" y="63"/>
                </a:cubicBezTo>
                <a:cubicBezTo>
                  <a:pt x="6" y="66"/>
                  <a:pt x="9" y="67"/>
                  <a:pt x="10" y="70"/>
                </a:cubicBezTo>
                <a:cubicBezTo>
                  <a:pt x="11" y="72"/>
                  <a:pt x="11" y="71"/>
                  <a:pt x="12" y="70"/>
                </a:cubicBezTo>
                <a:cubicBezTo>
                  <a:pt x="12" y="70"/>
                  <a:pt x="13" y="73"/>
                  <a:pt x="13" y="73"/>
                </a:cubicBezTo>
                <a:cubicBezTo>
                  <a:pt x="13" y="73"/>
                  <a:pt x="12" y="72"/>
                  <a:pt x="12" y="73"/>
                </a:cubicBezTo>
                <a:cubicBezTo>
                  <a:pt x="12" y="74"/>
                  <a:pt x="12" y="75"/>
                  <a:pt x="13" y="76"/>
                </a:cubicBezTo>
                <a:cubicBezTo>
                  <a:pt x="14" y="76"/>
                  <a:pt x="14" y="76"/>
                  <a:pt x="15" y="77"/>
                </a:cubicBezTo>
                <a:cubicBezTo>
                  <a:pt x="16" y="78"/>
                  <a:pt x="14" y="79"/>
                  <a:pt x="15" y="80"/>
                </a:cubicBezTo>
                <a:cubicBezTo>
                  <a:pt x="17" y="83"/>
                  <a:pt x="21" y="85"/>
                  <a:pt x="21" y="88"/>
                </a:cubicBezTo>
                <a:cubicBezTo>
                  <a:pt x="22" y="90"/>
                  <a:pt x="23" y="90"/>
                  <a:pt x="25" y="91"/>
                </a:cubicBezTo>
                <a:cubicBezTo>
                  <a:pt x="27" y="92"/>
                  <a:pt x="29" y="93"/>
                  <a:pt x="31" y="93"/>
                </a:cubicBezTo>
                <a:cubicBezTo>
                  <a:pt x="33" y="93"/>
                  <a:pt x="35" y="95"/>
                  <a:pt x="36" y="96"/>
                </a:cubicBezTo>
                <a:cubicBezTo>
                  <a:pt x="36" y="97"/>
                  <a:pt x="40" y="101"/>
                  <a:pt x="39" y="102"/>
                </a:cubicBezTo>
                <a:cubicBezTo>
                  <a:pt x="43" y="101"/>
                  <a:pt x="48" y="100"/>
                  <a:pt x="52" y="101"/>
                </a:cubicBezTo>
                <a:cubicBezTo>
                  <a:pt x="58" y="103"/>
                  <a:pt x="63" y="106"/>
                  <a:pt x="68" y="10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46" name="Freeform 642">
            <a:extLst>
              <a:ext uri="{FF2B5EF4-FFF2-40B4-BE49-F238E27FC236}">
                <a16:creationId xmlns:a16="http://schemas.microsoft.com/office/drawing/2014/main" id="{C1806657-300A-AA46-88F9-089281B05A5F}"/>
              </a:ext>
            </a:extLst>
          </p:cNvPr>
          <p:cNvSpPr>
            <a:spLocks noEditPoints="1"/>
          </p:cNvSpPr>
          <p:nvPr/>
        </p:nvSpPr>
        <p:spPr bwMode="auto">
          <a:xfrm>
            <a:off x="2226293" y="2604628"/>
            <a:ext cx="2207823" cy="1135092"/>
          </a:xfrm>
          <a:custGeom>
            <a:avLst/>
            <a:gdLst>
              <a:gd name="T0" fmla="*/ 255 w 427"/>
              <a:gd name="T1" fmla="*/ 181 h 219"/>
              <a:gd name="T2" fmla="*/ 299 w 427"/>
              <a:gd name="T3" fmla="*/ 195 h 219"/>
              <a:gd name="T4" fmla="*/ 296 w 427"/>
              <a:gd name="T5" fmla="*/ 215 h 219"/>
              <a:gd name="T6" fmla="*/ 332 w 427"/>
              <a:gd name="T7" fmla="*/ 200 h 219"/>
              <a:gd name="T8" fmla="*/ 366 w 427"/>
              <a:gd name="T9" fmla="*/ 196 h 219"/>
              <a:gd name="T10" fmla="*/ 383 w 427"/>
              <a:gd name="T11" fmla="*/ 200 h 219"/>
              <a:gd name="T12" fmla="*/ 391 w 427"/>
              <a:gd name="T13" fmla="*/ 201 h 219"/>
              <a:gd name="T14" fmla="*/ 380 w 427"/>
              <a:gd name="T15" fmla="*/ 188 h 219"/>
              <a:gd name="T16" fmla="*/ 382 w 427"/>
              <a:gd name="T17" fmla="*/ 176 h 219"/>
              <a:gd name="T18" fmla="*/ 354 w 427"/>
              <a:gd name="T19" fmla="*/ 180 h 219"/>
              <a:gd name="T20" fmla="*/ 414 w 427"/>
              <a:gd name="T21" fmla="*/ 160 h 219"/>
              <a:gd name="T22" fmla="*/ 417 w 427"/>
              <a:gd name="T23" fmla="*/ 144 h 219"/>
              <a:gd name="T24" fmla="*/ 415 w 427"/>
              <a:gd name="T25" fmla="*/ 139 h 219"/>
              <a:gd name="T26" fmla="*/ 394 w 427"/>
              <a:gd name="T27" fmla="*/ 126 h 219"/>
              <a:gd name="T28" fmla="*/ 390 w 427"/>
              <a:gd name="T29" fmla="*/ 110 h 219"/>
              <a:gd name="T30" fmla="*/ 378 w 427"/>
              <a:gd name="T31" fmla="*/ 104 h 219"/>
              <a:gd name="T32" fmla="*/ 364 w 427"/>
              <a:gd name="T33" fmla="*/ 112 h 219"/>
              <a:gd name="T34" fmla="*/ 356 w 427"/>
              <a:gd name="T35" fmla="*/ 107 h 219"/>
              <a:gd name="T36" fmla="*/ 342 w 427"/>
              <a:gd name="T37" fmla="*/ 85 h 219"/>
              <a:gd name="T38" fmla="*/ 314 w 427"/>
              <a:gd name="T39" fmla="*/ 91 h 219"/>
              <a:gd name="T40" fmla="*/ 320 w 427"/>
              <a:gd name="T41" fmla="*/ 116 h 219"/>
              <a:gd name="T42" fmla="*/ 306 w 427"/>
              <a:gd name="T43" fmla="*/ 159 h 219"/>
              <a:gd name="T44" fmla="*/ 292 w 427"/>
              <a:gd name="T45" fmla="*/ 135 h 219"/>
              <a:gd name="T46" fmla="*/ 250 w 427"/>
              <a:gd name="T47" fmla="*/ 119 h 219"/>
              <a:gd name="T48" fmla="*/ 237 w 427"/>
              <a:gd name="T49" fmla="*/ 86 h 219"/>
              <a:gd name="T50" fmla="*/ 246 w 427"/>
              <a:gd name="T51" fmla="*/ 77 h 219"/>
              <a:gd name="T52" fmla="*/ 246 w 427"/>
              <a:gd name="T53" fmla="*/ 70 h 219"/>
              <a:gd name="T54" fmla="*/ 263 w 427"/>
              <a:gd name="T55" fmla="*/ 58 h 219"/>
              <a:gd name="T56" fmla="*/ 276 w 427"/>
              <a:gd name="T57" fmla="*/ 48 h 219"/>
              <a:gd name="T58" fmla="*/ 293 w 427"/>
              <a:gd name="T59" fmla="*/ 36 h 219"/>
              <a:gd name="T60" fmla="*/ 276 w 427"/>
              <a:gd name="T61" fmla="*/ 23 h 219"/>
              <a:gd name="T62" fmla="*/ 262 w 427"/>
              <a:gd name="T63" fmla="*/ 35 h 219"/>
              <a:gd name="T64" fmla="*/ 252 w 427"/>
              <a:gd name="T65" fmla="*/ 23 h 219"/>
              <a:gd name="T66" fmla="*/ 241 w 427"/>
              <a:gd name="T67" fmla="*/ 10 h 219"/>
              <a:gd name="T68" fmla="*/ 223 w 427"/>
              <a:gd name="T69" fmla="*/ 6 h 219"/>
              <a:gd name="T70" fmla="*/ 232 w 427"/>
              <a:gd name="T71" fmla="*/ 27 h 219"/>
              <a:gd name="T72" fmla="*/ 226 w 427"/>
              <a:gd name="T73" fmla="*/ 40 h 219"/>
              <a:gd name="T74" fmla="*/ 218 w 427"/>
              <a:gd name="T75" fmla="*/ 37 h 219"/>
              <a:gd name="T76" fmla="*/ 164 w 427"/>
              <a:gd name="T77" fmla="*/ 29 h 219"/>
              <a:gd name="T78" fmla="*/ 166 w 427"/>
              <a:gd name="T79" fmla="*/ 41 h 219"/>
              <a:gd name="T80" fmla="*/ 160 w 427"/>
              <a:gd name="T81" fmla="*/ 40 h 219"/>
              <a:gd name="T82" fmla="*/ 133 w 427"/>
              <a:gd name="T83" fmla="*/ 30 h 219"/>
              <a:gd name="T84" fmla="*/ 83 w 427"/>
              <a:gd name="T85" fmla="*/ 23 h 219"/>
              <a:gd name="T86" fmla="*/ 71 w 427"/>
              <a:gd name="T87" fmla="*/ 18 h 219"/>
              <a:gd name="T88" fmla="*/ 50 w 427"/>
              <a:gd name="T89" fmla="*/ 24 h 219"/>
              <a:gd name="T90" fmla="*/ 49 w 427"/>
              <a:gd name="T91" fmla="*/ 22 h 219"/>
              <a:gd name="T92" fmla="*/ 29 w 427"/>
              <a:gd name="T93" fmla="*/ 23 h 219"/>
              <a:gd name="T94" fmla="*/ 21 w 427"/>
              <a:gd name="T95" fmla="*/ 28 h 219"/>
              <a:gd name="T96" fmla="*/ 3 w 427"/>
              <a:gd name="T97" fmla="*/ 97 h 219"/>
              <a:gd name="T98" fmla="*/ 40 w 427"/>
              <a:gd name="T99" fmla="*/ 116 h 219"/>
              <a:gd name="T100" fmla="*/ 53 w 427"/>
              <a:gd name="T101" fmla="*/ 141 h 219"/>
              <a:gd name="T102" fmla="*/ 62 w 427"/>
              <a:gd name="T103" fmla="*/ 150 h 219"/>
              <a:gd name="T104" fmla="*/ 67 w 427"/>
              <a:gd name="T105" fmla="*/ 160 h 219"/>
              <a:gd name="T106" fmla="*/ 80 w 427"/>
              <a:gd name="T107" fmla="*/ 166 h 219"/>
              <a:gd name="T108" fmla="*/ 133 w 427"/>
              <a:gd name="T109" fmla="*/ 176 h 219"/>
              <a:gd name="T110" fmla="*/ 97 w 427"/>
              <a:gd name="T111" fmla="*/ 57 h 219"/>
              <a:gd name="T112" fmla="*/ 87 w 427"/>
              <a:gd name="T113" fmla="*/ 51 h 219"/>
              <a:gd name="T114" fmla="*/ 113 w 427"/>
              <a:gd name="T115" fmla="*/ 49 h 219"/>
              <a:gd name="T116" fmla="*/ 142 w 427"/>
              <a:gd name="T117" fmla="*/ 85 h 219"/>
              <a:gd name="T118" fmla="*/ 131 w 427"/>
              <a:gd name="T119" fmla="*/ 85 h 219"/>
              <a:gd name="T120" fmla="*/ 160 w 427"/>
              <a:gd name="T121" fmla="*/ 78 h 219"/>
              <a:gd name="T122" fmla="*/ 210 w 427"/>
              <a:gd name="T123" fmla="*/ 150 h 219"/>
              <a:gd name="T124" fmla="*/ 222 w 427"/>
              <a:gd name="T125" fmla="*/ 165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27" h="219">
                <a:moveTo>
                  <a:pt x="229" y="174"/>
                </a:moveTo>
                <a:cubicBezTo>
                  <a:pt x="229" y="174"/>
                  <a:pt x="229" y="173"/>
                  <a:pt x="229" y="173"/>
                </a:cubicBezTo>
                <a:cubicBezTo>
                  <a:pt x="229" y="173"/>
                  <a:pt x="232" y="177"/>
                  <a:pt x="232" y="177"/>
                </a:cubicBezTo>
                <a:cubicBezTo>
                  <a:pt x="234" y="177"/>
                  <a:pt x="235" y="178"/>
                  <a:pt x="236" y="178"/>
                </a:cubicBezTo>
                <a:cubicBezTo>
                  <a:pt x="238" y="178"/>
                  <a:pt x="238" y="177"/>
                  <a:pt x="239" y="178"/>
                </a:cubicBezTo>
                <a:cubicBezTo>
                  <a:pt x="242" y="179"/>
                  <a:pt x="244" y="180"/>
                  <a:pt x="246" y="181"/>
                </a:cubicBezTo>
                <a:cubicBezTo>
                  <a:pt x="247" y="182"/>
                  <a:pt x="248" y="181"/>
                  <a:pt x="249" y="181"/>
                </a:cubicBezTo>
                <a:cubicBezTo>
                  <a:pt x="250" y="180"/>
                  <a:pt x="251" y="180"/>
                  <a:pt x="252" y="180"/>
                </a:cubicBezTo>
                <a:cubicBezTo>
                  <a:pt x="253" y="180"/>
                  <a:pt x="254" y="181"/>
                  <a:pt x="255" y="181"/>
                </a:cubicBezTo>
                <a:cubicBezTo>
                  <a:pt x="257" y="181"/>
                  <a:pt x="258" y="180"/>
                  <a:pt x="259" y="179"/>
                </a:cubicBezTo>
                <a:cubicBezTo>
                  <a:pt x="260" y="178"/>
                  <a:pt x="263" y="175"/>
                  <a:pt x="264" y="175"/>
                </a:cubicBezTo>
                <a:cubicBezTo>
                  <a:pt x="264" y="175"/>
                  <a:pt x="265" y="176"/>
                  <a:pt x="265" y="176"/>
                </a:cubicBezTo>
                <a:cubicBezTo>
                  <a:pt x="267" y="176"/>
                  <a:pt x="268" y="176"/>
                  <a:pt x="269" y="176"/>
                </a:cubicBezTo>
                <a:cubicBezTo>
                  <a:pt x="273" y="176"/>
                  <a:pt x="272" y="179"/>
                  <a:pt x="274" y="181"/>
                </a:cubicBezTo>
                <a:cubicBezTo>
                  <a:pt x="275" y="182"/>
                  <a:pt x="279" y="181"/>
                  <a:pt x="279" y="183"/>
                </a:cubicBezTo>
                <a:cubicBezTo>
                  <a:pt x="279" y="185"/>
                  <a:pt x="280" y="187"/>
                  <a:pt x="281" y="189"/>
                </a:cubicBezTo>
                <a:cubicBezTo>
                  <a:pt x="281" y="194"/>
                  <a:pt x="290" y="193"/>
                  <a:pt x="293" y="194"/>
                </a:cubicBezTo>
                <a:cubicBezTo>
                  <a:pt x="295" y="194"/>
                  <a:pt x="298" y="194"/>
                  <a:pt x="299" y="195"/>
                </a:cubicBezTo>
                <a:cubicBezTo>
                  <a:pt x="300" y="196"/>
                  <a:pt x="305" y="201"/>
                  <a:pt x="304" y="201"/>
                </a:cubicBezTo>
                <a:cubicBezTo>
                  <a:pt x="302" y="203"/>
                  <a:pt x="302" y="203"/>
                  <a:pt x="300" y="202"/>
                </a:cubicBezTo>
                <a:cubicBezTo>
                  <a:pt x="299" y="201"/>
                  <a:pt x="295" y="199"/>
                  <a:pt x="295" y="199"/>
                </a:cubicBezTo>
                <a:cubicBezTo>
                  <a:pt x="295" y="200"/>
                  <a:pt x="298" y="201"/>
                  <a:pt x="297" y="203"/>
                </a:cubicBezTo>
                <a:cubicBezTo>
                  <a:pt x="296" y="204"/>
                  <a:pt x="295" y="206"/>
                  <a:pt x="295" y="207"/>
                </a:cubicBezTo>
                <a:cubicBezTo>
                  <a:pt x="295" y="209"/>
                  <a:pt x="295" y="210"/>
                  <a:pt x="294" y="211"/>
                </a:cubicBezTo>
                <a:cubicBezTo>
                  <a:pt x="294" y="212"/>
                  <a:pt x="291" y="213"/>
                  <a:pt x="291" y="213"/>
                </a:cubicBezTo>
                <a:cubicBezTo>
                  <a:pt x="290" y="214"/>
                  <a:pt x="287" y="219"/>
                  <a:pt x="291" y="219"/>
                </a:cubicBezTo>
                <a:cubicBezTo>
                  <a:pt x="292" y="219"/>
                  <a:pt x="294" y="217"/>
                  <a:pt x="296" y="215"/>
                </a:cubicBezTo>
                <a:cubicBezTo>
                  <a:pt x="298" y="214"/>
                  <a:pt x="299" y="216"/>
                  <a:pt x="301" y="215"/>
                </a:cubicBezTo>
                <a:cubicBezTo>
                  <a:pt x="304" y="215"/>
                  <a:pt x="305" y="213"/>
                  <a:pt x="308" y="213"/>
                </a:cubicBezTo>
                <a:cubicBezTo>
                  <a:pt x="308" y="211"/>
                  <a:pt x="308" y="212"/>
                  <a:pt x="306" y="211"/>
                </a:cubicBezTo>
                <a:cubicBezTo>
                  <a:pt x="305" y="211"/>
                  <a:pt x="305" y="210"/>
                  <a:pt x="306" y="210"/>
                </a:cubicBezTo>
                <a:cubicBezTo>
                  <a:pt x="307" y="208"/>
                  <a:pt x="308" y="207"/>
                  <a:pt x="311" y="207"/>
                </a:cubicBezTo>
                <a:cubicBezTo>
                  <a:pt x="312" y="207"/>
                  <a:pt x="315" y="205"/>
                  <a:pt x="317" y="206"/>
                </a:cubicBezTo>
                <a:cubicBezTo>
                  <a:pt x="319" y="207"/>
                  <a:pt x="320" y="203"/>
                  <a:pt x="322" y="206"/>
                </a:cubicBezTo>
                <a:cubicBezTo>
                  <a:pt x="324" y="204"/>
                  <a:pt x="325" y="203"/>
                  <a:pt x="327" y="201"/>
                </a:cubicBezTo>
                <a:cubicBezTo>
                  <a:pt x="329" y="200"/>
                  <a:pt x="330" y="200"/>
                  <a:pt x="332" y="200"/>
                </a:cubicBezTo>
                <a:cubicBezTo>
                  <a:pt x="335" y="200"/>
                  <a:pt x="339" y="200"/>
                  <a:pt x="342" y="200"/>
                </a:cubicBezTo>
                <a:cubicBezTo>
                  <a:pt x="345" y="200"/>
                  <a:pt x="346" y="201"/>
                  <a:pt x="347" y="199"/>
                </a:cubicBezTo>
                <a:cubicBezTo>
                  <a:pt x="348" y="198"/>
                  <a:pt x="349" y="199"/>
                  <a:pt x="350" y="198"/>
                </a:cubicBezTo>
                <a:cubicBezTo>
                  <a:pt x="351" y="196"/>
                  <a:pt x="352" y="195"/>
                  <a:pt x="352" y="193"/>
                </a:cubicBezTo>
                <a:cubicBezTo>
                  <a:pt x="353" y="191"/>
                  <a:pt x="353" y="190"/>
                  <a:pt x="354" y="188"/>
                </a:cubicBezTo>
                <a:cubicBezTo>
                  <a:pt x="355" y="187"/>
                  <a:pt x="356" y="186"/>
                  <a:pt x="357" y="185"/>
                </a:cubicBezTo>
                <a:cubicBezTo>
                  <a:pt x="358" y="184"/>
                  <a:pt x="359" y="187"/>
                  <a:pt x="361" y="186"/>
                </a:cubicBezTo>
                <a:cubicBezTo>
                  <a:pt x="363" y="184"/>
                  <a:pt x="365" y="187"/>
                  <a:pt x="365" y="189"/>
                </a:cubicBezTo>
                <a:cubicBezTo>
                  <a:pt x="365" y="190"/>
                  <a:pt x="364" y="196"/>
                  <a:pt x="366" y="196"/>
                </a:cubicBezTo>
                <a:cubicBezTo>
                  <a:pt x="367" y="197"/>
                  <a:pt x="368" y="199"/>
                  <a:pt x="369" y="201"/>
                </a:cubicBezTo>
                <a:cubicBezTo>
                  <a:pt x="370" y="199"/>
                  <a:pt x="381" y="196"/>
                  <a:pt x="381" y="196"/>
                </a:cubicBezTo>
                <a:cubicBezTo>
                  <a:pt x="381" y="195"/>
                  <a:pt x="380" y="195"/>
                  <a:pt x="380" y="194"/>
                </a:cubicBezTo>
                <a:cubicBezTo>
                  <a:pt x="380" y="194"/>
                  <a:pt x="382" y="196"/>
                  <a:pt x="382" y="196"/>
                </a:cubicBezTo>
                <a:cubicBezTo>
                  <a:pt x="382" y="197"/>
                  <a:pt x="380" y="197"/>
                  <a:pt x="380" y="197"/>
                </a:cubicBezTo>
                <a:cubicBezTo>
                  <a:pt x="380" y="197"/>
                  <a:pt x="386" y="198"/>
                  <a:pt x="386" y="198"/>
                </a:cubicBezTo>
                <a:cubicBezTo>
                  <a:pt x="386" y="198"/>
                  <a:pt x="386" y="198"/>
                  <a:pt x="386" y="198"/>
                </a:cubicBezTo>
                <a:cubicBezTo>
                  <a:pt x="386" y="198"/>
                  <a:pt x="386" y="199"/>
                  <a:pt x="386" y="199"/>
                </a:cubicBezTo>
                <a:cubicBezTo>
                  <a:pt x="385" y="199"/>
                  <a:pt x="384" y="199"/>
                  <a:pt x="383" y="200"/>
                </a:cubicBezTo>
                <a:cubicBezTo>
                  <a:pt x="383" y="201"/>
                  <a:pt x="382" y="198"/>
                  <a:pt x="382" y="198"/>
                </a:cubicBezTo>
                <a:cubicBezTo>
                  <a:pt x="381" y="198"/>
                  <a:pt x="381" y="199"/>
                  <a:pt x="381" y="199"/>
                </a:cubicBezTo>
                <a:cubicBezTo>
                  <a:pt x="381" y="199"/>
                  <a:pt x="381" y="198"/>
                  <a:pt x="380" y="199"/>
                </a:cubicBezTo>
                <a:cubicBezTo>
                  <a:pt x="379" y="200"/>
                  <a:pt x="378" y="200"/>
                  <a:pt x="377" y="201"/>
                </a:cubicBezTo>
                <a:cubicBezTo>
                  <a:pt x="375" y="202"/>
                  <a:pt x="371" y="205"/>
                  <a:pt x="373" y="208"/>
                </a:cubicBezTo>
                <a:cubicBezTo>
                  <a:pt x="376" y="210"/>
                  <a:pt x="378" y="208"/>
                  <a:pt x="379" y="207"/>
                </a:cubicBezTo>
                <a:cubicBezTo>
                  <a:pt x="380" y="206"/>
                  <a:pt x="384" y="203"/>
                  <a:pt x="384" y="202"/>
                </a:cubicBezTo>
                <a:cubicBezTo>
                  <a:pt x="384" y="203"/>
                  <a:pt x="386" y="204"/>
                  <a:pt x="387" y="203"/>
                </a:cubicBezTo>
                <a:cubicBezTo>
                  <a:pt x="387" y="202"/>
                  <a:pt x="390" y="201"/>
                  <a:pt x="391" y="201"/>
                </a:cubicBezTo>
                <a:cubicBezTo>
                  <a:pt x="393" y="200"/>
                  <a:pt x="395" y="199"/>
                  <a:pt x="397" y="199"/>
                </a:cubicBezTo>
                <a:cubicBezTo>
                  <a:pt x="398" y="199"/>
                  <a:pt x="398" y="199"/>
                  <a:pt x="398" y="198"/>
                </a:cubicBezTo>
                <a:cubicBezTo>
                  <a:pt x="397" y="197"/>
                  <a:pt x="398" y="197"/>
                  <a:pt x="398" y="197"/>
                </a:cubicBezTo>
                <a:cubicBezTo>
                  <a:pt x="398" y="196"/>
                  <a:pt x="396" y="197"/>
                  <a:pt x="395" y="196"/>
                </a:cubicBezTo>
                <a:cubicBezTo>
                  <a:pt x="394" y="196"/>
                  <a:pt x="395" y="194"/>
                  <a:pt x="393" y="196"/>
                </a:cubicBezTo>
                <a:cubicBezTo>
                  <a:pt x="391" y="197"/>
                  <a:pt x="387" y="196"/>
                  <a:pt x="385" y="195"/>
                </a:cubicBezTo>
                <a:cubicBezTo>
                  <a:pt x="384" y="195"/>
                  <a:pt x="385" y="193"/>
                  <a:pt x="384" y="193"/>
                </a:cubicBezTo>
                <a:cubicBezTo>
                  <a:pt x="384" y="193"/>
                  <a:pt x="382" y="193"/>
                  <a:pt x="381" y="192"/>
                </a:cubicBezTo>
                <a:cubicBezTo>
                  <a:pt x="380" y="192"/>
                  <a:pt x="380" y="189"/>
                  <a:pt x="380" y="188"/>
                </a:cubicBezTo>
                <a:cubicBezTo>
                  <a:pt x="380" y="187"/>
                  <a:pt x="378" y="188"/>
                  <a:pt x="377" y="187"/>
                </a:cubicBezTo>
                <a:cubicBezTo>
                  <a:pt x="377" y="187"/>
                  <a:pt x="379" y="185"/>
                  <a:pt x="379" y="185"/>
                </a:cubicBezTo>
                <a:cubicBezTo>
                  <a:pt x="380" y="184"/>
                  <a:pt x="380" y="181"/>
                  <a:pt x="378" y="181"/>
                </a:cubicBezTo>
                <a:cubicBezTo>
                  <a:pt x="378" y="181"/>
                  <a:pt x="376" y="185"/>
                  <a:pt x="375" y="183"/>
                </a:cubicBezTo>
                <a:cubicBezTo>
                  <a:pt x="375" y="181"/>
                  <a:pt x="374" y="182"/>
                  <a:pt x="373" y="181"/>
                </a:cubicBezTo>
                <a:cubicBezTo>
                  <a:pt x="373" y="180"/>
                  <a:pt x="376" y="181"/>
                  <a:pt x="376" y="181"/>
                </a:cubicBezTo>
                <a:cubicBezTo>
                  <a:pt x="378" y="181"/>
                  <a:pt x="379" y="180"/>
                  <a:pt x="380" y="180"/>
                </a:cubicBezTo>
                <a:cubicBezTo>
                  <a:pt x="381" y="179"/>
                  <a:pt x="382" y="179"/>
                  <a:pt x="383" y="179"/>
                </a:cubicBezTo>
                <a:cubicBezTo>
                  <a:pt x="384" y="178"/>
                  <a:pt x="382" y="176"/>
                  <a:pt x="382" y="176"/>
                </a:cubicBezTo>
                <a:cubicBezTo>
                  <a:pt x="382" y="176"/>
                  <a:pt x="383" y="176"/>
                  <a:pt x="383" y="176"/>
                </a:cubicBezTo>
                <a:cubicBezTo>
                  <a:pt x="383" y="176"/>
                  <a:pt x="379" y="174"/>
                  <a:pt x="379" y="174"/>
                </a:cubicBezTo>
                <a:cubicBezTo>
                  <a:pt x="377" y="173"/>
                  <a:pt x="375" y="173"/>
                  <a:pt x="373" y="174"/>
                </a:cubicBezTo>
                <a:cubicBezTo>
                  <a:pt x="369" y="175"/>
                  <a:pt x="366" y="176"/>
                  <a:pt x="363" y="178"/>
                </a:cubicBezTo>
                <a:cubicBezTo>
                  <a:pt x="360" y="179"/>
                  <a:pt x="358" y="181"/>
                  <a:pt x="355" y="183"/>
                </a:cubicBezTo>
                <a:cubicBezTo>
                  <a:pt x="354" y="184"/>
                  <a:pt x="353" y="185"/>
                  <a:pt x="352" y="187"/>
                </a:cubicBezTo>
                <a:cubicBezTo>
                  <a:pt x="352" y="187"/>
                  <a:pt x="348" y="189"/>
                  <a:pt x="348" y="189"/>
                </a:cubicBezTo>
                <a:cubicBezTo>
                  <a:pt x="348" y="188"/>
                  <a:pt x="353" y="184"/>
                  <a:pt x="354" y="183"/>
                </a:cubicBezTo>
                <a:cubicBezTo>
                  <a:pt x="354" y="182"/>
                  <a:pt x="355" y="181"/>
                  <a:pt x="354" y="180"/>
                </a:cubicBezTo>
                <a:cubicBezTo>
                  <a:pt x="353" y="180"/>
                  <a:pt x="351" y="179"/>
                  <a:pt x="350" y="179"/>
                </a:cubicBezTo>
                <a:cubicBezTo>
                  <a:pt x="351" y="179"/>
                  <a:pt x="353" y="180"/>
                  <a:pt x="354" y="180"/>
                </a:cubicBezTo>
                <a:cubicBezTo>
                  <a:pt x="356" y="181"/>
                  <a:pt x="358" y="178"/>
                  <a:pt x="359" y="177"/>
                </a:cubicBezTo>
                <a:cubicBezTo>
                  <a:pt x="360" y="176"/>
                  <a:pt x="361" y="174"/>
                  <a:pt x="363" y="173"/>
                </a:cubicBezTo>
                <a:cubicBezTo>
                  <a:pt x="365" y="173"/>
                  <a:pt x="367" y="174"/>
                  <a:pt x="368" y="172"/>
                </a:cubicBezTo>
                <a:cubicBezTo>
                  <a:pt x="369" y="168"/>
                  <a:pt x="371" y="167"/>
                  <a:pt x="375" y="167"/>
                </a:cubicBezTo>
                <a:cubicBezTo>
                  <a:pt x="379" y="167"/>
                  <a:pt x="383" y="167"/>
                  <a:pt x="387" y="167"/>
                </a:cubicBezTo>
                <a:cubicBezTo>
                  <a:pt x="394" y="167"/>
                  <a:pt x="404" y="169"/>
                  <a:pt x="409" y="163"/>
                </a:cubicBezTo>
                <a:cubicBezTo>
                  <a:pt x="411" y="161"/>
                  <a:pt x="412" y="160"/>
                  <a:pt x="414" y="160"/>
                </a:cubicBezTo>
                <a:cubicBezTo>
                  <a:pt x="416" y="160"/>
                  <a:pt x="418" y="160"/>
                  <a:pt x="421" y="158"/>
                </a:cubicBezTo>
                <a:cubicBezTo>
                  <a:pt x="422" y="158"/>
                  <a:pt x="425" y="156"/>
                  <a:pt x="425" y="155"/>
                </a:cubicBezTo>
                <a:cubicBezTo>
                  <a:pt x="427" y="152"/>
                  <a:pt x="422" y="153"/>
                  <a:pt x="422" y="152"/>
                </a:cubicBezTo>
                <a:cubicBezTo>
                  <a:pt x="422" y="151"/>
                  <a:pt x="424" y="151"/>
                  <a:pt x="424" y="151"/>
                </a:cubicBezTo>
                <a:cubicBezTo>
                  <a:pt x="425" y="150"/>
                  <a:pt x="424" y="149"/>
                  <a:pt x="424" y="148"/>
                </a:cubicBezTo>
                <a:cubicBezTo>
                  <a:pt x="424" y="148"/>
                  <a:pt x="425" y="147"/>
                  <a:pt x="425" y="147"/>
                </a:cubicBezTo>
                <a:cubicBezTo>
                  <a:pt x="425" y="146"/>
                  <a:pt x="423" y="145"/>
                  <a:pt x="423" y="145"/>
                </a:cubicBezTo>
                <a:cubicBezTo>
                  <a:pt x="422" y="144"/>
                  <a:pt x="421" y="144"/>
                  <a:pt x="421" y="143"/>
                </a:cubicBezTo>
                <a:cubicBezTo>
                  <a:pt x="420" y="143"/>
                  <a:pt x="418" y="146"/>
                  <a:pt x="417" y="144"/>
                </a:cubicBezTo>
                <a:cubicBezTo>
                  <a:pt x="417" y="144"/>
                  <a:pt x="419" y="143"/>
                  <a:pt x="418" y="143"/>
                </a:cubicBezTo>
                <a:cubicBezTo>
                  <a:pt x="418" y="142"/>
                  <a:pt x="417" y="141"/>
                  <a:pt x="416" y="141"/>
                </a:cubicBezTo>
                <a:cubicBezTo>
                  <a:pt x="415" y="140"/>
                  <a:pt x="411" y="141"/>
                  <a:pt x="410" y="142"/>
                </a:cubicBezTo>
                <a:cubicBezTo>
                  <a:pt x="409" y="144"/>
                  <a:pt x="406" y="145"/>
                  <a:pt x="404" y="146"/>
                </a:cubicBezTo>
                <a:cubicBezTo>
                  <a:pt x="403" y="146"/>
                  <a:pt x="400" y="144"/>
                  <a:pt x="400" y="143"/>
                </a:cubicBezTo>
                <a:cubicBezTo>
                  <a:pt x="400" y="142"/>
                  <a:pt x="403" y="145"/>
                  <a:pt x="403" y="145"/>
                </a:cubicBezTo>
                <a:cubicBezTo>
                  <a:pt x="404" y="145"/>
                  <a:pt x="408" y="142"/>
                  <a:pt x="408" y="142"/>
                </a:cubicBezTo>
                <a:cubicBezTo>
                  <a:pt x="408" y="142"/>
                  <a:pt x="406" y="141"/>
                  <a:pt x="406" y="141"/>
                </a:cubicBezTo>
                <a:cubicBezTo>
                  <a:pt x="409" y="140"/>
                  <a:pt x="412" y="140"/>
                  <a:pt x="415" y="139"/>
                </a:cubicBezTo>
                <a:cubicBezTo>
                  <a:pt x="415" y="139"/>
                  <a:pt x="417" y="138"/>
                  <a:pt x="416" y="137"/>
                </a:cubicBezTo>
                <a:cubicBezTo>
                  <a:pt x="416" y="137"/>
                  <a:pt x="414" y="135"/>
                  <a:pt x="414" y="135"/>
                </a:cubicBezTo>
                <a:cubicBezTo>
                  <a:pt x="412" y="136"/>
                  <a:pt x="410" y="136"/>
                  <a:pt x="409" y="134"/>
                </a:cubicBezTo>
                <a:cubicBezTo>
                  <a:pt x="408" y="134"/>
                  <a:pt x="404" y="137"/>
                  <a:pt x="404" y="136"/>
                </a:cubicBezTo>
                <a:cubicBezTo>
                  <a:pt x="404" y="136"/>
                  <a:pt x="407" y="133"/>
                  <a:pt x="404" y="134"/>
                </a:cubicBezTo>
                <a:cubicBezTo>
                  <a:pt x="404" y="134"/>
                  <a:pt x="400" y="135"/>
                  <a:pt x="400" y="135"/>
                </a:cubicBezTo>
                <a:cubicBezTo>
                  <a:pt x="401" y="133"/>
                  <a:pt x="404" y="133"/>
                  <a:pt x="402" y="130"/>
                </a:cubicBezTo>
                <a:cubicBezTo>
                  <a:pt x="402" y="130"/>
                  <a:pt x="398" y="128"/>
                  <a:pt x="398" y="128"/>
                </a:cubicBezTo>
                <a:cubicBezTo>
                  <a:pt x="396" y="128"/>
                  <a:pt x="396" y="126"/>
                  <a:pt x="394" y="126"/>
                </a:cubicBezTo>
                <a:cubicBezTo>
                  <a:pt x="395" y="126"/>
                  <a:pt x="392" y="122"/>
                  <a:pt x="392" y="122"/>
                </a:cubicBezTo>
                <a:cubicBezTo>
                  <a:pt x="392" y="122"/>
                  <a:pt x="393" y="123"/>
                  <a:pt x="394" y="123"/>
                </a:cubicBezTo>
                <a:cubicBezTo>
                  <a:pt x="395" y="124"/>
                  <a:pt x="395" y="122"/>
                  <a:pt x="396" y="122"/>
                </a:cubicBezTo>
                <a:cubicBezTo>
                  <a:pt x="400" y="121"/>
                  <a:pt x="393" y="118"/>
                  <a:pt x="392" y="117"/>
                </a:cubicBezTo>
                <a:cubicBezTo>
                  <a:pt x="392" y="118"/>
                  <a:pt x="394" y="116"/>
                  <a:pt x="394" y="116"/>
                </a:cubicBezTo>
                <a:cubicBezTo>
                  <a:pt x="395" y="115"/>
                  <a:pt x="393" y="115"/>
                  <a:pt x="392" y="114"/>
                </a:cubicBezTo>
                <a:cubicBezTo>
                  <a:pt x="392" y="114"/>
                  <a:pt x="391" y="113"/>
                  <a:pt x="390" y="113"/>
                </a:cubicBezTo>
                <a:cubicBezTo>
                  <a:pt x="390" y="113"/>
                  <a:pt x="388" y="113"/>
                  <a:pt x="388" y="113"/>
                </a:cubicBezTo>
                <a:cubicBezTo>
                  <a:pt x="389" y="112"/>
                  <a:pt x="391" y="113"/>
                  <a:pt x="390" y="110"/>
                </a:cubicBezTo>
                <a:cubicBezTo>
                  <a:pt x="389" y="110"/>
                  <a:pt x="386" y="111"/>
                  <a:pt x="386" y="111"/>
                </a:cubicBezTo>
                <a:cubicBezTo>
                  <a:pt x="386" y="110"/>
                  <a:pt x="389" y="110"/>
                  <a:pt x="388" y="108"/>
                </a:cubicBezTo>
                <a:cubicBezTo>
                  <a:pt x="388" y="107"/>
                  <a:pt x="388" y="106"/>
                  <a:pt x="387" y="105"/>
                </a:cubicBezTo>
                <a:cubicBezTo>
                  <a:pt x="387" y="105"/>
                  <a:pt x="386" y="106"/>
                  <a:pt x="386" y="105"/>
                </a:cubicBezTo>
                <a:cubicBezTo>
                  <a:pt x="386" y="106"/>
                  <a:pt x="384" y="102"/>
                  <a:pt x="384" y="102"/>
                </a:cubicBezTo>
                <a:cubicBezTo>
                  <a:pt x="383" y="100"/>
                  <a:pt x="382" y="99"/>
                  <a:pt x="382" y="98"/>
                </a:cubicBezTo>
                <a:cubicBezTo>
                  <a:pt x="381" y="96"/>
                  <a:pt x="381" y="94"/>
                  <a:pt x="379" y="97"/>
                </a:cubicBezTo>
                <a:cubicBezTo>
                  <a:pt x="379" y="97"/>
                  <a:pt x="378" y="101"/>
                  <a:pt x="379" y="100"/>
                </a:cubicBezTo>
                <a:cubicBezTo>
                  <a:pt x="375" y="101"/>
                  <a:pt x="377" y="101"/>
                  <a:pt x="378" y="104"/>
                </a:cubicBezTo>
                <a:cubicBezTo>
                  <a:pt x="378" y="103"/>
                  <a:pt x="377" y="103"/>
                  <a:pt x="377" y="104"/>
                </a:cubicBezTo>
                <a:cubicBezTo>
                  <a:pt x="376" y="104"/>
                  <a:pt x="376" y="104"/>
                  <a:pt x="375" y="105"/>
                </a:cubicBezTo>
                <a:cubicBezTo>
                  <a:pt x="375" y="105"/>
                  <a:pt x="377" y="106"/>
                  <a:pt x="377" y="106"/>
                </a:cubicBezTo>
                <a:cubicBezTo>
                  <a:pt x="376" y="107"/>
                  <a:pt x="374" y="106"/>
                  <a:pt x="374" y="107"/>
                </a:cubicBezTo>
                <a:cubicBezTo>
                  <a:pt x="373" y="108"/>
                  <a:pt x="375" y="110"/>
                  <a:pt x="373" y="111"/>
                </a:cubicBezTo>
                <a:cubicBezTo>
                  <a:pt x="374" y="111"/>
                  <a:pt x="372" y="107"/>
                  <a:pt x="370" y="109"/>
                </a:cubicBezTo>
                <a:cubicBezTo>
                  <a:pt x="370" y="110"/>
                  <a:pt x="366" y="113"/>
                  <a:pt x="366" y="113"/>
                </a:cubicBezTo>
                <a:cubicBezTo>
                  <a:pt x="365" y="113"/>
                  <a:pt x="365" y="112"/>
                  <a:pt x="365" y="111"/>
                </a:cubicBezTo>
                <a:cubicBezTo>
                  <a:pt x="364" y="111"/>
                  <a:pt x="364" y="112"/>
                  <a:pt x="364" y="112"/>
                </a:cubicBezTo>
                <a:cubicBezTo>
                  <a:pt x="363" y="111"/>
                  <a:pt x="364" y="111"/>
                  <a:pt x="364" y="110"/>
                </a:cubicBezTo>
                <a:cubicBezTo>
                  <a:pt x="364" y="111"/>
                  <a:pt x="357" y="116"/>
                  <a:pt x="357" y="115"/>
                </a:cubicBezTo>
                <a:cubicBezTo>
                  <a:pt x="356" y="114"/>
                  <a:pt x="360" y="113"/>
                  <a:pt x="361" y="113"/>
                </a:cubicBezTo>
                <a:cubicBezTo>
                  <a:pt x="363" y="111"/>
                  <a:pt x="363" y="110"/>
                  <a:pt x="362" y="108"/>
                </a:cubicBezTo>
                <a:cubicBezTo>
                  <a:pt x="361" y="107"/>
                  <a:pt x="358" y="107"/>
                  <a:pt x="357" y="107"/>
                </a:cubicBezTo>
                <a:cubicBezTo>
                  <a:pt x="356" y="107"/>
                  <a:pt x="356" y="108"/>
                  <a:pt x="356" y="108"/>
                </a:cubicBezTo>
                <a:cubicBezTo>
                  <a:pt x="355" y="110"/>
                  <a:pt x="353" y="108"/>
                  <a:pt x="352" y="108"/>
                </a:cubicBezTo>
                <a:cubicBezTo>
                  <a:pt x="353" y="108"/>
                  <a:pt x="355" y="106"/>
                  <a:pt x="355" y="106"/>
                </a:cubicBezTo>
                <a:cubicBezTo>
                  <a:pt x="355" y="106"/>
                  <a:pt x="356" y="107"/>
                  <a:pt x="356" y="107"/>
                </a:cubicBezTo>
                <a:cubicBezTo>
                  <a:pt x="355" y="107"/>
                  <a:pt x="357" y="105"/>
                  <a:pt x="357" y="105"/>
                </a:cubicBezTo>
                <a:cubicBezTo>
                  <a:pt x="358" y="103"/>
                  <a:pt x="356" y="104"/>
                  <a:pt x="355" y="103"/>
                </a:cubicBezTo>
                <a:cubicBezTo>
                  <a:pt x="355" y="103"/>
                  <a:pt x="356" y="98"/>
                  <a:pt x="354" y="99"/>
                </a:cubicBezTo>
                <a:cubicBezTo>
                  <a:pt x="355" y="98"/>
                  <a:pt x="356" y="98"/>
                  <a:pt x="355" y="96"/>
                </a:cubicBezTo>
                <a:cubicBezTo>
                  <a:pt x="353" y="95"/>
                  <a:pt x="357" y="94"/>
                  <a:pt x="356" y="92"/>
                </a:cubicBezTo>
                <a:cubicBezTo>
                  <a:pt x="356" y="91"/>
                  <a:pt x="354" y="93"/>
                  <a:pt x="353" y="92"/>
                </a:cubicBezTo>
                <a:cubicBezTo>
                  <a:pt x="352" y="91"/>
                  <a:pt x="350" y="91"/>
                  <a:pt x="349" y="91"/>
                </a:cubicBezTo>
                <a:cubicBezTo>
                  <a:pt x="347" y="90"/>
                  <a:pt x="346" y="90"/>
                  <a:pt x="345" y="88"/>
                </a:cubicBezTo>
                <a:cubicBezTo>
                  <a:pt x="345" y="86"/>
                  <a:pt x="342" y="87"/>
                  <a:pt x="342" y="85"/>
                </a:cubicBezTo>
                <a:cubicBezTo>
                  <a:pt x="342" y="84"/>
                  <a:pt x="340" y="85"/>
                  <a:pt x="340" y="85"/>
                </a:cubicBezTo>
                <a:cubicBezTo>
                  <a:pt x="341" y="83"/>
                  <a:pt x="339" y="83"/>
                  <a:pt x="338" y="82"/>
                </a:cubicBezTo>
                <a:cubicBezTo>
                  <a:pt x="336" y="81"/>
                  <a:pt x="336" y="80"/>
                  <a:pt x="334" y="81"/>
                </a:cubicBezTo>
                <a:cubicBezTo>
                  <a:pt x="332" y="82"/>
                  <a:pt x="331" y="83"/>
                  <a:pt x="329" y="82"/>
                </a:cubicBezTo>
                <a:cubicBezTo>
                  <a:pt x="327" y="81"/>
                  <a:pt x="326" y="83"/>
                  <a:pt x="324" y="82"/>
                </a:cubicBezTo>
                <a:cubicBezTo>
                  <a:pt x="322" y="80"/>
                  <a:pt x="320" y="80"/>
                  <a:pt x="318" y="80"/>
                </a:cubicBezTo>
                <a:cubicBezTo>
                  <a:pt x="316" y="80"/>
                  <a:pt x="314" y="80"/>
                  <a:pt x="313" y="82"/>
                </a:cubicBezTo>
                <a:cubicBezTo>
                  <a:pt x="312" y="84"/>
                  <a:pt x="315" y="85"/>
                  <a:pt x="315" y="86"/>
                </a:cubicBezTo>
                <a:cubicBezTo>
                  <a:pt x="316" y="87"/>
                  <a:pt x="315" y="90"/>
                  <a:pt x="314" y="91"/>
                </a:cubicBezTo>
                <a:cubicBezTo>
                  <a:pt x="314" y="92"/>
                  <a:pt x="314" y="91"/>
                  <a:pt x="313" y="92"/>
                </a:cubicBezTo>
                <a:cubicBezTo>
                  <a:pt x="313" y="92"/>
                  <a:pt x="315" y="94"/>
                  <a:pt x="315" y="94"/>
                </a:cubicBezTo>
                <a:cubicBezTo>
                  <a:pt x="315" y="96"/>
                  <a:pt x="316" y="98"/>
                  <a:pt x="316" y="99"/>
                </a:cubicBezTo>
                <a:cubicBezTo>
                  <a:pt x="316" y="100"/>
                  <a:pt x="316" y="100"/>
                  <a:pt x="316" y="101"/>
                </a:cubicBezTo>
                <a:cubicBezTo>
                  <a:pt x="316" y="102"/>
                  <a:pt x="315" y="101"/>
                  <a:pt x="315" y="101"/>
                </a:cubicBezTo>
                <a:cubicBezTo>
                  <a:pt x="314" y="102"/>
                  <a:pt x="314" y="104"/>
                  <a:pt x="314" y="104"/>
                </a:cubicBezTo>
                <a:cubicBezTo>
                  <a:pt x="313" y="105"/>
                  <a:pt x="312" y="106"/>
                  <a:pt x="312" y="107"/>
                </a:cubicBezTo>
                <a:cubicBezTo>
                  <a:pt x="311" y="109"/>
                  <a:pt x="311" y="109"/>
                  <a:pt x="312" y="110"/>
                </a:cubicBezTo>
                <a:cubicBezTo>
                  <a:pt x="315" y="112"/>
                  <a:pt x="318" y="114"/>
                  <a:pt x="320" y="116"/>
                </a:cubicBezTo>
                <a:cubicBezTo>
                  <a:pt x="321" y="119"/>
                  <a:pt x="322" y="124"/>
                  <a:pt x="321" y="127"/>
                </a:cubicBezTo>
                <a:cubicBezTo>
                  <a:pt x="319" y="131"/>
                  <a:pt x="313" y="133"/>
                  <a:pt x="310" y="135"/>
                </a:cubicBezTo>
                <a:cubicBezTo>
                  <a:pt x="309" y="136"/>
                  <a:pt x="308" y="136"/>
                  <a:pt x="307" y="137"/>
                </a:cubicBezTo>
                <a:cubicBezTo>
                  <a:pt x="304" y="138"/>
                  <a:pt x="308" y="141"/>
                  <a:pt x="308" y="143"/>
                </a:cubicBezTo>
                <a:cubicBezTo>
                  <a:pt x="308" y="143"/>
                  <a:pt x="309" y="145"/>
                  <a:pt x="309" y="146"/>
                </a:cubicBezTo>
                <a:cubicBezTo>
                  <a:pt x="309" y="148"/>
                  <a:pt x="309" y="149"/>
                  <a:pt x="310" y="151"/>
                </a:cubicBezTo>
                <a:cubicBezTo>
                  <a:pt x="311" y="153"/>
                  <a:pt x="311" y="154"/>
                  <a:pt x="309" y="156"/>
                </a:cubicBezTo>
                <a:cubicBezTo>
                  <a:pt x="309" y="156"/>
                  <a:pt x="310" y="160"/>
                  <a:pt x="309" y="161"/>
                </a:cubicBezTo>
                <a:cubicBezTo>
                  <a:pt x="308" y="161"/>
                  <a:pt x="307" y="157"/>
                  <a:pt x="306" y="159"/>
                </a:cubicBezTo>
                <a:cubicBezTo>
                  <a:pt x="305" y="161"/>
                  <a:pt x="307" y="164"/>
                  <a:pt x="307" y="164"/>
                </a:cubicBezTo>
                <a:cubicBezTo>
                  <a:pt x="307" y="163"/>
                  <a:pt x="301" y="158"/>
                  <a:pt x="298" y="161"/>
                </a:cubicBezTo>
                <a:cubicBezTo>
                  <a:pt x="299" y="160"/>
                  <a:pt x="302" y="159"/>
                  <a:pt x="300" y="157"/>
                </a:cubicBezTo>
                <a:cubicBezTo>
                  <a:pt x="299" y="156"/>
                  <a:pt x="298" y="155"/>
                  <a:pt x="297" y="155"/>
                </a:cubicBezTo>
                <a:cubicBezTo>
                  <a:pt x="297" y="154"/>
                  <a:pt x="295" y="154"/>
                  <a:pt x="294" y="154"/>
                </a:cubicBezTo>
                <a:cubicBezTo>
                  <a:pt x="294" y="153"/>
                  <a:pt x="295" y="153"/>
                  <a:pt x="294" y="151"/>
                </a:cubicBezTo>
                <a:cubicBezTo>
                  <a:pt x="293" y="150"/>
                  <a:pt x="292" y="148"/>
                  <a:pt x="293" y="146"/>
                </a:cubicBezTo>
                <a:cubicBezTo>
                  <a:pt x="294" y="143"/>
                  <a:pt x="291" y="142"/>
                  <a:pt x="291" y="140"/>
                </a:cubicBezTo>
                <a:cubicBezTo>
                  <a:pt x="291" y="138"/>
                  <a:pt x="293" y="137"/>
                  <a:pt x="292" y="135"/>
                </a:cubicBezTo>
                <a:cubicBezTo>
                  <a:pt x="290" y="133"/>
                  <a:pt x="286" y="133"/>
                  <a:pt x="283" y="133"/>
                </a:cubicBezTo>
                <a:cubicBezTo>
                  <a:pt x="282" y="133"/>
                  <a:pt x="281" y="133"/>
                  <a:pt x="279" y="133"/>
                </a:cubicBezTo>
                <a:cubicBezTo>
                  <a:pt x="279" y="133"/>
                  <a:pt x="277" y="135"/>
                  <a:pt x="277" y="135"/>
                </a:cubicBezTo>
                <a:cubicBezTo>
                  <a:pt x="277" y="134"/>
                  <a:pt x="278" y="134"/>
                  <a:pt x="277" y="133"/>
                </a:cubicBezTo>
                <a:cubicBezTo>
                  <a:pt x="277" y="132"/>
                  <a:pt x="276" y="131"/>
                  <a:pt x="275" y="131"/>
                </a:cubicBezTo>
                <a:cubicBezTo>
                  <a:pt x="273" y="130"/>
                  <a:pt x="271" y="130"/>
                  <a:pt x="269" y="129"/>
                </a:cubicBezTo>
                <a:cubicBezTo>
                  <a:pt x="266" y="128"/>
                  <a:pt x="264" y="125"/>
                  <a:pt x="261" y="123"/>
                </a:cubicBezTo>
                <a:cubicBezTo>
                  <a:pt x="259" y="122"/>
                  <a:pt x="257" y="121"/>
                  <a:pt x="256" y="121"/>
                </a:cubicBezTo>
                <a:cubicBezTo>
                  <a:pt x="254" y="121"/>
                  <a:pt x="252" y="119"/>
                  <a:pt x="250" y="119"/>
                </a:cubicBezTo>
                <a:cubicBezTo>
                  <a:pt x="249" y="119"/>
                  <a:pt x="240" y="121"/>
                  <a:pt x="240" y="121"/>
                </a:cubicBezTo>
                <a:cubicBezTo>
                  <a:pt x="240" y="120"/>
                  <a:pt x="241" y="120"/>
                  <a:pt x="242" y="119"/>
                </a:cubicBezTo>
                <a:cubicBezTo>
                  <a:pt x="242" y="118"/>
                  <a:pt x="241" y="117"/>
                  <a:pt x="241" y="117"/>
                </a:cubicBezTo>
                <a:cubicBezTo>
                  <a:pt x="240" y="114"/>
                  <a:pt x="239" y="112"/>
                  <a:pt x="238" y="110"/>
                </a:cubicBezTo>
                <a:cubicBezTo>
                  <a:pt x="237" y="108"/>
                  <a:pt x="236" y="108"/>
                  <a:pt x="234" y="108"/>
                </a:cubicBezTo>
                <a:cubicBezTo>
                  <a:pt x="231" y="108"/>
                  <a:pt x="230" y="108"/>
                  <a:pt x="230" y="105"/>
                </a:cubicBezTo>
                <a:cubicBezTo>
                  <a:pt x="231" y="103"/>
                  <a:pt x="230" y="100"/>
                  <a:pt x="230" y="98"/>
                </a:cubicBezTo>
                <a:cubicBezTo>
                  <a:pt x="231" y="95"/>
                  <a:pt x="233" y="93"/>
                  <a:pt x="234" y="90"/>
                </a:cubicBezTo>
                <a:cubicBezTo>
                  <a:pt x="235" y="88"/>
                  <a:pt x="235" y="87"/>
                  <a:pt x="237" y="86"/>
                </a:cubicBezTo>
                <a:cubicBezTo>
                  <a:pt x="238" y="86"/>
                  <a:pt x="237" y="85"/>
                  <a:pt x="237" y="84"/>
                </a:cubicBezTo>
                <a:cubicBezTo>
                  <a:pt x="238" y="84"/>
                  <a:pt x="240" y="82"/>
                  <a:pt x="240" y="82"/>
                </a:cubicBezTo>
                <a:cubicBezTo>
                  <a:pt x="240" y="82"/>
                  <a:pt x="240" y="82"/>
                  <a:pt x="239" y="81"/>
                </a:cubicBezTo>
                <a:cubicBezTo>
                  <a:pt x="239" y="81"/>
                  <a:pt x="240" y="81"/>
                  <a:pt x="240" y="81"/>
                </a:cubicBezTo>
                <a:cubicBezTo>
                  <a:pt x="240" y="79"/>
                  <a:pt x="242" y="80"/>
                  <a:pt x="243" y="80"/>
                </a:cubicBezTo>
                <a:cubicBezTo>
                  <a:pt x="244" y="80"/>
                  <a:pt x="244" y="79"/>
                  <a:pt x="244" y="79"/>
                </a:cubicBezTo>
                <a:cubicBezTo>
                  <a:pt x="245" y="77"/>
                  <a:pt x="243" y="78"/>
                  <a:pt x="242" y="77"/>
                </a:cubicBezTo>
                <a:cubicBezTo>
                  <a:pt x="242" y="77"/>
                  <a:pt x="244" y="77"/>
                  <a:pt x="244" y="77"/>
                </a:cubicBezTo>
                <a:cubicBezTo>
                  <a:pt x="245" y="76"/>
                  <a:pt x="246" y="77"/>
                  <a:pt x="246" y="77"/>
                </a:cubicBezTo>
                <a:cubicBezTo>
                  <a:pt x="248" y="79"/>
                  <a:pt x="248" y="77"/>
                  <a:pt x="250" y="76"/>
                </a:cubicBezTo>
                <a:cubicBezTo>
                  <a:pt x="252" y="74"/>
                  <a:pt x="248" y="72"/>
                  <a:pt x="246" y="71"/>
                </a:cubicBezTo>
                <a:cubicBezTo>
                  <a:pt x="245" y="71"/>
                  <a:pt x="241" y="72"/>
                  <a:pt x="241" y="72"/>
                </a:cubicBezTo>
                <a:cubicBezTo>
                  <a:pt x="240" y="70"/>
                  <a:pt x="243" y="70"/>
                  <a:pt x="240" y="69"/>
                </a:cubicBezTo>
                <a:cubicBezTo>
                  <a:pt x="239" y="69"/>
                  <a:pt x="234" y="69"/>
                  <a:pt x="234" y="68"/>
                </a:cubicBezTo>
                <a:cubicBezTo>
                  <a:pt x="234" y="67"/>
                  <a:pt x="236" y="67"/>
                  <a:pt x="236" y="67"/>
                </a:cubicBezTo>
                <a:cubicBezTo>
                  <a:pt x="237" y="66"/>
                  <a:pt x="237" y="67"/>
                  <a:pt x="238" y="67"/>
                </a:cubicBezTo>
                <a:cubicBezTo>
                  <a:pt x="237" y="68"/>
                  <a:pt x="240" y="68"/>
                  <a:pt x="240" y="68"/>
                </a:cubicBezTo>
                <a:cubicBezTo>
                  <a:pt x="242" y="68"/>
                  <a:pt x="245" y="70"/>
                  <a:pt x="246" y="70"/>
                </a:cubicBezTo>
                <a:cubicBezTo>
                  <a:pt x="247" y="70"/>
                  <a:pt x="248" y="71"/>
                  <a:pt x="249" y="71"/>
                </a:cubicBezTo>
                <a:cubicBezTo>
                  <a:pt x="251" y="72"/>
                  <a:pt x="250" y="71"/>
                  <a:pt x="251" y="71"/>
                </a:cubicBezTo>
                <a:cubicBezTo>
                  <a:pt x="252" y="71"/>
                  <a:pt x="255" y="71"/>
                  <a:pt x="254" y="70"/>
                </a:cubicBezTo>
                <a:cubicBezTo>
                  <a:pt x="253" y="69"/>
                  <a:pt x="254" y="67"/>
                  <a:pt x="255" y="66"/>
                </a:cubicBezTo>
                <a:cubicBezTo>
                  <a:pt x="255" y="67"/>
                  <a:pt x="258" y="68"/>
                  <a:pt x="258" y="68"/>
                </a:cubicBezTo>
                <a:cubicBezTo>
                  <a:pt x="260" y="68"/>
                  <a:pt x="261" y="68"/>
                  <a:pt x="263" y="67"/>
                </a:cubicBezTo>
                <a:cubicBezTo>
                  <a:pt x="264" y="66"/>
                  <a:pt x="265" y="64"/>
                  <a:pt x="266" y="63"/>
                </a:cubicBezTo>
                <a:cubicBezTo>
                  <a:pt x="267" y="62"/>
                  <a:pt x="269" y="61"/>
                  <a:pt x="268" y="59"/>
                </a:cubicBezTo>
                <a:cubicBezTo>
                  <a:pt x="267" y="57"/>
                  <a:pt x="264" y="58"/>
                  <a:pt x="263" y="58"/>
                </a:cubicBezTo>
                <a:cubicBezTo>
                  <a:pt x="260" y="58"/>
                  <a:pt x="258" y="57"/>
                  <a:pt x="256" y="56"/>
                </a:cubicBezTo>
                <a:cubicBezTo>
                  <a:pt x="255" y="55"/>
                  <a:pt x="254" y="54"/>
                  <a:pt x="252" y="53"/>
                </a:cubicBezTo>
                <a:cubicBezTo>
                  <a:pt x="252" y="53"/>
                  <a:pt x="247" y="53"/>
                  <a:pt x="247" y="53"/>
                </a:cubicBezTo>
                <a:cubicBezTo>
                  <a:pt x="247" y="52"/>
                  <a:pt x="252" y="53"/>
                  <a:pt x="253" y="53"/>
                </a:cubicBezTo>
                <a:cubicBezTo>
                  <a:pt x="255" y="53"/>
                  <a:pt x="255" y="52"/>
                  <a:pt x="257" y="53"/>
                </a:cubicBezTo>
                <a:cubicBezTo>
                  <a:pt x="261" y="55"/>
                  <a:pt x="265" y="59"/>
                  <a:pt x="269" y="56"/>
                </a:cubicBezTo>
                <a:cubicBezTo>
                  <a:pt x="271" y="54"/>
                  <a:pt x="272" y="53"/>
                  <a:pt x="273" y="51"/>
                </a:cubicBezTo>
                <a:cubicBezTo>
                  <a:pt x="274" y="50"/>
                  <a:pt x="268" y="49"/>
                  <a:pt x="271" y="47"/>
                </a:cubicBezTo>
                <a:cubicBezTo>
                  <a:pt x="272" y="47"/>
                  <a:pt x="275" y="47"/>
                  <a:pt x="276" y="48"/>
                </a:cubicBezTo>
                <a:cubicBezTo>
                  <a:pt x="279" y="48"/>
                  <a:pt x="279" y="50"/>
                  <a:pt x="282" y="48"/>
                </a:cubicBezTo>
                <a:cubicBezTo>
                  <a:pt x="282" y="48"/>
                  <a:pt x="285" y="49"/>
                  <a:pt x="284" y="47"/>
                </a:cubicBezTo>
                <a:cubicBezTo>
                  <a:pt x="283" y="46"/>
                  <a:pt x="279" y="44"/>
                  <a:pt x="278" y="44"/>
                </a:cubicBezTo>
                <a:cubicBezTo>
                  <a:pt x="280" y="43"/>
                  <a:pt x="282" y="45"/>
                  <a:pt x="284" y="45"/>
                </a:cubicBezTo>
                <a:cubicBezTo>
                  <a:pt x="285" y="45"/>
                  <a:pt x="287" y="50"/>
                  <a:pt x="289" y="49"/>
                </a:cubicBezTo>
                <a:cubicBezTo>
                  <a:pt x="289" y="49"/>
                  <a:pt x="288" y="48"/>
                  <a:pt x="288" y="48"/>
                </a:cubicBezTo>
                <a:cubicBezTo>
                  <a:pt x="289" y="47"/>
                  <a:pt x="290" y="47"/>
                  <a:pt x="292" y="46"/>
                </a:cubicBezTo>
                <a:cubicBezTo>
                  <a:pt x="293" y="45"/>
                  <a:pt x="296" y="42"/>
                  <a:pt x="297" y="41"/>
                </a:cubicBezTo>
                <a:cubicBezTo>
                  <a:pt x="297" y="38"/>
                  <a:pt x="295" y="38"/>
                  <a:pt x="293" y="36"/>
                </a:cubicBezTo>
                <a:cubicBezTo>
                  <a:pt x="293" y="36"/>
                  <a:pt x="290" y="30"/>
                  <a:pt x="290" y="31"/>
                </a:cubicBezTo>
                <a:cubicBezTo>
                  <a:pt x="291" y="30"/>
                  <a:pt x="295" y="30"/>
                  <a:pt x="296" y="30"/>
                </a:cubicBezTo>
                <a:cubicBezTo>
                  <a:pt x="299" y="29"/>
                  <a:pt x="294" y="28"/>
                  <a:pt x="294" y="27"/>
                </a:cubicBezTo>
                <a:cubicBezTo>
                  <a:pt x="293" y="26"/>
                  <a:pt x="297" y="26"/>
                  <a:pt x="297" y="25"/>
                </a:cubicBezTo>
                <a:cubicBezTo>
                  <a:pt x="297" y="25"/>
                  <a:pt x="287" y="21"/>
                  <a:pt x="287" y="21"/>
                </a:cubicBezTo>
                <a:cubicBezTo>
                  <a:pt x="288" y="21"/>
                  <a:pt x="290" y="20"/>
                  <a:pt x="291" y="20"/>
                </a:cubicBezTo>
                <a:cubicBezTo>
                  <a:pt x="288" y="20"/>
                  <a:pt x="285" y="19"/>
                  <a:pt x="282" y="19"/>
                </a:cubicBezTo>
                <a:cubicBezTo>
                  <a:pt x="280" y="19"/>
                  <a:pt x="277" y="20"/>
                  <a:pt x="276" y="19"/>
                </a:cubicBezTo>
                <a:cubicBezTo>
                  <a:pt x="278" y="20"/>
                  <a:pt x="275" y="21"/>
                  <a:pt x="276" y="23"/>
                </a:cubicBezTo>
                <a:cubicBezTo>
                  <a:pt x="277" y="24"/>
                  <a:pt x="280" y="25"/>
                  <a:pt x="280" y="26"/>
                </a:cubicBezTo>
                <a:cubicBezTo>
                  <a:pt x="280" y="26"/>
                  <a:pt x="278" y="27"/>
                  <a:pt x="278" y="27"/>
                </a:cubicBezTo>
                <a:cubicBezTo>
                  <a:pt x="278" y="27"/>
                  <a:pt x="280" y="28"/>
                  <a:pt x="279" y="28"/>
                </a:cubicBezTo>
                <a:cubicBezTo>
                  <a:pt x="277" y="29"/>
                  <a:pt x="276" y="27"/>
                  <a:pt x="275" y="31"/>
                </a:cubicBezTo>
                <a:cubicBezTo>
                  <a:pt x="274" y="33"/>
                  <a:pt x="274" y="35"/>
                  <a:pt x="273" y="37"/>
                </a:cubicBezTo>
                <a:cubicBezTo>
                  <a:pt x="272" y="37"/>
                  <a:pt x="271" y="38"/>
                  <a:pt x="271" y="39"/>
                </a:cubicBezTo>
                <a:cubicBezTo>
                  <a:pt x="271" y="40"/>
                  <a:pt x="270" y="40"/>
                  <a:pt x="270" y="41"/>
                </a:cubicBezTo>
                <a:cubicBezTo>
                  <a:pt x="267" y="42"/>
                  <a:pt x="268" y="43"/>
                  <a:pt x="266" y="40"/>
                </a:cubicBezTo>
                <a:cubicBezTo>
                  <a:pt x="265" y="39"/>
                  <a:pt x="262" y="37"/>
                  <a:pt x="262" y="35"/>
                </a:cubicBezTo>
                <a:cubicBezTo>
                  <a:pt x="262" y="35"/>
                  <a:pt x="262" y="32"/>
                  <a:pt x="263" y="32"/>
                </a:cubicBezTo>
                <a:cubicBezTo>
                  <a:pt x="263" y="32"/>
                  <a:pt x="265" y="33"/>
                  <a:pt x="265" y="31"/>
                </a:cubicBezTo>
                <a:cubicBezTo>
                  <a:pt x="264" y="29"/>
                  <a:pt x="264" y="28"/>
                  <a:pt x="262" y="26"/>
                </a:cubicBezTo>
                <a:cubicBezTo>
                  <a:pt x="260" y="25"/>
                  <a:pt x="258" y="23"/>
                  <a:pt x="256" y="25"/>
                </a:cubicBezTo>
                <a:cubicBezTo>
                  <a:pt x="255" y="26"/>
                  <a:pt x="255" y="28"/>
                  <a:pt x="255" y="30"/>
                </a:cubicBezTo>
                <a:cubicBezTo>
                  <a:pt x="255" y="31"/>
                  <a:pt x="251" y="31"/>
                  <a:pt x="251" y="30"/>
                </a:cubicBezTo>
                <a:cubicBezTo>
                  <a:pt x="251" y="29"/>
                  <a:pt x="251" y="26"/>
                  <a:pt x="250" y="25"/>
                </a:cubicBezTo>
                <a:cubicBezTo>
                  <a:pt x="246" y="22"/>
                  <a:pt x="251" y="25"/>
                  <a:pt x="251" y="24"/>
                </a:cubicBezTo>
                <a:cubicBezTo>
                  <a:pt x="252" y="24"/>
                  <a:pt x="253" y="23"/>
                  <a:pt x="252" y="23"/>
                </a:cubicBezTo>
                <a:cubicBezTo>
                  <a:pt x="252" y="22"/>
                  <a:pt x="251" y="21"/>
                  <a:pt x="250" y="22"/>
                </a:cubicBezTo>
                <a:cubicBezTo>
                  <a:pt x="249" y="23"/>
                  <a:pt x="249" y="21"/>
                  <a:pt x="248" y="21"/>
                </a:cubicBezTo>
                <a:cubicBezTo>
                  <a:pt x="247" y="20"/>
                  <a:pt x="246" y="22"/>
                  <a:pt x="245" y="21"/>
                </a:cubicBezTo>
                <a:cubicBezTo>
                  <a:pt x="243" y="20"/>
                  <a:pt x="242" y="21"/>
                  <a:pt x="243" y="18"/>
                </a:cubicBezTo>
                <a:cubicBezTo>
                  <a:pt x="243" y="18"/>
                  <a:pt x="243" y="18"/>
                  <a:pt x="244" y="18"/>
                </a:cubicBezTo>
                <a:cubicBezTo>
                  <a:pt x="244" y="17"/>
                  <a:pt x="244" y="17"/>
                  <a:pt x="244" y="16"/>
                </a:cubicBezTo>
                <a:cubicBezTo>
                  <a:pt x="245" y="16"/>
                  <a:pt x="245" y="16"/>
                  <a:pt x="246" y="16"/>
                </a:cubicBezTo>
                <a:cubicBezTo>
                  <a:pt x="245" y="16"/>
                  <a:pt x="244" y="13"/>
                  <a:pt x="244" y="13"/>
                </a:cubicBezTo>
                <a:cubicBezTo>
                  <a:pt x="243" y="11"/>
                  <a:pt x="241" y="11"/>
                  <a:pt x="241" y="10"/>
                </a:cubicBezTo>
                <a:cubicBezTo>
                  <a:pt x="239" y="9"/>
                  <a:pt x="240" y="9"/>
                  <a:pt x="239" y="7"/>
                </a:cubicBezTo>
                <a:cubicBezTo>
                  <a:pt x="239" y="5"/>
                  <a:pt x="237" y="4"/>
                  <a:pt x="237" y="3"/>
                </a:cubicBezTo>
                <a:cubicBezTo>
                  <a:pt x="236" y="1"/>
                  <a:pt x="234" y="1"/>
                  <a:pt x="232" y="1"/>
                </a:cubicBezTo>
                <a:cubicBezTo>
                  <a:pt x="231" y="1"/>
                  <a:pt x="232" y="0"/>
                  <a:pt x="230" y="0"/>
                </a:cubicBezTo>
                <a:cubicBezTo>
                  <a:pt x="229" y="0"/>
                  <a:pt x="228" y="0"/>
                  <a:pt x="228" y="2"/>
                </a:cubicBezTo>
                <a:cubicBezTo>
                  <a:pt x="228" y="2"/>
                  <a:pt x="225" y="3"/>
                  <a:pt x="225" y="3"/>
                </a:cubicBezTo>
                <a:cubicBezTo>
                  <a:pt x="226" y="3"/>
                  <a:pt x="228" y="3"/>
                  <a:pt x="228" y="4"/>
                </a:cubicBezTo>
                <a:cubicBezTo>
                  <a:pt x="228" y="4"/>
                  <a:pt x="226" y="5"/>
                  <a:pt x="226" y="5"/>
                </a:cubicBezTo>
                <a:cubicBezTo>
                  <a:pt x="225" y="6"/>
                  <a:pt x="224" y="4"/>
                  <a:pt x="223" y="6"/>
                </a:cubicBezTo>
                <a:cubicBezTo>
                  <a:pt x="222" y="6"/>
                  <a:pt x="221" y="9"/>
                  <a:pt x="221" y="10"/>
                </a:cubicBezTo>
                <a:cubicBezTo>
                  <a:pt x="222" y="10"/>
                  <a:pt x="224" y="10"/>
                  <a:pt x="225" y="11"/>
                </a:cubicBezTo>
                <a:cubicBezTo>
                  <a:pt x="224" y="10"/>
                  <a:pt x="222" y="14"/>
                  <a:pt x="222" y="15"/>
                </a:cubicBezTo>
                <a:cubicBezTo>
                  <a:pt x="222" y="16"/>
                  <a:pt x="224" y="18"/>
                  <a:pt x="225" y="19"/>
                </a:cubicBezTo>
                <a:cubicBezTo>
                  <a:pt x="226" y="19"/>
                  <a:pt x="228" y="21"/>
                  <a:pt x="229" y="21"/>
                </a:cubicBezTo>
                <a:cubicBezTo>
                  <a:pt x="231" y="20"/>
                  <a:pt x="231" y="20"/>
                  <a:pt x="232" y="21"/>
                </a:cubicBezTo>
                <a:cubicBezTo>
                  <a:pt x="233" y="21"/>
                  <a:pt x="235" y="23"/>
                  <a:pt x="235" y="23"/>
                </a:cubicBezTo>
                <a:cubicBezTo>
                  <a:pt x="234" y="24"/>
                  <a:pt x="233" y="22"/>
                  <a:pt x="233" y="24"/>
                </a:cubicBezTo>
                <a:cubicBezTo>
                  <a:pt x="233" y="26"/>
                  <a:pt x="232" y="26"/>
                  <a:pt x="232" y="27"/>
                </a:cubicBezTo>
                <a:cubicBezTo>
                  <a:pt x="231" y="29"/>
                  <a:pt x="233" y="29"/>
                  <a:pt x="234" y="28"/>
                </a:cubicBezTo>
                <a:cubicBezTo>
                  <a:pt x="234" y="28"/>
                  <a:pt x="236" y="25"/>
                  <a:pt x="236" y="26"/>
                </a:cubicBezTo>
                <a:cubicBezTo>
                  <a:pt x="237" y="27"/>
                  <a:pt x="236" y="29"/>
                  <a:pt x="236" y="30"/>
                </a:cubicBezTo>
                <a:cubicBezTo>
                  <a:pt x="235" y="31"/>
                  <a:pt x="234" y="31"/>
                  <a:pt x="233" y="31"/>
                </a:cubicBezTo>
                <a:cubicBezTo>
                  <a:pt x="233" y="32"/>
                  <a:pt x="233" y="33"/>
                  <a:pt x="232" y="34"/>
                </a:cubicBezTo>
                <a:cubicBezTo>
                  <a:pt x="231" y="34"/>
                  <a:pt x="229" y="34"/>
                  <a:pt x="228" y="35"/>
                </a:cubicBezTo>
                <a:cubicBezTo>
                  <a:pt x="227" y="35"/>
                  <a:pt x="226" y="37"/>
                  <a:pt x="226" y="37"/>
                </a:cubicBezTo>
                <a:cubicBezTo>
                  <a:pt x="227" y="38"/>
                  <a:pt x="228" y="39"/>
                  <a:pt x="228" y="41"/>
                </a:cubicBezTo>
                <a:cubicBezTo>
                  <a:pt x="228" y="42"/>
                  <a:pt x="227" y="41"/>
                  <a:pt x="226" y="40"/>
                </a:cubicBezTo>
                <a:cubicBezTo>
                  <a:pt x="226" y="40"/>
                  <a:pt x="225" y="40"/>
                  <a:pt x="225" y="41"/>
                </a:cubicBezTo>
                <a:cubicBezTo>
                  <a:pt x="224" y="41"/>
                  <a:pt x="222" y="40"/>
                  <a:pt x="222" y="39"/>
                </a:cubicBezTo>
                <a:cubicBezTo>
                  <a:pt x="222" y="38"/>
                  <a:pt x="224" y="35"/>
                  <a:pt x="224" y="34"/>
                </a:cubicBezTo>
                <a:cubicBezTo>
                  <a:pt x="225" y="32"/>
                  <a:pt x="222" y="34"/>
                  <a:pt x="222" y="34"/>
                </a:cubicBezTo>
                <a:cubicBezTo>
                  <a:pt x="221" y="34"/>
                  <a:pt x="218" y="32"/>
                  <a:pt x="217" y="31"/>
                </a:cubicBezTo>
                <a:cubicBezTo>
                  <a:pt x="215" y="30"/>
                  <a:pt x="216" y="32"/>
                  <a:pt x="214" y="32"/>
                </a:cubicBezTo>
                <a:cubicBezTo>
                  <a:pt x="213" y="32"/>
                  <a:pt x="210" y="31"/>
                  <a:pt x="212" y="33"/>
                </a:cubicBezTo>
                <a:cubicBezTo>
                  <a:pt x="213" y="34"/>
                  <a:pt x="213" y="35"/>
                  <a:pt x="215" y="35"/>
                </a:cubicBezTo>
                <a:cubicBezTo>
                  <a:pt x="216" y="35"/>
                  <a:pt x="218" y="35"/>
                  <a:pt x="218" y="37"/>
                </a:cubicBezTo>
                <a:cubicBezTo>
                  <a:pt x="220" y="41"/>
                  <a:pt x="214" y="36"/>
                  <a:pt x="213" y="35"/>
                </a:cubicBezTo>
                <a:cubicBezTo>
                  <a:pt x="211" y="35"/>
                  <a:pt x="211" y="37"/>
                  <a:pt x="209" y="37"/>
                </a:cubicBezTo>
                <a:cubicBezTo>
                  <a:pt x="207" y="37"/>
                  <a:pt x="206" y="36"/>
                  <a:pt x="204" y="36"/>
                </a:cubicBezTo>
                <a:cubicBezTo>
                  <a:pt x="200" y="37"/>
                  <a:pt x="197" y="37"/>
                  <a:pt x="193" y="37"/>
                </a:cubicBezTo>
                <a:cubicBezTo>
                  <a:pt x="190" y="36"/>
                  <a:pt x="186" y="34"/>
                  <a:pt x="182" y="33"/>
                </a:cubicBezTo>
                <a:cubicBezTo>
                  <a:pt x="181" y="33"/>
                  <a:pt x="179" y="33"/>
                  <a:pt x="178" y="32"/>
                </a:cubicBezTo>
                <a:cubicBezTo>
                  <a:pt x="177" y="30"/>
                  <a:pt x="177" y="28"/>
                  <a:pt x="176" y="28"/>
                </a:cubicBezTo>
                <a:cubicBezTo>
                  <a:pt x="174" y="27"/>
                  <a:pt x="172" y="28"/>
                  <a:pt x="171" y="28"/>
                </a:cubicBezTo>
                <a:cubicBezTo>
                  <a:pt x="168" y="29"/>
                  <a:pt x="166" y="29"/>
                  <a:pt x="164" y="29"/>
                </a:cubicBezTo>
                <a:cubicBezTo>
                  <a:pt x="163" y="30"/>
                  <a:pt x="161" y="31"/>
                  <a:pt x="161" y="32"/>
                </a:cubicBezTo>
                <a:cubicBezTo>
                  <a:pt x="161" y="32"/>
                  <a:pt x="165" y="34"/>
                  <a:pt x="166" y="34"/>
                </a:cubicBezTo>
                <a:cubicBezTo>
                  <a:pt x="166" y="34"/>
                  <a:pt x="165" y="31"/>
                  <a:pt x="167" y="32"/>
                </a:cubicBezTo>
                <a:cubicBezTo>
                  <a:pt x="168" y="32"/>
                  <a:pt x="168" y="33"/>
                  <a:pt x="169" y="32"/>
                </a:cubicBezTo>
                <a:cubicBezTo>
                  <a:pt x="170" y="32"/>
                  <a:pt x="176" y="28"/>
                  <a:pt x="176" y="30"/>
                </a:cubicBezTo>
                <a:cubicBezTo>
                  <a:pt x="176" y="31"/>
                  <a:pt x="173" y="32"/>
                  <a:pt x="172" y="33"/>
                </a:cubicBezTo>
                <a:cubicBezTo>
                  <a:pt x="171" y="34"/>
                  <a:pt x="169" y="34"/>
                  <a:pt x="167" y="34"/>
                </a:cubicBezTo>
                <a:cubicBezTo>
                  <a:pt x="166" y="35"/>
                  <a:pt x="163" y="37"/>
                  <a:pt x="165" y="38"/>
                </a:cubicBezTo>
                <a:cubicBezTo>
                  <a:pt x="167" y="38"/>
                  <a:pt x="167" y="39"/>
                  <a:pt x="166" y="41"/>
                </a:cubicBezTo>
                <a:cubicBezTo>
                  <a:pt x="166" y="42"/>
                  <a:pt x="168" y="42"/>
                  <a:pt x="168" y="43"/>
                </a:cubicBezTo>
                <a:cubicBezTo>
                  <a:pt x="169" y="44"/>
                  <a:pt x="169" y="46"/>
                  <a:pt x="167" y="44"/>
                </a:cubicBezTo>
                <a:cubicBezTo>
                  <a:pt x="165" y="42"/>
                  <a:pt x="167" y="46"/>
                  <a:pt x="166" y="45"/>
                </a:cubicBezTo>
                <a:cubicBezTo>
                  <a:pt x="165" y="45"/>
                  <a:pt x="163" y="42"/>
                  <a:pt x="162" y="43"/>
                </a:cubicBezTo>
                <a:cubicBezTo>
                  <a:pt x="164" y="42"/>
                  <a:pt x="167" y="43"/>
                  <a:pt x="164" y="41"/>
                </a:cubicBezTo>
                <a:cubicBezTo>
                  <a:pt x="165" y="41"/>
                  <a:pt x="166" y="40"/>
                  <a:pt x="164" y="39"/>
                </a:cubicBezTo>
                <a:cubicBezTo>
                  <a:pt x="166" y="40"/>
                  <a:pt x="161" y="40"/>
                  <a:pt x="162" y="40"/>
                </a:cubicBezTo>
                <a:cubicBezTo>
                  <a:pt x="162" y="39"/>
                  <a:pt x="162" y="39"/>
                  <a:pt x="163" y="39"/>
                </a:cubicBezTo>
                <a:cubicBezTo>
                  <a:pt x="163" y="38"/>
                  <a:pt x="160" y="40"/>
                  <a:pt x="160" y="40"/>
                </a:cubicBezTo>
                <a:cubicBezTo>
                  <a:pt x="159" y="40"/>
                  <a:pt x="160" y="38"/>
                  <a:pt x="159" y="37"/>
                </a:cubicBezTo>
                <a:cubicBezTo>
                  <a:pt x="159" y="37"/>
                  <a:pt x="157" y="37"/>
                  <a:pt x="157" y="37"/>
                </a:cubicBezTo>
                <a:cubicBezTo>
                  <a:pt x="155" y="37"/>
                  <a:pt x="155" y="34"/>
                  <a:pt x="153" y="35"/>
                </a:cubicBezTo>
                <a:cubicBezTo>
                  <a:pt x="151" y="37"/>
                  <a:pt x="150" y="37"/>
                  <a:pt x="147" y="37"/>
                </a:cubicBezTo>
                <a:cubicBezTo>
                  <a:pt x="143" y="37"/>
                  <a:pt x="140" y="37"/>
                  <a:pt x="136" y="37"/>
                </a:cubicBezTo>
                <a:cubicBezTo>
                  <a:pt x="135" y="37"/>
                  <a:pt x="128" y="37"/>
                  <a:pt x="128" y="36"/>
                </a:cubicBezTo>
                <a:cubicBezTo>
                  <a:pt x="127" y="36"/>
                  <a:pt x="130" y="34"/>
                  <a:pt x="131" y="33"/>
                </a:cubicBezTo>
                <a:cubicBezTo>
                  <a:pt x="132" y="32"/>
                  <a:pt x="133" y="33"/>
                  <a:pt x="135" y="33"/>
                </a:cubicBezTo>
                <a:cubicBezTo>
                  <a:pt x="136" y="32"/>
                  <a:pt x="133" y="30"/>
                  <a:pt x="133" y="30"/>
                </a:cubicBezTo>
                <a:cubicBezTo>
                  <a:pt x="131" y="28"/>
                  <a:pt x="130" y="28"/>
                  <a:pt x="128" y="27"/>
                </a:cubicBezTo>
                <a:cubicBezTo>
                  <a:pt x="127" y="27"/>
                  <a:pt x="126" y="26"/>
                  <a:pt x="125" y="27"/>
                </a:cubicBezTo>
                <a:cubicBezTo>
                  <a:pt x="124" y="28"/>
                  <a:pt x="123" y="29"/>
                  <a:pt x="122" y="28"/>
                </a:cubicBezTo>
                <a:cubicBezTo>
                  <a:pt x="119" y="26"/>
                  <a:pt x="116" y="26"/>
                  <a:pt x="113" y="25"/>
                </a:cubicBezTo>
                <a:cubicBezTo>
                  <a:pt x="109" y="24"/>
                  <a:pt x="106" y="24"/>
                  <a:pt x="102" y="22"/>
                </a:cubicBezTo>
                <a:cubicBezTo>
                  <a:pt x="99" y="20"/>
                  <a:pt x="97" y="19"/>
                  <a:pt x="93" y="19"/>
                </a:cubicBezTo>
                <a:cubicBezTo>
                  <a:pt x="92" y="19"/>
                  <a:pt x="91" y="19"/>
                  <a:pt x="90" y="20"/>
                </a:cubicBezTo>
                <a:cubicBezTo>
                  <a:pt x="89" y="21"/>
                  <a:pt x="88" y="23"/>
                  <a:pt x="87" y="23"/>
                </a:cubicBezTo>
                <a:cubicBezTo>
                  <a:pt x="86" y="23"/>
                  <a:pt x="83" y="24"/>
                  <a:pt x="83" y="23"/>
                </a:cubicBezTo>
                <a:cubicBezTo>
                  <a:pt x="83" y="22"/>
                  <a:pt x="85" y="21"/>
                  <a:pt x="85" y="20"/>
                </a:cubicBezTo>
                <a:cubicBezTo>
                  <a:pt x="85" y="20"/>
                  <a:pt x="82" y="21"/>
                  <a:pt x="82" y="20"/>
                </a:cubicBezTo>
                <a:cubicBezTo>
                  <a:pt x="83" y="19"/>
                  <a:pt x="83" y="18"/>
                  <a:pt x="82" y="17"/>
                </a:cubicBezTo>
                <a:cubicBezTo>
                  <a:pt x="82" y="15"/>
                  <a:pt x="78" y="17"/>
                  <a:pt x="78" y="18"/>
                </a:cubicBezTo>
                <a:cubicBezTo>
                  <a:pt x="78" y="18"/>
                  <a:pt x="80" y="17"/>
                  <a:pt x="80" y="18"/>
                </a:cubicBezTo>
                <a:cubicBezTo>
                  <a:pt x="81" y="18"/>
                  <a:pt x="77" y="20"/>
                  <a:pt x="80" y="20"/>
                </a:cubicBezTo>
                <a:cubicBezTo>
                  <a:pt x="79" y="20"/>
                  <a:pt x="78" y="20"/>
                  <a:pt x="78" y="22"/>
                </a:cubicBezTo>
                <a:cubicBezTo>
                  <a:pt x="78" y="23"/>
                  <a:pt x="77" y="24"/>
                  <a:pt x="76" y="23"/>
                </a:cubicBezTo>
                <a:cubicBezTo>
                  <a:pt x="73" y="22"/>
                  <a:pt x="72" y="21"/>
                  <a:pt x="71" y="18"/>
                </a:cubicBezTo>
                <a:cubicBezTo>
                  <a:pt x="70" y="16"/>
                  <a:pt x="68" y="15"/>
                  <a:pt x="66" y="13"/>
                </a:cubicBezTo>
                <a:cubicBezTo>
                  <a:pt x="65" y="13"/>
                  <a:pt x="64" y="11"/>
                  <a:pt x="63" y="12"/>
                </a:cubicBezTo>
                <a:cubicBezTo>
                  <a:pt x="63" y="14"/>
                  <a:pt x="66" y="15"/>
                  <a:pt x="67" y="16"/>
                </a:cubicBezTo>
                <a:cubicBezTo>
                  <a:pt x="67" y="15"/>
                  <a:pt x="63" y="16"/>
                  <a:pt x="63" y="17"/>
                </a:cubicBezTo>
                <a:cubicBezTo>
                  <a:pt x="62" y="18"/>
                  <a:pt x="63" y="18"/>
                  <a:pt x="62" y="19"/>
                </a:cubicBezTo>
                <a:cubicBezTo>
                  <a:pt x="61" y="19"/>
                  <a:pt x="60" y="21"/>
                  <a:pt x="59" y="20"/>
                </a:cubicBezTo>
                <a:cubicBezTo>
                  <a:pt x="59" y="20"/>
                  <a:pt x="59" y="19"/>
                  <a:pt x="59" y="19"/>
                </a:cubicBezTo>
                <a:cubicBezTo>
                  <a:pt x="59" y="18"/>
                  <a:pt x="54" y="20"/>
                  <a:pt x="54" y="21"/>
                </a:cubicBezTo>
                <a:cubicBezTo>
                  <a:pt x="53" y="22"/>
                  <a:pt x="52" y="23"/>
                  <a:pt x="50" y="24"/>
                </a:cubicBezTo>
                <a:cubicBezTo>
                  <a:pt x="49" y="25"/>
                  <a:pt x="50" y="22"/>
                  <a:pt x="49" y="22"/>
                </a:cubicBezTo>
                <a:cubicBezTo>
                  <a:pt x="48" y="22"/>
                  <a:pt x="47" y="23"/>
                  <a:pt x="46" y="23"/>
                </a:cubicBezTo>
                <a:cubicBezTo>
                  <a:pt x="45" y="23"/>
                  <a:pt x="45" y="25"/>
                  <a:pt x="44" y="25"/>
                </a:cubicBezTo>
                <a:cubicBezTo>
                  <a:pt x="43" y="25"/>
                  <a:pt x="40" y="27"/>
                  <a:pt x="41" y="27"/>
                </a:cubicBezTo>
                <a:cubicBezTo>
                  <a:pt x="41" y="28"/>
                  <a:pt x="43" y="28"/>
                  <a:pt x="40" y="29"/>
                </a:cubicBezTo>
                <a:cubicBezTo>
                  <a:pt x="40" y="29"/>
                  <a:pt x="37" y="29"/>
                  <a:pt x="37" y="28"/>
                </a:cubicBezTo>
                <a:cubicBezTo>
                  <a:pt x="37" y="27"/>
                  <a:pt x="40" y="26"/>
                  <a:pt x="40" y="26"/>
                </a:cubicBezTo>
                <a:cubicBezTo>
                  <a:pt x="41" y="24"/>
                  <a:pt x="43" y="23"/>
                  <a:pt x="44" y="22"/>
                </a:cubicBezTo>
                <a:cubicBezTo>
                  <a:pt x="46" y="21"/>
                  <a:pt x="47" y="21"/>
                  <a:pt x="49" y="22"/>
                </a:cubicBezTo>
                <a:cubicBezTo>
                  <a:pt x="48" y="22"/>
                  <a:pt x="56" y="18"/>
                  <a:pt x="56" y="18"/>
                </a:cubicBezTo>
                <a:cubicBezTo>
                  <a:pt x="58" y="17"/>
                  <a:pt x="57" y="16"/>
                  <a:pt x="56" y="16"/>
                </a:cubicBezTo>
                <a:cubicBezTo>
                  <a:pt x="54" y="16"/>
                  <a:pt x="52" y="16"/>
                  <a:pt x="50" y="17"/>
                </a:cubicBezTo>
                <a:cubicBezTo>
                  <a:pt x="49" y="17"/>
                  <a:pt x="49" y="19"/>
                  <a:pt x="47" y="19"/>
                </a:cubicBezTo>
                <a:cubicBezTo>
                  <a:pt x="46" y="19"/>
                  <a:pt x="44" y="20"/>
                  <a:pt x="43" y="20"/>
                </a:cubicBezTo>
                <a:cubicBezTo>
                  <a:pt x="41" y="20"/>
                  <a:pt x="36" y="25"/>
                  <a:pt x="35" y="24"/>
                </a:cubicBezTo>
                <a:cubicBezTo>
                  <a:pt x="34" y="24"/>
                  <a:pt x="36" y="23"/>
                  <a:pt x="36" y="22"/>
                </a:cubicBezTo>
                <a:cubicBezTo>
                  <a:pt x="36" y="22"/>
                  <a:pt x="33" y="21"/>
                  <a:pt x="33" y="21"/>
                </a:cubicBezTo>
                <a:cubicBezTo>
                  <a:pt x="33" y="21"/>
                  <a:pt x="30" y="23"/>
                  <a:pt x="29" y="23"/>
                </a:cubicBezTo>
                <a:cubicBezTo>
                  <a:pt x="28" y="23"/>
                  <a:pt x="26" y="24"/>
                  <a:pt x="25" y="25"/>
                </a:cubicBezTo>
                <a:cubicBezTo>
                  <a:pt x="24" y="25"/>
                  <a:pt x="26" y="26"/>
                  <a:pt x="26" y="26"/>
                </a:cubicBezTo>
                <a:cubicBezTo>
                  <a:pt x="27" y="26"/>
                  <a:pt x="26" y="27"/>
                  <a:pt x="26" y="27"/>
                </a:cubicBezTo>
                <a:cubicBezTo>
                  <a:pt x="26" y="28"/>
                  <a:pt x="30" y="27"/>
                  <a:pt x="30" y="27"/>
                </a:cubicBezTo>
                <a:cubicBezTo>
                  <a:pt x="31" y="26"/>
                  <a:pt x="33" y="25"/>
                  <a:pt x="34" y="24"/>
                </a:cubicBezTo>
                <a:cubicBezTo>
                  <a:pt x="29" y="26"/>
                  <a:pt x="34" y="27"/>
                  <a:pt x="33" y="29"/>
                </a:cubicBezTo>
                <a:cubicBezTo>
                  <a:pt x="33" y="29"/>
                  <a:pt x="32" y="28"/>
                  <a:pt x="32" y="28"/>
                </a:cubicBezTo>
                <a:cubicBezTo>
                  <a:pt x="30" y="27"/>
                  <a:pt x="29" y="28"/>
                  <a:pt x="28" y="29"/>
                </a:cubicBezTo>
                <a:cubicBezTo>
                  <a:pt x="27" y="29"/>
                  <a:pt x="23" y="28"/>
                  <a:pt x="21" y="28"/>
                </a:cubicBezTo>
                <a:cubicBezTo>
                  <a:pt x="19" y="28"/>
                  <a:pt x="16" y="26"/>
                  <a:pt x="14" y="25"/>
                </a:cubicBezTo>
                <a:cubicBezTo>
                  <a:pt x="13" y="25"/>
                  <a:pt x="12" y="24"/>
                  <a:pt x="11" y="24"/>
                </a:cubicBezTo>
                <a:cubicBezTo>
                  <a:pt x="10" y="23"/>
                  <a:pt x="9" y="21"/>
                  <a:pt x="10" y="21"/>
                </a:cubicBezTo>
                <a:cubicBezTo>
                  <a:pt x="9" y="21"/>
                  <a:pt x="7" y="21"/>
                  <a:pt x="6" y="22"/>
                </a:cubicBezTo>
                <a:cubicBezTo>
                  <a:pt x="4" y="22"/>
                  <a:pt x="2" y="22"/>
                  <a:pt x="0" y="21"/>
                </a:cubicBezTo>
                <a:cubicBezTo>
                  <a:pt x="0" y="41"/>
                  <a:pt x="0" y="61"/>
                  <a:pt x="0" y="80"/>
                </a:cubicBezTo>
                <a:cubicBezTo>
                  <a:pt x="0" y="85"/>
                  <a:pt x="0" y="89"/>
                  <a:pt x="0" y="94"/>
                </a:cubicBezTo>
                <a:cubicBezTo>
                  <a:pt x="0" y="95"/>
                  <a:pt x="0" y="96"/>
                  <a:pt x="0" y="97"/>
                </a:cubicBezTo>
                <a:cubicBezTo>
                  <a:pt x="0" y="99"/>
                  <a:pt x="2" y="97"/>
                  <a:pt x="3" y="97"/>
                </a:cubicBezTo>
                <a:cubicBezTo>
                  <a:pt x="5" y="98"/>
                  <a:pt x="5" y="97"/>
                  <a:pt x="7" y="97"/>
                </a:cubicBezTo>
                <a:cubicBezTo>
                  <a:pt x="9" y="97"/>
                  <a:pt x="9" y="98"/>
                  <a:pt x="10" y="99"/>
                </a:cubicBezTo>
                <a:cubicBezTo>
                  <a:pt x="11" y="101"/>
                  <a:pt x="16" y="107"/>
                  <a:pt x="18" y="107"/>
                </a:cubicBezTo>
                <a:cubicBezTo>
                  <a:pt x="19" y="107"/>
                  <a:pt x="21" y="106"/>
                  <a:pt x="22" y="105"/>
                </a:cubicBezTo>
                <a:cubicBezTo>
                  <a:pt x="23" y="104"/>
                  <a:pt x="22" y="103"/>
                  <a:pt x="23" y="102"/>
                </a:cubicBezTo>
                <a:cubicBezTo>
                  <a:pt x="24" y="102"/>
                  <a:pt x="28" y="101"/>
                  <a:pt x="28" y="102"/>
                </a:cubicBezTo>
                <a:cubicBezTo>
                  <a:pt x="30" y="104"/>
                  <a:pt x="32" y="105"/>
                  <a:pt x="33" y="107"/>
                </a:cubicBezTo>
                <a:cubicBezTo>
                  <a:pt x="35" y="109"/>
                  <a:pt x="37" y="110"/>
                  <a:pt x="38" y="112"/>
                </a:cubicBezTo>
                <a:cubicBezTo>
                  <a:pt x="39" y="113"/>
                  <a:pt x="39" y="114"/>
                  <a:pt x="40" y="116"/>
                </a:cubicBezTo>
                <a:cubicBezTo>
                  <a:pt x="42" y="118"/>
                  <a:pt x="43" y="122"/>
                  <a:pt x="46" y="124"/>
                </a:cubicBezTo>
                <a:cubicBezTo>
                  <a:pt x="48" y="126"/>
                  <a:pt x="52" y="127"/>
                  <a:pt x="54" y="128"/>
                </a:cubicBezTo>
                <a:cubicBezTo>
                  <a:pt x="56" y="129"/>
                  <a:pt x="53" y="130"/>
                  <a:pt x="54" y="132"/>
                </a:cubicBezTo>
                <a:cubicBezTo>
                  <a:pt x="55" y="132"/>
                  <a:pt x="56" y="132"/>
                  <a:pt x="56" y="133"/>
                </a:cubicBezTo>
                <a:cubicBezTo>
                  <a:pt x="56" y="133"/>
                  <a:pt x="55" y="136"/>
                  <a:pt x="56" y="135"/>
                </a:cubicBezTo>
                <a:cubicBezTo>
                  <a:pt x="55" y="136"/>
                  <a:pt x="53" y="136"/>
                  <a:pt x="53" y="138"/>
                </a:cubicBezTo>
                <a:cubicBezTo>
                  <a:pt x="52" y="139"/>
                  <a:pt x="55" y="141"/>
                  <a:pt x="56" y="141"/>
                </a:cubicBezTo>
                <a:cubicBezTo>
                  <a:pt x="56" y="141"/>
                  <a:pt x="54" y="143"/>
                  <a:pt x="54" y="143"/>
                </a:cubicBezTo>
                <a:cubicBezTo>
                  <a:pt x="54" y="143"/>
                  <a:pt x="53" y="142"/>
                  <a:pt x="53" y="141"/>
                </a:cubicBezTo>
                <a:cubicBezTo>
                  <a:pt x="52" y="141"/>
                  <a:pt x="53" y="143"/>
                  <a:pt x="53" y="143"/>
                </a:cubicBezTo>
                <a:cubicBezTo>
                  <a:pt x="54" y="144"/>
                  <a:pt x="53" y="145"/>
                  <a:pt x="54" y="146"/>
                </a:cubicBezTo>
                <a:cubicBezTo>
                  <a:pt x="55" y="148"/>
                  <a:pt x="55" y="148"/>
                  <a:pt x="57" y="147"/>
                </a:cubicBezTo>
                <a:cubicBezTo>
                  <a:pt x="57" y="147"/>
                  <a:pt x="58" y="147"/>
                  <a:pt x="58" y="147"/>
                </a:cubicBezTo>
                <a:cubicBezTo>
                  <a:pt x="59" y="147"/>
                  <a:pt x="59" y="145"/>
                  <a:pt x="59" y="145"/>
                </a:cubicBezTo>
                <a:cubicBezTo>
                  <a:pt x="59" y="145"/>
                  <a:pt x="60" y="147"/>
                  <a:pt x="61" y="147"/>
                </a:cubicBezTo>
                <a:cubicBezTo>
                  <a:pt x="61" y="147"/>
                  <a:pt x="60" y="149"/>
                  <a:pt x="60" y="150"/>
                </a:cubicBezTo>
                <a:cubicBezTo>
                  <a:pt x="59" y="151"/>
                  <a:pt x="59" y="152"/>
                  <a:pt x="61" y="151"/>
                </a:cubicBezTo>
                <a:cubicBezTo>
                  <a:pt x="61" y="150"/>
                  <a:pt x="62" y="150"/>
                  <a:pt x="62" y="150"/>
                </a:cubicBezTo>
                <a:cubicBezTo>
                  <a:pt x="63" y="150"/>
                  <a:pt x="63" y="149"/>
                  <a:pt x="63" y="149"/>
                </a:cubicBezTo>
                <a:cubicBezTo>
                  <a:pt x="65" y="148"/>
                  <a:pt x="64" y="151"/>
                  <a:pt x="64" y="152"/>
                </a:cubicBezTo>
                <a:cubicBezTo>
                  <a:pt x="64" y="153"/>
                  <a:pt x="65" y="154"/>
                  <a:pt x="66" y="154"/>
                </a:cubicBezTo>
                <a:cubicBezTo>
                  <a:pt x="67" y="154"/>
                  <a:pt x="68" y="152"/>
                  <a:pt x="69" y="152"/>
                </a:cubicBezTo>
                <a:cubicBezTo>
                  <a:pt x="69" y="152"/>
                  <a:pt x="68" y="153"/>
                  <a:pt x="68" y="153"/>
                </a:cubicBezTo>
                <a:cubicBezTo>
                  <a:pt x="68" y="153"/>
                  <a:pt x="70" y="154"/>
                  <a:pt x="70" y="154"/>
                </a:cubicBezTo>
                <a:cubicBezTo>
                  <a:pt x="70" y="154"/>
                  <a:pt x="63" y="156"/>
                  <a:pt x="66" y="158"/>
                </a:cubicBezTo>
                <a:cubicBezTo>
                  <a:pt x="66" y="158"/>
                  <a:pt x="72" y="157"/>
                  <a:pt x="71" y="158"/>
                </a:cubicBezTo>
                <a:cubicBezTo>
                  <a:pt x="71" y="158"/>
                  <a:pt x="66" y="158"/>
                  <a:pt x="67" y="160"/>
                </a:cubicBezTo>
                <a:cubicBezTo>
                  <a:pt x="67" y="160"/>
                  <a:pt x="69" y="160"/>
                  <a:pt x="69" y="160"/>
                </a:cubicBezTo>
                <a:cubicBezTo>
                  <a:pt x="68" y="161"/>
                  <a:pt x="66" y="161"/>
                  <a:pt x="67" y="162"/>
                </a:cubicBezTo>
                <a:cubicBezTo>
                  <a:pt x="69" y="163"/>
                  <a:pt x="71" y="163"/>
                  <a:pt x="72" y="163"/>
                </a:cubicBezTo>
                <a:cubicBezTo>
                  <a:pt x="74" y="163"/>
                  <a:pt x="73" y="164"/>
                  <a:pt x="74" y="164"/>
                </a:cubicBezTo>
                <a:cubicBezTo>
                  <a:pt x="76" y="165"/>
                  <a:pt x="76" y="162"/>
                  <a:pt x="77" y="162"/>
                </a:cubicBezTo>
                <a:cubicBezTo>
                  <a:pt x="78" y="162"/>
                  <a:pt x="77" y="164"/>
                  <a:pt x="77" y="164"/>
                </a:cubicBezTo>
                <a:cubicBezTo>
                  <a:pt x="76" y="165"/>
                  <a:pt x="76" y="165"/>
                  <a:pt x="77" y="166"/>
                </a:cubicBezTo>
                <a:cubicBezTo>
                  <a:pt x="80" y="168"/>
                  <a:pt x="81" y="163"/>
                  <a:pt x="81" y="163"/>
                </a:cubicBezTo>
                <a:cubicBezTo>
                  <a:pt x="81" y="163"/>
                  <a:pt x="81" y="166"/>
                  <a:pt x="80" y="166"/>
                </a:cubicBezTo>
                <a:cubicBezTo>
                  <a:pt x="80" y="167"/>
                  <a:pt x="82" y="166"/>
                  <a:pt x="83" y="166"/>
                </a:cubicBezTo>
                <a:cubicBezTo>
                  <a:pt x="82" y="168"/>
                  <a:pt x="81" y="169"/>
                  <a:pt x="83" y="170"/>
                </a:cubicBezTo>
                <a:cubicBezTo>
                  <a:pt x="85" y="171"/>
                  <a:pt x="86" y="168"/>
                  <a:pt x="86" y="168"/>
                </a:cubicBezTo>
                <a:cubicBezTo>
                  <a:pt x="86" y="168"/>
                  <a:pt x="86" y="169"/>
                  <a:pt x="86" y="170"/>
                </a:cubicBezTo>
                <a:cubicBezTo>
                  <a:pt x="87" y="172"/>
                  <a:pt x="86" y="171"/>
                  <a:pt x="85" y="171"/>
                </a:cubicBezTo>
                <a:cubicBezTo>
                  <a:pt x="84" y="172"/>
                  <a:pt x="90" y="173"/>
                  <a:pt x="89" y="171"/>
                </a:cubicBezTo>
                <a:cubicBezTo>
                  <a:pt x="91" y="174"/>
                  <a:pt x="90" y="176"/>
                  <a:pt x="94" y="176"/>
                </a:cubicBezTo>
                <a:cubicBezTo>
                  <a:pt x="97" y="176"/>
                  <a:pt x="99" y="176"/>
                  <a:pt x="102" y="176"/>
                </a:cubicBezTo>
                <a:cubicBezTo>
                  <a:pt x="113" y="176"/>
                  <a:pt x="123" y="176"/>
                  <a:pt x="133" y="176"/>
                </a:cubicBezTo>
                <a:cubicBezTo>
                  <a:pt x="158" y="176"/>
                  <a:pt x="183" y="176"/>
                  <a:pt x="208" y="176"/>
                </a:cubicBezTo>
                <a:cubicBezTo>
                  <a:pt x="213" y="176"/>
                  <a:pt x="218" y="176"/>
                  <a:pt x="223" y="176"/>
                </a:cubicBezTo>
                <a:cubicBezTo>
                  <a:pt x="224" y="176"/>
                  <a:pt x="229" y="177"/>
                  <a:pt x="229" y="174"/>
                </a:cubicBezTo>
                <a:close/>
                <a:moveTo>
                  <a:pt x="112" y="54"/>
                </a:moveTo>
                <a:cubicBezTo>
                  <a:pt x="110" y="54"/>
                  <a:pt x="108" y="53"/>
                  <a:pt x="106" y="54"/>
                </a:cubicBezTo>
                <a:cubicBezTo>
                  <a:pt x="104" y="57"/>
                  <a:pt x="108" y="56"/>
                  <a:pt x="108" y="57"/>
                </a:cubicBezTo>
                <a:cubicBezTo>
                  <a:pt x="108" y="56"/>
                  <a:pt x="100" y="60"/>
                  <a:pt x="100" y="60"/>
                </a:cubicBezTo>
                <a:cubicBezTo>
                  <a:pt x="98" y="59"/>
                  <a:pt x="107" y="53"/>
                  <a:pt x="99" y="56"/>
                </a:cubicBezTo>
                <a:cubicBezTo>
                  <a:pt x="98" y="56"/>
                  <a:pt x="97" y="57"/>
                  <a:pt x="97" y="57"/>
                </a:cubicBezTo>
                <a:cubicBezTo>
                  <a:pt x="96" y="58"/>
                  <a:pt x="97" y="59"/>
                  <a:pt x="96" y="60"/>
                </a:cubicBezTo>
                <a:cubicBezTo>
                  <a:pt x="95" y="60"/>
                  <a:pt x="88" y="59"/>
                  <a:pt x="88" y="59"/>
                </a:cubicBezTo>
                <a:cubicBezTo>
                  <a:pt x="88" y="58"/>
                  <a:pt x="91" y="59"/>
                  <a:pt x="91" y="58"/>
                </a:cubicBezTo>
                <a:cubicBezTo>
                  <a:pt x="92" y="57"/>
                  <a:pt x="91" y="57"/>
                  <a:pt x="92" y="56"/>
                </a:cubicBezTo>
                <a:cubicBezTo>
                  <a:pt x="92" y="55"/>
                  <a:pt x="94" y="54"/>
                  <a:pt x="94" y="54"/>
                </a:cubicBezTo>
                <a:cubicBezTo>
                  <a:pt x="94" y="53"/>
                  <a:pt x="91" y="52"/>
                  <a:pt x="94" y="52"/>
                </a:cubicBezTo>
                <a:cubicBezTo>
                  <a:pt x="94" y="52"/>
                  <a:pt x="98" y="53"/>
                  <a:pt x="98" y="52"/>
                </a:cubicBezTo>
                <a:cubicBezTo>
                  <a:pt x="98" y="51"/>
                  <a:pt x="93" y="50"/>
                  <a:pt x="92" y="50"/>
                </a:cubicBezTo>
                <a:cubicBezTo>
                  <a:pt x="91" y="50"/>
                  <a:pt x="89" y="51"/>
                  <a:pt x="87" y="51"/>
                </a:cubicBezTo>
                <a:cubicBezTo>
                  <a:pt x="86" y="51"/>
                  <a:pt x="84" y="50"/>
                  <a:pt x="82" y="51"/>
                </a:cubicBezTo>
                <a:cubicBezTo>
                  <a:pt x="81" y="51"/>
                  <a:pt x="79" y="53"/>
                  <a:pt x="80" y="51"/>
                </a:cubicBezTo>
                <a:cubicBezTo>
                  <a:pt x="81" y="49"/>
                  <a:pt x="83" y="50"/>
                  <a:pt x="84" y="49"/>
                </a:cubicBezTo>
                <a:cubicBezTo>
                  <a:pt x="86" y="49"/>
                  <a:pt x="89" y="48"/>
                  <a:pt x="91" y="47"/>
                </a:cubicBezTo>
                <a:cubicBezTo>
                  <a:pt x="95" y="46"/>
                  <a:pt x="99" y="46"/>
                  <a:pt x="102" y="44"/>
                </a:cubicBezTo>
                <a:cubicBezTo>
                  <a:pt x="104" y="44"/>
                  <a:pt x="107" y="43"/>
                  <a:pt x="108" y="45"/>
                </a:cubicBezTo>
                <a:cubicBezTo>
                  <a:pt x="109" y="46"/>
                  <a:pt x="105" y="47"/>
                  <a:pt x="104" y="48"/>
                </a:cubicBezTo>
                <a:cubicBezTo>
                  <a:pt x="102" y="49"/>
                  <a:pt x="110" y="49"/>
                  <a:pt x="111" y="49"/>
                </a:cubicBezTo>
                <a:cubicBezTo>
                  <a:pt x="111" y="49"/>
                  <a:pt x="113" y="49"/>
                  <a:pt x="113" y="49"/>
                </a:cubicBezTo>
                <a:cubicBezTo>
                  <a:pt x="114" y="48"/>
                  <a:pt x="116" y="46"/>
                  <a:pt x="117" y="47"/>
                </a:cubicBezTo>
                <a:cubicBezTo>
                  <a:pt x="118" y="48"/>
                  <a:pt x="113" y="54"/>
                  <a:pt x="112" y="54"/>
                </a:cubicBezTo>
                <a:cubicBezTo>
                  <a:pt x="110" y="54"/>
                  <a:pt x="114" y="54"/>
                  <a:pt x="112" y="54"/>
                </a:cubicBezTo>
                <a:close/>
                <a:moveTo>
                  <a:pt x="157" y="78"/>
                </a:moveTo>
                <a:cubicBezTo>
                  <a:pt x="157" y="78"/>
                  <a:pt x="152" y="78"/>
                  <a:pt x="153" y="78"/>
                </a:cubicBezTo>
                <a:cubicBezTo>
                  <a:pt x="153" y="79"/>
                  <a:pt x="155" y="78"/>
                  <a:pt x="155" y="79"/>
                </a:cubicBezTo>
                <a:cubicBezTo>
                  <a:pt x="155" y="80"/>
                  <a:pt x="151" y="81"/>
                  <a:pt x="150" y="81"/>
                </a:cubicBezTo>
                <a:cubicBezTo>
                  <a:pt x="148" y="81"/>
                  <a:pt x="147" y="83"/>
                  <a:pt x="145" y="84"/>
                </a:cubicBezTo>
                <a:cubicBezTo>
                  <a:pt x="145" y="84"/>
                  <a:pt x="141" y="84"/>
                  <a:pt x="142" y="85"/>
                </a:cubicBezTo>
                <a:cubicBezTo>
                  <a:pt x="142" y="86"/>
                  <a:pt x="145" y="86"/>
                  <a:pt x="142" y="88"/>
                </a:cubicBezTo>
                <a:cubicBezTo>
                  <a:pt x="141" y="88"/>
                  <a:pt x="137" y="88"/>
                  <a:pt x="137" y="89"/>
                </a:cubicBezTo>
                <a:cubicBezTo>
                  <a:pt x="136" y="89"/>
                  <a:pt x="137" y="90"/>
                  <a:pt x="137" y="90"/>
                </a:cubicBezTo>
                <a:cubicBezTo>
                  <a:pt x="137" y="92"/>
                  <a:pt x="135" y="92"/>
                  <a:pt x="134" y="92"/>
                </a:cubicBezTo>
                <a:cubicBezTo>
                  <a:pt x="131" y="93"/>
                  <a:pt x="128" y="93"/>
                  <a:pt x="125" y="93"/>
                </a:cubicBezTo>
                <a:cubicBezTo>
                  <a:pt x="125" y="93"/>
                  <a:pt x="120" y="90"/>
                  <a:pt x="120" y="90"/>
                </a:cubicBezTo>
                <a:cubicBezTo>
                  <a:pt x="122" y="89"/>
                  <a:pt x="125" y="90"/>
                  <a:pt x="126" y="89"/>
                </a:cubicBezTo>
                <a:cubicBezTo>
                  <a:pt x="127" y="89"/>
                  <a:pt x="126" y="87"/>
                  <a:pt x="127" y="87"/>
                </a:cubicBezTo>
                <a:cubicBezTo>
                  <a:pt x="128" y="85"/>
                  <a:pt x="130" y="86"/>
                  <a:pt x="131" y="85"/>
                </a:cubicBezTo>
                <a:cubicBezTo>
                  <a:pt x="132" y="85"/>
                  <a:pt x="130" y="83"/>
                  <a:pt x="130" y="83"/>
                </a:cubicBezTo>
                <a:cubicBezTo>
                  <a:pt x="128" y="82"/>
                  <a:pt x="128" y="82"/>
                  <a:pt x="128" y="81"/>
                </a:cubicBezTo>
                <a:cubicBezTo>
                  <a:pt x="128" y="79"/>
                  <a:pt x="126" y="80"/>
                  <a:pt x="126" y="79"/>
                </a:cubicBezTo>
                <a:cubicBezTo>
                  <a:pt x="125" y="78"/>
                  <a:pt x="128" y="79"/>
                  <a:pt x="128" y="79"/>
                </a:cubicBezTo>
                <a:cubicBezTo>
                  <a:pt x="131" y="80"/>
                  <a:pt x="134" y="81"/>
                  <a:pt x="136" y="82"/>
                </a:cubicBezTo>
                <a:cubicBezTo>
                  <a:pt x="138" y="84"/>
                  <a:pt x="142" y="83"/>
                  <a:pt x="144" y="82"/>
                </a:cubicBezTo>
                <a:cubicBezTo>
                  <a:pt x="147" y="81"/>
                  <a:pt x="148" y="78"/>
                  <a:pt x="152" y="77"/>
                </a:cubicBezTo>
                <a:cubicBezTo>
                  <a:pt x="153" y="76"/>
                  <a:pt x="155" y="76"/>
                  <a:pt x="157" y="77"/>
                </a:cubicBezTo>
                <a:cubicBezTo>
                  <a:pt x="157" y="77"/>
                  <a:pt x="160" y="78"/>
                  <a:pt x="160" y="78"/>
                </a:cubicBezTo>
                <a:cubicBezTo>
                  <a:pt x="160" y="78"/>
                  <a:pt x="158" y="78"/>
                  <a:pt x="157" y="78"/>
                </a:cubicBezTo>
                <a:close/>
                <a:moveTo>
                  <a:pt x="222" y="165"/>
                </a:moveTo>
                <a:cubicBezTo>
                  <a:pt x="221" y="167"/>
                  <a:pt x="219" y="163"/>
                  <a:pt x="219" y="162"/>
                </a:cubicBezTo>
                <a:cubicBezTo>
                  <a:pt x="219" y="160"/>
                  <a:pt x="221" y="159"/>
                  <a:pt x="221" y="157"/>
                </a:cubicBezTo>
                <a:cubicBezTo>
                  <a:pt x="220" y="156"/>
                  <a:pt x="219" y="159"/>
                  <a:pt x="218" y="158"/>
                </a:cubicBezTo>
                <a:cubicBezTo>
                  <a:pt x="218" y="157"/>
                  <a:pt x="218" y="154"/>
                  <a:pt x="216" y="154"/>
                </a:cubicBezTo>
                <a:cubicBezTo>
                  <a:pt x="216" y="154"/>
                  <a:pt x="216" y="156"/>
                  <a:pt x="215" y="156"/>
                </a:cubicBezTo>
                <a:cubicBezTo>
                  <a:pt x="214" y="155"/>
                  <a:pt x="214" y="154"/>
                  <a:pt x="213" y="153"/>
                </a:cubicBezTo>
                <a:cubicBezTo>
                  <a:pt x="212" y="152"/>
                  <a:pt x="211" y="151"/>
                  <a:pt x="210" y="150"/>
                </a:cubicBezTo>
                <a:cubicBezTo>
                  <a:pt x="209" y="149"/>
                  <a:pt x="212" y="149"/>
                  <a:pt x="212" y="148"/>
                </a:cubicBezTo>
                <a:cubicBezTo>
                  <a:pt x="211" y="147"/>
                  <a:pt x="209" y="148"/>
                  <a:pt x="209" y="147"/>
                </a:cubicBezTo>
                <a:cubicBezTo>
                  <a:pt x="209" y="146"/>
                  <a:pt x="210" y="143"/>
                  <a:pt x="210" y="142"/>
                </a:cubicBezTo>
                <a:cubicBezTo>
                  <a:pt x="212" y="140"/>
                  <a:pt x="217" y="147"/>
                  <a:pt x="217" y="148"/>
                </a:cubicBezTo>
                <a:cubicBezTo>
                  <a:pt x="218" y="150"/>
                  <a:pt x="219" y="151"/>
                  <a:pt x="219" y="153"/>
                </a:cubicBezTo>
                <a:cubicBezTo>
                  <a:pt x="220" y="155"/>
                  <a:pt x="220" y="154"/>
                  <a:pt x="221" y="156"/>
                </a:cubicBezTo>
                <a:cubicBezTo>
                  <a:pt x="221" y="157"/>
                  <a:pt x="222" y="158"/>
                  <a:pt x="222" y="159"/>
                </a:cubicBezTo>
                <a:cubicBezTo>
                  <a:pt x="223" y="161"/>
                  <a:pt x="222" y="163"/>
                  <a:pt x="222" y="165"/>
                </a:cubicBezTo>
                <a:cubicBezTo>
                  <a:pt x="221" y="166"/>
                  <a:pt x="222" y="164"/>
                  <a:pt x="222" y="16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47" name="Freeform 643">
            <a:extLst>
              <a:ext uri="{FF2B5EF4-FFF2-40B4-BE49-F238E27FC236}">
                <a16:creationId xmlns:a16="http://schemas.microsoft.com/office/drawing/2014/main" id="{73C79D3F-0CF9-BC44-B148-A163D50A74AA}"/>
              </a:ext>
            </a:extLst>
          </p:cNvPr>
          <p:cNvSpPr>
            <a:spLocks/>
          </p:cNvSpPr>
          <p:nvPr/>
        </p:nvSpPr>
        <p:spPr bwMode="auto">
          <a:xfrm>
            <a:off x="8992714" y="5130780"/>
            <a:ext cx="52945" cy="45899"/>
          </a:xfrm>
          <a:custGeom>
            <a:avLst/>
            <a:gdLst>
              <a:gd name="T0" fmla="*/ 9 w 10"/>
              <a:gd name="T1" fmla="*/ 0 h 9"/>
              <a:gd name="T2" fmla="*/ 2 w 10"/>
              <a:gd name="T3" fmla="*/ 7 h 9"/>
              <a:gd name="T4" fmla="*/ 10 w 10"/>
              <a:gd name="T5" fmla="*/ 3 h 9"/>
              <a:gd name="T6" fmla="*/ 9 w 10"/>
              <a:gd name="T7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" h="9">
                <a:moveTo>
                  <a:pt x="9" y="0"/>
                </a:moveTo>
                <a:cubicBezTo>
                  <a:pt x="7" y="1"/>
                  <a:pt x="0" y="4"/>
                  <a:pt x="2" y="7"/>
                </a:cubicBezTo>
                <a:cubicBezTo>
                  <a:pt x="4" y="9"/>
                  <a:pt x="9" y="3"/>
                  <a:pt x="10" y="3"/>
                </a:cubicBezTo>
                <a:cubicBezTo>
                  <a:pt x="10" y="2"/>
                  <a:pt x="9" y="1"/>
                  <a:pt x="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48" name="Freeform 644">
            <a:extLst>
              <a:ext uri="{FF2B5EF4-FFF2-40B4-BE49-F238E27FC236}">
                <a16:creationId xmlns:a16="http://schemas.microsoft.com/office/drawing/2014/main" id="{7BB8BEC6-3469-C045-9CD9-2AE0B7DB0F7D}"/>
              </a:ext>
            </a:extLst>
          </p:cNvPr>
          <p:cNvSpPr>
            <a:spLocks/>
          </p:cNvSpPr>
          <p:nvPr/>
        </p:nvSpPr>
        <p:spPr bwMode="auto">
          <a:xfrm>
            <a:off x="9035070" y="5120188"/>
            <a:ext cx="67063" cy="24714"/>
          </a:xfrm>
          <a:custGeom>
            <a:avLst/>
            <a:gdLst>
              <a:gd name="T0" fmla="*/ 12 w 13"/>
              <a:gd name="T1" fmla="*/ 0 h 5"/>
              <a:gd name="T2" fmla="*/ 7 w 13"/>
              <a:gd name="T3" fmla="*/ 0 h 5"/>
              <a:gd name="T4" fmla="*/ 1 w 13"/>
              <a:gd name="T5" fmla="*/ 2 h 5"/>
              <a:gd name="T6" fmla="*/ 5 w 13"/>
              <a:gd name="T7" fmla="*/ 3 h 5"/>
              <a:gd name="T8" fmla="*/ 12 w 13"/>
              <a:gd name="T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" h="5">
                <a:moveTo>
                  <a:pt x="12" y="0"/>
                </a:moveTo>
                <a:cubicBezTo>
                  <a:pt x="13" y="0"/>
                  <a:pt x="7" y="0"/>
                  <a:pt x="7" y="0"/>
                </a:cubicBezTo>
                <a:cubicBezTo>
                  <a:pt x="6" y="0"/>
                  <a:pt x="0" y="1"/>
                  <a:pt x="1" y="2"/>
                </a:cubicBezTo>
                <a:cubicBezTo>
                  <a:pt x="3" y="5"/>
                  <a:pt x="2" y="5"/>
                  <a:pt x="5" y="3"/>
                </a:cubicBezTo>
                <a:cubicBezTo>
                  <a:pt x="8" y="2"/>
                  <a:pt x="10" y="2"/>
                  <a:pt x="1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49" name="Freeform 645">
            <a:extLst>
              <a:ext uri="{FF2B5EF4-FFF2-40B4-BE49-F238E27FC236}">
                <a16:creationId xmlns:a16="http://schemas.microsoft.com/office/drawing/2014/main" id="{931C2F0F-FAFE-1045-AC6A-2B4565B4E7B4}"/>
              </a:ext>
            </a:extLst>
          </p:cNvPr>
          <p:cNvSpPr>
            <a:spLocks/>
          </p:cNvSpPr>
          <p:nvPr/>
        </p:nvSpPr>
        <p:spPr bwMode="auto">
          <a:xfrm>
            <a:off x="6183079" y="3439617"/>
            <a:ext cx="160602" cy="88266"/>
          </a:xfrm>
          <a:custGeom>
            <a:avLst/>
            <a:gdLst>
              <a:gd name="T0" fmla="*/ 10 w 31"/>
              <a:gd name="T1" fmla="*/ 17 h 17"/>
              <a:gd name="T2" fmla="*/ 13 w 31"/>
              <a:gd name="T3" fmla="*/ 14 h 17"/>
              <a:gd name="T4" fmla="*/ 18 w 31"/>
              <a:gd name="T5" fmla="*/ 16 h 17"/>
              <a:gd name="T6" fmla="*/ 21 w 31"/>
              <a:gd name="T7" fmla="*/ 16 h 17"/>
              <a:gd name="T8" fmla="*/ 23 w 31"/>
              <a:gd name="T9" fmla="*/ 15 h 17"/>
              <a:gd name="T10" fmla="*/ 29 w 31"/>
              <a:gd name="T11" fmla="*/ 11 h 17"/>
              <a:gd name="T12" fmla="*/ 27 w 31"/>
              <a:gd name="T13" fmla="*/ 7 h 17"/>
              <a:gd name="T14" fmla="*/ 21 w 31"/>
              <a:gd name="T15" fmla="*/ 5 h 17"/>
              <a:gd name="T16" fmla="*/ 17 w 31"/>
              <a:gd name="T17" fmla="*/ 3 h 17"/>
              <a:gd name="T18" fmla="*/ 13 w 31"/>
              <a:gd name="T19" fmla="*/ 0 h 17"/>
              <a:gd name="T20" fmla="*/ 11 w 31"/>
              <a:gd name="T21" fmla="*/ 2 h 17"/>
              <a:gd name="T22" fmla="*/ 8 w 31"/>
              <a:gd name="T23" fmla="*/ 2 h 17"/>
              <a:gd name="T24" fmla="*/ 0 w 31"/>
              <a:gd name="T25" fmla="*/ 6 h 17"/>
              <a:gd name="T26" fmla="*/ 2 w 31"/>
              <a:gd name="T27" fmla="*/ 10 h 17"/>
              <a:gd name="T28" fmla="*/ 4 w 31"/>
              <a:gd name="T29" fmla="*/ 13 h 17"/>
              <a:gd name="T30" fmla="*/ 10 w 31"/>
              <a:gd name="T31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1" h="17">
                <a:moveTo>
                  <a:pt x="10" y="17"/>
                </a:moveTo>
                <a:cubicBezTo>
                  <a:pt x="12" y="17"/>
                  <a:pt x="11" y="14"/>
                  <a:pt x="13" y="14"/>
                </a:cubicBezTo>
                <a:cubicBezTo>
                  <a:pt x="15" y="14"/>
                  <a:pt x="16" y="16"/>
                  <a:pt x="18" y="16"/>
                </a:cubicBezTo>
                <a:cubicBezTo>
                  <a:pt x="19" y="16"/>
                  <a:pt x="20" y="16"/>
                  <a:pt x="21" y="16"/>
                </a:cubicBezTo>
                <a:cubicBezTo>
                  <a:pt x="22" y="16"/>
                  <a:pt x="23" y="15"/>
                  <a:pt x="23" y="15"/>
                </a:cubicBezTo>
                <a:cubicBezTo>
                  <a:pt x="26" y="14"/>
                  <a:pt x="27" y="13"/>
                  <a:pt x="29" y="11"/>
                </a:cubicBezTo>
                <a:cubicBezTo>
                  <a:pt x="31" y="9"/>
                  <a:pt x="29" y="8"/>
                  <a:pt x="27" y="7"/>
                </a:cubicBezTo>
                <a:cubicBezTo>
                  <a:pt x="25" y="6"/>
                  <a:pt x="22" y="3"/>
                  <a:pt x="21" y="5"/>
                </a:cubicBezTo>
                <a:cubicBezTo>
                  <a:pt x="19" y="8"/>
                  <a:pt x="18" y="4"/>
                  <a:pt x="17" y="3"/>
                </a:cubicBezTo>
                <a:cubicBezTo>
                  <a:pt x="16" y="2"/>
                  <a:pt x="13" y="3"/>
                  <a:pt x="13" y="0"/>
                </a:cubicBezTo>
                <a:cubicBezTo>
                  <a:pt x="13" y="1"/>
                  <a:pt x="12" y="3"/>
                  <a:pt x="11" y="2"/>
                </a:cubicBezTo>
                <a:cubicBezTo>
                  <a:pt x="9" y="0"/>
                  <a:pt x="9" y="0"/>
                  <a:pt x="8" y="2"/>
                </a:cubicBezTo>
                <a:cubicBezTo>
                  <a:pt x="7" y="3"/>
                  <a:pt x="0" y="5"/>
                  <a:pt x="0" y="6"/>
                </a:cubicBezTo>
                <a:cubicBezTo>
                  <a:pt x="0" y="6"/>
                  <a:pt x="1" y="9"/>
                  <a:pt x="2" y="10"/>
                </a:cubicBezTo>
                <a:cubicBezTo>
                  <a:pt x="2" y="11"/>
                  <a:pt x="3" y="12"/>
                  <a:pt x="4" y="13"/>
                </a:cubicBezTo>
                <a:cubicBezTo>
                  <a:pt x="6" y="14"/>
                  <a:pt x="8" y="17"/>
                  <a:pt x="10" y="1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50" name="Freeform 646">
            <a:extLst>
              <a:ext uri="{FF2B5EF4-FFF2-40B4-BE49-F238E27FC236}">
                <a16:creationId xmlns:a16="http://schemas.microsoft.com/office/drawing/2014/main" id="{88F7A51B-D8F9-934F-9CD8-6355B3340B1D}"/>
              </a:ext>
            </a:extLst>
          </p:cNvPr>
          <p:cNvSpPr>
            <a:spLocks/>
          </p:cNvSpPr>
          <p:nvPr/>
        </p:nvSpPr>
        <p:spPr bwMode="auto">
          <a:xfrm>
            <a:off x="6110720" y="3511994"/>
            <a:ext cx="192367" cy="82970"/>
          </a:xfrm>
          <a:custGeom>
            <a:avLst/>
            <a:gdLst>
              <a:gd name="T0" fmla="*/ 32 w 37"/>
              <a:gd name="T1" fmla="*/ 2 h 16"/>
              <a:gd name="T2" fmla="*/ 27 w 37"/>
              <a:gd name="T3" fmla="*/ 0 h 16"/>
              <a:gd name="T4" fmla="*/ 24 w 37"/>
              <a:gd name="T5" fmla="*/ 3 h 16"/>
              <a:gd name="T6" fmla="*/ 20 w 37"/>
              <a:gd name="T7" fmla="*/ 3 h 16"/>
              <a:gd name="T8" fmla="*/ 17 w 37"/>
              <a:gd name="T9" fmla="*/ 7 h 16"/>
              <a:gd name="T10" fmla="*/ 16 w 37"/>
              <a:gd name="T11" fmla="*/ 9 h 16"/>
              <a:gd name="T12" fmla="*/ 13 w 37"/>
              <a:gd name="T13" fmla="*/ 9 h 16"/>
              <a:gd name="T14" fmla="*/ 9 w 37"/>
              <a:gd name="T15" fmla="*/ 10 h 16"/>
              <a:gd name="T16" fmla="*/ 5 w 37"/>
              <a:gd name="T17" fmla="*/ 11 h 16"/>
              <a:gd name="T18" fmla="*/ 0 w 37"/>
              <a:gd name="T19" fmla="*/ 9 h 16"/>
              <a:gd name="T20" fmla="*/ 4 w 37"/>
              <a:gd name="T21" fmla="*/ 13 h 16"/>
              <a:gd name="T22" fmla="*/ 6 w 37"/>
              <a:gd name="T23" fmla="*/ 13 h 16"/>
              <a:gd name="T24" fmla="*/ 8 w 37"/>
              <a:gd name="T25" fmla="*/ 14 h 16"/>
              <a:gd name="T26" fmla="*/ 12 w 37"/>
              <a:gd name="T27" fmla="*/ 13 h 16"/>
              <a:gd name="T28" fmla="*/ 15 w 37"/>
              <a:gd name="T29" fmla="*/ 15 h 16"/>
              <a:gd name="T30" fmla="*/ 22 w 37"/>
              <a:gd name="T31" fmla="*/ 16 h 16"/>
              <a:gd name="T32" fmla="*/ 29 w 37"/>
              <a:gd name="T33" fmla="*/ 14 h 16"/>
              <a:gd name="T34" fmla="*/ 33 w 37"/>
              <a:gd name="T35" fmla="*/ 12 h 16"/>
              <a:gd name="T36" fmla="*/ 34 w 37"/>
              <a:gd name="T37" fmla="*/ 9 h 16"/>
              <a:gd name="T38" fmla="*/ 36 w 37"/>
              <a:gd name="T39" fmla="*/ 8 h 16"/>
              <a:gd name="T40" fmla="*/ 36 w 37"/>
              <a:gd name="T41" fmla="*/ 2 h 16"/>
              <a:gd name="T42" fmla="*/ 32 w 37"/>
              <a:gd name="T43" fmla="*/ 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" h="16">
                <a:moveTo>
                  <a:pt x="32" y="2"/>
                </a:moveTo>
                <a:cubicBezTo>
                  <a:pt x="30" y="2"/>
                  <a:pt x="28" y="0"/>
                  <a:pt x="27" y="0"/>
                </a:cubicBezTo>
                <a:cubicBezTo>
                  <a:pt x="25" y="0"/>
                  <a:pt x="26" y="3"/>
                  <a:pt x="24" y="3"/>
                </a:cubicBezTo>
                <a:cubicBezTo>
                  <a:pt x="22" y="3"/>
                  <a:pt x="22" y="2"/>
                  <a:pt x="20" y="3"/>
                </a:cubicBezTo>
                <a:cubicBezTo>
                  <a:pt x="20" y="3"/>
                  <a:pt x="16" y="6"/>
                  <a:pt x="17" y="7"/>
                </a:cubicBezTo>
                <a:cubicBezTo>
                  <a:pt x="17" y="8"/>
                  <a:pt x="19" y="10"/>
                  <a:pt x="16" y="9"/>
                </a:cubicBezTo>
                <a:cubicBezTo>
                  <a:pt x="15" y="9"/>
                  <a:pt x="14" y="8"/>
                  <a:pt x="13" y="9"/>
                </a:cubicBezTo>
                <a:cubicBezTo>
                  <a:pt x="12" y="9"/>
                  <a:pt x="10" y="10"/>
                  <a:pt x="9" y="10"/>
                </a:cubicBezTo>
                <a:cubicBezTo>
                  <a:pt x="7" y="10"/>
                  <a:pt x="6" y="8"/>
                  <a:pt x="5" y="11"/>
                </a:cubicBezTo>
                <a:cubicBezTo>
                  <a:pt x="5" y="11"/>
                  <a:pt x="1" y="9"/>
                  <a:pt x="0" y="9"/>
                </a:cubicBezTo>
                <a:cubicBezTo>
                  <a:pt x="0" y="11"/>
                  <a:pt x="1" y="12"/>
                  <a:pt x="4" y="13"/>
                </a:cubicBezTo>
                <a:cubicBezTo>
                  <a:pt x="5" y="13"/>
                  <a:pt x="5" y="13"/>
                  <a:pt x="6" y="13"/>
                </a:cubicBezTo>
                <a:cubicBezTo>
                  <a:pt x="7" y="13"/>
                  <a:pt x="7" y="15"/>
                  <a:pt x="8" y="14"/>
                </a:cubicBezTo>
                <a:cubicBezTo>
                  <a:pt x="10" y="13"/>
                  <a:pt x="10" y="13"/>
                  <a:pt x="12" y="13"/>
                </a:cubicBezTo>
                <a:cubicBezTo>
                  <a:pt x="14" y="13"/>
                  <a:pt x="13" y="14"/>
                  <a:pt x="15" y="15"/>
                </a:cubicBezTo>
                <a:cubicBezTo>
                  <a:pt x="17" y="16"/>
                  <a:pt x="20" y="16"/>
                  <a:pt x="22" y="16"/>
                </a:cubicBezTo>
                <a:cubicBezTo>
                  <a:pt x="25" y="16"/>
                  <a:pt x="26" y="14"/>
                  <a:pt x="29" y="14"/>
                </a:cubicBezTo>
                <a:cubicBezTo>
                  <a:pt x="31" y="14"/>
                  <a:pt x="33" y="13"/>
                  <a:pt x="33" y="12"/>
                </a:cubicBezTo>
                <a:cubicBezTo>
                  <a:pt x="34" y="11"/>
                  <a:pt x="34" y="10"/>
                  <a:pt x="34" y="9"/>
                </a:cubicBezTo>
                <a:cubicBezTo>
                  <a:pt x="34" y="7"/>
                  <a:pt x="35" y="9"/>
                  <a:pt x="36" y="8"/>
                </a:cubicBezTo>
                <a:cubicBezTo>
                  <a:pt x="37" y="6"/>
                  <a:pt x="36" y="3"/>
                  <a:pt x="36" y="2"/>
                </a:cubicBezTo>
                <a:cubicBezTo>
                  <a:pt x="34" y="2"/>
                  <a:pt x="33" y="2"/>
                  <a:pt x="32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51" name="Freeform 647">
            <a:extLst>
              <a:ext uri="{FF2B5EF4-FFF2-40B4-BE49-F238E27FC236}">
                <a16:creationId xmlns:a16="http://schemas.microsoft.com/office/drawing/2014/main" id="{FF0E58E3-0BFD-9144-A774-DED2DA6F25F9}"/>
              </a:ext>
            </a:extLst>
          </p:cNvPr>
          <p:cNvSpPr>
            <a:spLocks/>
          </p:cNvSpPr>
          <p:nvPr/>
        </p:nvSpPr>
        <p:spPr bwMode="auto">
          <a:xfrm>
            <a:off x="6043655" y="3573780"/>
            <a:ext cx="294730" cy="285979"/>
          </a:xfrm>
          <a:custGeom>
            <a:avLst/>
            <a:gdLst>
              <a:gd name="T0" fmla="*/ 37 w 57"/>
              <a:gd name="T1" fmla="*/ 10 h 55"/>
              <a:gd name="T2" fmla="*/ 41 w 57"/>
              <a:gd name="T3" fmla="*/ 9 h 55"/>
              <a:gd name="T4" fmla="*/ 43 w 57"/>
              <a:gd name="T5" fmla="*/ 6 h 55"/>
              <a:gd name="T6" fmla="*/ 45 w 57"/>
              <a:gd name="T7" fmla="*/ 4 h 55"/>
              <a:gd name="T8" fmla="*/ 45 w 57"/>
              <a:gd name="T9" fmla="*/ 1 h 55"/>
              <a:gd name="T10" fmla="*/ 41 w 57"/>
              <a:gd name="T11" fmla="*/ 2 h 55"/>
              <a:gd name="T12" fmla="*/ 36 w 57"/>
              <a:gd name="T13" fmla="*/ 4 h 55"/>
              <a:gd name="T14" fmla="*/ 27 w 57"/>
              <a:gd name="T15" fmla="*/ 1 h 55"/>
              <a:gd name="T16" fmla="*/ 22 w 57"/>
              <a:gd name="T17" fmla="*/ 1 h 55"/>
              <a:gd name="T18" fmla="*/ 19 w 57"/>
              <a:gd name="T19" fmla="*/ 1 h 55"/>
              <a:gd name="T20" fmla="*/ 18 w 57"/>
              <a:gd name="T21" fmla="*/ 3 h 55"/>
              <a:gd name="T22" fmla="*/ 17 w 57"/>
              <a:gd name="T23" fmla="*/ 4 h 55"/>
              <a:gd name="T24" fmla="*/ 15 w 57"/>
              <a:gd name="T25" fmla="*/ 5 h 55"/>
              <a:gd name="T26" fmla="*/ 13 w 57"/>
              <a:gd name="T27" fmla="*/ 5 h 55"/>
              <a:gd name="T28" fmla="*/ 12 w 57"/>
              <a:gd name="T29" fmla="*/ 4 h 55"/>
              <a:gd name="T30" fmla="*/ 11 w 57"/>
              <a:gd name="T31" fmla="*/ 8 h 55"/>
              <a:gd name="T32" fmla="*/ 9 w 57"/>
              <a:gd name="T33" fmla="*/ 5 h 55"/>
              <a:gd name="T34" fmla="*/ 5 w 57"/>
              <a:gd name="T35" fmla="*/ 7 h 55"/>
              <a:gd name="T36" fmla="*/ 0 w 57"/>
              <a:gd name="T37" fmla="*/ 7 h 55"/>
              <a:gd name="T38" fmla="*/ 1 w 57"/>
              <a:gd name="T39" fmla="*/ 10 h 55"/>
              <a:gd name="T40" fmla="*/ 0 w 57"/>
              <a:gd name="T41" fmla="*/ 14 h 55"/>
              <a:gd name="T42" fmla="*/ 2 w 57"/>
              <a:gd name="T43" fmla="*/ 18 h 55"/>
              <a:gd name="T44" fmla="*/ 4 w 57"/>
              <a:gd name="T45" fmla="*/ 21 h 55"/>
              <a:gd name="T46" fmla="*/ 12 w 57"/>
              <a:gd name="T47" fmla="*/ 17 h 55"/>
              <a:gd name="T48" fmla="*/ 15 w 57"/>
              <a:gd name="T49" fmla="*/ 19 h 55"/>
              <a:gd name="T50" fmla="*/ 17 w 57"/>
              <a:gd name="T51" fmla="*/ 22 h 55"/>
              <a:gd name="T52" fmla="*/ 18 w 57"/>
              <a:gd name="T53" fmla="*/ 25 h 55"/>
              <a:gd name="T54" fmla="*/ 21 w 57"/>
              <a:gd name="T55" fmla="*/ 28 h 55"/>
              <a:gd name="T56" fmla="*/ 28 w 57"/>
              <a:gd name="T57" fmla="*/ 33 h 55"/>
              <a:gd name="T58" fmla="*/ 33 w 57"/>
              <a:gd name="T59" fmla="*/ 36 h 55"/>
              <a:gd name="T60" fmla="*/ 42 w 57"/>
              <a:gd name="T61" fmla="*/ 42 h 55"/>
              <a:gd name="T62" fmla="*/ 45 w 57"/>
              <a:gd name="T63" fmla="*/ 48 h 55"/>
              <a:gd name="T64" fmla="*/ 43 w 57"/>
              <a:gd name="T65" fmla="*/ 55 h 55"/>
              <a:gd name="T66" fmla="*/ 49 w 57"/>
              <a:gd name="T67" fmla="*/ 48 h 55"/>
              <a:gd name="T68" fmla="*/ 47 w 57"/>
              <a:gd name="T69" fmla="*/ 45 h 55"/>
              <a:gd name="T70" fmla="*/ 50 w 57"/>
              <a:gd name="T71" fmla="*/ 40 h 55"/>
              <a:gd name="T72" fmla="*/ 53 w 57"/>
              <a:gd name="T73" fmla="*/ 41 h 55"/>
              <a:gd name="T74" fmla="*/ 55 w 57"/>
              <a:gd name="T75" fmla="*/ 44 h 55"/>
              <a:gd name="T76" fmla="*/ 53 w 57"/>
              <a:gd name="T77" fmla="*/ 39 h 55"/>
              <a:gd name="T78" fmla="*/ 44 w 57"/>
              <a:gd name="T79" fmla="*/ 35 h 55"/>
              <a:gd name="T80" fmla="*/ 44 w 57"/>
              <a:gd name="T81" fmla="*/ 32 h 55"/>
              <a:gd name="T82" fmla="*/ 39 w 57"/>
              <a:gd name="T83" fmla="*/ 31 h 55"/>
              <a:gd name="T84" fmla="*/ 35 w 57"/>
              <a:gd name="T85" fmla="*/ 26 h 55"/>
              <a:gd name="T86" fmla="*/ 32 w 57"/>
              <a:gd name="T87" fmla="*/ 21 h 55"/>
              <a:gd name="T88" fmla="*/ 27 w 57"/>
              <a:gd name="T89" fmla="*/ 17 h 55"/>
              <a:gd name="T90" fmla="*/ 27 w 57"/>
              <a:gd name="T91" fmla="*/ 15 h 55"/>
              <a:gd name="T92" fmla="*/ 28 w 57"/>
              <a:gd name="T93" fmla="*/ 12 h 55"/>
              <a:gd name="T94" fmla="*/ 30 w 57"/>
              <a:gd name="T95" fmla="*/ 9 h 55"/>
              <a:gd name="T96" fmla="*/ 32 w 57"/>
              <a:gd name="T97" fmla="*/ 8 h 55"/>
              <a:gd name="T98" fmla="*/ 34 w 57"/>
              <a:gd name="T99" fmla="*/ 10 h 55"/>
              <a:gd name="T100" fmla="*/ 37 w 57"/>
              <a:gd name="T101" fmla="*/ 10 h 55"/>
              <a:gd name="T102" fmla="*/ 37 w 57"/>
              <a:gd name="T103" fmla="*/ 1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7" h="55">
                <a:moveTo>
                  <a:pt x="37" y="10"/>
                </a:moveTo>
                <a:cubicBezTo>
                  <a:pt x="38" y="9"/>
                  <a:pt x="40" y="10"/>
                  <a:pt x="41" y="9"/>
                </a:cubicBezTo>
                <a:cubicBezTo>
                  <a:pt x="43" y="8"/>
                  <a:pt x="42" y="7"/>
                  <a:pt x="43" y="6"/>
                </a:cubicBezTo>
                <a:cubicBezTo>
                  <a:pt x="43" y="5"/>
                  <a:pt x="44" y="4"/>
                  <a:pt x="45" y="4"/>
                </a:cubicBezTo>
                <a:cubicBezTo>
                  <a:pt x="46" y="3"/>
                  <a:pt x="45" y="3"/>
                  <a:pt x="45" y="1"/>
                </a:cubicBezTo>
                <a:cubicBezTo>
                  <a:pt x="44" y="2"/>
                  <a:pt x="43" y="2"/>
                  <a:pt x="41" y="2"/>
                </a:cubicBezTo>
                <a:cubicBezTo>
                  <a:pt x="39" y="2"/>
                  <a:pt x="37" y="5"/>
                  <a:pt x="36" y="4"/>
                </a:cubicBezTo>
                <a:cubicBezTo>
                  <a:pt x="33" y="3"/>
                  <a:pt x="28" y="4"/>
                  <a:pt x="27" y="1"/>
                </a:cubicBezTo>
                <a:cubicBezTo>
                  <a:pt x="26" y="0"/>
                  <a:pt x="23" y="1"/>
                  <a:pt x="22" y="1"/>
                </a:cubicBezTo>
                <a:cubicBezTo>
                  <a:pt x="20" y="3"/>
                  <a:pt x="20" y="1"/>
                  <a:pt x="19" y="1"/>
                </a:cubicBezTo>
                <a:cubicBezTo>
                  <a:pt x="18" y="1"/>
                  <a:pt x="18" y="3"/>
                  <a:pt x="18" y="3"/>
                </a:cubicBezTo>
                <a:cubicBezTo>
                  <a:pt x="18" y="3"/>
                  <a:pt x="17" y="4"/>
                  <a:pt x="17" y="4"/>
                </a:cubicBezTo>
                <a:cubicBezTo>
                  <a:pt x="17" y="5"/>
                  <a:pt x="16" y="5"/>
                  <a:pt x="15" y="5"/>
                </a:cubicBezTo>
                <a:cubicBezTo>
                  <a:pt x="15" y="5"/>
                  <a:pt x="14" y="5"/>
                  <a:pt x="13" y="5"/>
                </a:cubicBezTo>
                <a:cubicBezTo>
                  <a:pt x="13" y="5"/>
                  <a:pt x="13" y="5"/>
                  <a:pt x="12" y="4"/>
                </a:cubicBezTo>
                <a:cubicBezTo>
                  <a:pt x="12" y="4"/>
                  <a:pt x="11" y="7"/>
                  <a:pt x="11" y="8"/>
                </a:cubicBezTo>
                <a:cubicBezTo>
                  <a:pt x="11" y="9"/>
                  <a:pt x="9" y="6"/>
                  <a:pt x="9" y="5"/>
                </a:cubicBezTo>
                <a:cubicBezTo>
                  <a:pt x="7" y="4"/>
                  <a:pt x="6" y="7"/>
                  <a:pt x="5" y="7"/>
                </a:cubicBezTo>
                <a:cubicBezTo>
                  <a:pt x="3" y="7"/>
                  <a:pt x="1" y="7"/>
                  <a:pt x="0" y="7"/>
                </a:cubicBezTo>
                <a:cubicBezTo>
                  <a:pt x="0" y="8"/>
                  <a:pt x="1" y="9"/>
                  <a:pt x="1" y="10"/>
                </a:cubicBezTo>
                <a:cubicBezTo>
                  <a:pt x="1" y="12"/>
                  <a:pt x="0" y="12"/>
                  <a:pt x="0" y="14"/>
                </a:cubicBezTo>
                <a:cubicBezTo>
                  <a:pt x="0" y="15"/>
                  <a:pt x="0" y="18"/>
                  <a:pt x="2" y="18"/>
                </a:cubicBezTo>
                <a:cubicBezTo>
                  <a:pt x="3" y="19"/>
                  <a:pt x="4" y="18"/>
                  <a:pt x="4" y="21"/>
                </a:cubicBezTo>
                <a:cubicBezTo>
                  <a:pt x="6" y="20"/>
                  <a:pt x="10" y="16"/>
                  <a:pt x="12" y="17"/>
                </a:cubicBezTo>
                <a:cubicBezTo>
                  <a:pt x="13" y="18"/>
                  <a:pt x="14" y="19"/>
                  <a:pt x="15" y="19"/>
                </a:cubicBezTo>
                <a:cubicBezTo>
                  <a:pt x="16" y="19"/>
                  <a:pt x="17" y="21"/>
                  <a:pt x="17" y="22"/>
                </a:cubicBezTo>
                <a:cubicBezTo>
                  <a:pt x="18" y="23"/>
                  <a:pt x="18" y="24"/>
                  <a:pt x="18" y="25"/>
                </a:cubicBezTo>
                <a:cubicBezTo>
                  <a:pt x="19" y="26"/>
                  <a:pt x="20" y="27"/>
                  <a:pt x="21" y="28"/>
                </a:cubicBezTo>
                <a:cubicBezTo>
                  <a:pt x="23" y="29"/>
                  <a:pt x="25" y="31"/>
                  <a:pt x="28" y="33"/>
                </a:cubicBezTo>
                <a:cubicBezTo>
                  <a:pt x="30" y="35"/>
                  <a:pt x="31" y="35"/>
                  <a:pt x="33" y="36"/>
                </a:cubicBezTo>
                <a:cubicBezTo>
                  <a:pt x="36" y="38"/>
                  <a:pt x="38" y="41"/>
                  <a:pt x="42" y="42"/>
                </a:cubicBezTo>
                <a:cubicBezTo>
                  <a:pt x="44" y="43"/>
                  <a:pt x="44" y="46"/>
                  <a:pt x="45" y="48"/>
                </a:cubicBezTo>
                <a:cubicBezTo>
                  <a:pt x="45" y="50"/>
                  <a:pt x="42" y="52"/>
                  <a:pt x="43" y="55"/>
                </a:cubicBezTo>
                <a:cubicBezTo>
                  <a:pt x="43" y="54"/>
                  <a:pt x="49" y="49"/>
                  <a:pt x="49" y="48"/>
                </a:cubicBezTo>
                <a:cubicBezTo>
                  <a:pt x="50" y="47"/>
                  <a:pt x="47" y="45"/>
                  <a:pt x="47" y="45"/>
                </a:cubicBezTo>
                <a:cubicBezTo>
                  <a:pt x="45" y="43"/>
                  <a:pt x="49" y="39"/>
                  <a:pt x="50" y="40"/>
                </a:cubicBezTo>
                <a:cubicBezTo>
                  <a:pt x="51" y="41"/>
                  <a:pt x="52" y="41"/>
                  <a:pt x="53" y="41"/>
                </a:cubicBezTo>
                <a:cubicBezTo>
                  <a:pt x="54" y="42"/>
                  <a:pt x="54" y="43"/>
                  <a:pt x="55" y="44"/>
                </a:cubicBezTo>
                <a:cubicBezTo>
                  <a:pt x="57" y="44"/>
                  <a:pt x="54" y="40"/>
                  <a:pt x="53" y="39"/>
                </a:cubicBezTo>
                <a:cubicBezTo>
                  <a:pt x="51" y="37"/>
                  <a:pt x="47" y="37"/>
                  <a:pt x="44" y="35"/>
                </a:cubicBezTo>
                <a:cubicBezTo>
                  <a:pt x="43" y="34"/>
                  <a:pt x="46" y="32"/>
                  <a:pt x="44" y="32"/>
                </a:cubicBezTo>
                <a:cubicBezTo>
                  <a:pt x="43" y="31"/>
                  <a:pt x="41" y="32"/>
                  <a:pt x="39" y="31"/>
                </a:cubicBezTo>
                <a:cubicBezTo>
                  <a:pt x="37" y="30"/>
                  <a:pt x="36" y="28"/>
                  <a:pt x="35" y="26"/>
                </a:cubicBezTo>
                <a:cubicBezTo>
                  <a:pt x="34" y="24"/>
                  <a:pt x="34" y="22"/>
                  <a:pt x="32" y="21"/>
                </a:cubicBezTo>
                <a:cubicBezTo>
                  <a:pt x="31" y="20"/>
                  <a:pt x="27" y="19"/>
                  <a:pt x="27" y="17"/>
                </a:cubicBezTo>
                <a:cubicBezTo>
                  <a:pt x="27" y="16"/>
                  <a:pt x="27" y="15"/>
                  <a:pt x="27" y="15"/>
                </a:cubicBezTo>
                <a:cubicBezTo>
                  <a:pt x="28" y="13"/>
                  <a:pt x="28" y="13"/>
                  <a:pt x="28" y="12"/>
                </a:cubicBezTo>
                <a:cubicBezTo>
                  <a:pt x="27" y="9"/>
                  <a:pt x="30" y="10"/>
                  <a:pt x="30" y="9"/>
                </a:cubicBezTo>
                <a:cubicBezTo>
                  <a:pt x="31" y="8"/>
                  <a:pt x="32" y="8"/>
                  <a:pt x="32" y="8"/>
                </a:cubicBezTo>
                <a:cubicBezTo>
                  <a:pt x="34" y="8"/>
                  <a:pt x="34" y="9"/>
                  <a:pt x="34" y="10"/>
                </a:cubicBezTo>
                <a:cubicBezTo>
                  <a:pt x="35" y="10"/>
                  <a:pt x="36" y="10"/>
                  <a:pt x="37" y="10"/>
                </a:cubicBezTo>
                <a:cubicBezTo>
                  <a:pt x="37" y="9"/>
                  <a:pt x="36" y="10"/>
                  <a:pt x="37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52" name="Freeform 648">
            <a:extLst>
              <a:ext uri="{FF2B5EF4-FFF2-40B4-BE49-F238E27FC236}">
                <a16:creationId xmlns:a16="http://schemas.microsoft.com/office/drawing/2014/main" id="{B5F5A1B8-94A1-4E4E-B243-486D6EDEF3A5}"/>
              </a:ext>
            </a:extLst>
          </p:cNvPr>
          <p:cNvSpPr>
            <a:spLocks/>
          </p:cNvSpPr>
          <p:nvPr/>
        </p:nvSpPr>
        <p:spPr bwMode="auto">
          <a:xfrm>
            <a:off x="6214845" y="3589668"/>
            <a:ext cx="139423" cy="130633"/>
          </a:xfrm>
          <a:custGeom>
            <a:avLst/>
            <a:gdLst>
              <a:gd name="T0" fmla="*/ 12 w 27"/>
              <a:gd name="T1" fmla="*/ 10 h 25"/>
              <a:gd name="T2" fmla="*/ 21 w 27"/>
              <a:gd name="T3" fmla="*/ 9 h 25"/>
              <a:gd name="T4" fmla="*/ 27 w 27"/>
              <a:gd name="T5" fmla="*/ 11 h 25"/>
              <a:gd name="T6" fmla="*/ 25 w 27"/>
              <a:gd name="T7" fmla="*/ 4 h 25"/>
              <a:gd name="T8" fmla="*/ 17 w 27"/>
              <a:gd name="T9" fmla="*/ 3 h 25"/>
              <a:gd name="T10" fmla="*/ 13 w 27"/>
              <a:gd name="T11" fmla="*/ 0 h 25"/>
              <a:gd name="T12" fmla="*/ 11 w 27"/>
              <a:gd name="T13" fmla="*/ 2 h 25"/>
              <a:gd name="T14" fmla="*/ 6 w 27"/>
              <a:gd name="T15" fmla="*/ 7 h 25"/>
              <a:gd name="T16" fmla="*/ 1 w 27"/>
              <a:gd name="T17" fmla="*/ 7 h 25"/>
              <a:gd name="T18" fmla="*/ 1 w 27"/>
              <a:gd name="T19" fmla="*/ 11 h 25"/>
              <a:gd name="T20" fmla="*/ 3 w 27"/>
              <a:gd name="T21" fmla="*/ 10 h 25"/>
              <a:gd name="T22" fmla="*/ 4 w 27"/>
              <a:gd name="T23" fmla="*/ 13 h 25"/>
              <a:gd name="T24" fmla="*/ 6 w 27"/>
              <a:gd name="T25" fmla="*/ 10 h 25"/>
              <a:gd name="T26" fmla="*/ 11 w 27"/>
              <a:gd name="T27" fmla="*/ 17 h 25"/>
              <a:gd name="T28" fmla="*/ 23 w 27"/>
              <a:gd name="T29" fmla="*/ 25 h 25"/>
              <a:gd name="T30" fmla="*/ 21 w 27"/>
              <a:gd name="T31" fmla="*/ 22 h 25"/>
              <a:gd name="T32" fmla="*/ 16 w 27"/>
              <a:gd name="T33" fmla="*/ 19 h 25"/>
              <a:gd name="T34" fmla="*/ 12 w 27"/>
              <a:gd name="T35" fmla="*/ 1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7" h="25">
                <a:moveTo>
                  <a:pt x="12" y="10"/>
                </a:moveTo>
                <a:cubicBezTo>
                  <a:pt x="15" y="10"/>
                  <a:pt x="18" y="8"/>
                  <a:pt x="21" y="9"/>
                </a:cubicBezTo>
                <a:cubicBezTo>
                  <a:pt x="23" y="9"/>
                  <a:pt x="25" y="10"/>
                  <a:pt x="27" y="11"/>
                </a:cubicBezTo>
                <a:cubicBezTo>
                  <a:pt x="26" y="9"/>
                  <a:pt x="26" y="7"/>
                  <a:pt x="25" y="4"/>
                </a:cubicBezTo>
                <a:cubicBezTo>
                  <a:pt x="22" y="6"/>
                  <a:pt x="19" y="4"/>
                  <a:pt x="17" y="3"/>
                </a:cubicBezTo>
                <a:cubicBezTo>
                  <a:pt x="15" y="2"/>
                  <a:pt x="14" y="2"/>
                  <a:pt x="13" y="0"/>
                </a:cubicBezTo>
                <a:cubicBezTo>
                  <a:pt x="13" y="0"/>
                  <a:pt x="11" y="1"/>
                  <a:pt x="11" y="2"/>
                </a:cubicBezTo>
                <a:cubicBezTo>
                  <a:pt x="9" y="3"/>
                  <a:pt x="10" y="8"/>
                  <a:pt x="6" y="7"/>
                </a:cubicBezTo>
                <a:cubicBezTo>
                  <a:pt x="4" y="6"/>
                  <a:pt x="2" y="7"/>
                  <a:pt x="1" y="7"/>
                </a:cubicBezTo>
                <a:cubicBezTo>
                  <a:pt x="0" y="8"/>
                  <a:pt x="1" y="11"/>
                  <a:pt x="1" y="11"/>
                </a:cubicBezTo>
                <a:cubicBezTo>
                  <a:pt x="1" y="11"/>
                  <a:pt x="3" y="10"/>
                  <a:pt x="3" y="10"/>
                </a:cubicBezTo>
                <a:cubicBezTo>
                  <a:pt x="4" y="10"/>
                  <a:pt x="4" y="12"/>
                  <a:pt x="4" y="13"/>
                </a:cubicBezTo>
                <a:cubicBezTo>
                  <a:pt x="4" y="11"/>
                  <a:pt x="5" y="8"/>
                  <a:pt x="6" y="10"/>
                </a:cubicBezTo>
                <a:cubicBezTo>
                  <a:pt x="7" y="13"/>
                  <a:pt x="9" y="15"/>
                  <a:pt x="11" y="17"/>
                </a:cubicBezTo>
                <a:cubicBezTo>
                  <a:pt x="14" y="20"/>
                  <a:pt x="19" y="22"/>
                  <a:pt x="23" y="25"/>
                </a:cubicBezTo>
                <a:cubicBezTo>
                  <a:pt x="23" y="23"/>
                  <a:pt x="23" y="23"/>
                  <a:pt x="21" y="22"/>
                </a:cubicBezTo>
                <a:cubicBezTo>
                  <a:pt x="19" y="21"/>
                  <a:pt x="17" y="20"/>
                  <a:pt x="16" y="19"/>
                </a:cubicBezTo>
                <a:cubicBezTo>
                  <a:pt x="14" y="17"/>
                  <a:pt x="9" y="10"/>
                  <a:pt x="12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53" name="Freeform 649">
            <a:extLst>
              <a:ext uri="{FF2B5EF4-FFF2-40B4-BE49-F238E27FC236}">
                <a16:creationId xmlns:a16="http://schemas.microsoft.com/office/drawing/2014/main" id="{E88B415A-B4B6-224A-A4F4-ADFC2E9D054B}"/>
              </a:ext>
            </a:extLst>
          </p:cNvPr>
          <p:cNvSpPr>
            <a:spLocks/>
          </p:cNvSpPr>
          <p:nvPr/>
        </p:nvSpPr>
        <p:spPr bwMode="auto">
          <a:xfrm>
            <a:off x="5738336" y="3439617"/>
            <a:ext cx="342380" cy="294806"/>
          </a:xfrm>
          <a:custGeom>
            <a:avLst/>
            <a:gdLst>
              <a:gd name="T0" fmla="*/ 59 w 66"/>
              <a:gd name="T1" fmla="*/ 31 h 57"/>
              <a:gd name="T2" fmla="*/ 56 w 66"/>
              <a:gd name="T3" fmla="*/ 30 h 57"/>
              <a:gd name="T4" fmla="*/ 60 w 66"/>
              <a:gd name="T5" fmla="*/ 24 h 57"/>
              <a:gd name="T6" fmla="*/ 63 w 66"/>
              <a:gd name="T7" fmla="*/ 23 h 57"/>
              <a:gd name="T8" fmla="*/ 65 w 66"/>
              <a:gd name="T9" fmla="*/ 15 h 57"/>
              <a:gd name="T10" fmla="*/ 60 w 66"/>
              <a:gd name="T11" fmla="*/ 13 h 57"/>
              <a:gd name="T12" fmla="*/ 57 w 66"/>
              <a:gd name="T13" fmla="*/ 11 h 57"/>
              <a:gd name="T14" fmla="*/ 55 w 66"/>
              <a:gd name="T15" fmla="*/ 11 h 57"/>
              <a:gd name="T16" fmla="*/ 48 w 66"/>
              <a:gd name="T17" fmla="*/ 7 h 57"/>
              <a:gd name="T18" fmla="*/ 43 w 66"/>
              <a:gd name="T19" fmla="*/ 5 h 57"/>
              <a:gd name="T20" fmla="*/ 38 w 66"/>
              <a:gd name="T21" fmla="*/ 1 h 57"/>
              <a:gd name="T22" fmla="*/ 34 w 66"/>
              <a:gd name="T23" fmla="*/ 1 h 57"/>
              <a:gd name="T24" fmla="*/ 33 w 66"/>
              <a:gd name="T25" fmla="*/ 5 h 57"/>
              <a:gd name="T26" fmla="*/ 30 w 66"/>
              <a:gd name="T27" fmla="*/ 8 h 57"/>
              <a:gd name="T28" fmla="*/ 26 w 66"/>
              <a:gd name="T29" fmla="*/ 10 h 57"/>
              <a:gd name="T30" fmla="*/ 24 w 66"/>
              <a:gd name="T31" fmla="*/ 12 h 57"/>
              <a:gd name="T32" fmla="*/ 20 w 66"/>
              <a:gd name="T33" fmla="*/ 11 h 57"/>
              <a:gd name="T34" fmla="*/ 16 w 66"/>
              <a:gd name="T35" fmla="*/ 10 h 57"/>
              <a:gd name="T36" fmla="*/ 16 w 66"/>
              <a:gd name="T37" fmla="*/ 16 h 57"/>
              <a:gd name="T38" fmla="*/ 9 w 66"/>
              <a:gd name="T39" fmla="*/ 15 h 57"/>
              <a:gd name="T40" fmla="*/ 1 w 66"/>
              <a:gd name="T41" fmla="*/ 17 h 57"/>
              <a:gd name="T42" fmla="*/ 2 w 66"/>
              <a:gd name="T43" fmla="*/ 19 h 57"/>
              <a:gd name="T44" fmla="*/ 4 w 66"/>
              <a:gd name="T45" fmla="*/ 21 h 57"/>
              <a:gd name="T46" fmla="*/ 15 w 66"/>
              <a:gd name="T47" fmla="*/ 25 h 57"/>
              <a:gd name="T48" fmla="*/ 14 w 66"/>
              <a:gd name="T49" fmla="*/ 28 h 57"/>
              <a:gd name="T50" fmla="*/ 19 w 66"/>
              <a:gd name="T51" fmla="*/ 31 h 57"/>
              <a:gd name="T52" fmla="*/ 20 w 66"/>
              <a:gd name="T53" fmla="*/ 35 h 57"/>
              <a:gd name="T54" fmla="*/ 22 w 66"/>
              <a:gd name="T55" fmla="*/ 38 h 57"/>
              <a:gd name="T56" fmla="*/ 19 w 66"/>
              <a:gd name="T57" fmla="*/ 36 h 57"/>
              <a:gd name="T58" fmla="*/ 16 w 66"/>
              <a:gd name="T59" fmla="*/ 49 h 57"/>
              <a:gd name="T60" fmla="*/ 27 w 66"/>
              <a:gd name="T61" fmla="*/ 53 h 57"/>
              <a:gd name="T62" fmla="*/ 30 w 66"/>
              <a:gd name="T63" fmla="*/ 53 h 57"/>
              <a:gd name="T64" fmla="*/ 33 w 66"/>
              <a:gd name="T65" fmla="*/ 55 h 57"/>
              <a:gd name="T66" fmla="*/ 40 w 66"/>
              <a:gd name="T67" fmla="*/ 54 h 57"/>
              <a:gd name="T68" fmla="*/ 47 w 66"/>
              <a:gd name="T69" fmla="*/ 48 h 57"/>
              <a:gd name="T70" fmla="*/ 57 w 66"/>
              <a:gd name="T71" fmla="*/ 50 h 57"/>
              <a:gd name="T72" fmla="*/ 62 w 66"/>
              <a:gd name="T73" fmla="*/ 47 h 57"/>
              <a:gd name="T74" fmla="*/ 62 w 66"/>
              <a:gd name="T75" fmla="*/ 45 h 57"/>
              <a:gd name="T76" fmla="*/ 59 w 66"/>
              <a:gd name="T77" fmla="*/ 38 h 57"/>
              <a:gd name="T78" fmla="*/ 59 w 66"/>
              <a:gd name="T79" fmla="*/ 34 h 57"/>
              <a:gd name="T80" fmla="*/ 59 w 66"/>
              <a:gd name="T81" fmla="*/ 31 h 57"/>
              <a:gd name="T82" fmla="*/ 59 w 66"/>
              <a:gd name="T83" fmla="*/ 31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6" h="57">
                <a:moveTo>
                  <a:pt x="59" y="31"/>
                </a:moveTo>
                <a:cubicBezTo>
                  <a:pt x="58" y="29"/>
                  <a:pt x="55" y="33"/>
                  <a:pt x="56" y="30"/>
                </a:cubicBezTo>
                <a:cubicBezTo>
                  <a:pt x="56" y="29"/>
                  <a:pt x="59" y="24"/>
                  <a:pt x="60" y="24"/>
                </a:cubicBezTo>
                <a:cubicBezTo>
                  <a:pt x="61" y="23"/>
                  <a:pt x="62" y="25"/>
                  <a:pt x="63" y="23"/>
                </a:cubicBezTo>
                <a:cubicBezTo>
                  <a:pt x="64" y="20"/>
                  <a:pt x="63" y="18"/>
                  <a:pt x="65" y="15"/>
                </a:cubicBezTo>
                <a:cubicBezTo>
                  <a:pt x="66" y="13"/>
                  <a:pt x="61" y="13"/>
                  <a:pt x="60" y="13"/>
                </a:cubicBezTo>
                <a:cubicBezTo>
                  <a:pt x="58" y="13"/>
                  <a:pt x="57" y="12"/>
                  <a:pt x="57" y="11"/>
                </a:cubicBezTo>
                <a:cubicBezTo>
                  <a:pt x="56" y="11"/>
                  <a:pt x="55" y="11"/>
                  <a:pt x="55" y="11"/>
                </a:cubicBezTo>
                <a:cubicBezTo>
                  <a:pt x="53" y="11"/>
                  <a:pt x="48" y="9"/>
                  <a:pt x="48" y="7"/>
                </a:cubicBezTo>
                <a:cubicBezTo>
                  <a:pt x="47" y="10"/>
                  <a:pt x="44" y="5"/>
                  <a:pt x="43" y="5"/>
                </a:cubicBezTo>
                <a:cubicBezTo>
                  <a:pt x="41" y="4"/>
                  <a:pt x="39" y="3"/>
                  <a:pt x="38" y="1"/>
                </a:cubicBezTo>
                <a:cubicBezTo>
                  <a:pt x="37" y="0"/>
                  <a:pt x="35" y="0"/>
                  <a:pt x="34" y="1"/>
                </a:cubicBezTo>
                <a:cubicBezTo>
                  <a:pt x="33" y="2"/>
                  <a:pt x="32" y="4"/>
                  <a:pt x="33" y="5"/>
                </a:cubicBezTo>
                <a:cubicBezTo>
                  <a:pt x="33" y="6"/>
                  <a:pt x="31" y="7"/>
                  <a:pt x="30" y="8"/>
                </a:cubicBezTo>
                <a:cubicBezTo>
                  <a:pt x="29" y="8"/>
                  <a:pt x="27" y="8"/>
                  <a:pt x="26" y="10"/>
                </a:cubicBezTo>
                <a:cubicBezTo>
                  <a:pt x="26" y="11"/>
                  <a:pt x="25" y="12"/>
                  <a:pt x="24" y="12"/>
                </a:cubicBezTo>
                <a:cubicBezTo>
                  <a:pt x="22" y="12"/>
                  <a:pt x="21" y="12"/>
                  <a:pt x="20" y="11"/>
                </a:cubicBezTo>
                <a:cubicBezTo>
                  <a:pt x="18" y="11"/>
                  <a:pt x="18" y="10"/>
                  <a:pt x="16" y="10"/>
                </a:cubicBezTo>
                <a:cubicBezTo>
                  <a:pt x="14" y="9"/>
                  <a:pt x="20" y="16"/>
                  <a:pt x="16" y="16"/>
                </a:cubicBezTo>
                <a:cubicBezTo>
                  <a:pt x="13" y="16"/>
                  <a:pt x="11" y="17"/>
                  <a:pt x="9" y="15"/>
                </a:cubicBezTo>
                <a:cubicBezTo>
                  <a:pt x="8" y="14"/>
                  <a:pt x="1" y="16"/>
                  <a:pt x="1" y="17"/>
                </a:cubicBezTo>
                <a:cubicBezTo>
                  <a:pt x="1" y="18"/>
                  <a:pt x="4" y="18"/>
                  <a:pt x="2" y="19"/>
                </a:cubicBezTo>
                <a:cubicBezTo>
                  <a:pt x="0" y="20"/>
                  <a:pt x="3" y="21"/>
                  <a:pt x="4" y="21"/>
                </a:cubicBezTo>
                <a:cubicBezTo>
                  <a:pt x="6" y="22"/>
                  <a:pt x="15" y="23"/>
                  <a:pt x="15" y="25"/>
                </a:cubicBezTo>
                <a:cubicBezTo>
                  <a:pt x="15" y="26"/>
                  <a:pt x="13" y="26"/>
                  <a:pt x="14" y="28"/>
                </a:cubicBezTo>
                <a:cubicBezTo>
                  <a:pt x="16" y="30"/>
                  <a:pt x="17" y="30"/>
                  <a:pt x="19" y="31"/>
                </a:cubicBezTo>
                <a:cubicBezTo>
                  <a:pt x="21" y="32"/>
                  <a:pt x="18" y="34"/>
                  <a:pt x="20" y="35"/>
                </a:cubicBezTo>
                <a:cubicBezTo>
                  <a:pt x="20" y="35"/>
                  <a:pt x="22" y="38"/>
                  <a:pt x="22" y="38"/>
                </a:cubicBezTo>
                <a:cubicBezTo>
                  <a:pt x="21" y="39"/>
                  <a:pt x="20" y="36"/>
                  <a:pt x="19" y="36"/>
                </a:cubicBezTo>
                <a:cubicBezTo>
                  <a:pt x="18" y="36"/>
                  <a:pt x="19" y="48"/>
                  <a:pt x="16" y="49"/>
                </a:cubicBezTo>
                <a:cubicBezTo>
                  <a:pt x="19" y="51"/>
                  <a:pt x="23" y="54"/>
                  <a:pt x="27" y="53"/>
                </a:cubicBezTo>
                <a:cubicBezTo>
                  <a:pt x="28" y="53"/>
                  <a:pt x="29" y="52"/>
                  <a:pt x="30" y="53"/>
                </a:cubicBezTo>
                <a:cubicBezTo>
                  <a:pt x="31" y="53"/>
                  <a:pt x="32" y="54"/>
                  <a:pt x="33" y="55"/>
                </a:cubicBezTo>
                <a:cubicBezTo>
                  <a:pt x="35" y="56"/>
                  <a:pt x="41" y="57"/>
                  <a:pt x="40" y="54"/>
                </a:cubicBezTo>
                <a:cubicBezTo>
                  <a:pt x="39" y="49"/>
                  <a:pt x="44" y="47"/>
                  <a:pt x="47" y="48"/>
                </a:cubicBezTo>
                <a:cubicBezTo>
                  <a:pt x="51" y="49"/>
                  <a:pt x="53" y="52"/>
                  <a:pt x="57" y="50"/>
                </a:cubicBezTo>
                <a:cubicBezTo>
                  <a:pt x="59" y="49"/>
                  <a:pt x="60" y="48"/>
                  <a:pt x="62" y="47"/>
                </a:cubicBezTo>
                <a:cubicBezTo>
                  <a:pt x="62" y="47"/>
                  <a:pt x="64" y="45"/>
                  <a:pt x="62" y="45"/>
                </a:cubicBezTo>
                <a:cubicBezTo>
                  <a:pt x="60" y="44"/>
                  <a:pt x="58" y="40"/>
                  <a:pt x="59" y="38"/>
                </a:cubicBezTo>
                <a:cubicBezTo>
                  <a:pt x="61" y="36"/>
                  <a:pt x="60" y="36"/>
                  <a:pt x="59" y="34"/>
                </a:cubicBezTo>
                <a:cubicBezTo>
                  <a:pt x="59" y="33"/>
                  <a:pt x="59" y="32"/>
                  <a:pt x="59" y="31"/>
                </a:cubicBezTo>
                <a:cubicBezTo>
                  <a:pt x="58" y="30"/>
                  <a:pt x="59" y="32"/>
                  <a:pt x="59" y="3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54" name="Freeform 650">
            <a:extLst>
              <a:ext uri="{FF2B5EF4-FFF2-40B4-BE49-F238E27FC236}">
                <a16:creationId xmlns:a16="http://schemas.microsoft.com/office/drawing/2014/main" id="{2202A5B2-DCCE-7C44-BA0D-7F3C6A2283A5}"/>
              </a:ext>
            </a:extLst>
          </p:cNvPr>
          <p:cNvSpPr>
            <a:spLocks/>
          </p:cNvSpPr>
          <p:nvPr/>
        </p:nvSpPr>
        <p:spPr bwMode="auto">
          <a:xfrm>
            <a:off x="6022476" y="3554363"/>
            <a:ext cx="114715" cy="77673"/>
          </a:xfrm>
          <a:custGeom>
            <a:avLst/>
            <a:gdLst>
              <a:gd name="T0" fmla="*/ 17 w 22"/>
              <a:gd name="T1" fmla="*/ 1 h 15"/>
              <a:gd name="T2" fmla="*/ 9 w 22"/>
              <a:gd name="T3" fmla="*/ 1 h 15"/>
              <a:gd name="T4" fmla="*/ 8 w 22"/>
              <a:gd name="T5" fmla="*/ 2 h 15"/>
              <a:gd name="T6" fmla="*/ 5 w 22"/>
              <a:gd name="T7" fmla="*/ 2 h 15"/>
              <a:gd name="T8" fmla="*/ 3 w 22"/>
              <a:gd name="T9" fmla="*/ 5 h 15"/>
              <a:gd name="T10" fmla="*/ 1 w 22"/>
              <a:gd name="T11" fmla="*/ 9 h 15"/>
              <a:gd name="T12" fmla="*/ 4 w 22"/>
              <a:gd name="T13" fmla="*/ 10 h 15"/>
              <a:gd name="T14" fmla="*/ 7 w 22"/>
              <a:gd name="T15" fmla="*/ 11 h 15"/>
              <a:gd name="T16" fmla="*/ 11 w 22"/>
              <a:gd name="T17" fmla="*/ 10 h 15"/>
              <a:gd name="T18" fmla="*/ 13 w 22"/>
              <a:gd name="T19" fmla="*/ 10 h 15"/>
              <a:gd name="T20" fmla="*/ 16 w 22"/>
              <a:gd name="T21" fmla="*/ 8 h 15"/>
              <a:gd name="T22" fmla="*/ 18 w 22"/>
              <a:gd name="T23" fmla="*/ 9 h 15"/>
              <a:gd name="T24" fmla="*/ 21 w 22"/>
              <a:gd name="T25" fmla="*/ 8 h 15"/>
              <a:gd name="T26" fmla="*/ 22 w 22"/>
              <a:gd name="T27" fmla="*/ 5 h 15"/>
              <a:gd name="T28" fmla="*/ 18 w 22"/>
              <a:gd name="T29" fmla="*/ 4 h 15"/>
              <a:gd name="T30" fmla="*/ 17 w 22"/>
              <a:gd name="T31" fmla="*/ 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" h="15">
                <a:moveTo>
                  <a:pt x="17" y="1"/>
                </a:moveTo>
                <a:cubicBezTo>
                  <a:pt x="14" y="0"/>
                  <a:pt x="12" y="1"/>
                  <a:pt x="9" y="1"/>
                </a:cubicBezTo>
                <a:cubicBezTo>
                  <a:pt x="7" y="1"/>
                  <a:pt x="9" y="1"/>
                  <a:pt x="8" y="2"/>
                </a:cubicBezTo>
                <a:cubicBezTo>
                  <a:pt x="7" y="2"/>
                  <a:pt x="5" y="2"/>
                  <a:pt x="5" y="2"/>
                </a:cubicBezTo>
                <a:cubicBezTo>
                  <a:pt x="4" y="2"/>
                  <a:pt x="3" y="5"/>
                  <a:pt x="3" y="5"/>
                </a:cubicBezTo>
                <a:cubicBezTo>
                  <a:pt x="2" y="6"/>
                  <a:pt x="0" y="10"/>
                  <a:pt x="1" y="9"/>
                </a:cubicBezTo>
                <a:cubicBezTo>
                  <a:pt x="3" y="9"/>
                  <a:pt x="3" y="8"/>
                  <a:pt x="4" y="10"/>
                </a:cubicBezTo>
                <a:cubicBezTo>
                  <a:pt x="4" y="12"/>
                  <a:pt x="5" y="11"/>
                  <a:pt x="7" y="11"/>
                </a:cubicBezTo>
                <a:cubicBezTo>
                  <a:pt x="8" y="11"/>
                  <a:pt x="10" y="11"/>
                  <a:pt x="11" y="10"/>
                </a:cubicBezTo>
                <a:cubicBezTo>
                  <a:pt x="12" y="8"/>
                  <a:pt x="13" y="9"/>
                  <a:pt x="13" y="10"/>
                </a:cubicBezTo>
                <a:cubicBezTo>
                  <a:pt x="16" y="15"/>
                  <a:pt x="15" y="8"/>
                  <a:pt x="16" y="8"/>
                </a:cubicBezTo>
                <a:cubicBezTo>
                  <a:pt x="17" y="8"/>
                  <a:pt x="17" y="9"/>
                  <a:pt x="18" y="9"/>
                </a:cubicBezTo>
                <a:cubicBezTo>
                  <a:pt x="19" y="9"/>
                  <a:pt x="20" y="9"/>
                  <a:pt x="21" y="8"/>
                </a:cubicBezTo>
                <a:cubicBezTo>
                  <a:pt x="22" y="7"/>
                  <a:pt x="22" y="7"/>
                  <a:pt x="22" y="5"/>
                </a:cubicBezTo>
                <a:cubicBezTo>
                  <a:pt x="22" y="5"/>
                  <a:pt x="19" y="4"/>
                  <a:pt x="18" y="4"/>
                </a:cubicBezTo>
                <a:cubicBezTo>
                  <a:pt x="17" y="3"/>
                  <a:pt x="17" y="2"/>
                  <a:pt x="17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55" name="Freeform 651">
            <a:extLst>
              <a:ext uri="{FF2B5EF4-FFF2-40B4-BE49-F238E27FC236}">
                <a16:creationId xmlns:a16="http://schemas.microsoft.com/office/drawing/2014/main" id="{119DC3A9-3ED1-444C-AA56-863284B8A3A8}"/>
              </a:ext>
            </a:extLst>
          </p:cNvPr>
          <p:cNvSpPr>
            <a:spLocks/>
          </p:cNvSpPr>
          <p:nvPr/>
        </p:nvSpPr>
        <p:spPr bwMode="auto">
          <a:xfrm>
            <a:off x="5925411" y="3429025"/>
            <a:ext cx="107656" cy="67081"/>
          </a:xfrm>
          <a:custGeom>
            <a:avLst/>
            <a:gdLst>
              <a:gd name="T0" fmla="*/ 19 w 21"/>
              <a:gd name="T1" fmla="*/ 9 h 13"/>
              <a:gd name="T2" fmla="*/ 20 w 21"/>
              <a:gd name="T3" fmla="*/ 6 h 13"/>
              <a:gd name="T4" fmla="*/ 18 w 21"/>
              <a:gd name="T5" fmla="*/ 3 h 13"/>
              <a:gd name="T6" fmla="*/ 13 w 21"/>
              <a:gd name="T7" fmla="*/ 0 h 13"/>
              <a:gd name="T8" fmla="*/ 8 w 21"/>
              <a:gd name="T9" fmla="*/ 1 h 13"/>
              <a:gd name="T10" fmla="*/ 3 w 21"/>
              <a:gd name="T11" fmla="*/ 1 h 13"/>
              <a:gd name="T12" fmla="*/ 5 w 21"/>
              <a:gd name="T13" fmla="*/ 6 h 13"/>
              <a:gd name="T14" fmla="*/ 10 w 21"/>
              <a:gd name="T15" fmla="*/ 9 h 13"/>
              <a:gd name="T16" fmla="*/ 12 w 21"/>
              <a:gd name="T17" fmla="*/ 9 h 13"/>
              <a:gd name="T18" fmla="*/ 18 w 21"/>
              <a:gd name="T19" fmla="*/ 13 h 13"/>
              <a:gd name="T20" fmla="*/ 19 w 21"/>
              <a:gd name="T21" fmla="*/ 9 h 13"/>
              <a:gd name="T22" fmla="*/ 19 w 21"/>
              <a:gd name="T23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1" h="13">
                <a:moveTo>
                  <a:pt x="19" y="9"/>
                </a:moveTo>
                <a:cubicBezTo>
                  <a:pt x="18" y="9"/>
                  <a:pt x="21" y="7"/>
                  <a:pt x="20" y="6"/>
                </a:cubicBezTo>
                <a:cubicBezTo>
                  <a:pt x="20" y="5"/>
                  <a:pt x="19" y="3"/>
                  <a:pt x="18" y="3"/>
                </a:cubicBezTo>
                <a:cubicBezTo>
                  <a:pt x="17" y="2"/>
                  <a:pt x="15" y="0"/>
                  <a:pt x="13" y="0"/>
                </a:cubicBezTo>
                <a:cubicBezTo>
                  <a:pt x="11" y="0"/>
                  <a:pt x="10" y="1"/>
                  <a:pt x="8" y="1"/>
                </a:cubicBezTo>
                <a:cubicBezTo>
                  <a:pt x="6" y="1"/>
                  <a:pt x="5" y="0"/>
                  <a:pt x="3" y="1"/>
                </a:cubicBezTo>
                <a:cubicBezTo>
                  <a:pt x="0" y="3"/>
                  <a:pt x="3" y="5"/>
                  <a:pt x="5" y="6"/>
                </a:cubicBezTo>
                <a:cubicBezTo>
                  <a:pt x="7" y="7"/>
                  <a:pt x="8" y="7"/>
                  <a:pt x="10" y="9"/>
                </a:cubicBezTo>
                <a:cubicBezTo>
                  <a:pt x="10" y="10"/>
                  <a:pt x="12" y="10"/>
                  <a:pt x="12" y="9"/>
                </a:cubicBezTo>
                <a:cubicBezTo>
                  <a:pt x="12" y="10"/>
                  <a:pt x="17" y="13"/>
                  <a:pt x="18" y="13"/>
                </a:cubicBezTo>
                <a:cubicBezTo>
                  <a:pt x="18" y="11"/>
                  <a:pt x="18" y="10"/>
                  <a:pt x="19" y="9"/>
                </a:cubicBezTo>
                <a:cubicBezTo>
                  <a:pt x="19" y="9"/>
                  <a:pt x="17" y="10"/>
                  <a:pt x="19" y="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56" name="Freeform 652">
            <a:extLst>
              <a:ext uri="{FF2B5EF4-FFF2-40B4-BE49-F238E27FC236}">
                <a16:creationId xmlns:a16="http://schemas.microsoft.com/office/drawing/2014/main" id="{2BA2F959-6FF5-214B-B40B-411A0F941C95}"/>
              </a:ext>
            </a:extLst>
          </p:cNvPr>
          <p:cNvSpPr>
            <a:spLocks/>
          </p:cNvSpPr>
          <p:nvPr/>
        </p:nvSpPr>
        <p:spPr bwMode="auto">
          <a:xfrm>
            <a:off x="6013653" y="3476688"/>
            <a:ext cx="19414" cy="19419"/>
          </a:xfrm>
          <a:custGeom>
            <a:avLst/>
            <a:gdLst>
              <a:gd name="T0" fmla="*/ 2 w 4"/>
              <a:gd name="T1" fmla="*/ 0 h 4"/>
              <a:gd name="T2" fmla="*/ 1 w 4"/>
              <a:gd name="T3" fmla="*/ 3 h 4"/>
              <a:gd name="T4" fmla="*/ 4 w 4"/>
              <a:gd name="T5" fmla="*/ 4 h 4"/>
              <a:gd name="T6" fmla="*/ 2 w 4"/>
              <a:gd name="T7" fmla="*/ 0 h 4"/>
              <a:gd name="T8" fmla="*/ 2 w 4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4">
                <a:moveTo>
                  <a:pt x="2" y="0"/>
                </a:moveTo>
                <a:cubicBezTo>
                  <a:pt x="1" y="0"/>
                  <a:pt x="1" y="2"/>
                  <a:pt x="1" y="3"/>
                </a:cubicBezTo>
                <a:cubicBezTo>
                  <a:pt x="1" y="4"/>
                  <a:pt x="3" y="4"/>
                  <a:pt x="4" y="4"/>
                </a:cubicBezTo>
                <a:cubicBezTo>
                  <a:pt x="4" y="2"/>
                  <a:pt x="4" y="1"/>
                  <a:pt x="2" y="0"/>
                </a:cubicBezTo>
                <a:cubicBezTo>
                  <a:pt x="0" y="1"/>
                  <a:pt x="3" y="1"/>
                  <a:pt x="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57" name="Freeform 653">
            <a:extLst>
              <a:ext uri="{FF2B5EF4-FFF2-40B4-BE49-F238E27FC236}">
                <a16:creationId xmlns:a16="http://schemas.microsoft.com/office/drawing/2014/main" id="{92ECCA08-47C6-7F4B-9ABD-D3D626C8CC56}"/>
              </a:ext>
            </a:extLst>
          </p:cNvPr>
          <p:cNvSpPr>
            <a:spLocks/>
          </p:cNvSpPr>
          <p:nvPr/>
        </p:nvSpPr>
        <p:spPr bwMode="auto">
          <a:xfrm>
            <a:off x="5950119" y="3356647"/>
            <a:ext cx="104128" cy="93563"/>
          </a:xfrm>
          <a:custGeom>
            <a:avLst/>
            <a:gdLst>
              <a:gd name="T0" fmla="*/ 5 w 20"/>
              <a:gd name="T1" fmla="*/ 14 h 18"/>
              <a:gd name="T2" fmla="*/ 14 w 20"/>
              <a:gd name="T3" fmla="*/ 18 h 18"/>
              <a:gd name="T4" fmla="*/ 14 w 20"/>
              <a:gd name="T5" fmla="*/ 13 h 18"/>
              <a:gd name="T6" fmla="*/ 17 w 20"/>
              <a:gd name="T7" fmla="*/ 11 h 18"/>
              <a:gd name="T8" fmla="*/ 18 w 20"/>
              <a:gd name="T9" fmla="*/ 6 h 18"/>
              <a:gd name="T10" fmla="*/ 20 w 20"/>
              <a:gd name="T11" fmla="*/ 5 h 18"/>
              <a:gd name="T12" fmla="*/ 19 w 20"/>
              <a:gd name="T13" fmla="*/ 0 h 18"/>
              <a:gd name="T14" fmla="*/ 15 w 20"/>
              <a:gd name="T15" fmla="*/ 1 h 18"/>
              <a:gd name="T16" fmla="*/ 10 w 20"/>
              <a:gd name="T17" fmla="*/ 3 h 18"/>
              <a:gd name="T18" fmla="*/ 12 w 20"/>
              <a:gd name="T19" fmla="*/ 6 h 18"/>
              <a:gd name="T20" fmla="*/ 10 w 20"/>
              <a:gd name="T21" fmla="*/ 4 h 18"/>
              <a:gd name="T22" fmla="*/ 7 w 20"/>
              <a:gd name="T23" fmla="*/ 6 h 18"/>
              <a:gd name="T24" fmla="*/ 5 w 20"/>
              <a:gd name="T25" fmla="*/ 8 h 18"/>
              <a:gd name="T26" fmla="*/ 5 w 20"/>
              <a:gd name="T27" fmla="*/ 12 h 18"/>
              <a:gd name="T28" fmla="*/ 3 w 20"/>
              <a:gd name="T29" fmla="*/ 12 h 18"/>
              <a:gd name="T30" fmla="*/ 4 w 20"/>
              <a:gd name="T31" fmla="*/ 12 h 18"/>
              <a:gd name="T32" fmla="*/ 3 w 20"/>
              <a:gd name="T33" fmla="*/ 12 h 18"/>
              <a:gd name="T34" fmla="*/ 4 w 20"/>
              <a:gd name="T35" fmla="*/ 14 h 18"/>
              <a:gd name="T36" fmla="*/ 2 w 20"/>
              <a:gd name="T37" fmla="*/ 13 h 18"/>
              <a:gd name="T38" fmla="*/ 3 w 20"/>
              <a:gd name="T39" fmla="*/ 14 h 18"/>
              <a:gd name="T40" fmla="*/ 1 w 20"/>
              <a:gd name="T41" fmla="*/ 14 h 18"/>
              <a:gd name="T42" fmla="*/ 2 w 20"/>
              <a:gd name="T43" fmla="*/ 15 h 18"/>
              <a:gd name="T44" fmla="*/ 0 w 20"/>
              <a:gd name="T45" fmla="*/ 15 h 18"/>
              <a:gd name="T46" fmla="*/ 5 w 20"/>
              <a:gd name="T47" fmla="*/ 14 h 18"/>
              <a:gd name="T48" fmla="*/ 5 w 20"/>
              <a:gd name="T49" fmla="*/ 14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0" h="18">
                <a:moveTo>
                  <a:pt x="5" y="14"/>
                </a:moveTo>
                <a:cubicBezTo>
                  <a:pt x="7" y="12"/>
                  <a:pt x="13" y="16"/>
                  <a:pt x="14" y="18"/>
                </a:cubicBezTo>
                <a:cubicBezTo>
                  <a:pt x="15" y="16"/>
                  <a:pt x="15" y="14"/>
                  <a:pt x="14" y="13"/>
                </a:cubicBezTo>
                <a:cubicBezTo>
                  <a:pt x="13" y="9"/>
                  <a:pt x="15" y="11"/>
                  <a:pt x="17" y="11"/>
                </a:cubicBezTo>
                <a:cubicBezTo>
                  <a:pt x="19" y="10"/>
                  <a:pt x="19" y="8"/>
                  <a:pt x="18" y="6"/>
                </a:cubicBezTo>
                <a:cubicBezTo>
                  <a:pt x="18" y="6"/>
                  <a:pt x="20" y="5"/>
                  <a:pt x="20" y="5"/>
                </a:cubicBezTo>
                <a:cubicBezTo>
                  <a:pt x="20" y="3"/>
                  <a:pt x="20" y="2"/>
                  <a:pt x="19" y="0"/>
                </a:cubicBezTo>
                <a:cubicBezTo>
                  <a:pt x="19" y="0"/>
                  <a:pt x="15" y="1"/>
                  <a:pt x="15" y="1"/>
                </a:cubicBezTo>
                <a:cubicBezTo>
                  <a:pt x="13" y="1"/>
                  <a:pt x="12" y="1"/>
                  <a:pt x="10" y="3"/>
                </a:cubicBezTo>
                <a:cubicBezTo>
                  <a:pt x="10" y="3"/>
                  <a:pt x="13" y="5"/>
                  <a:pt x="12" y="6"/>
                </a:cubicBezTo>
                <a:cubicBezTo>
                  <a:pt x="10" y="8"/>
                  <a:pt x="9" y="4"/>
                  <a:pt x="10" y="4"/>
                </a:cubicBezTo>
                <a:cubicBezTo>
                  <a:pt x="10" y="4"/>
                  <a:pt x="7" y="5"/>
                  <a:pt x="7" y="6"/>
                </a:cubicBezTo>
                <a:cubicBezTo>
                  <a:pt x="7" y="7"/>
                  <a:pt x="6" y="7"/>
                  <a:pt x="5" y="8"/>
                </a:cubicBezTo>
                <a:cubicBezTo>
                  <a:pt x="5" y="9"/>
                  <a:pt x="3" y="12"/>
                  <a:pt x="5" y="12"/>
                </a:cubicBezTo>
                <a:cubicBezTo>
                  <a:pt x="5" y="12"/>
                  <a:pt x="4" y="12"/>
                  <a:pt x="3" y="12"/>
                </a:cubicBezTo>
                <a:cubicBezTo>
                  <a:pt x="3" y="12"/>
                  <a:pt x="4" y="12"/>
                  <a:pt x="4" y="12"/>
                </a:cubicBezTo>
                <a:cubicBezTo>
                  <a:pt x="4" y="12"/>
                  <a:pt x="3" y="12"/>
                  <a:pt x="3" y="12"/>
                </a:cubicBezTo>
                <a:cubicBezTo>
                  <a:pt x="2" y="13"/>
                  <a:pt x="4" y="14"/>
                  <a:pt x="4" y="14"/>
                </a:cubicBezTo>
                <a:cubicBezTo>
                  <a:pt x="4" y="13"/>
                  <a:pt x="2" y="13"/>
                  <a:pt x="2" y="13"/>
                </a:cubicBezTo>
                <a:cubicBezTo>
                  <a:pt x="2" y="13"/>
                  <a:pt x="3" y="14"/>
                  <a:pt x="3" y="14"/>
                </a:cubicBezTo>
                <a:cubicBezTo>
                  <a:pt x="3" y="14"/>
                  <a:pt x="2" y="13"/>
                  <a:pt x="1" y="14"/>
                </a:cubicBezTo>
                <a:cubicBezTo>
                  <a:pt x="1" y="14"/>
                  <a:pt x="2" y="15"/>
                  <a:pt x="2" y="15"/>
                </a:cubicBezTo>
                <a:cubicBezTo>
                  <a:pt x="2" y="14"/>
                  <a:pt x="1" y="14"/>
                  <a:pt x="0" y="15"/>
                </a:cubicBezTo>
                <a:cubicBezTo>
                  <a:pt x="1" y="15"/>
                  <a:pt x="4" y="16"/>
                  <a:pt x="5" y="14"/>
                </a:cubicBezTo>
                <a:cubicBezTo>
                  <a:pt x="5" y="14"/>
                  <a:pt x="5" y="15"/>
                  <a:pt x="5" y="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58" name="Freeform 654">
            <a:extLst>
              <a:ext uri="{FF2B5EF4-FFF2-40B4-BE49-F238E27FC236}">
                <a16:creationId xmlns:a16="http://schemas.microsoft.com/office/drawing/2014/main" id="{FADC2649-3B7F-444D-BF62-3A9D977047EC}"/>
              </a:ext>
            </a:extLst>
          </p:cNvPr>
          <p:cNvSpPr>
            <a:spLocks/>
          </p:cNvSpPr>
          <p:nvPr/>
        </p:nvSpPr>
        <p:spPr bwMode="auto">
          <a:xfrm>
            <a:off x="6075421" y="3201300"/>
            <a:ext cx="77653" cy="114745"/>
          </a:xfrm>
          <a:custGeom>
            <a:avLst/>
            <a:gdLst>
              <a:gd name="T0" fmla="*/ 10 w 15"/>
              <a:gd name="T1" fmla="*/ 21 h 22"/>
              <a:gd name="T2" fmla="*/ 8 w 15"/>
              <a:gd name="T3" fmla="*/ 17 h 22"/>
              <a:gd name="T4" fmla="*/ 11 w 15"/>
              <a:gd name="T5" fmla="*/ 12 h 22"/>
              <a:gd name="T6" fmla="*/ 11 w 15"/>
              <a:gd name="T7" fmla="*/ 13 h 22"/>
              <a:gd name="T8" fmla="*/ 15 w 15"/>
              <a:gd name="T9" fmla="*/ 10 h 22"/>
              <a:gd name="T10" fmla="*/ 11 w 15"/>
              <a:gd name="T11" fmla="*/ 7 h 22"/>
              <a:gd name="T12" fmla="*/ 10 w 15"/>
              <a:gd name="T13" fmla="*/ 5 h 22"/>
              <a:gd name="T14" fmla="*/ 12 w 15"/>
              <a:gd name="T15" fmla="*/ 4 h 22"/>
              <a:gd name="T16" fmla="*/ 12 w 15"/>
              <a:gd name="T17" fmla="*/ 1 h 22"/>
              <a:gd name="T18" fmla="*/ 11 w 15"/>
              <a:gd name="T19" fmla="*/ 1 h 22"/>
              <a:gd name="T20" fmla="*/ 7 w 15"/>
              <a:gd name="T21" fmla="*/ 4 h 22"/>
              <a:gd name="T22" fmla="*/ 2 w 15"/>
              <a:gd name="T23" fmla="*/ 5 h 22"/>
              <a:gd name="T24" fmla="*/ 4 w 15"/>
              <a:gd name="T25" fmla="*/ 6 h 22"/>
              <a:gd name="T26" fmla="*/ 6 w 15"/>
              <a:gd name="T27" fmla="*/ 8 h 22"/>
              <a:gd name="T28" fmla="*/ 4 w 15"/>
              <a:gd name="T29" fmla="*/ 8 h 22"/>
              <a:gd name="T30" fmla="*/ 2 w 15"/>
              <a:gd name="T31" fmla="*/ 8 h 22"/>
              <a:gd name="T32" fmla="*/ 0 w 15"/>
              <a:gd name="T33" fmla="*/ 9 h 22"/>
              <a:gd name="T34" fmla="*/ 0 w 15"/>
              <a:gd name="T35" fmla="*/ 14 h 22"/>
              <a:gd name="T36" fmla="*/ 2 w 15"/>
              <a:gd name="T37" fmla="*/ 16 h 22"/>
              <a:gd name="T38" fmla="*/ 2 w 15"/>
              <a:gd name="T39" fmla="*/ 20 h 22"/>
              <a:gd name="T40" fmla="*/ 10 w 15"/>
              <a:gd name="T41" fmla="*/ 21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5" h="22">
                <a:moveTo>
                  <a:pt x="10" y="21"/>
                </a:moveTo>
                <a:cubicBezTo>
                  <a:pt x="10" y="20"/>
                  <a:pt x="6" y="18"/>
                  <a:pt x="8" y="17"/>
                </a:cubicBezTo>
                <a:cubicBezTo>
                  <a:pt x="9" y="16"/>
                  <a:pt x="9" y="13"/>
                  <a:pt x="11" y="12"/>
                </a:cubicBezTo>
                <a:cubicBezTo>
                  <a:pt x="11" y="12"/>
                  <a:pt x="11" y="13"/>
                  <a:pt x="11" y="13"/>
                </a:cubicBezTo>
                <a:cubicBezTo>
                  <a:pt x="12" y="13"/>
                  <a:pt x="15" y="11"/>
                  <a:pt x="15" y="10"/>
                </a:cubicBezTo>
                <a:cubicBezTo>
                  <a:pt x="15" y="9"/>
                  <a:pt x="11" y="9"/>
                  <a:pt x="11" y="7"/>
                </a:cubicBezTo>
                <a:cubicBezTo>
                  <a:pt x="11" y="6"/>
                  <a:pt x="10" y="6"/>
                  <a:pt x="10" y="5"/>
                </a:cubicBezTo>
                <a:cubicBezTo>
                  <a:pt x="10" y="4"/>
                  <a:pt x="12" y="5"/>
                  <a:pt x="12" y="4"/>
                </a:cubicBezTo>
                <a:cubicBezTo>
                  <a:pt x="12" y="3"/>
                  <a:pt x="12" y="2"/>
                  <a:pt x="12" y="1"/>
                </a:cubicBezTo>
                <a:cubicBezTo>
                  <a:pt x="12" y="0"/>
                  <a:pt x="12" y="1"/>
                  <a:pt x="11" y="1"/>
                </a:cubicBezTo>
                <a:cubicBezTo>
                  <a:pt x="8" y="1"/>
                  <a:pt x="9" y="2"/>
                  <a:pt x="7" y="4"/>
                </a:cubicBezTo>
                <a:cubicBezTo>
                  <a:pt x="6" y="5"/>
                  <a:pt x="3" y="3"/>
                  <a:pt x="2" y="5"/>
                </a:cubicBezTo>
                <a:cubicBezTo>
                  <a:pt x="0" y="7"/>
                  <a:pt x="3" y="7"/>
                  <a:pt x="4" y="6"/>
                </a:cubicBezTo>
                <a:cubicBezTo>
                  <a:pt x="5" y="5"/>
                  <a:pt x="7" y="6"/>
                  <a:pt x="6" y="8"/>
                </a:cubicBezTo>
                <a:cubicBezTo>
                  <a:pt x="6" y="7"/>
                  <a:pt x="4" y="6"/>
                  <a:pt x="4" y="8"/>
                </a:cubicBezTo>
                <a:cubicBezTo>
                  <a:pt x="3" y="8"/>
                  <a:pt x="2" y="9"/>
                  <a:pt x="2" y="8"/>
                </a:cubicBezTo>
                <a:cubicBezTo>
                  <a:pt x="2" y="9"/>
                  <a:pt x="0" y="7"/>
                  <a:pt x="0" y="9"/>
                </a:cubicBezTo>
                <a:cubicBezTo>
                  <a:pt x="0" y="11"/>
                  <a:pt x="0" y="12"/>
                  <a:pt x="0" y="14"/>
                </a:cubicBezTo>
                <a:cubicBezTo>
                  <a:pt x="1" y="15"/>
                  <a:pt x="2" y="15"/>
                  <a:pt x="2" y="16"/>
                </a:cubicBezTo>
                <a:cubicBezTo>
                  <a:pt x="3" y="18"/>
                  <a:pt x="1" y="19"/>
                  <a:pt x="2" y="20"/>
                </a:cubicBezTo>
                <a:cubicBezTo>
                  <a:pt x="4" y="22"/>
                  <a:pt x="8" y="21"/>
                  <a:pt x="10" y="2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59" name="Freeform 655">
            <a:extLst>
              <a:ext uri="{FF2B5EF4-FFF2-40B4-BE49-F238E27FC236}">
                <a16:creationId xmlns:a16="http://schemas.microsoft.com/office/drawing/2014/main" id="{04925062-0588-8E42-BAD4-119B4BE362CC}"/>
              </a:ext>
            </a:extLst>
          </p:cNvPr>
          <p:cNvSpPr>
            <a:spLocks/>
          </p:cNvSpPr>
          <p:nvPr/>
        </p:nvSpPr>
        <p:spPr bwMode="auto">
          <a:xfrm>
            <a:off x="6018947" y="3305455"/>
            <a:ext cx="231195" cy="268326"/>
          </a:xfrm>
          <a:custGeom>
            <a:avLst/>
            <a:gdLst>
              <a:gd name="T0" fmla="*/ 44 w 45"/>
              <a:gd name="T1" fmla="*/ 24 h 52"/>
              <a:gd name="T2" fmla="*/ 43 w 45"/>
              <a:gd name="T3" fmla="*/ 18 h 52"/>
              <a:gd name="T4" fmla="*/ 42 w 45"/>
              <a:gd name="T5" fmla="*/ 12 h 52"/>
              <a:gd name="T6" fmla="*/ 41 w 45"/>
              <a:gd name="T7" fmla="*/ 7 h 52"/>
              <a:gd name="T8" fmla="*/ 38 w 45"/>
              <a:gd name="T9" fmla="*/ 4 h 52"/>
              <a:gd name="T10" fmla="*/ 38 w 45"/>
              <a:gd name="T11" fmla="*/ 2 h 52"/>
              <a:gd name="T12" fmla="*/ 37 w 45"/>
              <a:gd name="T13" fmla="*/ 5 h 52"/>
              <a:gd name="T14" fmla="*/ 33 w 45"/>
              <a:gd name="T15" fmla="*/ 4 h 52"/>
              <a:gd name="T16" fmla="*/ 25 w 45"/>
              <a:gd name="T17" fmla="*/ 7 h 52"/>
              <a:gd name="T18" fmla="*/ 26 w 45"/>
              <a:gd name="T19" fmla="*/ 4 h 52"/>
              <a:gd name="T20" fmla="*/ 21 w 45"/>
              <a:gd name="T21" fmla="*/ 4 h 52"/>
              <a:gd name="T22" fmla="*/ 20 w 45"/>
              <a:gd name="T23" fmla="*/ 1 h 52"/>
              <a:gd name="T24" fmla="*/ 13 w 45"/>
              <a:gd name="T25" fmla="*/ 0 h 52"/>
              <a:gd name="T26" fmla="*/ 15 w 45"/>
              <a:gd name="T27" fmla="*/ 3 h 52"/>
              <a:gd name="T28" fmla="*/ 15 w 45"/>
              <a:gd name="T29" fmla="*/ 6 h 52"/>
              <a:gd name="T30" fmla="*/ 17 w 45"/>
              <a:gd name="T31" fmla="*/ 7 h 52"/>
              <a:gd name="T32" fmla="*/ 20 w 45"/>
              <a:gd name="T33" fmla="*/ 9 h 52"/>
              <a:gd name="T34" fmla="*/ 15 w 45"/>
              <a:gd name="T35" fmla="*/ 8 h 52"/>
              <a:gd name="T36" fmla="*/ 14 w 45"/>
              <a:gd name="T37" fmla="*/ 8 h 52"/>
              <a:gd name="T38" fmla="*/ 13 w 45"/>
              <a:gd name="T39" fmla="*/ 10 h 52"/>
              <a:gd name="T40" fmla="*/ 6 w 45"/>
              <a:gd name="T41" fmla="*/ 10 h 52"/>
              <a:gd name="T42" fmla="*/ 6 w 45"/>
              <a:gd name="T43" fmla="*/ 15 h 52"/>
              <a:gd name="T44" fmla="*/ 6 w 45"/>
              <a:gd name="T45" fmla="*/ 17 h 52"/>
              <a:gd name="T46" fmla="*/ 1 w 45"/>
              <a:gd name="T47" fmla="*/ 22 h 52"/>
              <a:gd name="T48" fmla="*/ 2 w 45"/>
              <a:gd name="T49" fmla="*/ 26 h 52"/>
              <a:gd name="T50" fmla="*/ 2 w 45"/>
              <a:gd name="T51" fmla="*/ 30 h 52"/>
              <a:gd name="T52" fmla="*/ 1 w 45"/>
              <a:gd name="T53" fmla="*/ 33 h 52"/>
              <a:gd name="T54" fmla="*/ 3 w 45"/>
              <a:gd name="T55" fmla="*/ 37 h 52"/>
              <a:gd name="T56" fmla="*/ 11 w 45"/>
              <a:gd name="T57" fmla="*/ 40 h 52"/>
              <a:gd name="T58" fmla="*/ 9 w 45"/>
              <a:gd name="T59" fmla="*/ 49 h 52"/>
              <a:gd name="T60" fmla="*/ 19 w 45"/>
              <a:gd name="T61" fmla="*/ 49 h 52"/>
              <a:gd name="T62" fmla="*/ 23 w 45"/>
              <a:gd name="T63" fmla="*/ 51 h 52"/>
              <a:gd name="T64" fmla="*/ 26 w 45"/>
              <a:gd name="T65" fmla="*/ 50 h 52"/>
              <a:gd name="T66" fmla="*/ 33 w 45"/>
              <a:gd name="T67" fmla="*/ 49 h 52"/>
              <a:gd name="T68" fmla="*/ 36 w 45"/>
              <a:gd name="T69" fmla="*/ 49 h 52"/>
              <a:gd name="T70" fmla="*/ 36 w 45"/>
              <a:gd name="T71" fmla="*/ 45 h 52"/>
              <a:gd name="T72" fmla="*/ 40 w 45"/>
              <a:gd name="T73" fmla="*/ 43 h 52"/>
              <a:gd name="T74" fmla="*/ 35 w 45"/>
              <a:gd name="T75" fmla="*/ 37 h 52"/>
              <a:gd name="T76" fmla="*/ 32 w 45"/>
              <a:gd name="T77" fmla="*/ 31 h 52"/>
              <a:gd name="T78" fmla="*/ 41 w 45"/>
              <a:gd name="T79" fmla="*/ 26 h 52"/>
              <a:gd name="T80" fmla="*/ 44 w 45"/>
              <a:gd name="T81" fmla="*/ 28 h 52"/>
              <a:gd name="T82" fmla="*/ 44 w 45"/>
              <a:gd name="T83" fmla="*/ 24 h 52"/>
              <a:gd name="T84" fmla="*/ 44 w 45"/>
              <a:gd name="T85" fmla="*/ 24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5" h="52">
                <a:moveTo>
                  <a:pt x="44" y="24"/>
                </a:moveTo>
                <a:cubicBezTo>
                  <a:pt x="43" y="22"/>
                  <a:pt x="43" y="20"/>
                  <a:pt x="43" y="18"/>
                </a:cubicBezTo>
                <a:cubicBezTo>
                  <a:pt x="42" y="16"/>
                  <a:pt x="41" y="15"/>
                  <a:pt x="42" y="12"/>
                </a:cubicBezTo>
                <a:cubicBezTo>
                  <a:pt x="43" y="10"/>
                  <a:pt x="42" y="8"/>
                  <a:pt x="41" y="7"/>
                </a:cubicBezTo>
                <a:cubicBezTo>
                  <a:pt x="40" y="6"/>
                  <a:pt x="38" y="5"/>
                  <a:pt x="38" y="4"/>
                </a:cubicBezTo>
                <a:cubicBezTo>
                  <a:pt x="38" y="4"/>
                  <a:pt x="39" y="3"/>
                  <a:pt x="38" y="2"/>
                </a:cubicBezTo>
                <a:cubicBezTo>
                  <a:pt x="37" y="2"/>
                  <a:pt x="37" y="5"/>
                  <a:pt x="37" y="5"/>
                </a:cubicBezTo>
                <a:cubicBezTo>
                  <a:pt x="35" y="5"/>
                  <a:pt x="35" y="4"/>
                  <a:pt x="33" y="4"/>
                </a:cubicBezTo>
                <a:cubicBezTo>
                  <a:pt x="31" y="5"/>
                  <a:pt x="28" y="7"/>
                  <a:pt x="25" y="7"/>
                </a:cubicBezTo>
                <a:cubicBezTo>
                  <a:pt x="24" y="6"/>
                  <a:pt x="26" y="5"/>
                  <a:pt x="26" y="4"/>
                </a:cubicBezTo>
                <a:cubicBezTo>
                  <a:pt x="24" y="4"/>
                  <a:pt x="23" y="5"/>
                  <a:pt x="21" y="4"/>
                </a:cubicBezTo>
                <a:cubicBezTo>
                  <a:pt x="20" y="3"/>
                  <a:pt x="23" y="1"/>
                  <a:pt x="20" y="1"/>
                </a:cubicBezTo>
                <a:cubicBezTo>
                  <a:pt x="18" y="1"/>
                  <a:pt x="16" y="1"/>
                  <a:pt x="13" y="0"/>
                </a:cubicBezTo>
                <a:cubicBezTo>
                  <a:pt x="14" y="1"/>
                  <a:pt x="15" y="1"/>
                  <a:pt x="15" y="3"/>
                </a:cubicBezTo>
                <a:cubicBezTo>
                  <a:pt x="14" y="4"/>
                  <a:pt x="14" y="4"/>
                  <a:pt x="15" y="6"/>
                </a:cubicBezTo>
                <a:cubicBezTo>
                  <a:pt x="15" y="8"/>
                  <a:pt x="15" y="7"/>
                  <a:pt x="17" y="7"/>
                </a:cubicBezTo>
                <a:cubicBezTo>
                  <a:pt x="18" y="7"/>
                  <a:pt x="19" y="8"/>
                  <a:pt x="20" y="9"/>
                </a:cubicBezTo>
                <a:cubicBezTo>
                  <a:pt x="19" y="8"/>
                  <a:pt x="16" y="8"/>
                  <a:pt x="15" y="8"/>
                </a:cubicBezTo>
                <a:cubicBezTo>
                  <a:pt x="15" y="8"/>
                  <a:pt x="14" y="8"/>
                  <a:pt x="14" y="8"/>
                </a:cubicBezTo>
                <a:cubicBezTo>
                  <a:pt x="13" y="9"/>
                  <a:pt x="14" y="10"/>
                  <a:pt x="13" y="10"/>
                </a:cubicBezTo>
                <a:cubicBezTo>
                  <a:pt x="11" y="11"/>
                  <a:pt x="7" y="6"/>
                  <a:pt x="6" y="10"/>
                </a:cubicBezTo>
                <a:cubicBezTo>
                  <a:pt x="7" y="12"/>
                  <a:pt x="8" y="14"/>
                  <a:pt x="6" y="15"/>
                </a:cubicBezTo>
                <a:cubicBezTo>
                  <a:pt x="5" y="17"/>
                  <a:pt x="5" y="15"/>
                  <a:pt x="6" y="17"/>
                </a:cubicBezTo>
                <a:cubicBezTo>
                  <a:pt x="6" y="22"/>
                  <a:pt x="0" y="20"/>
                  <a:pt x="1" y="22"/>
                </a:cubicBezTo>
                <a:cubicBezTo>
                  <a:pt x="1" y="23"/>
                  <a:pt x="2" y="24"/>
                  <a:pt x="2" y="26"/>
                </a:cubicBezTo>
                <a:cubicBezTo>
                  <a:pt x="2" y="28"/>
                  <a:pt x="1" y="28"/>
                  <a:pt x="2" y="30"/>
                </a:cubicBezTo>
                <a:cubicBezTo>
                  <a:pt x="3" y="31"/>
                  <a:pt x="0" y="33"/>
                  <a:pt x="1" y="33"/>
                </a:cubicBezTo>
                <a:cubicBezTo>
                  <a:pt x="3" y="34"/>
                  <a:pt x="2" y="36"/>
                  <a:pt x="3" y="37"/>
                </a:cubicBezTo>
                <a:cubicBezTo>
                  <a:pt x="4" y="40"/>
                  <a:pt x="8" y="39"/>
                  <a:pt x="11" y="40"/>
                </a:cubicBezTo>
                <a:cubicBezTo>
                  <a:pt x="11" y="40"/>
                  <a:pt x="9" y="48"/>
                  <a:pt x="9" y="49"/>
                </a:cubicBezTo>
                <a:cubicBezTo>
                  <a:pt x="13" y="49"/>
                  <a:pt x="15" y="48"/>
                  <a:pt x="19" y="49"/>
                </a:cubicBezTo>
                <a:cubicBezTo>
                  <a:pt x="19" y="49"/>
                  <a:pt x="23" y="52"/>
                  <a:pt x="23" y="51"/>
                </a:cubicBezTo>
                <a:cubicBezTo>
                  <a:pt x="24" y="49"/>
                  <a:pt x="25" y="49"/>
                  <a:pt x="26" y="50"/>
                </a:cubicBezTo>
                <a:cubicBezTo>
                  <a:pt x="27" y="51"/>
                  <a:pt x="32" y="48"/>
                  <a:pt x="33" y="49"/>
                </a:cubicBezTo>
                <a:cubicBezTo>
                  <a:pt x="33" y="49"/>
                  <a:pt x="37" y="50"/>
                  <a:pt x="36" y="49"/>
                </a:cubicBezTo>
                <a:cubicBezTo>
                  <a:pt x="35" y="46"/>
                  <a:pt x="34" y="46"/>
                  <a:pt x="36" y="45"/>
                </a:cubicBezTo>
                <a:cubicBezTo>
                  <a:pt x="38" y="43"/>
                  <a:pt x="38" y="43"/>
                  <a:pt x="40" y="43"/>
                </a:cubicBezTo>
                <a:cubicBezTo>
                  <a:pt x="41" y="42"/>
                  <a:pt x="36" y="38"/>
                  <a:pt x="35" y="37"/>
                </a:cubicBezTo>
                <a:cubicBezTo>
                  <a:pt x="34" y="37"/>
                  <a:pt x="31" y="32"/>
                  <a:pt x="32" y="31"/>
                </a:cubicBezTo>
                <a:cubicBezTo>
                  <a:pt x="36" y="30"/>
                  <a:pt x="38" y="29"/>
                  <a:pt x="41" y="26"/>
                </a:cubicBezTo>
                <a:cubicBezTo>
                  <a:pt x="42" y="25"/>
                  <a:pt x="43" y="29"/>
                  <a:pt x="44" y="28"/>
                </a:cubicBezTo>
                <a:cubicBezTo>
                  <a:pt x="45" y="27"/>
                  <a:pt x="45" y="25"/>
                  <a:pt x="44" y="24"/>
                </a:cubicBezTo>
                <a:cubicBezTo>
                  <a:pt x="44" y="23"/>
                  <a:pt x="44" y="24"/>
                  <a:pt x="44" y="2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60" name="Freeform 656">
            <a:extLst>
              <a:ext uri="{FF2B5EF4-FFF2-40B4-BE49-F238E27FC236}">
                <a16:creationId xmlns:a16="http://schemas.microsoft.com/office/drawing/2014/main" id="{8B64CFC9-54A9-AE4F-88B3-F37E3FFA3C95}"/>
              </a:ext>
            </a:extLst>
          </p:cNvPr>
          <p:cNvSpPr>
            <a:spLocks/>
          </p:cNvSpPr>
          <p:nvPr/>
        </p:nvSpPr>
        <p:spPr bwMode="auto">
          <a:xfrm>
            <a:off x="6426628" y="3388424"/>
            <a:ext cx="460625" cy="273623"/>
          </a:xfrm>
          <a:custGeom>
            <a:avLst/>
            <a:gdLst>
              <a:gd name="T0" fmla="*/ 0 w 89"/>
              <a:gd name="T1" fmla="*/ 27 h 53"/>
              <a:gd name="T2" fmla="*/ 9 w 89"/>
              <a:gd name="T3" fmla="*/ 30 h 53"/>
              <a:gd name="T4" fmla="*/ 16 w 89"/>
              <a:gd name="T5" fmla="*/ 31 h 53"/>
              <a:gd name="T6" fmla="*/ 22 w 89"/>
              <a:gd name="T7" fmla="*/ 28 h 53"/>
              <a:gd name="T8" fmla="*/ 33 w 89"/>
              <a:gd name="T9" fmla="*/ 30 h 53"/>
              <a:gd name="T10" fmla="*/ 40 w 89"/>
              <a:gd name="T11" fmla="*/ 41 h 53"/>
              <a:gd name="T12" fmla="*/ 44 w 89"/>
              <a:gd name="T13" fmla="*/ 38 h 53"/>
              <a:gd name="T14" fmla="*/ 47 w 89"/>
              <a:gd name="T15" fmla="*/ 41 h 53"/>
              <a:gd name="T16" fmla="*/ 57 w 89"/>
              <a:gd name="T17" fmla="*/ 42 h 53"/>
              <a:gd name="T18" fmla="*/ 51 w 89"/>
              <a:gd name="T19" fmla="*/ 46 h 53"/>
              <a:gd name="T20" fmla="*/ 55 w 89"/>
              <a:gd name="T21" fmla="*/ 49 h 53"/>
              <a:gd name="T22" fmla="*/ 59 w 89"/>
              <a:gd name="T23" fmla="*/ 51 h 53"/>
              <a:gd name="T24" fmla="*/ 67 w 89"/>
              <a:gd name="T25" fmla="*/ 48 h 53"/>
              <a:gd name="T26" fmla="*/ 72 w 89"/>
              <a:gd name="T27" fmla="*/ 46 h 53"/>
              <a:gd name="T28" fmla="*/ 68 w 89"/>
              <a:gd name="T29" fmla="*/ 46 h 53"/>
              <a:gd name="T30" fmla="*/ 63 w 89"/>
              <a:gd name="T31" fmla="*/ 44 h 53"/>
              <a:gd name="T32" fmla="*/ 72 w 89"/>
              <a:gd name="T33" fmla="*/ 38 h 53"/>
              <a:gd name="T34" fmla="*/ 78 w 89"/>
              <a:gd name="T35" fmla="*/ 35 h 53"/>
              <a:gd name="T36" fmla="*/ 84 w 89"/>
              <a:gd name="T37" fmla="*/ 31 h 53"/>
              <a:gd name="T38" fmla="*/ 87 w 89"/>
              <a:gd name="T39" fmla="*/ 28 h 53"/>
              <a:gd name="T40" fmla="*/ 86 w 89"/>
              <a:gd name="T41" fmla="*/ 26 h 53"/>
              <a:gd name="T42" fmla="*/ 88 w 89"/>
              <a:gd name="T43" fmla="*/ 25 h 53"/>
              <a:gd name="T44" fmla="*/ 86 w 89"/>
              <a:gd name="T45" fmla="*/ 24 h 53"/>
              <a:gd name="T46" fmla="*/ 88 w 89"/>
              <a:gd name="T47" fmla="*/ 21 h 53"/>
              <a:gd name="T48" fmla="*/ 85 w 89"/>
              <a:gd name="T49" fmla="*/ 19 h 53"/>
              <a:gd name="T50" fmla="*/ 82 w 89"/>
              <a:gd name="T51" fmla="*/ 18 h 53"/>
              <a:gd name="T52" fmla="*/ 78 w 89"/>
              <a:gd name="T53" fmla="*/ 18 h 53"/>
              <a:gd name="T54" fmla="*/ 75 w 89"/>
              <a:gd name="T55" fmla="*/ 15 h 53"/>
              <a:gd name="T56" fmla="*/ 72 w 89"/>
              <a:gd name="T57" fmla="*/ 17 h 53"/>
              <a:gd name="T58" fmla="*/ 69 w 89"/>
              <a:gd name="T59" fmla="*/ 14 h 53"/>
              <a:gd name="T60" fmla="*/ 65 w 89"/>
              <a:gd name="T61" fmla="*/ 14 h 53"/>
              <a:gd name="T62" fmla="*/ 64 w 89"/>
              <a:gd name="T63" fmla="*/ 10 h 53"/>
              <a:gd name="T64" fmla="*/ 60 w 89"/>
              <a:gd name="T65" fmla="*/ 9 h 53"/>
              <a:gd name="T66" fmla="*/ 60 w 89"/>
              <a:gd name="T67" fmla="*/ 5 h 53"/>
              <a:gd name="T68" fmla="*/ 58 w 89"/>
              <a:gd name="T69" fmla="*/ 2 h 53"/>
              <a:gd name="T70" fmla="*/ 53 w 89"/>
              <a:gd name="T71" fmla="*/ 1 h 53"/>
              <a:gd name="T72" fmla="*/ 47 w 89"/>
              <a:gd name="T73" fmla="*/ 2 h 53"/>
              <a:gd name="T74" fmla="*/ 43 w 89"/>
              <a:gd name="T75" fmla="*/ 3 h 53"/>
              <a:gd name="T76" fmla="*/ 41 w 89"/>
              <a:gd name="T77" fmla="*/ 9 h 53"/>
              <a:gd name="T78" fmla="*/ 38 w 89"/>
              <a:gd name="T79" fmla="*/ 7 h 53"/>
              <a:gd name="T80" fmla="*/ 36 w 89"/>
              <a:gd name="T81" fmla="*/ 8 h 53"/>
              <a:gd name="T82" fmla="*/ 34 w 89"/>
              <a:gd name="T83" fmla="*/ 6 h 53"/>
              <a:gd name="T84" fmla="*/ 31 w 89"/>
              <a:gd name="T85" fmla="*/ 7 h 53"/>
              <a:gd name="T86" fmla="*/ 29 w 89"/>
              <a:gd name="T87" fmla="*/ 6 h 53"/>
              <a:gd name="T88" fmla="*/ 28 w 89"/>
              <a:gd name="T89" fmla="*/ 8 h 53"/>
              <a:gd name="T90" fmla="*/ 21 w 89"/>
              <a:gd name="T91" fmla="*/ 5 h 53"/>
              <a:gd name="T92" fmla="*/ 12 w 89"/>
              <a:gd name="T93" fmla="*/ 4 h 53"/>
              <a:gd name="T94" fmla="*/ 6 w 89"/>
              <a:gd name="T95" fmla="*/ 6 h 53"/>
              <a:gd name="T96" fmla="*/ 9 w 89"/>
              <a:gd name="T97" fmla="*/ 11 h 53"/>
              <a:gd name="T98" fmla="*/ 10 w 89"/>
              <a:gd name="T99" fmla="*/ 14 h 53"/>
              <a:gd name="T100" fmla="*/ 5 w 89"/>
              <a:gd name="T101" fmla="*/ 16 h 53"/>
              <a:gd name="T102" fmla="*/ 2 w 89"/>
              <a:gd name="T103" fmla="*/ 23 h 53"/>
              <a:gd name="T104" fmla="*/ 0 w 89"/>
              <a:gd name="T105" fmla="*/ 27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9" h="53">
                <a:moveTo>
                  <a:pt x="0" y="27"/>
                </a:moveTo>
                <a:cubicBezTo>
                  <a:pt x="0" y="30"/>
                  <a:pt x="7" y="30"/>
                  <a:pt x="9" y="30"/>
                </a:cubicBezTo>
                <a:cubicBezTo>
                  <a:pt x="11" y="30"/>
                  <a:pt x="13" y="32"/>
                  <a:pt x="16" y="31"/>
                </a:cubicBezTo>
                <a:cubicBezTo>
                  <a:pt x="17" y="29"/>
                  <a:pt x="20" y="28"/>
                  <a:pt x="22" y="28"/>
                </a:cubicBezTo>
                <a:cubicBezTo>
                  <a:pt x="25" y="26"/>
                  <a:pt x="31" y="28"/>
                  <a:pt x="33" y="30"/>
                </a:cubicBezTo>
                <a:cubicBezTo>
                  <a:pt x="36" y="34"/>
                  <a:pt x="37" y="38"/>
                  <a:pt x="40" y="41"/>
                </a:cubicBezTo>
                <a:cubicBezTo>
                  <a:pt x="42" y="40"/>
                  <a:pt x="42" y="39"/>
                  <a:pt x="44" y="38"/>
                </a:cubicBezTo>
                <a:cubicBezTo>
                  <a:pt x="46" y="38"/>
                  <a:pt x="46" y="40"/>
                  <a:pt x="47" y="41"/>
                </a:cubicBezTo>
                <a:cubicBezTo>
                  <a:pt x="48" y="42"/>
                  <a:pt x="57" y="43"/>
                  <a:pt x="57" y="42"/>
                </a:cubicBezTo>
                <a:cubicBezTo>
                  <a:pt x="57" y="43"/>
                  <a:pt x="51" y="45"/>
                  <a:pt x="51" y="46"/>
                </a:cubicBezTo>
                <a:cubicBezTo>
                  <a:pt x="52" y="47"/>
                  <a:pt x="56" y="46"/>
                  <a:pt x="55" y="49"/>
                </a:cubicBezTo>
                <a:cubicBezTo>
                  <a:pt x="54" y="51"/>
                  <a:pt x="57" y="53"/>
                  <a:pt x="59" y="51"/>
                </a:cubicBezTo>
                <a:cubicBezTo>
                  <a:pt x="61" y="50"/>
                  <a:pt x="64" y="48"/>
                  <a:pt x="67" y="48"/>
                </a:cubicBezTo>
                <a:cubicBezTo>
                  <a:pt x="70" y="48"/>
                  <a:pt x="71" y="48"/>
                  <a:pt x="72" y="46"/>
                </a:cubicBezTo>
                <a:cubicBezTo>
                  <a:pt x="72" y="46"/>
                  <a:pt x="69" y="46"/>
                  <a:pt x="68" y="46"/>
                </a:cubicBezTo>
                <a:cubicBezTo>
                  <a:pt x="66" y="46"/>
                  <a:pt x="64" y="47"/>
                  <a:pt x="63" y="44"/>
                </a:cubicBezTo>
                <a:cubicBezTo>
                  <a:pt x="60" y="40"/>
                  <a:pt x="70" y="38"/>
                  <a:pt x="72" y="38"/>
                </a:cubicBezTo>
                <a:cubicBezTo>
                  <a:pt x="74" y="37"/>
                  <a:pt x="76" y="36"/>
                  <a:pt x="78" y="35"/>
                </a:cubicBezTo>
                <a:cubicBezTo>
                  <a:pt x="79" y="33"/>
                  <a:pt x="81" y="31"/>
                  <a:pt x="84" y="31"/>
                </a:cubicBezTo>
                <a:cubicBezTo>
                  <a:pt x="85" y="31"/>
                  <a:pt x="87" y="31"/>
                  <a:pt x="87" y="28"/>
                </a:cubicBezTo>
                <a:cubicBezTo>
                  <a:pt x="87" y="27"/>
                  <a:pt x="86" y="27"/>
                  <a:pt x="86" y="26"/>
                </a:cubicBezTo>
                <a:cubicBezTo>
                  <a:pt x="86" y="25"/>
                  <a:pt x="88" y="25"/>
                  <a:pt x="88" y="25"/>
                </a:cubicBezTo>
                <a:cubicBezTo>
                  <a:pt x="88" y="25"/>
                  <a:pt x="86" y="24"/>
                  <a:pt x="86" y="24"/>
                </a:cubicBezTo>
                <a:cubicBezTo>
                  <a:pt x="86" y="23"/>
                  <a:pt x="89" y="23"/>
                  <a:pt x="88" y="21"/>
                </a:cubicBezTo>
                <a:cubicBezTo>
                  <a:pt x="88" y="21"/>
                  <a:pt x="86" y="20"/>
                  <a:pt x="85" y="19"/>
                </a:cubicBezTo>
                <a:cubicBezTo>
                  <a:pt x="84" y="18"/>
                  <a:pt x="83" y="20"/>
                  <a:pt x="82" y="18"/>
                </a:cubicBezTo>
                <a:cubicBezTo>
                  <a:pt x="81" y="17"/>
                  <a:pt x="80" y="17"/>
                  <a:pt x="78" y="18"/>
                </a:cubicBezTo>
                <a:cubicBezTo>
                  <a:pt x="77" y="18"/>
                  <a:pt x="76" y="15"/>
                  <a:pt x="75" y="15"/>
                </a:cubicBezTo>
                <a:cubicBezTo>
                  <a:pt x="74" y="14"/>
                  <a:pt x="73" y="16"/>
                  <a:pt x="72" y="17"/>
                </a:cubicBezTo>
                <a:cubicBezTo>
                  <a:pt x="71" y="17"/>
                  <a:pt x="70" y="14"/>
                  <a:pt x="69" y="14"/>
                </a:cubicBezTo>
                <a:cubicBezTo>
                  <a:pt x="68" y="14"/>
                  <a:pt x="65" y="15"/>
                  <a:pt x="65" y="14"/>
                </a:cubicBezTo>
                <a:cubicBezTo>
                  <a:pt x="65" y="13"/>
                  <a:pt x="65" y="11"/>
                  <a:pt x="64" y="10"/>
                </a:cubicBezTo>
                <a:cubicBezTo>
                  <a:pt x="63" y="9"/>
                  <a:pt x="61" y="10"/>
                  <a:pt x="60" y="9"/>
                </a:cubicBezTo>
                <a:cubicBezTo>
                  <a:pt x="59" y="8"/>
                  <a:pt x="58" y="6"/>
                  <a:pt x="60" y="5"/>
                </a:cubicBezTo>
                <a:cubicBezTo>
                  <a:pt x="61" y="5"/>
                  <a:pt x="59" y="2"/>
                  <a:pt x="58" y="2"/>
                </a:cubicBezTo>
                <a:cubicBezTo>
                  <a:pt x="57" y="1"/>
                  <a:pt x="54" y="2"/>
                  <a:pt x="53" y="1"/>
                </a:cubicBezTo>
                <a:cubicBezTo>
                  <a:pt x="50" y="0"/>
                  <a:pt x="50" y="6"/>
                  <a:pt x="47" y="2"/>
                </a:cubicBezTo>
                <a:cubicBezTo>
                  <a:pt x="46" y="2"/>
                  <a:pt x="44" y="3"/>
                  <a:pt x="43" y="3"/>
                </a:cubicBezTo>
                <a:cubicBezTo>
                  <a:pt x="41" y="4"/>
                  <a:pt x="42" y="9"/>
                  <a:pt x="41" y="9"/>
                </a:cubicBezTo>
                <a:cubicBezTo>
                  <a:pt x="40" y="9"/>
                  <a:pt x="39" y="7"/>
                  <a:pt x="38" y="7"/>
                </a:cubicBezTo>
                <a:cubicBezTo>
                  <a:pt x="38" y="7"/>
                  <a:pt x="37" y="8"/>
                  <a:pt x="36" y="8"/>
                </a:cubicBezTo>
                <a:cubicBezTo>
                  <a:pt x="35" y="8"/>
                  <a:pt x="34" y="7"/>
                  <a:pt x="34" y="6"/>
                </a:cubicBezTo>
                <a:cubicBezTo>
                  <a:pt x="34" y="5"/>
                  <a:pt x="32" y="7"/>
                  <a:pt x="31" y="7"/>
                </a:cubicBezTo>
                <a:cubicBezTo>
                  <a:pt x="30" y="7"/>
                  <a:pt x="30" y="6"/>
                  <a:pt x="29" y="6"/>
                </a:cubicBezTo>
                <a:cubicBezTo>
                  <a:pt x="28" y="6"/>
                  <a:pt x="28" y="7"/>
                  <a:pt x="28" y="8"/>
                </a:cubicBezTo>
                <a:cubicBezTo>
                  <a:pt x="28" y="8"/>
                  <a:pt x="21" y="5"/>
                  <a:pt x="21" y="5"/>
                </a:cubicBezTo>
                <a:cubicBezTo>
                  <a:pt x="18" y="4"/>
                  <a:pt x="15" y="4"/>
                  <a:pt x="12" y="4"/>
                </a:cubicBezTo>
                <a:cubicBezTo>
                  <a:pt x="10" y="4"/>
                  <a:pt x="9" y="6"/>
                  <a:pt x="6" y="6"/>
                </a:cubicBezTo>
                <a:cubicBezTo>
                  <a:pt x="6" y="9"/>
                  <a:pt x="9" y="9"/>
                  <a:pt x="9" y="11"/>
                </a:cubicBezTo>
                <a:cubicBezTo>
                  <a:pt x="9" y="12"/>
                  <a:pt x="10" y="13"/>
                  <a:pt x="10" y="14"/>
                </a:cubicBezTo>
                <a:cubicBezTo>
                  <a:pt x="9" y="15"/>
                  <a:pt x="6" y="15"/>
                  <a:pt x="5" y="16"/>
                </a:cubicBezTo>
                <a:cubicBezTo>
                  <a:pt x="2" y="18"/>
                  <a:pt x="3" y="20"/>
                  <a:pt x="2" y="23"/>
                </a:cubicBezTo>
                <a:cubicBezTo>
                  <a:pt x="2" y="25"/>
                  <a:pt x="1" y="26"/>
                  <a:pt x="0" y="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61" name="Freeform 657">
            <a:extLst>
              <a:ext uri="{FF2B5EF4-FFF2-40B4-BE49-F238E27FC236}">
                <a16:creationId xmlns:a16="http://schemas.microsoft.com/office/drawing/2014/main" id="{4409B1EB-9E19-EB4D-9210-4198D18FD14B}"/>
              </a:ext>
            </a:extLst>
          </p:cNvPr>
          <p:cNvSpPr>
            <a:spLocks/>
          </p:cNvSpPr>
          <p:nvPr/>
        </p:nvSpPr>
        <p:spPr bwMode="auto">
          <a:xfrm>
            <a:off x="6281910" y="3490810"/>
            <a:ext cx="155307" cy="63551"/>
          </a:xfrm>
          <a:custGeom>
            <a:avLst/>
            <a:gdLst>
              <a:gd name="T0" fmla="*/ 30 w 30"/>
              <a:gd name="T1" fmla="*/ 4 h 12"/>
              <a:gd name="T2" fmla="*/ 22 w 30"/>
              <a:gd name="T3" fmla="*/ 0 h 12"/>
              <a:gd name="T4" fmla="*/ 17 w 30"/>
              <a:gd name="T5" fmla="*/ 0 h 12"/>
              <a:gd name="T6" fmla="*/ 14 w 30"/>
              <a:gd name="T7" fmla="*/ 1 h 12"/>
              <a:gd name="T8" fmla="*/ 11 w 30"/>
              <a:gd name="T9" fmla="*/ 0 h 12"/>
              <a:gd name="T10" fmla="*/ 8 w 30"/>
              <a:gd name="T11" fmla="*/ 3 h 12"/>
              <a:gd name="T12" fmla="*/ 3 w 30"/>
              <a:gd name="T13" fmla="*/ 9 h 12"/>
              <a:gd name="T14" fmla="*/ 11 w 30"/>
              <a:gd name="T15" fmla="*/ 11 h 12"/>
              <a:gd name="T16" fmla="*/ 13 w 30"/>
              <a:gd name="T17" fmla="*/ 9 h 12"/>
              <a:gd name="T18" fmla="*/ 18 w 30"/>
              <a:gd name="T19" fmla="*/ 9 h 12"/>
              <a:gd name="T20" fmla="*/ 19 w 30"/>
              <a:gd name="T21" fmla="*/ 6 h 12"/>
              <a:gd name="T22" fmla="*/ 24 w 30"/>
              <a:gd name="T23" fmla="*/ 7 h 12"/>
              <a:gd name="T24" fmla="*/ 28 w 30"/>
              <a:gd name="T25" fmla="*/ 7 h 12"/>
              <a:gd name="T26" fmla="*/ 30 w 30"/>
              <a:gd name="T27" fmla="*/ 4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" h="12">
                <a:moveTo>
                  <a:pt x="30" y="4"/>
                </a:moveTo>
                <a:cubicBezTo>
                  <a:pt x="27" y="2"/>
                  <a:pt x="26" y="0"/>
                  <a:pt x="22" y="0"/>
                </a:cubicBezTo>
                <a:cubicBezTo>
                  <a:pt x="20" y="0"/>
                  <a:pt x="19" y="0"/>
                  <a:pt x="17" y="0"/>
                </a:cubicBezTo>
                <a:cubicBezTo>
                  <a:pt x="15" y="0"/>
                  <a:pt x="15" y="1"/>
                  <a:pt x="14" y="1"/>
                </a:cubicBezTo>
                <a:cubicBezTo>
                  <a:pt x="13" y="1"/>
                  <a:pt x="12" y="0"/>
                  <a:pt x="11" y="0"/>
                </a:cubicBezTo>
                <a:cubicBezTo>
                  <a:pt x="10" y="1"/>
                  <a:pt x="9" y="2"/>
                  <a:pt x="8" y="3"/>
                </a:cubicBezTo>
                <a:cubicBezTo>
                  <a:pt x="6" y="5"/>
                  <a:pt x="0" y="4"/>
                  <a:pt x="3" y="9"/>
                </a:cubicBezTo>
                <a:cubicBezTo>
                  <a:pt x="4" y="11"/>
                  <a:pt x="8" y="12"/>
                  <a:pt x="11" y="11"/>
                </a:cubicBezTo>
                <a:cubicBezTo>
                  <a:pt x="12" y="11"/>
                  <a:pt x="12" y="9"/>
                  <a:pt x="13" y="9"/>
                </a:cubicBezTo>
                <a:cubicBezTo>
                  <a:pt x="15" y="9"/>
                  <a:pt x="17" y="9"/>
                  <a:pt x="18" y="9"/>
                </a:cubicBezTo>
                <a:cubicBezTo>
                  <a:pt x="19" y="9"/>
                  <a:pt x="19" y="7"/>
                  <a:pt x="19" y="6"/>
                </a:cubicBezTo>
                <a:cubicBezTo>
                  <a:pt x="20" y="5"/>
                  <a:pt x="23" y="7"/>
                  <a:pt x="24" y="7"/>
                </a:cubicBezTo>
                <a:cubicBezTo>
                  <a:pt x="25" y="7"/>
                  <a:pt x="27" y="7"/>
                  <a:pt x="28" y="7"/>
                </a:cubicBezTo>
                <a:cubicBezTo>
                  <a:pt x="29" y="7"/>
                  <a:pt x="29" y="5"/>
                  <a:pt x="30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62" name="Freeform 658">
            <a:extLst>
              <a:ext uri="{FF2B5EF4-FFF2-40B4-BE49-F238E27FC236}">
                <a16:creationId xmlns:a16="http://schemas.microsoft.com/office/drawing/2014/main" id="{EF2980B2-E3A8-F646-BD9C-430632A4EBA6}"/>
              </a:ext>
            </a:extLst>
          </p:cNvPr>
          <p:cNvSpPr>
            <a:spLocks/>
          </p:cNvSpPr>
          <p:nvPr/>
        </p:nvSpPr>
        <p:spPr bwMode="auto">
          <a:xfrm>
            <a:off x="6453099" y="3257790"/>
            <a:ext cx="243549" cy="181828"/>
          </a:xfrm>
          <a:custGeom>
            <a:avLst/>
            <a:gdLst>
              <a:gd name="T0" fmla="*/ 11 w 47"/>
              <a:gd name="T1" fmla="*/ 29 h 35"/>
              <a:gd name="T2" fmla="*/ 18 w 47"/>
              <a:gd name="T3" fmla="*/ 30 h 35"/>
              <a:gd name="T4" fmla="*/ 23 w 47"/>
              <a:gd name="T5" fmla="*/ 33 h 35"/>
              <a:gd name="T6" fmla="*/ 25 w 47"/>
              <a:gd name="T7" fmla="*/ 31 h 35"/>
              <a:gd name="T8" fmla="*/ 29 w 47"/>
              <a:gd name="T9" fmla="*/ 32 h 35"/>
              <a:gd name="T10" fmla="*/ 33 w 47"/>
              <a:gd name="T11" fmla="*/ 32 h 35"/>
              <a:gd name="T12" fmla="*/ 36 w 47"/>
              <a:gd name="T13" fmla="*/ 33 h 35"/>
              <a:gd name="T14" fmla="*/ 38 w 47"/>
              <a:gd name="T15" fmla="*/ 28 h 35"/>
              <a:gd name="T16" fmla="*/ 42 w 47"/>
              <a:gd name="T17" fmla="*/ 27 h 35"/>
              <a:gd name="T18" fmla="*/ 40 w 47"/>
              <a:gd name="T19" fmla="*/ 22 h 35"/>
              <a:gd name="T20" fmla="*/ 44 w 47"/>
              <a:gd name="T21" fmla="*/ 21 h 35"/>
              <a:gd name="T22" fmla="*/ 45 w 47"/>
              <a:gd name="T23" fmla="*/ 17 h 35"/>
              <a:gd name="T24" fmla="*/ 42 w 47"/>
              <a:gd name="T25" fmla="*/ 15 h 35"/>
              <a:gd name="T26" fmla="*/ 39 w 47"/>
              <a:gd name="T27" fmla="*/ 11 h 35"/>
              <a:gd name="T28" fmla="*/ 38 w 47"/>
              <a:gd name="T29" fmla="*/ 6 h 35"/>
              <a:gd name="T30" fmla="*/ 35 w 47"/>
              <a:gd name="T31" fmla="*/ 2 h 35"/>
              <a:gd name="T32" fmla="*/ 33 w 47"/>
              <a:gd name="T33" fmla="*/ 2 h 35"/>
              <a:gd name="T34" fmla="*/ 30 w 47"/>
              <a:gd name="T35" fmla="*/ 1 h 35"/>
              <a:gd name="T36" fmla="*/ 28 w 47"/>
              <a:gd name="T37" fmla="*/ 2 h 35"/>
              <a:gd name="T38" fmla="*/ 25 w 47"/>
              <a:gd name="T39" fmla="*/ 0 h 35"/>
              <a:gd name="T40" fmla="*/ 22 w 47"/>
              <a:gd name="T41" fmla="*/ 2 h 35"/>
              <a:gd name="T42" fmla="*/ 17 w 47"/>
              <a:gd name="T43" fmla="*/ 3 h 35"/>
              <a:gd name="T44" fmla="*/ 17 w 47"/>
              <a:gd name="T45" fmla="*/ 6 h 35"/>
              <a:gd name="T46" fmla="*/ 13 w 47"/>
              <a:gd name="T47" fmla="*/ 9 h 35"/>
              <a:gd name="T48" fmla="*/ 12 w 47"/>
              <a:gd name="T49" fmla="*/ 13 h 35"/>
              <a:gd name="T50" fmla="*/ 8 w 47"/>
              <a:gd name="T51" fmla="*/ 14 h 35"/>
              <a:gd name="T52" fmla="*/ 1 w 47"/>
              <a:gd name="T53" fmla="*/ 16 h 35"/>
              <a:gd name="T54" fmla="*/ 2 w 47"/>
              <a:gd name="T55" fmla="*/ 24 h 35"/>
              <a:gd name="T56" fmla="*/ 1 w 47"/>
              <a:gd name="T57" fmla="*/ 27 h 35"/>
              <a:gd name="T58" fmla="*/ 1 w 47"/>
              <a:gd name="T59" fmla="*/ 31 h 35"/>
              <a:gd name="T60" fmla="*/ 5 w 47"/>
              <a:gd name="T61" fmla="*/ 30 h 35"/>
              <a:gd name="T62" fmla="*/ 11 w 47"/>
              <a:gd name="T63" fmla="*/ 29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7" h="35">
                <a:moveTo>
                  <a:pt x="11" y="29"/>
                </a:moveTo>
                <a:cubicBezTo>
                  <a:pt x="14" y="29"/>
                  <a:pt x="16" y="30"/>
                  <a:pt x="18" y="30"/>
                </a:cubicBezTo>
                <a:cubicBezTo>
                  <a:pt x="18" y="30"/>
                  <a:pt x="23" y="33"/>
                  <a:pt x="23" y="33"/>
                </a:cubicBezTo>
                <a:cubicBezTo>
                  <a:pt x="23" y="32"/>
                  <a:pt x="24" y="29"/>
                  <a:pt x="25" y="31"/>
                </a:cubicBezTo>
                <a:cubicBezTo>
                  <a:pt x="27" y="34"/>
                  <a:pt x="28" y="29"/>
                  <a:pt x="29" y="32"/>
                </a:cubicBezTo>
                <a:cubicBezTo>
                  <a:pt x="30" y="34"/>
                  <a:pt x="32" y="32"/>
                  <a:pt x="33" y="32"/>
                </a:cubicBezTo>
                <a:cubicBezTo>
                  <a:pt x="34" y="31"/>
                  <a:pt x="36" y="35"/>
                  <a:pt x="36" y="33"/>
                </a:cubicBezTo>
                <a:cubicBezTo>
                  <a:pt x="37" y="31"/>
                  <a:pt x="36" y="29"/>
                  <a:pt x="38" y="28"/>
                </a:cubicBezTo>
                <a:cubicBezTo>
                  <a:pt x="39" y="28"/>
                  <a:pt x="41" y="27"/>
                  <a:pt x="42" y="27"/>
                </a:cubicBezTo>
                <a:cubicBezTo>
                  <a:pt x="41" y="26"/>
                  <a:pt x="40" y="24"/>
                  <a:pt x="40" y="22"/>
                </a:cubicBezTo>
                <a:cubicBezTo>
                  <a:pt x="40" y="20"/>
                  <a:pt x="42" y="22"/>
                  <a:pt x="44" y="21"/>
                </a:cubicBezTo>
                <a:cubicBezTo>
                  <a:pt x="46" y="21"/>
                  <a:pt x="47" y="19"/>
                  <a:pt x="45" y="17"/>
                </a:cubicBezTo>
                <a:cubicBezTo>
                  <a:pt x="44" y="16"/>
                  <a:pt x="43" y="17"/>
                  <a:pt x="42" y="15"/>
                </a:cubicBezTo>
                <a:cubicBezTo>
                  <a:pt x="41" y="14"/>
                  <a:pt x="40" y="13"/>
                  <a:pt x="39" y="11"/>
                </a:cubicBezTo>
                <a:cubicBezTo>
                  <a:pt x="38" y="10"/>
                  <a:pt x="38" y="8"/>
                  <a:pt x="38" y="6"/>
                </a:cubicBezTo>
                <a:cubicBezTo>
                  <a:pt x="39" y="4"/>
                  <a:pt x="36" y="2"/>
                  <a:pt x="35" y="2"/>
                </a:cubicBezTo>
                <a:cubicBezTo>
                  <a:pt x="34" y="1"/>
                  <a:pt x="34" y="2"/>
                  <a:pt x="33" y="2"/>
                </a:cubicBezTo>
                <a:cubicBezTo>
                  <a:pt x="31" y="3"/>
                  <a:pt x="31" y="2"/>
                  <a:pt x="30" y="1"/>
                </a:cubicBezTo>
                <a:cubicBezTo>
                  <a:pt x="29" y="0"/>
                  <a:pt x="29" y="2"/>
                  <a:pt x="28" y="2"/>
                </a:cubicBezTo>
                <a:cubicBezTo>
                  <a:pt x="27" y="2"/>
                  <a:pt x="25" y="0"/>
                  <a:pt x="25" y="0"/>
                </a:cubicBezTo>
                <a:cubicBezTo>
                  <a:pt x="23" y="0"/>
                  <a:pt x="23" y="2"/>
                  <a:pt x="22" y="2"/>
                </a:cubicBezTo>
                <a:cubicBezTo>
                  <a:pt x="20" y="3"/>
                  <a:pt x="19" y="3"/>
                  <a:pt x="17" y="3"/>
                </a:cubicBezTo>
                <a:cubicBezTo>
                  <a:pt x="16" y="4"/>
                  <a:pt x="17" y="6"/>
                  <a:pt x="17" y="6"/>
                </a:cubicBezTo>
                <a:cubicBezTo>
                  <a:pt x="16" y="8"/>
                  <a:pt x="13" y="7"/>
                  <a:pt x="13" y="9"/>
                </a:cubicBezTo>
                <a:cubicBezTo>
                  <a:pt x="12" y="10"/>
                  <a:pt x="12" y="11"/>
                  <a:pt x="12" y="13"/>
                </a:cubicBezTo>
                <a:cubicBezTo>
                  <a:pt x="12" y="14"/>
                  <a:pt x="9" y="14"/>
                  <a:pt x="8" y="14"/>
                </a:cubicBezTo>
                <a:cubicBezTo>
                  <a:pt x="5" y="15"/>
                  <a:pt x="4" y="16"/>
                  <a:pt x="1" y="16"/>
                </a:cubicBezTo>
                <a:cubicBezTo>
                  <a:pt x="2" y="19"/>
                  <a:pt x="5" y="21"/>
                  <a:pt x="2" y="24"/>
                </a:cubicBezTo>
                <a:cubicBezTo>
                  <a:pt x="0" y="25"/>
                  <a:pt x="0" y="26"/>
                  <a:pt x="1" y="27"/>
                </a:cubicBezTo>
                <a:cubicBezTo>
                  <a:pt x="3" y="28"/>
                  <a:pt x="1" y="30"/>
                  <a:pt x="1" y="31"/>
                </a:cubicBezTo>
                <a:cubicBezTo>
                  <a:pt x="3" y="31"/>
                  <a:pt x="4" y="31"/>
                  <a:pt x="5" y="30"/>
                </a:cubicBezTo>
                <a:cubicBezTo>
                  <a:pt x="7" y="29"/>
                  <a:pt x="10" y="29"/>
                  <a:pt x="11" y="2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63" name="Freeform 659">
            <a:extLst>
              <a:ext uri="{FF2B5EF4-FFF2-40B4-BE49-F238E27FC236}">
                <a16:creationId xmlns:a16="http://schemas.microsoft.com/office/drawing/2014/main" id="{0DE6DD12-344C-1444-84B7-61FB53C2A303}"/>
              </a:ext>
            </a:extLst>
          </p:cNvPr>
          <p:cNvSpPr>
            <a:spLocks/>
          </p:cNvSpPr>
          <p:nvPr/>
        </p:nvSpPr>
        <p:spPr bwMode="auto">
          <a:xfrm>
            <a:off x="6396625" y="3247198"/>
            <a:ext cx="150011" cy="98858"/>
          </a:xfrm>
          <a:custGeom>
            <a:avLst/>
            <a:gdLst>
              <a:gd name="T0" fmla="*/ 16 w 29"/>
              <a:gd name="T1" fmla="*/ 18 h 19"/>
              <a:gd name="T2" fmla="*/ 23 w 29"/>
              <a:gd name="T3" fmla="*/ 15 h 19"/>
              <a:gd name="T4" fmla="*/ 23 w 29"/>
              <a:gd name="T5" fmla="*/ 12 h 19"/>
              <a:gd name="T6" fmla="*/ 27 w 29"/>
              <a:gd name="T7" fmla="*/ 9 h 19"/>
              <a:gd name="T8" fmla="*/ 26 w 29"/>
              <a:gd name="T9" fmla="*/ 4 h 19"/>
              <a:gd name="T10" fmla="*/ 19 w 29"/>
              <a:gd name="T11" fmla="*/ 1 h 19"/>
              <a:gd name="T12" fmla="*/ 10 w 29"/>
              <a:gd name="T13" fmla="*/ 1 h 19"/>
              <a:gd name="T14" fmla="*/ 0 w 29"/>
              <a:gd name="T15" fmla="*/ 4 h 19"/>
              <a:gd name="T16" fmla="*/ 1 w 29"/>
              <a:gd name="T17" fmla="*/ 6 h 19"/>
              <a:gd name="T18" fmla="*/ 2 w 29"/>
              <a:gd name="T19" fmla="*/ 9 h 19"/>
              <a:gd name="T20" fmla="*/ 5 w 29"/>
              <a:gd name="T21" fmla="*/ 10 h 19"/>
              <a:gd name="T22" fmla="*/ 9 w 29"/>
              <a:gd name="T23" fmla="*/ 11 h 19"/>
              <a:gd name="T24" fmla="*/ 8 w 29"/>
              <a:gd name="T25" fmla="*/ 15 h 19"/>
              <a:gd name="T26" fmla="*/ 12 w 29"/>
              <a:gd name="T27" fmla="*/ 18 h 19"/>
              <a:gd name="T28" fmla="*/ 16 w 29"/>
              <a:gd name="T29" fmla="*/ 18 h 19"/>
              <a:gd name="T30" fmla="*/ 16 w 29"/>
              <a:gd name="T31" fmla="*/ 1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9" h="19">
                <a:moveTo>
                  <a:pt x="16" y="18"/>
                </a:moveTo>
                <a:cubicBezTo>
                  <a:pt x="18" y="16"/>
                  <a:pt x="21" y="16"/>
                  <a:pt x="23" y="15"/>
                </a:cubicBezTo>
                <a:cubicBezTo>
                  <a:pt x="23" y="14"/>
                  <a:pt x="23" y="13"/>
                  <a:pt x="23" y="12"/>
                </a:cubicBezTo>
                <a:cubicBezTo>
                  <a:pt x="24" y="10"/>
                  <a:pt x="25" y="10"/>
                  <a:pt x="27" y="9"/>
                </a:cubicBezTo>
                <a:cubicBezTo>
                  <a:pt x="29" y="8"/>
                  <a:pt x="28" y="5"/>
                  <a:pt x="26" y="4"/>
                </a:cubicBezTo>
                <a:cubicBezTo>
                  <a:pt x="24" y="3"/>
                  <a:pt x="22" y="2"/>
                  <a:pt x="19" y="1"/>
                </a:cubicBezTo>
                <a:cubicBezTo>
                  <a:pt x="17" y="0"/>
                  <a:pt x="13" y="1"/>
                  <a:pt x="10" y="1"/>
                </a:cubicBezTo>
                <a:cubicBezTo>
                  <a:pt x="8" y="1"/>
                  <a:pt x="0" y="0"/>
                  <a:pt x="0" y="4"/>
                </a:cubicBezTo>
                <a:cubicBezTo>
                  <a:pt x="0" y="4"/>
                  <a:pt x="1" y="5"/>
                  <a:pt x="1" y="6"/>
                </a:cubicBezTo>
                <a:cubicBezTo>
                  <a:pt x="2" y="7"/>
                  <a:pt x="1" y="8"/>
                  <a:pt x="2" y="9"/>
                </a:cubicBezTo>
                <a:cubicBezTo>
                  <a:pt x="3" y="9"/>
                  <a:pt x="4" y="11"/>
                  <a:pt x="5" y="10"/>
                </a:cubicBezTo>
                <a:cubicBezTo>
                  <a:pt x="7" y="10"/>
                  <a:pt x="9" y="9"/>
                  <a:pt x="9" y="11"/>
                </a:cubicBezTo>
                <a:cubicBezTo>
                  <a:pt x="9" y="12"/>
                  <a:pt x="9" y="14"/>
                  <a:pt x="8" y="15"/>
                </a:cubicBezTo>
                <a:cubicBezTo>
                  <a:pt x="11" y="15"/>
                  <a:pt x="11" y="15"/>
                  <a:pt x="12" y="18"/>
                </a:cubicBezTo>
                <a:cubicBezTo>
                  <a:pt x="13" y="18"/>
                  <a:pt x="16" y="18"/>
                  <a:pt x="16" y="18"/>
                </a:cubicBezTo>
                <a:cubicBezTo>
                  <a:pt x="17" y="17"/>
                  <a:pt x="15" y="19"/>
                  <a:pt x="16" y="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64" name="Freeform 660">
            <a:extLst>
              <a:ext uri="{FF2B5EF4-FFF2-40B4-BE49-F238E27FC236}">
                <a16:creationId xmlns:a16="http://schemas.microsoft.com/office/drawing/2014/main" id="{0AFE7688-7F4D-BA4D-A62F-CF58B2A30F7B}"/>
              </a:ext>
            </a:extLst>
          </p:cNvPr>
          <p:cNvSpPr>
            <a:spLocks/>
          </p:cNvSpPr>
          <p:nvPr/>
        </p:nvSpPr>
        <p:spPr bwMode="auto">
          <a:xfrm>
            <a:off x="6396625" y="3185413"/>
            <a:ext cx="185310" cy="93563"/>
          </a:xfrm>
          <a:custGeom>
            <a:avLst/>
            <a:gdLst>
              <a:gd name="T0" fmla="*/ 11 w 36"/>
              <a:gd name="T1" fmla="*/ 13 h 18"/>
              <a:gd name="T2" fmla="*/ 19 w 36"/>
              <a:gd name="T3" fmla="*/ 12 h 18"/>
              <a:gd name="T4" fmla="*/ 25 w 36"/>
              <a:gd name="T5" fmla="*/ 15 h 18"/>
              <a:gd name="T6" fmla="*/ 29 w 36"/>
              <a:gd name="T7" fmla="*/ 17 h 18"/>
              <a:gd name="T8" fmla="*/ 33 w 36"/>
              <a:gd name="T9" fmla="*/ 16 h 18"/>
              <a:gd name="T10" fmla="*/ 36 w 36"/>
              <a:gd name="T11" fmla="*/ 14 h 18"/>
              <a:gd name="T12" fmla="*/ 34 w 36"/>
              <a:gd name="T13" fmla="*/ 8 h 18"/>
              <a:gd name="T14" fmla="*/ 31 w 36"/>
              <a:gd name="T15" fmla="*/ 4 h 18"/>
              <a:gd name="T16" fmla="*/ 25 w 36"/>
              <a:gd name="T17" fmla="*/ 3 h 18"/>
              <a:gd name="T18" fmla="*/ 18 w 36"/>
              <a:gd name="T19" fmla="*/ 1 h 18"/>
              <a:gd name="T20" fmla="*/ 17 w 36"/>
              <a:gd name="T21" fmla="*/ 5 h 18"/>
              <a:gd name="T22" fmla="*/ 15 w 36"/>
              <a:gd name="T23" fmla="*/ 7 h 18"/>
              <a:gd name="T24" fmla="*/ 8 w 36"/>
              <a:gd name="T25" fmla="*/ 4 h 18"/>
              <a:gd name="T26" fmla="*/ 0 w 36"/>
              <a:gd name="T27" fmla="*/ 15 h 18"/>
              <a:gd name="T28" fmla="*/ 11 w 36"/>
              <a:gd name="T29" fmla="*/ 13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6" h="18">
                <a:moveTo>
                  <a:pt x="11" y="13"/>
                </a:moveTo>
                <a:cubicBezTo>
                  <a:pt x="14" y="13"/>
                  <a:pt x="16" y="12"/>
                  <a:pt x="19" y="12"/>
                </a:cubicBezTo>
                <a:cubicBezTo>
                  <a:pt x="20" y="12"/>
                  <a:pt x="24" y="14"/>
                  <a:pt x="25" y="15"/>
                </a:cubicBezTo>
                <a:cubicBezTo>
                  <a:pt x="26" y="16"/>
                  <a:pt x="27" y="18"/>
                  <a:pt x="29" y="17"/>
                </a:cubicBezTo>
                <a:cubicBezTo>
                  <a:pt x="30" y="17"/>
                  <a:pt x="31" y="16"/>
                  <a:pt x="33" y="16"/>
                </a:cubicBezTo>
                <a:cubicBezTo>
                  <a:pt x="34" y="16"/>
                  <a:pt x="34" y="14"/>
                  <a:pt x="36" y="14"/>
                </a:cubicBezTo>
                <a:cubicBezTo>
                  <a:pt x="35" y="12"/>
                  <a:pt x="33" y="9"/>
                  <a:pt x="34" y="8"/>
                </a:cubicBezTo>
                <a:cubicBezTo>
                  <a:pt x="35" y="6"/>
                  <a:pt x="32" y="4"/>
                  <a:pt x="31" y="4"/>
                </a:cubicBezTo>
                <a:cubicBezTo>
                  <a:pt x="29" y="3"/>
                  <a:pt x="27" y="5"/>
                  <a:pt x="25" y="3"/>
                </a:cubicBezTo>
                <a:cubicBezTo>
                  <a:pt x="22" y="1"/>
                  <a:pt x="21" y="0"/>
                  <a:pt x="18" y="1"/>
                </a:cubicBezTo>
                <a:cubicBezTo>
                  <a:pt x="16" y="2"/>
                  <a:pt x="17" y="3"/>
                  <a:pt x="17" y="5"/>
                </a:cubicBezTo>
                <a:cubicBezTo>
                  <a:pt x="16" y="6"/>
                  <a:pt x="16" y="7"/>
                  <a:pt x="15" y="7"/>
                </a:cubicBezTo>
                <a:cubicBezTo>
                  <a:pt x="12" y="9"/>
                  <a:pt x="10" y="5"/>
                  <a:pt x="8" y="4"/>
                </a:cubicBezTo>
                <a:cubicBezTo>
                  <a:pt x="3" y="0"/>
                  <a:pt x="0" y="11"/>
                  <a:pt x="0" y="15"/>
                </a:cubicBezTo>
                <a:cubicBezTo>
                  <a:pt x="4" y="13"/>
                  <a:pt x="7" y="13"/>
                  <a:pt x="11" y="1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65" name="Freeform 661">
            <a:extLst>
              <a:ext uri="{FF2B5EF4-FFF2-40B4-BE49-F238E27FC236}">
                <a16:creationId xmlns:a16="http://schemas.microsoft.com/office/drawing/2014/main" id="{A873C54D-66F3-F948-A9DD-733D87C09F58}"/>
              </a:ext>
            </a:extLst>
          </p:cNvPr>
          <p:cNvSpPr>
            <a:spLocks/>
          </p:cNvSpPr>
          <p:nvPr/>
        </p:nvSpPr>
        <p:spPr bwMode="auto">
          <a:xfrm>
            <a:off x="6453099" y="3128924"/>
            <a:ext cx="123540" cy="77673"/>
          </a:xfrm>
          <a:custGeom>
            <a:avLst/>
            <a:gdLst>
              <a:gd name="T0" fmla="*/ 16 w 24"/>
              <a:gd name="T1" fmla="*/ 15 h 15"/>
              <a:gd name="T2" fmla="*/ 20 w 24"/>
              <a:gd name="T3" fmla="*/ 15 h 15"/>
              <a:gd name="T4" fmla="*/ 22 w 24"/>
              <a:gd name="T5" fmla="*/ 13 h 15"/>
              <a:gd name="T6" fmla="*/ 22 w 24"/>
              <a:gd name="T7" fmla="*/ 10 h 15"/>
              <a:gd name="T8" fmla="*/ 21 w 24"/>
              <a:gd name="T9" fmla="*/ 5 h 15"/>
              <a:gd name="T10" fmla="*/ 24 w 24"/>
              <a:gd name="T11" fmla="*/ 0 h 15"/>
              <a:gd name="T12" fmla="*/ 12 w 24"/>
              <a:gd name="T13" fmla="*/ 0 h 15"/>
              <a:gd name="T14" fmla="*/ 6 w 24"/>
              <a:gd name="T15" fmla="*/ 1 h 15"/>
              <a:gd name="T16" fmla="*/ 0 w 24"/>
              <a:gd name="T17" fmla="*/ 5 h 15"/>
              <a:gd name="T18" fmla="*/ 2 w 24"/>
              <a:gd name="T19" fmla="*/ 6 h 15"/>
              <a:gd name="T20" fmla="*/ 2 w 24"/>
              <a:gd name="T21" fmla="*/ 8 h 15"/>
              <a:gd name="T22" fmla="*/ 7 w 24"/>
              <a:gd name="T23" fmla="*/ 9 h 15"/>
              <a:gd name="T24" fmla="*/ 6 w 24"/>
              <a:gd name="T25" fmla="*/ 13 h 15"/>
              <a:gd name="T26" fmla="*/ 11 w 24"/>
              <a:gd name="T27" fmla="*/ 12 h 15"/>
              <a:gd name="T28" fmla="*/ 16 w 24"/>
              <a:gd name="T29" fmla="*/ 1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4" h="15">
                <a:moveTo>
                  <a:pt x="16" y="15"/>
                </a:moveTo>
                <a:cubicBezTo>
                  <a:pt x="17" y="15"/>
                  <a:pt x="19" y="15"/>
                  <a:pt x="20" y="15"/>
                </a:cubicBezTo>
                <a:cubicBezTo>
                  <a:pt x="20" y="14"/>
                  <a:pt x="22" y="14"/>
                  <a:pt x="22" y="13"/>
                </a:cubicBezTo>
                <a:cubicBezTo>
                  <a:pt x="22" y="12"/>
                  <a:pt x="22" y="11"/>
                  <a:pt x="22" y="10"/>
                </a:cubicBezTo>
                <a:cubicBezTo>
                  <a:pt x="21" y="8"/>
                  <a:pt x="20" y="7"/>
                  <a:pt x="21" y="5"/>
                </a:cubicBezTo>
                <a:cubicBezTo>
                  <a:pt x="23" y="4"/>
                  <a:pt x="24" y="2"/>
                  <a:pt x="24" y="0"/>
                </a:cubicBezTo>
                <a:cubicBezTo>
                  <a:pt x="22" y="3"/>
                  <a:pt x="15" y="0"/>
                  <a:pt x="12" y="0"/>
                </a:cubicBezTo>
                <a:cubicBezTo>
                  <a:pt x="10" y="0"/>
                  <a:pt x="8" y="0"/>
                  <a:pt x="6" y="1"/>
                </a:cubicBezTo>
                <a:cubicBezTo>
                  <a:pt x="5" y="1"/>
                  <a:pt x="0" y="5"/>
                  <a:pt x="0" y="5"/>
                </a:cubicBezTo>
                <a:cubicBezTo>
                  <a:pt x="0" y="6"/>
                  <a:pt x="3" y="5"/>
                  <a:pt x="2" y="6"/>
                </a:cubicBezTo>
                <a:cubicBezTo>
                  <a:pt x="2" y="7"/>
                  <a:pt x="2" y="7"/>
                  <a:pt x="2" y="8"/>
                </a:cubicBezTo>
                <a:cubicBezTo>
                  <a:pt x="3" y="10"/>
                  <a:pt x="7" y="9"/>
                  <a:pt x="7" y="9"/>
                </a:cubicBezTo>
                <a:cubicBezTo>
                  <a:pt x="7" y="10"/>
                  <a:pt x="6" y="12"/>
                  <a:pt x="6" y="13"/>
                </a:cubicBezTo>
                <a:cubicBezTo>
                  <a:pt x="7" y="12"/>
                  <a:pt x="9" y="11"/>
                  <a:pt x="11" y="12"/>
                </a:cubicBezTo>
                <a:cubicBezTo>
                  <a:pt x="13" y="13"/>
                  <a:pt x="14" y="15"/>
                  <a:pt x="16" y="1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66" name="Freeform 662">
            <a:extLst>
              <a:ext uri="{FF2B5EF4-FFF2-40B4-BE49-F238E27FC236}">
                <a16:creationId xmlns:a16="http://schemas.microsoft.com/office/drawing/2014/main" id="{1F0AE2DA-91E8-D341-A230-545580E9CFE8}"/>
              </a:ext>
            </a:extLst>
          </p:cNvPr>
          <p:cNvSpPr>
            <a:spLocks/>
          </p:cNvSpPr>
          <p:nvPr/>
        </p:nvSpPr>
        <p:spPr bwMode="auto">
          <a:xfrm>
            <a:off x="6359564" y="3289566"/>
            <a:ext cx="82948" cy="40603"/>
          </a:xfrm>
          <a:custGeom>
            <a:avLst/>
            <a:gdLst>
              <a:gd name="T0" fmla="*/ 16 w 16"/>
              <a:gd name="T1" fmla="*/ 4 h 8"/>
              <a:gd name="T2" fmla="*/ 12 w 16"/>
              <a:gd name="T3" fmla="*/ 2 h 8"/>
              <a:gd name="T4" fmla="*/ 8 w 16"/>
              <a:gd name="T5" fmla="*/ 0 h 8"/>
              <a:gd name="T6" fmla="*/ 7 w 16"/>
              <a:gd name="T7" fmla="*/ 3 h 8"/>
              <a:gd name="T8" fmla="*/ 5 w 16"/>
              <a:gd name="T9" fmla="*/ 2 h 8"/>
              <a:gd name="T10" fmla="*/ 2 w 16"/>
              <a:gd name="T11" fmla="*/ 3 h 8"/>
              <a:gd name="T12" fmla="*/ 0 w 16"/>
              <a:gd name="T13" fmla="*/ 5 h 8"/>
              <a:gd name="T14" fmla="*/ 0 w 16"/>
              <a:gd name="T15" fmla="*/ 6 h 8"/>
              <a:gd name="T16" fmla="*/ 2 w 16"/>
              <a:gd name="T17" fmla="*/ 6 h 8"/>
              <a:gd name="T18" fmla="*/ 8 w 16"/>
              <a:gd name="T19" fmla="*/ 7 h 8"/>
              <a:gd name="T20" fmla="*/ 16 w 16"/>
              <a:gd name="T21" fmla="*/ 4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" h="8">
                <a:moveTo>
                  <a:pt x="16" y="4"/>
                </a:moveTo>
                <a:cubicBezTo>
                  <a:pt x="16" y="1"/>
                  <a:pt x="14" y="2"/>
                  <a:pt x="12" y="2"/>
                </a:cubicBezTo>
                <a:cubicBezTo>
                  <a:pt x="11" y="3"/>
                  <a:pt x="10" y="1"/>
                  <a:pt x="8" y="0"/>
                </a:cubicBezTo>
                <a:cubicBezTo>
                  <a:pt x="8" y="1"/>
                  <a:pt x="8" y="2"/>
                  <a:pt x="7" y="3"/>
                </a:cubicBezTo>
                <a:cubicBezTo>
                  <a:pt x="6" y="3"/>
                  <a:pt x="7" y="1"/>
                  <a:pt x="5" y="2"/>
                </a:cubicBezTo>
                <a:cubicBezTo>
                  <a:pt x="4" y="2"/>
                  <a:pt x="2" y="2"/>
                  <a:pt x="2" y="3"/>
                </a:cubicBezTo>
                <a:cubicBezTo>
                  <a:pt x="1" y="5"/>
                  <a:pt x="2" y="6"/>
                  <a:pt x="0" y="5"/>
                </a:cubicBezTo>
                <a:cubicBezTo>
                  <a:pt x="0" y="5"/>
                  <a:pt x="0" y="5"/>
                  <a:pt x="0" y="6"/>
                </a:cubicBezTo>
                <a:cubicBezTo>
                  <a:pt x="0" y="6"/>
                  <a:pt x="1" y="6"/>
                  <a:pt x="2" y="6"/>
                </a:cubicBezTo>
                <a:cubicBezTo>
                  <a:pt x="4" y="7"/>
                  <a:pt x="6" y="7"/>
                  <a:pt x="8" y="7"/>
                </a:cubicBezTo>
                <a:cubicBezTo>
                  <a:pt x="10" y="7"/>
                  <a:pt x="16" y="8"/>
                  <a:pt x="16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67" name="Freeform 663">
            <a:extLst>
              <a:ext uri="{FF2B5EF4-FFF2-40B4-BE49-F238E27FC236}">
                <a16:creationId xmlns:a16="http://schemas.microsoft.com/office/drawing/2014/main" id="{75370114-3C93-8640-8C44-BE48B2213633}"/>
              </a:ext>
            </a:extLst>
          </p:cNvPr>
          <p:cNvSpPr>
            <a:spLocks/>
          </p:cNvSpPr>
          <p:nvPr/>
        </p:nvSpPr>
        <p:spPr bwMode="auto">
          <a:xfrm>
            <a:off x="6230728" y="3300157"/>
            <a:ext cx="247078" cy="217133"/>
          </a:xfrm>
          <a:custGeom>
            <a:avLst/>
            <a:gdLst>
              <a:gd name="T0" fmla="*/ 1 w 48"/>
              <a:gd name="T1" fmla="*/ 12 h 42"/>
              <a:gd name="T2" fmla="*/ 0 w 48"/>
              <a:gd name="T3" fmla="*/ 16 h 42"/>
              <a:gd name="T4" fmla="*/ 2 w 48"/>
              <a:gd name="T5" fmla="*/ 20 h 42"/>
              <a:gd name="T6" fmla="*/ 4 w 48"/>
              <a:gd name="T7" fmla="*/ 27 h 42"/>
              <a:gd name="T8" fmla="*/ 9 w 48"/>
              <a:gd name="T9" fmla="*/ 31 h 42"/>
              <a:gd name="T10" fmla="*/ 10 w 48"/>
              <a:gd name="T11" fmla="*/ 33 h 42"/>
              <a:gd name="T12" fmla="*/ 13 w 48"/>
              <a:gd name="T13" fmla="*/ 32 h 42"/>
              <a:gd name="T14" fmla="*/ 21 w 48"/>
              <a:gd name="T15" fmla="*/ 36 h 42"/>
              <a:gd name="T16" fmla="*/ 25 w 48"/>
              <a:gd name="T17" fmla="*/ 37 h 42"/>
              <a:gd name="T18" fmla="*/ 33 w 48"/>
              <a:gd name="T19" fmla="*/ 37 h 42"/>
              <a:gd name="T20" fmla="*/ 39 w 48"/>
              <a:gd name="T21" fmla="*/ 41 h 42"/>
              <a:gd name="T22" fmla="*/ 41 w 48"/>
              <a:gd name="T23" fmla="*/ 35 h 42"/>
              <a:gd name="T24" fmla="*/ 44 w 48"/>
              <a:gd name="T25" fmla="*/ 32 h 42"/>
              <a:gd name="T26" fmla="*/ 48 w 48"/>
              <a:gd name="T27" fmla="*/ 31 h 42"/>
              <a:gd name="T28" fmla="*/ 45 w 48"/>
              <a:gd name="T29" fmla="*/ 26 h 42"/>
              <a:gd name="T30" fmla="*/ 44 w 48"/>
              <a:gd name="T31" fmla="*/ 19 h 42"/>
              <a:gd name="T32" fmla="*/ 46 w 48"/>
              <a:gd name="T33" fmla="*/ 12 h 42"/>
              <a:gd name="T34" fmla="*/ 44 w 48"/>
              <a:gd name="T35" fmla="*/ 7 h 42"/>
              <a:gd name="T36" fmla="*/ 42 w 48"/>
              <a:gd name="T37" fmla="*/ 5 h 42"/>
              <a:gd name="T38" fmla="*/ 25 w 48"/>
              <a:gd name="T39" fmla="*/ 4 h 42"/>
              <a:gd name="T40" fmla="*/ 20 w 48"/>
              <a:gd name="T41" fmla="*/ 2 h 42"/>
              <a:gd name="T42" fmla="*/ 13 w 48"/>
              <a:gd name="T43" fmla="*/ 4 h 42"/>
              <a:gd name="T44" fmla="*/ 6 w 48"/>
              <a:gd name="T45" fmla="*/ 6 h 42"/>
              <a:gd name="T46" fmla="*/ 2 w 48"/>
              <a:gd name="T47" fmla="*/ 7 h 42"/>
              <a:gd name="T48" fmla="*/ 1 w 48"/>
              <a:gd name="T49" fmla="*/ 9 h 42"/>
              <a:gd name="T50" fmla="*/ 1 w 48"/>
              <a:gd name="T51" fmla="*/ 12 h 42"/>
              <a:gd name="T52" fmla="*/ 1 w 48"/>
              <a:gd name="T53" fmla="*/ 1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48" h="42">
                <a:moveTo>
                  <a:pt x="1" y="12"/>
                </a:moveTo>
                <a:cubicBezTo>
                  <a:pt x="1" y="13"/>
                  <a:pt x="0" y="15"/>
                  <a:pt x="0" y="16"/>
                </a:cubicBezTo>
                <a:cubicBezTo>
                  <a:pt x="1" y="17"/>
                  <a:pt x="2" y="19"/>
                  <a:pt x="2" y="20"/>
                </a:cubicBezTo>
                <a:cubicBezTo>
                  <a:pt x="2" y="22"/>
                  <a:pt x="3" y="25"/>
                  <a:pt x="4" y="27"/>
                </a:cubicBezTo>
                <a:cubicBezTo>
                  <a:pt x="5" y="30"/>
                  <a:pt x="8" y="29"/>
                  <a:pt x="9" y="31"/>
                </a:cubicBezTo>
                <a:cubicBezTo>
                  <a:pt x="9" y="31"/>
                  <a:pt x="9" y="33"/>
                  <a:pt x="10" y="33"/>
                </a:cubicBezTo>
                <a:cubicBezTo>
                  <a:pt x="11" y="34"/>
                  <a:pt x="12" y="32"/>
                  <a:pt x="13" y="32"/>
                </a:cubicBezTo>
                <a:cubicBezTo>
                  <a:pt x="15" y="31"/>
                  <a:pt x="19" y="35"/>
                  <a:pt x="21" y="36"/>
                </a:cubicBezTo>
                <a:cubicBezTo>
                  <a:pt x="22" y="37"/>
                  <a:pt x="23" y="39"/>
                  <a:pt x="25" y="37"/>
                </a:cubicBezTo>
                <a:cubicBezTo>
                  <a:pt x="26" y="36"/>
                  <a:pt x="31" y="37"/>
                  <a:pt x="33" y="37"/>
                </a:cubicBezTo>
                <a:cubicBezTo>
                  <a:pt x="36" y="37"/>
                  <a:pt x="37" y="39"/>
                  <a:pt x="39" y="41"/>
                </a:cubicBezTo>
                <a:cubicBezTo>
                  <a:pt x="40" y="42"/>
                  <a:pt x="40" y="36"/>
                  <a:pt x="41" y="35"/>
                </a:cubicBezTo>
                <a:cubicBezTo>
                  <a:pt x="42" y="34"/>
                  <a:pt x="43" y="33"/>
                  <a:pt x="44" y="32"/>
                </a:cubicBezTo>
                <a:cubicBezTo>
                  <a:pt x="45" y="32"/>
                  <a:pt x="48" y="32"/>
                  <a:pt x="48" y="31"/>
                </a:cubicBezTo>
                <a:cubicBezTo>
                  <a:pt x="47" y="28"/>
                  <a:pt x="47" y="27"/>
                  <a:pt x="45" y="26"/>
                </a:cubicBezTo>
                <a:cubicBezTo>
                  <a:pt x="43" y="24"/>
                  <a:pt x="46" y="21"/>
                  <a:pt x="44" y="19"/>
                </a:cubicBezTo>
                <a:cubicBezTo>
                  <a:pt x="42" y="18"/>
                  <a:pt x="47" y="14"/>
                  <a:pt x="46" y="12"/>
                </a:cubicBezTo>
                <a:cubicBezTo>
                  <a:pt x="45" y="10"/>
                  <a:pt x="44" y="9"/>
                  <a:pt x="44" y="7"/>
                </a:cubicBezTo>
                <a:cubicBezTo>
                  <a:pt x="44" y="6"/>
                  <a:pt x="44" y="5"/>
                  <a:pt x="42" y="5"/>
                </a:cubicBezTo>
                <a:cubicBezTo>
                  <a:pt x="37" y="3"/>
                  <a:pt x="30" y="6"/>
                  <a:pt x="25" y="4"/>
                </a:cubicBezTo>
                <a:cubicBezTo>
                  <a:pt x="25" y="7"/>
                  <a:pt x="21" y="2"/>
                  <a:pt x="20" y="2"/>
                </a:cubicBezTo>
                <a:cubicBezTo>
                  <a:pt x="17" y="0"/>
                  <a:pt x="15" y="2"/>
                  <a:pt x="13" y="4"/>
                </a:cubicBezTo>
                <a:cubicBezTo>
                  <a:pt x="10" y="5"/>
                  <a:pt x="8" y="6"/>
                  <a:pt x="6" y="6"/>
                </a:cubicBezTo>
                <a:cubicBezTo>
                  <a:pt x="5" y="7"/>
                  <a:pt x="3" y="7"/>
                  <a:pt x="2" y="7"/>
                </a:cubicBezTo>
                <a:cubicBezTo>
                  <a:pt x="1" y="8"/>
                  <a:pt x="3" y="9"/>
                  <a:pt x="1" y="9"/>
                </a:cubicBezTo>
                <a:cubicBezTo>
                  <a:pt x="1" y="10"/>
                  <a:pt x="1" y="11"/>
                  <a:pt x="1" y="12"/>
                </a:cubicBezTo>
                <a:cubicBezTo>
                  <a:pt x="1" y="14"/>
                  <a:pt x="1" y="12"/>
                  <a:pt x="1" y="1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68" name="Freeform 664">
            <a:extLst>
              <a:ext uri="{FF2B5EF4-FFF2-40B4-BE49-F238E27FC236}">
                <a16:creationId xmlns:a16="http://schemas.microsoft.com/office/drawing/2014/main" id="{1CE3D930-99E3-D84D-A8B6-49FCB4B7AC6D}"/>
              </a:ext>
            </a:extLst>
          </p:cNvPr>
          <p:cNvSpPr>
            <a:spLocks/>
          </p:cNvSpPr>
          <p:nvPr/>
        </p:nvSpPr>
        <p:spPr bwMode="auto">
          <a:xfrm>
            <a:off x="6380740" y="3527883"/>
            <a:ext cx="238255" cy="155347"/>
          </a:xfrm>
          <a:custGeom>
            <a:avLst/>
            <a:gdLst>
              <a:gd name="T0" fmla="*/ 38 w 46"/>
              <a:gd name="T1" fmla="*/ 13 h 30"/>
              <a:gd name="T2" fmla="*/ 35 w 46"/>
              <a:gd name="T3" fmla="*/ 6 h 30"/>
              <a:gd name="T4" fmla="*/ 32 w 46"/>
              <a:gd name="T5" fmla="*/ 0 h 30"/>
              <a:gd name="T6" fmla="*/ 22 w 46"/>
              <a:gd name="T7" fmla="*/ 4 h 30"/>
              <a:gd name="T8" fmla="*/ 18 w 46"/>
              <a:gd name="T9" fmla="*/ 3 h 30"/>
              <a:gd name="T10" fmla="*/ 12 w 46"/>
              <a:gd name="T11" fmla="*/ 3 h 30"/>
              <a:gd name="T12" fmla="*/ 8 w 46"/>
              <a:gd name="T13" fmla="*/ 6 h 30"/>
              <a:gd name="T14" fmla="*/ 4 w 46"/>
              <a:gd name="T15" fmla="*/ 14 h 30"/>
              <a:gd name="T16" fmla="*/ 0 w 46"/>
              <a:gd name="T17" fmla="*/ 15 h 30"/>
              <a:gd name="T18" fmla="*/ 3 w 46"/>
              <a:gd name="T19" fmla="*/ 18 h 30"/>
              <a:gd name="T20" fmla="*/ 5 w 46"/>
              <a:gd name="T21" fmla="*/ 22 h 30"/>
              <a:gd name="T22" fmla="*/ 8 w 46"/>
              <a:gd name="T23" fmla="*/ 24 h 30"/>
              <a:gd name="T24" fmla="*/ 11 w 46"/>
              <a:gd name="T25" fmla="*/ 25 h 30"/>
              <a:gd name="T26" fmla="*/ 11 w 46"/>
              <a:gd name="T27" fmla="*/ 28 h 30"/>
              <a:gd name="T28" fmla="*/ 21 w 46"/>
              <a:gd name="T29" fmla="*/ 30 h 30"/>
              <a:gd name="T30" fmla="*/ 28 w 46"/>
              <a:gd name="T31" fmla="*/ 28 h 30"/>
              <a:gd name="T32" fmla="*/ 40 w 46"/>
              <a:gd name="T33" fmla="*/ 30 h 30"/>
              <a:gd name="T34" fmla="*/ 41 w 46"/>
              <a:gd name="T35" fmla="*/ 23 h 30"/>
              <a:gd name="T36" fmla="*/ 46 w 46"/>
              <a:gd name="T37" fmla="*/ 20 h 30"/>
              <a:gd name="T38" fmla="*/ 39 w 46"/>
              <a:gd name="T39" fmla="*/ 20 h 30"/>
              <a:gd name="T40" fmla="*/ 38 w 46"/>
              <a:gd name="T41" fmla="*/ 13 h 30"/>
              <a:gd name="T42" fmla="*/ 38 w 46"/>
              <a:gd name="T43" fmla="*/ 13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6" h="30">
                <a:moveTo>
                  <a:pt x="38" y="13"/>
                </a:moveTo>
                <a:cubicBezTo>
                  <a:pt x="39" y="10"/>
                  <a:pt x="36" y="8"/>
                  <a:pt x="35" y="6"/>
                </a:cubicBezTo>
                <a:cubicBezTo>
                  <a:pt x="33" y="5"/>
                  <a:pt x="32" y="2"/>
                  <a:pt x="32" y="0"/>
                </a:cubicBezTo>
                <a:cubicBezTo>
                  <a:pt x="29" y="1"/>
                  <a:pt x="26" y="4"/>
                  <a:pt x="22" y="4"/>
                </a:cubicBezTo>
                <a:cubicBezTo>
                  <a:pt x="21" y="4"/>
                  <a:pt x="19" y="3"/>
                  <a:pt x="18" y="3"/>
                </a:cubicBezTo>
                <a:cubicBezTo>
                  <a:pt x="16" y="3"/>
                  <a:pt x="14" y="3"/>
                  <a:pt x="12" y="3"/>
                </a:cubicBezTo>
                <a:cubicBezTo>
                  <a:pt x="12" y="3"/>
                  <a:pt x="9" y="6"/>
                  <a:pt x="8" y="6"/>
                </a:cubicBezTo>
                <a:cubicBezTo>
                  <a:pt x="7" y="9"/>
                  <a:pt x="5" y="11"/>
                  <a:pt x="4" y="14"/>
                </a:cubicBezTo>
                <a:cubicBezTo>
                  <a:pt x="3" y="14"/>
                  <a:pt x="1" y="14"/>
                  <a:pt x="0" y="15"/>
                </a:cubicBezTo>
                <a:cubicBezTo>
                  <a:pt x="0" y="16"/>
                  <a:pt x="3" y="17"/>
                  <a:pt x="3" y="18"/>
                </a:cubicBezTo>
                <a:cubicBezTo>
                  <a:pt x="3" y="20"/>
                  <a:pt x="4" y="20"/>
                  <a:pt x="5" y="22"/>
                </a:cubicBezTo>
                <a:cubicBezTo>
                  <a:pt x="5" y="24"/>
                  <a:pt x="6" y="24"/>
                  <a:pt x="8" y="24"/>
                </a:cubicBezTo>
                <a:cubicBezTo>
                  <a:pt x="9" y="24"/>
                  <a:pt x="11" y="24"/>
                  <a:pt x="11" y="25"/>
                </a:cubicBezTo>
                <a:cubicBezTo>
                  <a:pt x="11" y="26"/>
                  <a:pt x="11" y="27"/>
                  <a:pt x="11" y="28"/>
                </a:cubicBezTo>
                <a:cubicBezTo>
                  <a:pt x="13" y="30"/>
                  <a:pt x="18" y="30"/>
                  <a:pt x="21" y="30"/>
                </a:cubicBezTo>
                <a:cubicBezTo>
                  <a:pt x="24" y="30"/>
                  <a:pt x="26" y="30"/>
                  <a:pt x="28" y="28"/>
                </a:cubicBezTo>
                <a:cubicBezTo>
                  <a:pt x="32" y="26"/>
                  <a:pt x="36" y="28"/>
                  <a:pt x="40" y="30"/>
                </a:cubicBezTo>
                <a:cubicBezTo>
                  <a:pt x="40" y="28"/>
                  <a:pt x="40" y="25"/>
                  <a:pt x="41" y="23"/>
                </a:cubicBezTo>
                <a:cubicBezTo>
                  <a:pt x="42" y="22"/>
                  <a:pt x="45" y="24"/>
                  <a:pt x="46" y="20"/>
                </a:cubicBezTo>
                <a:cubicBezTo>
                  <a:pt x="43" y="18"/>
                  <a:pt x="42" y="20"/>
                  <a:pt x="39" y="20"/>
                </a:cubicBezTo>
                <a:cubicBezTo>
                  <a:pt x="37" y="19"/>
                  <a:pt x="37" y="14"/>
                  <a:pt x="38" y="13"/>
                </a:cubicBezTo>
                <a:cubicBezTo>
                  <a:pt x="39" y="11"/>
                  <a:pt x="37" y="15"/>
                  <a:pt x="38" y="1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69" name="Freeform 665">
            <a:extLst>
              <a:ext uri="{FF2B5EF4-FFF2-40B4-BE49-F238E27FC236}">
                <a16:creationId xmlns:a16="http://schemas.microsoft.com/office/drawing/2014/main" id="{D7BA1B69-C543-A749-A8DC-4AB14F178C78}"/>
              </a:ext>
            </a:extLst>
          </p:cNvPr>
          <p:cNvSpPr>
            <a:spLocks/>
          </p:cNvSpPr>
          <p:nvPr/>
        </p:nvSpPr>
        <p:spPr bwMode="auto">
          <a:xfrm>
            <a:off x="6546636" y="3522586"/>
            <a:ext cx="86477" cy="104155"/>
          </a:xfrm>
          <a:custGeom>
            <a:avLst/>
            <a:gdLst>
              <a:gd name="T0" fmla="*/ 14 w 17"/>
              <a:gd name="T1" fmla="*/ 10 h 20"/>
              <a:gd name="T2" fmla="*/ 9 w 17"/>
              <a:gd name="T3" fmla="*/ 3 h 20"/>
              <a:gd name="T4" fmla="*/ 0 w 17"/>
              <a:gd name="T5" fmla="*/ 1 h 20"/>
              <a:gd name="T6" fmla="*/ 5 w 17"/>
              <a:gd name="T7" fmla="*/ 10 h 20"/>
              <a:gd name="T8" fmla="*/ 7 w 17"/>
              <a:gd name="T9" fmla="*/ 20 h 20"/>
              <a:gd name="T10" fmla="*/ 10 w 17"/>
              <a:gd name="T11" fmla="*/ 14 h 20"/>
              <a:gd name="T12" fmla="*/ 14 w 17"/>
              <a:gd name="T13" fmla="*/ 14 h 20"/>
              <a:gd name="T14" fmla="*/ 14 w 17"/>
              <a:gd name="T15" fmla="*/ 10 h 20"/>
              <a:gd name="T16" fmla="*/ 14 w 17"/>
              <a:gd name="T17" fmla="*/ 1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20">
                <a:moveTo>
                  <a:pt x="14" y="10"/>
                </a:moveTo>
                <a:cubicBezTo>
                  <a:pt x="12" y="8"/>
                  <a:pt x="11" y="4"/>
                  <a:pt x="9" y="3"/>
                </a:cubicBezTo>
                <a:cubicBezTo>
                  <a:pt x="8" y="3"/>
                  <a:pt x="0" y="0"/>
                  <a:pt x="0" y="1"/>
                </a:cubicBezTo>
                <a:cubicBezTo>
                  <a:pt x="1" y="5"/>
                  <a:pt x="3" y="7"/>
                  <a:pt x="5" y="10"/>
                </a:cubicBezTo>
                <a:cubicBezTo>
                  <a:pt x="7" y="13"/>
                  <a:pt x="4" y="17"/>
                  <a:pt x="7" y="20"/>
                </a:cubicBezTo>
                <a:cubicBezTo>
                  <a:pt x="8" y="19"/>
                  <a:pt x="9" y="16"/>
                  <a:pt x="10" y="14"/>
                </a:cubicBezTo>
                <a:cubicBezTo>
                  <a:pt x="12" y="13"/>
                  <a:pt x="13" y="14"/>
                  <a:pt x="14" y="14"/>
                </a:cubicBezTo>
                <a:cubicBezTo>
                  <a:pt x="17" y="14"/>
                  <a:pt x="14" y="10"/>
                  <a:pt x="14" y="10"/>
                </a:cubicBezTo>
                <a:cubicBezTo>
                  <a:pt x="13" y="9"/>
                  <a:pt x="14" y="10"/>
                  <a:pt x="14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70" name="Freeform 666">
            <a:extLst>
              <a:ext uri="{FF2B5EF4-FFF2-40B4-BE49-F238E27FC236}">
                <a16:creationId xmlns:a16="http://schemas.microsoft.com/office/drawing/2014/main" id="{164EE18A-2F92-E14B-A260-BDE3370EA7C4}"/>
              </a:ext>
            </a:extLst>
          </p:cNvPr>
          <p:cNvSpPr>
            <a:spLocks/>
          </p:cNvSpPr>
          <p:nvPr/>
        </p:nvSpPr>
        <p:spPr bwMode="auto">
          <a:xfrm>
            <a:off x="6581934" y="3579075"/>
            <a:ext cx="51180" cy="52959"/>
          </a:xfrm>
          <a:custGeom>
            <a:avLst/>
            <a:gdLst>
              <a:gd name="T0" fmla="*/ 7 w 10"/>
              <a:gd name="T1" fmla="*/ 9 h 10"/>
              <a:gd name="T2" fmla="*/ 7 w 10"/>
              <a:gd name="T3" fmla="*/ 7 h 10"/>
              <a:gd name="T4" fmla="*/ 10 w 10"/>
              <a:gd name="T5" fmla="*/ 4 h 10"/>
              <a:gd name="T6" fmla="*/ 8 w 10"/>
              <a:gd name="T7" fmla="*/ 1 h 10"/>
              <a:gd name="T8" fmla="*/ 3 w 10"/>
              <a:gd name="T9" fmla="*/ 4 h 10"/>
              <a:gd name="T10" fmla="*/ 0 w 10"/>
              <a:gd name="T11" fmla="*/ 9 h 10"/>
              <a:gd name="T12" fmla="*/ 3 w 10"/>
              <a:gd name="T13" fmla="*/ 9 h 10"/>
              <a:gd name="T14" fmla="*/ 7 w 10"/>
              <a:gd name="T15" fmla="*/ 10 h 10"/>
              <a:gd name="T16" fmla="*/ 7 w 10"/>
              <a:gd name="T17" fmla="*/ 9 h 10"/>
              <a:gd name="T18" fmla="*/ 7 w 10"/>
              <a:gd name="T19" fmla="*/ 9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0" h="10">
                <a:moveTo>
                  <a:pt x="7" y="9"/>
                </a:moveTo>
                <a:cubicBezTo>
                  <a:pt x="6" y="8"/>
                  <a:pt x="6" y="8"/>
                  <a:pt x="7" y="7"/>
                </a:cubicBezTo>
                <a:cubicBezTo>
                  <a:pt x="8" y="6"/>
                  <a:pt x="9" y="5"/>
                  <a:pt x="10" y="4"/>
                </a:cubicBezTo>
                <a:cubicBezTo>
                  <a:pt x="10" y="4"/>
                  <a:pt x="8" y="2"/>
                  <a:pt x="8" y="1"/>
                </a:cubicBezTo>
                <a:cubicBezTo>
                  <a:pt x="8" y="5"/>
                  <a:pt x="3" y="0"/>
                  <a:pt x="3" y="4"/>
                </a:cubicBezTo>
                <a:cubicBezTo>
                  <a:pt x="3" y="6"/>
                  <a:pt x="1" y="8"/>
                  <a:pt x="0" y="9"/>
                </a:cubicBezTo>
                <a:cubicBezTo>
                  <a:pt x="0" y="10"/>
                  <a:pt x="2" y="9"/>
                  <a:pt x="3" y="9"/>
                </a:cubicBezTo>
                <a:cubicBezTo>
                  <a:pt x="5" y="9"/>
                  <a:pt x="6" y="9"/>
                  <a:pt x="7" y="10"/>
                </a:cubicBezTo>
                <a:cubicBezTo>
                  <a:pt x="7" y="10"/>
                  <a:pt x="7" y="9"/>
                  <a:pt x="7" y="9"/>
                </a:cubicBezTo>
                <a:cubicBezTo>
                  <a:pt x="6" y="8"/>
                  <a:pt x="7" y="9"/>
                  <a:pt x="7" y="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71" name="Freeform 667">
            <a:extLst>
              <a:ext uri="{FF2B5EF4-FFF2-40B4-BE49-F238E27FC236}">
                <a16:creationId xmlns:a16="http://schemas.microsoft.com/office/drawing/2014/main" id="{B6DC2601-CC69-F340-AC92-981385041198}"/>
              </a:ext>
            </a:extLst>
          </p:cNvPr>
          <p:cNvSpPr>
            <a:spLocks/>
          </p:cNvSpPr>
          <p:nvPr/>
        </p:nvSpPr>
        <p:spPr bwMode="auto">
          <a:xfrm>
            <a:off x="6426628" y="3662045"/>
            <a:ext cx="165896" cy="98858"/>
          </a:xfrm>
          <a:custGeom>
            <a:avLst/>
            <a:gdLst>
              <a:gd name="T0" fmla="*/ 17 w 32"/>
              <a:gd name="T1" fmla="*/ 4 h 19"/>
              <a:gd name="T2" fmla="*/ 2 w 32"/>
              <a:gd name="T3" fmla="*/ 0 h 19"/>
              <a:gd name="T4" fmla="*/ 2 w 32"/>
              <a:gd name="T5" fmla="*/ 5 h 19"/>
              <a:gd name="T6" fmla="*/ 3 w 32"/>
              <a:gd name="T7" fmla="*/ 8 h 19"/>
              <a:gd name="T8" fmla="*/ 1 w 32"/>
              <a:gd name="T9" fmla="*/ 11 h 19"/>
              <a:gd name="T10" fmla="*/ 3 w 32"/>
              <a:gd name="T11" fmla="*/ 17 h 19"/>
              <a:gd name="T12" fmla="*/ 9 w 32"/>
              <a:gd name="T13" fmla="*/ 17 h 19"/>
              <a:gd name="T14" fmla="*/ 16 w 32"/>
              <a:gd name="T15" fmla="*/ 18 h 19"/>
              <a:gd name="T16" fmla="*/ 21 w 32"/>
              <a:gd name="T17" fmla="*/ 15 h 19"/>
              <a:gd name="T18" fmla="*/ 28 w 32"/>
              <a:gd name="T19" fmla="*/ 14 h 19"/>
              <a:gd name="T20" fmla="*/ 28 w 32"/>
              <a:gd name="T21" fmla="*/ 8 h 19"/>
              <a:gd name="T22" fmla="*/ 29 w 32"/>
              <a:gd name="T23" fmla="*/ 3 h 19"/>
              <a:gd name="T24" fmla="*/ 21 w 32"/>
              <a:gd name="T25" fmla="*/ 2 h 19"/>
              <a:gd name="T26" fmla="*/ 17 w 32"/>
              <a:gd name="T27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2" h="19">
                <a:moveTo>
                  <a:pt x="17" y="4"/>
                </a:moveTo>
                <a:cubicBezTo>
                  <a:pt x="13" y="4"/>
                  <a:pt x="3" y="6"/>
                  <a:pt x="2" y="0"/>
                </a:cubicBezTo>
                <a:cubicBezTo>
                  <a:pt x="1" y="2"/>
                  <a:pt x="0" y="4"/>
                  <a:pt x="2" y="5"/>
                </a:cubicBezTo>
                <a:cubicBezTo>
                  <a:pt x="3" y="6"/>
                  <a:pt x="4" y="7"/>
                  <a:pt x="3" y="8"/>
                </a:cubicBezTo>
                <a:cubicBezTo>
                  <a:pt x="2" y="9"/>
                  <a:pt x="1" y="9"/>
                  <a:pt x="1" y="11"/>
                </a:cubicBezTo>
                <a:cubicBezTo>
                  <a:pt x="2" y="13"/>
                  <a:pt x="3" y="14"/>
                  <a:pt x="3" y="17"/>
                </a:cubicBezTo>
                <a:cubicBezTo>
                  <a:pt x="5" y="17"/>
                  <a:pt x="7" y="17"/>
                  <a:pt x="9" y="17"/>
                </a:cubicBezTo>
                <a:cubicBezTo>
                  <a:pt x="11" y="17"/>
                  <a:pt x="14" y="19"/>
                  <a:pt x="16" y="18"/>
                </a:cubicBezTo>
                <a:cubicBezTo>
                  <a:pt x="18" y="18"/>
                  <a:pt x="20" y="16"/>
                  <a:pt x="21" y="15"/>
                </a:cubicBezTo>
                <a:cubicBezTo>
                  <a:pt x="23" y="13"/>
                  <a:pt x="25" y="14"/>
                  <a:pt x="28" y="14"/>
                </a:cubicBezTo>
                <a:cubicBezTo>
                  <a:pt x="27" y="12"/>
                  <a:pt x="27" y="11"/>
                  <a:pt x="28" y="8"/>
                </a:cubicBezTo>
                <a:cubicBezTo>
                  <a:pt x="29" y="6"/>
                  <a:pt x="32" y="4"/>
                  <a:pt x="29" y="3"/>
                </a:cubicBezTo>
                <a:cubicBezTo>
                  <a:pt x="27" y="2"/>
                  <a:pt x="24" y="1"/>
                  <a:pt x="21" y="2"/>
                </a:cubicBezTo>
                <a:cubicBezTo>
                  <a:pt x="19" y="2"/>
                  <a:pt x="18" y="4"/>
                  <a:pt x="17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72" name="Freeform 668">
            <a:extLst>
              <a:ext uri="{FF2B5EF4-FFF2-40B4-BE49-F238E27FC236}">
                <a16:creationId xmlns:a16="http://schemas.microsoft.com/office/drawing/2014/main" id="{357E872A-6097-A348-A7CF-BACD15E28130}"/>
              </a:ext>
            </a:extLst>
          </p:cNvPr>
          <p:cNvSpPr>
            <a:spLocks/>
          </p:cNvSpPr>
          <p:nvPr/>
        </p:nvSpPr>
        <p:spPr bwMode="auto">
          <a:xfrm>
            <a:off x="6266026" y="3637331"/>
            <a:ext cx="93537" cy="77673"/>
          </a:xfrm>
          <a:custGeom>
            <a:avLst/>
            <a:gdLst>
              <a:gd name="T0" fmla="*/ 10 w 18"/>
              <a:gd name="T1" fmla="*/ 0 h 15"/>
              <a:gd name="T2" fmla="*/ 1 w 18"/>
              <a:gd name="T3" fmla="*/ 2 h 15"/>
              <a:gd name="T4" fmla="*/ 4 w 18"/>
              <a:gd name="T5" fmla="*/ 8 h 15"/>
              <a:gd name="T6" fmla="*/ 13 w 18"/>
              <a:gd name="T7" fmla="*/ 15 h 15"/>
              <a:gd name="T8" fmla="*/ 15 w 18"/>
              <a:gd name="T9" fmla="*/ 10 h 15"/>
              <a:gd name="T10" fmla="*/ 17 w 18"/>
              <a:gd name="T11" fmla="*/ 6 h 15"/>
              <a:gd name="T12" fmla="*/ 16 w 18"/>
              <a:gd name="T13" fmla="*/ 2 h 15"/>
              <a:gd name="T14" fmla="*/ 10 w 18"/>
              <a:gd name="T15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15">
                <a:moveTo>
                  <a:pt x="10" y="0"/>
                </a:moveTo>
                <a:cubicBezTo>
                  <a:pt x="8" y="0"/>
                  <a:pt x="0" y="0"/>
                  <a:pt x="1" y="2"/>
                </a:cubicBezTo>
                <a:cubicBezTo>
                  <a:pt x="1" y="3"/>
                  <a:pt x="3" y="7"/>
                  <a:pt x="4" y="8"/>
                </a:cubicBezTo>
                <a:cubicBezTo>
                  <a:pt x="6" y="11"/>
                  <a:pt x="10" y="13"/>
                  <a:pt x="13" y="15"/>
                </a:cubicBezTo>
                <a:cubicBezTo>
                  <a:pt x="13" y="13"/>
                  <a:pt x="13" y="11"/>
                  <a:pt x="15" y="10"/>
                </a:cubicBezTo>
                <a:cubicBezTo>
                  <a:pt x="17" y="9"/>
                  <a:pt x="18" y="8"/>
                  <a:pt x="17" y="6"/>
                </a:cubicBezTo>
                <a:cubicBezTo>
                  <a:pt x="17" y="4"/>
                  <a:pt x="17" y="3"/>
                  <a:pt x="16" y="2"/>
                </a:cubicBezTo>
                <a:cubicBezTo>
                  <a:pt x="14" y="1"/>
                  <a:pt x="12" y="0"/>
                  <a:pt x="1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73" name="Freeform 669">
            <a:extLst>
              <a:ext uri="{FF2B5EF4-FFF2-40B4-BE49-F238E27FC236}">
                <a16:creationId xmlns:a16="http://schemas.microsoft.com/office/drawing/2014/main" id="{0FDEB5CE-9F71-1F43-AEA8-48D98C1625FD}"/>
              </a:ext>
            </a:extLst>
          </p:cNvPr>
          <p:cNvSpPr>
            <a:spLocks/>
          </p:cNvSpPr>
          <p:nvPr/>
        </p:nvSpPr>
        <p:spPr bwMode="auto">
          <a:xfrm>
            <a:off x="6333089" y="3600259"/>
            <a:ext cx="114715" cy="139459"/>
          </a:xfrm>
          <a:custGeom>
            <a:avLst/>
            <a:gdLst>
              <a:gd name="T0" fmla="*/ 21 w 22"/>
              <a:gd name="T1" fmla="*/ 19 h 27"/>
              <a:gd name="T2" fmla="*/ 20 w 22"/>
              <a:gd name="T3" fmla="*/ 17 h 27"/>
              <a:gd name="T4" fmla="*/ 19 w 22"/>
              <a:gd name="T5" fmla="*/ 13 h 27"/>
              <a:gd name="T6" fmla="*/ 15 w 22"/>
              <a:gd name="T7" fmla="*/ 10 h 27"/>
              <a:gd name="T8" fmla="*/ 14 w 22"/>
              <a:gd name="T9" fmla="*/ 8 h 27"/>
              <a:gd name="T10" fmla="*/ 12 w 22"/>
              <a:gd name="T11" fmla="*/ 5 h 27"/>
              <a:gd name="T12" fmla="*/ 5 w 22"/>
              <a:gd name="T13" fmla="*/ 1 h 27"/>
              <a:gd name="T14" fmla="*/ 2 w 22"/>
              <a:gd name="T15" fmla="*/ 4 h 27"/>
              <a:gd name="T16" fmla="*/ 4 w 22"/>
              <a:gd name="T17" fmla="*/ 14 h 27"/>
              <a:gd name="T18" fmla="*/ 1 w 22"/>
              <a:gd name="T19" fmla="*/ 19 h 27"/>
              <a:gd name="T20" fmla="*/ 0 w 22"/>
              <a:gd name="T21" fmla="*/ 23 h 27"/>
              <a:gd name="T22" fmla="*/ 4 w 22"/>
              <a:gd name="T23" fmla="*/ 27 h 27"/>
              <a:gd name="T24" fmla="*/ 6 w 22"/>
              <a:gd name="T25" fmla="*/ 23 h 27"/>
              <a:gd name="T26" fmla="*/ 10 w 22"/>
              <a:gd name="T27" fmla="*/ 26 h 27"/>
              <a:gd name="T28" fmla="*/ 20 w 22"/>
              <a:gd name="T29" fmla="*/ 24 h 27"/>
              <a:gd name="T30" fmla="*/ 21 w 22"/>
              <a:gd name="T31" fmla="*/ 19 h 27"/>
              <a:gd name="T32" fmla="*/ 21 w 22"/>
              <a:gd name="T33" fmla="*/ 19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2" h="27">
                <a:moveTo>
                  <a:pt x="21" y="19"/>
                </a:moveTo>
                <a:cubicBezTo>
                  <a:pt x="22" y="18"/>
                  <a:pt x="21" y="18"/>
                  <a:pt x="20" y="17"/>
                </a:cubicBezTo>
                <a:cubicBezTo>
                  <a:pt x="19" y="16"/>
                  <a:pt x="19" y="15"/>
                  <a:pt x="19" y="13"/>
                </a:cubicBezTo>
                <a:cubicBezTo>
                  <a:pt x="21" y="10"/>
                  <a:pt x="18" y="10"/>
                  <a:pt x="15" y="10"/>
                </a:cubicBezTo>
                <a:cubicBezTo>
                  <a:pt x="14" y="10"/>
                  <a:pt x="14" y="9"/>
                  <a:pt x="14" y="8"/>
                </a:cubicBezTo>
                <a:cubicBezTo>
                  <a:pt x="13" y="6"/>
                  <a:pt x="12" y="7"/>
                  <a:pt x="12" y="5"/>
                </a:cubicBezTo>
                <a:cubicBezTo>
                  <a:pt x="11" y="2"/>
                  <a:pt x="9" y="0"/>
                  <a:pt x="5" y="1"/>
                </a:cubicBezTo>
                <a:cubicBezTo>
                  <a:pt x="2" y="2"/>
                  <a:pt x="2" y="2"/>
                  <a:pt x="2" y="4"/>
                </a:cubicBezTo>
                <a:cubicBezTo>
                  <a:pt x="3" y="7"/>
                  <a:pt x="4" y="10"/>
                  <a:pt x="4" y="14"/>
                </a:cubicBezTo>
                <a:cubicBezTo>
                  <a:pt x="5" y="17"/>
                  <a:pt x="2" y="16"/>
                  <a:pt x="1" y="19"/>
                </a:cubicBezTo>
                <a:cubicBezTo>
                  <a:pt x="0" y="20"/>
                  <a:pt x="0" y="22"/>
                  <a:pt x="0" y="23"/>
                </a:cubicBezTo>
                <a:cubicBezTo>
                  <a:pt x="0" y="25"/>
                  <a:pt x="3" y="26"/>
                  <a:pt x="4" y="27"/>
                </a:cubicBezTo>
                <a:cubicBezTo>
                  <a:pt x="4" y="26"/>
                  <a:pt x="4" y="23"/>
                  <a:pt x="6" y="23"/>
                </a:cubicBezTo>
                <a:cubicBezTo>
                  <a:pt x="8" y="23"/>
                  <a:pt x="9" y="24"/>
                  <a:pt x="10" y="26"/>
                </a:cubicBezTo>
                <a:cubicBezTo>
                  <a:pt x="11" y="26"/>
                  <a:pt x="18" y="24"/>
                  <a:pt x="20" y="24"/>
                </a:cubicBezTo>
                <a:cubicBezTo>
                  <a:pt x="18" y="22"/>
                  <a:pt x="20" y="21"/>
                  <a:pt x="21" y="19"/>
                </a:cubicBezTo>
                <a:cubicBezTo>
                  <a:pt x="22" y="18"/>
                  <a:pt x="20" y="20"/>
                  <a:pt x="21" y="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74" name="Freeform 670">
            <a:extLst>
              <a:ext uri="{FF2B5EF4-FFF2-40B4-BE49-F238E27FC236}">
                <a16:creationId xmlns:a16="http://schemas.microsoft.com/office/drawing/2014/main" id="{FAEBD02D-C899-A846-94FD-2D424C30EAC9}"/>
              </a:ext>
            </a:extLst>
          </p:cNvPr>
          <p:cNvSpPr>
            <a:spLocks/>
          </p:cNvSpPr>
          <p:nvPr/>
        </p:nvSpPr>
        <p:spPr bwMode="auto">
          <a:xfrm>
            <a:off x="6271321" y="3517291"/>
            <a:ext cx="181781" cy="98858"/>
          </a:xfrm>
          <a:custGeom>
            <a:avLst/>
            <a:gdLst>
              <a:gd name="T0" fmla="*/ 30 w 35"/>
              <a:gd name="T1" fmla="*/ 3 h 19"/>
              <a:gd name="T2" fmla="*/ 24 w 35"/>
              <a:gd name="T3" fmla="*/ 1 h 19"/>
              <a:gd name="T4" fmla="*/ 19 w 35"/>
              <a:gd name="T5" fmla="*/ 4 h 19"/>
              <a:gd name="T6" fmla="*/ 15 w 35"/>
              <a:gd name="T7" fmla="*/ 4 h 19"/>
              <a:gd name="T8" fmla="*/ 13 w 35"/>
              <a:gd name="T9" fmla="*/ 6 h 19"/>
              <a:gd name="T10" fmla="*/ 5 w 35"/>
              <a:gd name="T11" fmla="*/ 4 h 19"/>
              <a:gd name="T12" fmla="*/ 5 w 35"/>
              <a:gd name="T13" fmla="*/ 7 h 19"/>
              <a:gd name="T14" fmla="*/ 3 w 35"/>
              <a:gd name="T15" fmla="*/ 8 h 19"/>
              <a:gd name="T16" fmla="*/ 3 w 35"/>
              <a:gd name="T17" fmla="*/ 15 h 19"/>
              <a:gd name="T18" fmla="*/ 11 w 35"/>
              <a:gd name="T19" fmla="*/ 19 h 19"/>
              <a:gd name="T20" fmla="*/ 21 w 35"/>
              <a:gd name="T21" fmla="*/ 17 h 19"/>
              <a:gd name="T22" fmla="*/ 25 w 35"/>
              <a:gd name="T23" fmla="*/ 15 h 19"/>
              <a:gd name="T24" fmla="*/ 29 w 35"/>
              <a:gd name="T25" fmla="*/ 9 h 19"/>
              <a:gd name="T26" fmla="*/ 33 w 35"/>
              <a:gd name="T27" fmla="*/ 6 h 19"/>
              <a:gd name="T28" fmla="*/ 30 w 35"/>
              <a:gd name="T29" fmla="*/ 3 h 19"/>
              <a:gd name="T30" fmla="*/ 30 w 35"/>
              <a:gd name="T31" fmla="*/ 3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5" h="19">
                <a:moveTo>
                  <a:pt x="30" y="3"/>
                </a:moveTo>
                <a:cubicBezTo>
                  <a:pt x="30" y="2"/>
                  <a:pt x="25" y="2"/>
                  <a:pt x="24" y="1"/>
                </a:cubicBezTo>
                <a:cubicBezTo>
                  <a:pt x="20" y="0"/>
                  <a:pt x="22" y="4"/>
                  <a:pt x="19" y="4"/>
                </a:cubicBezTo>
                <a:cubicBezTo>
                  <a:pt x="18" y="3"/>
                  <a:pt x="17" y="4"/>
                  <a:pt x="15" y="4"/>
                </a:cubicBezTo>
                <a:cubicBezTo>
                  <a:pt x="14" y="4"/>
                  <a:pt x="14" y="6"/>
                  <a:pt x="13" y="6"/>
                </a:cubicBezTo>
                <a:cubicBezTo>
                  <a:pt x="9" y="8"/>
                  <a:pt x="7" y="6"/>
                  <a:pt x="5" y="4"/>
                </a:cubicBezTo>
                <a:cubicBezTo>
                  <a:pt x="5" y="5"/>
                  <a:pt x="5" y="6"/>
                  <a:pt x="5" y="7"/>
                </a:cubicBezTo>
                <a:cubicBezTo>
                  <a:pt x="4" y="8"/>
                  <a:pt x="3" y="6"/>
                  <a:pt x="3" y="8"/>
                </a:cubicBezTo>
                <a:cubicBezTo>
                  <a:pt x="3" y="11"/>
                  <a:pt x="0" y="13"/>
                  <a:pt x="3" y="15"/>
                </a:cubicBezTo>
                <a:cubicBezTo>
                  <a:pt x="5" y="17"/>
                  <a:pt x="8" y="19"/>
                  <a:pt x="11" y="19"/>
                </a:cubicBezTo>
                <a:cubicBezTo>
                  <a:pt x="15" y="19"/>
                  <a:pt x="17" y="16"/>
                  <a:pt x="21" y="17"/>
                </a:cubicBezTo>
                <a:cubicBezTo>
                  <a:pt x="21" y="16"/>
                  <a:pt x="24" y="16"/>
                  <a:pt x="25" y="15"/>
                </a:cubicBezTo>
                <a:cubicBezTo>
                  <a:pt x="26" y="13"/>
                  <a:pt x="27" y="11"/>
                  <a:pt x="29" y="9"/>
                </a:cubicBezTo>
                <a:cubicBezTo>
                  <a:pt x="30" y="7"/>
                  <a:pt x="31" y="7"/>
                  <a:pt x="33" y="6"/>
                </a:cubicBezTo>
                <a:cubicBezTo>
                  <a:pt x="35" y="4"/>
                  <a:pt x="30" y="4"/>
                  <a:pt x="30" y="3"/>
                </a:cubicBezTo>
                <a:cubicBezTo>
                  <a:pt x="30" y="3"/>
                  <a:pt x="30" y="4"/>
                  <a:pt x="30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75" name="Freeform 671">
            <a:extLst>
              <a:ext uri="{FF2B5EF4-FFF2-40B4-BE49-F238E27FC236}">
                <a16:creationId xmlns:a16="http://schemas.microsoft.com/office/drawing/2014/main" id="{C59C21E4-C3F4-9949-AFB5-15FAA7660076}"/>
              </a:ext>
            </a:extLst>
          </p:cNvPr>
          <p:cNvSpPr>
            <a:spLocks/>
          </p:cNvSpPr>
          <p:nvPr/>
        </p:nvSpPr>
        <p:spPr bwMode="auto">
          <a:xfrm>
            <a:off x="6375445" y="3739720"/>
            <a:ext cx="160602" cy="165939"/>
          </a:xfrm>
          <a:custGeom>
            <a:avLst/>
            <a:gdLst>
              <a:gd name="T0" fmla="*/ 31 w 31"/>
              <a:gd name="T1" fmla="*/ 0 h 32"/>
              <a:gd name="T2" fmla="*/ 23 w 31"/>
              <a:gd name="T3" fmla="*/ 3 h 32"/>
              <a:gd name="T4" fmla="*/ 13 w 31"/>
              <a:gd name="T5" fmla="*/ 2 h 32"/>
              <a:gd name="T6" fmla="*/ 9 w 31"/>
              <a:gd name="T7" fmla="*/ 4 h 32"/>
              <a:gd name="T8" fmla="*/ 6 w 31"/>
              <a:gd name="T9" fmla="*/ 5 h 32"/>
              <a:gd name="T10" fmla="*/ 4 w 31"/>
              <a:gd name="T11" fmla="*/ 8 h 32"/>
              <a:gd name="T12" fmla="*/ 2 w 31"/>
              <a:gd name="T13" fmla="*/ 11 h 32"/>
              <a:gd name="T14" fmla="*/ 2 w 31"/>
              <a:gd name="T15" fmla="*/ 15 h 32"/>
              <a:gd name="T16" fmla="*/ 4 w 31"/>
              <a:gd name="T17" fmla="*/ 17 h 32"/>
              <a:gd name="T18" fmla="*/ 5 w 31"/>
              <a:gd name="T19" fmla="*/ 22 h 32"/>
              <a:gd name="T20" fmla="*/ 6 w 31"/>
              <a:gd name="T21" fmla="*/ 25 h 32"/>
              <a:gd name="T22" fmla="*/ 7 w 31"/>
              <a:gd name="T23" fmla="*/ 28 h 32"/>
              <a:gd name="T24" fmla="*/ 8 w 31"/>
              <a:gd name="T25" fmla="*/ 29 h 32"/>
              <a:gd name="T26" fmla="*/ 10 w 31"/>
              <a:gd name="T27" fmla="*/ 31 h 32"/>
              <a:gd name="T28" fmla="*/ 12 w 31"/>
              <a:gd name="T29" fmla="*/ 30 h 32"/>
              <a:gd name="T30" fmla="*/ 13 w 31"/>
              <a:gd name="T31" fmla="*/ 31 h 32"/>
              <a:gd name="T32" fmla="*/ 13 w 31"/>
              <a:gd name="T33" fmla="*/ 26 h 32"/>
              <a:gd name="T34" fmla="*/ 17 w 31"/>
              <a:gd name="T35" fmla="*/ 26 h 32"/>
              <a:gd name="T36" fmla="*/ 14 w 31"/>
              <a:gd name="T37" fmla="*/ 23 h 32"/>
              <a:gd name="T38" fmla="*/ 17 w 31"/>
              <a:gd name="T39" fmla="*/ 24 h 32"/>
              <a:gd name="T40" fmla="*/ 18 w 31"/>
              <a:gd name="T41" fmla="*/ 22 h 32"/>
              <a:gd name="T42" fmla="*/ 21 w 31"/>
              <a:gd name="T43" fmla="*/ 23 h 32"/>
              <a:gd name="T44" fmla="*/ 19 w 31"/>
              <a:gd name="T45" fmla="*/ 19 h 32"/>
              <a:gd name="T46" fmla="*/ 15 w 31"/>
              <a:gd name="T47" fmla="*/ 17 h 32"/>
              <a:gd name="T48" fmla="*/ 15 w 31"/>
              <a:gd name="T49" fmla="*/ 16 h 32"/>
              <a:gd name="T50" fmla="*/ 11 w 31"/>
              <a:gd name="T51" fmla="*/ 10 h 32"/>
              <a:gd name="T52" fmla="*/ 16 w 31"/>
              <a:gd name="T53" fmla="*/ 11 h 32"/>
              <a:gd name="T54" fmla="*/ 16 w 31"/>
              <a:gd name="T55" fmla="*/ 10 h 32"/>
              <a:gd name="T56" fmla="*/ 18 w 31"/>
              <a:gd name="T57" fmla="*/ 11 h 32"/>
              <a:gd name="T58" fmla="*/ 17 w 31"/>
              <a:gd name="T59" fmla="*/ 9 h 32"/>
              <a:gd name="T60" fmla="*/ 21 w 31"/>
              <a:gd name="T61" fmla="*/ 10 h 32"/>
              <a:gd name="T62" fmla="*/ 17 w 31"/>
              <a:gd name="T63" fmla="*/ 7 h 32"/>
              <a:gd name="T64" fmla="*/ 22 w 31"/>
              <a:gd name="T65" fmla="*/ 5 h 32"/>
              <a:gd name="T66" fmla="*/ 21 w 31"/>
              <a:gd name="T67" fmla="*/ 7 h 32"/>
              <a:gd name="T68" fmla="*/ 25 w 31"/>
              <a:gd name="T69" fmla="*/ 5 h 32"/>
              <a:gd name="T70" fmla="*/ 29 w 31"/>
              <a:gd name="T71" fmla="*/ 7 h 32"/>
              <a:gd name="T72" fmla="*/ 31 w 31"/>
              <a:gd name="T73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1" h="32">
                <a:moveTo>
                  <a:pt x="31" y="0"/>
                </a:moveTo>
                <a:cubicBezTo>
                  <a:pt x="28" y="2"/>
                  <a:pt x="27" y="4"/>
                  <a:pt x="23" y="3"/>
                </a:cubicBezTo>
                <a:cubicBezTo>
                  <a:pt x="21" y="2"/>
                  <a:pt x="15" y="1"/>
                  <a:pt x="13" y="2"/>
                </a:cubicBezTo>
                <a:cubicBezTo>
                  <a:pt x="13" y="5"/>
                  <a:pt x="10" y="3"/>
                  <a:pt x="9" y="4"/>
                </a:cubicBezTo>
                <a:cubicBezTo>
                  <a:pt x="8" y="5"/>
                  <a:pt x="7" y="5"/>
                  <a:pt x="6" y="5"/>
                </a:cubicBezTo>
                <a:cubicBezTo>
                  <a:pt x="4" y="6"/>
                  <a:pt x="4" y="7"/>
                  <a:pt x="4" y="8"/>
                </a:cubicBezTo>
                <a:cubicBezTo>
                  <a:pt x="3" y="9"/>
                  <a:pt x="3" y="10"/>
                  <a:pt x="2" y="11"/>
                </a:cubicBezTo>
                <a:cubicBezTo>
                  <a:pt x="0" y="13"/>
                  <a:pt x="0" y="13"/>
                  <a:pt x="2" y="15"/>
                </a:cubicBezTo>
                <a:cubicBezTo>
                  <a:pt x="3" y="16"/>
                  <a:pt x="4" y="16"/>
                  <a:pt x="4" y="17"/>
                </a:cubicBezTo>
                <a:cubicBezTo>
                  <a:pt x="4" y="19"/>
                  <a:pt x="4" y="20"/>
                  <a:pt x="5" y="22"/>
                </a:cubicBezTo>
                <a:cubicBezTo>
                  <a:pt x="5" y="23"/>
                  <a:pt x="5" y="24"/>
                  <a:pt x="6" y="25"/>
                </a:cubicBezTo>
                <a:cubicBezTo>
                  <a:pt x="8" y="26"/>
                  <a:pt x="6" y="27"/>
                  <a:pt x="7" y="28"/>
                </a:cubicBezTo>
                <a:cubicBezTo>
                  <a:pt x="7" y="30"/>
                  <a:pt x="8" y="29"/>
                  <a:pt x="8" y="29"/>
                </a:cubicBezTo>
                <a:cubicBezTo>
                  <a:pt x="10" y="29"/>
                  <a:pt x="10" y="30"/>
                  <a:pt x="10" y="31"/>
                </a:cubicBezTo>
                <a:cubicBezTo>
                  <a:pt x="11" y="31"/>
                  <a:pt x="12" y="30"/>
                  <a:pt x="12" y="30"/>
                </a:cubicBezTo>
                <a:cubicBezTo>
                  <a:pt x="13" y="29"/>
                  <a:pt x="13" y="31"/>
                  <a:pt x="13" y="31"/>
                </a:cubicBezTo>
                <a:cubicBezTo>
                  <a:pt x="14" y="32"/>
                  <a:pt x="13" y="25"/>
                  <a:pt x="13" y="26"/>
                </a:cubicBezTo>
                <a:cubicBezTo>
                  <a:pt x="13" y="25"/>
                  <a:pt x="16" y="26"/>
                  <a:pt x="17" y="26"/>
                </a:cubicBezTo>
                <a:cubicBezTo>
                  <a:pt x="17" y="25"/>
                  <a:pt x="14" y="24"/>
                  <a:pt x="14" y="23"/>
                </a:cubicBezTo>
                <a:cubicBezTo>
                  <a:pt x="15" y="21"/>
                  <a:pt x="17" y="23"/>
                  <a:pt x="17" y="24"/>
                </a:cubicBezTo>
                <a:cubicBezTo>
                  <a:pt x="19" y="25"/>
                  <a:pt x="18" y="23"/>
                  <a:pt x="18" y="22"/>
                </a:cubicBezTo>
                <a:cubicBezTo>
                  <a:pt x="18" y="21"/>
                  <a:pt x="21" y="23"/>
                  <a:pt x="21" y="23"/>
                </a:cubicBezTo>
                <a:cubicBezTo>
                  <a:pt x="21" y="22"/>
                  <a:pt x="19" y="19"/>
                  <a:pt x="19" y="19"/>
                </a:cubicBezTo>
                <a:cubicBezTo>
                  <a:pt x="18" y="18"/>
                  <a:pt x="16" y="18"/>
                  <a:pt x="15" y="17"/>
                </a:cubicBezTo>
                <a:cubicBezTo>
                  <a:pt x="15" y="17"/>
                  <a:pt x="15" y="15"/>
                  <a:pt x="15" y="16"/>
                </a:cubicBezTo>
                <a:cubicBezTo>
                  <a:pt x="14" y="14"/>
                  <a:pt x="11" y="12"/>
                  <a:pt x="11" y="10"/>
                </a:cubicBezTo>
                <a:cubicBezTo>
                  <a:pt x="12" y="6"/>
                  <a:pt x="15" y="10"/>
                  <a:pt x="16" y="11"/>
                </a:cubicBezTo>
                <a:cubicBezTo>
                  <a:pt x="16" y="11"/>
                  <a:pt x="16" y="10"/>
                  <a:pt x="16" y="10"/>
                </a:cubicBezTo>
                <a:cubicBezTo>
                  <a:pt x="17" y="9"/>
                  <a:pt x="18" y="10"/>
                  <a:pt x="18" y="11"/>
                </a:cubicBezTo>
                <a:cubicBezTo>
                  <a:pt x="18" y="11"/>
                  <a:pt x="17" y="9"/>
                  <a:pt x="17" y="9"/>
                </a:cubicBezTo>
                <a:cubicBezTo>
                  <a:pt x="18" y="9"/>
                  <a:pt x="20" y="10"/>
                  <a:pt x="21" y="10"/>
                </a:cubicBezTo>
                <a:cubicBezTo>
                  <a:pt x="21" y="9"/>
                  <a:pt x="17" y="9"/>
                  <a:pt x="17" y="7"/>
                </a:cubicBezTo>
                <a:cubicBezTo>
                  <a:pt x="17" y="7"/>
                  <a:pt x="21" y="5"/>
                  <a:pt x="22" y="5"/>
                </a:cubicBezTo>
                <a:cubicBezTo>
                  <a:pt x="22" y="5"/>
                  <a:pt x="21" y="7"/>
                  <a:pt x="21" y="7"/>
                </a:cubicBezTo>
                <a:cubicBezTo>
                  <a:pt x="21" y="7"/>
                  <a:pt x="24" y="5"/>
                  <a:pt x="25" y="5"/>
                </a:cubicBezTo>
                <a:cubicBezTo>
                  <a:pt x="26" y="5"/>
                  <a:pt x="27" y="6"/>
                  <a:pt x="29" y="7"/>
                </a:cubicBezTo>
                <a:cubicBezTo>
                  <a:pt x="30" y="5"/>
                  <a:pt x="31" y="2"/>
                  <a:pt x="3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76" name="Freeform 672">
            <a:extLst>
              <a:ext uri="{FF2B5EF4-FFF2-40B4-BE49-F238E27FC236}">
                <a16:creationId xmlns:a16="http://schemas.microsoft.com/office/drawing/2014/main" id="{8D07A4BE-6BE8-6F41-914D-3A1F1B04FCDA}"/>
              </a:ext>
            </a:extLst>
          </p:cNvPr>
          <p:cNvSpPr>
            <a:spLocks/>
          </p:cNvSpPr>
          <p:nvPr/>
        </p:nvSpPr>
        <p:spPr bwMode="auto">
          <a:xfrm>
            <a:off x="6520164" y="3730891"/>
            <a:ext cx="77653" cy="51193"/>
          </a:xfrm>
          <a:custGeom>
            <a:avLst/>
            <a:gdLst>
              <a:gd name="T0" fmla="*/ 15 w 15"/>
              <a:gd name="T1" fmla="*/ 6 h 10"/>
              <a:gd name="T2" fmla="*/ 10 w 15"/>
              <a:gd name="T3" fmla="*/ 1 h 10"/>
              <a:gd name="T4" fmla="*/ 2 w 15"/>
              <a:gd name="T5" fmla="*/ 5 h 10"/>
              <a:gd name="T6" fmla="*/ 1 w 15"/>
              <a:gd name="T7" fmla="*/ 9 h 10"/>
              <a:gd name="T8" fmla="*/ 6 w 15"/>
              <a:gd name="T9" fmla="*/ 9 h 10"/>
              <a:gd name="T10" fmla="*/ 11 w 15"/>
              <a:gd name="T11" fmla="*/ 7 h 10"/>
              <a:gd name="T12" fmla="*/ 15 w 15"/>
              <a:gd name="T13" fmla="*/ 6 h 10"/>
              <a:gd name="T14" fmla="*/ 15 w 15"/>
              <a:gd name="T15" fmla="*/ 6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10">
                <a:moveTo>
                  <a:pt x="15" y="6"/>
                </a:moveTo>
                <a:cubicBezTo>
                  <a:pt x="13" y="4"/>
                  <a:pt x="10" y="4"/>
                  <a:pt x="10" y="1"/>
                </a:cubicBezTo>
                <a:cubicBezTo>
                  <a:pt x="5" y="0"/>
                  <a:pt x="4" y="0"/>
                  <a:pt x="2" y="5"/>
                </a:cubicBezTo>
                <a:cubicBezTo>
                  <a:pt x="2" y="6"/>
                  <a:pt x="0" y="9"/>
                  <a:pt x="1" y="9"/>
                </a:cubicBezTo>
                <a:cubicBezTo>
                  <a:pt x="3" y="10"/>
                  <a:pt x="5" y="10"/>
                  <a:pt x="6" y="9"/>
                </a:cubicBezTo>
                <a:cubicBezTo>
                  <a:pt x="8" y="8"/>
                  <a:pt x="9" y="7"/>
                  <a:pt x="11" y="7"/>
                </a:cubicBezTo>
                <a:cubicBezTo>
                  <a:pt x="11" y="7"/>
                  <a:pt x="15" y="7"/>
                  <a:pt x="15" y="6"/>
                </a:cubicBezTo>
                <a:cubicBezTo>
                  <a:pt x="14" y="6"/>
                  <a:pt x="15" y="7"/>
                  <a:pt x="15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77" name="Freeform 673">
            <a:extLst>
              <a:ext uri="{FF2B5EF4-FFF2-40B4-BE49-F238E27FC236}">
                <a16:creationId xmlns:a16="http://schemas.microsoft.com/office/drawing/2014/main" id="{2DC5531F-7E9F-DD4A-A917-47BA8353BAA3}"/>
              </a:ext>
            </a:extLst>
          </p:cNvPr>
          <p:cNvSpPr>
            <a:spLocks/>
          </p:cNvSpPr>
          <p:nvPr/>
        </p:nvSpPr>
        <p:spPr bwMode="auto">
          <a:xfrm>
            <a:off x="6354269" y="3715005"/>
            <a:ext cx="45886" cy="93563"/>
          </a:xfrm>
          <a:custGeom>
            <a:avLst/>
            <a:gdLst>
              <a:gd name="T0" fmla="*/ 6 w 9"/>
              <a:gd name="T1" fmla="*/ 16 h 18"/>
              <a:gd name="T2" fmla="*/ 7 w 9"/>
              <a:gd name="T3" fmla="*/ 11 h 18"/>
              <a:gd name="T4" fmla="*/ 6 w 9"/>
              <a:gd name="T5" fmla="*/ 6 h 18"/>
              <a:gd name="T6" fmla="*/ 7 w 9"/>
              <a:gd name="T7" fmla="*/ 4 h 18"/>
              <a:gd name="T8" fmla="*/ 3 w 9"/>
              <a:gd name="T9" fmla="*/ 1 h 18"/>
              <a:gd name="T10" fmla="*/ 0 w 9"/>
              <a:gd name="T11" fmla="*/ 9 h 18"/>
              <a:gd name="T12" fmla="*/ 4 w 9"/>
              <a:gd name="T13" fmla="*/ 18 h 18"/>
              <a:gd name="T14" fmla="*/ 6 w 9"/>
              <a:gd name="T15" fmla="*/ 16 h 18"/>
              <a:gd name="T16" fmla="*/ 6 w 9"/>
              <a:gd name="T17" fmla="*/ 16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" h="18">
                <a:moveTo>
                  <a:pt x="6" y="16"/>
                </a:moveTo>
                <a:cubicBezTo>
                  <a:pt x="7" y="14"/>
                  <a:pt x="9" y="12"/>
                  <a:pt x="7" y="11"/>
                </a:cubicBezTo>
                <a:cubicBezTo>
                  <a:pt x="6" y="10"/>
                  <a:pt x="5" y="8"/>
                  <a:pt x="6" y="6"/>
                </a:cubicBezTo>
                <a:cubicBezTo>
                  <a:pt x="6" y="6"/>
                  <a:pt x="7" y="4"/>
                  <a:pt x="7" y="4"/>
                </a:cubicBezTo>
                <a:cubicBezTo>
                  <a:pt x="6" y="3"/>
                  <a:pt x="4" y="1"/>
                  <a:pt x="3" y="1"/>
                </a:cubicBezTo>
                <a:cubicBezTo>
                  <a:pt x="0" y="0"/>
                  <a:pt x="0" y="7"/>
                  <a:pt x="0" y="9"/>
                </a:cubicBezTo>
                <a:cubicBezTo>
                  <a:pt x="0" y="13"/>
                  <a:pt x="2" y="15"/>
                  <a:pt x="4" y="18"/>
                </a:cubicBezTo>
                <a:cubicBezTo>
                  <a:pt x="5" y="17"/>
                  <a:pt x="6" y="16"/>
                  <a:pt x="6" y="16"/>
                </a:cubicBezTo>
                <a:cubicBezTo>
                  <a:pt x="7" y="14"/>
                  <a:pt x="6" y="16"/>
                  <a:pt x="6" y="1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78" name="Freeform 674">
            <a:extLst>
              <a:ext uri="{FF2B5EF4-FFF2-40B4-BE49-F238E27FC236}">
                <a16:creationId xmlns:a16="http://schemas.microsoft.com/office/drawing/2014/main" id="{C5144EC6-B347-7A4A-BBB4-AAD09779BACF}"/>
              </a:ext>
            </a:extLst>
          </p:cNvPr>
          <p:cNvSpPr>
            <a:spLocks/>
          </p:cNvSpPr>
          <p:nvPr/>
        </p:nvSpPr>
        <p:spPr bwMode="auto">
          <a:xfrm>
            <a:off x="6380740" y="3725597"/>
            <a:ext cx="67063" cy="45899"/>
          </a:xfrm>
          <a:custGeom>
            <a:avLst/>
            <a:gdLst>
              <a:gd name="T0" fmla="*/ 11 w 13"/>
              <a:gd name="T1" fmla="*/ 0 h 9"/>
              <a:gd name="T2" fmla="*/ 2 w 13"/>
              <a:gd name="T3" fmla="*/ 2 h 9"/>
              <a:gd name="T4" fmla="*/ 3 w 13"/>
              <a:gd name="T5" fmla="*/ 9 h 9"/>
              <a:gd name="T6" fmla="*/ 7 w 13"/>
              <a:gd name="T7" fmla="*/ 8 h 9"/>
              <a:gd name="T8" fmla="*/ 10 w 13"/>
              <a:gd name="T9" fmla="*/ 7 h 9"/>
              <a:gd name="T10" fmla="*/ 11 w 13"/>
              <a:gd name="T11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" h="9">
                <a:moveTo>
                  <a:pt x="11" y="0"/>
                </a:moveTo>
                <a:cubicBezTo>
                  <a:pt x="9" y="0"/>
                  <a:pt x="2" y="0"/>
                  <a:pt x="2" y="2"/>
                </a:cubicBezTo>
                <a:cubicBezTo>
                  <a:pt x="0" y="4"/>
                  <a:pt x="0" y="8"/>
                  <a:pt x="3" y="9"/>
                </a:cubicBezTo>
                <a:cubicBezTo>
                  <a:pt x="4" y="8"/>
                  <a:pt x="6" y="9"/>
                  <a:pt x="7" y="8"/>
                </a:cubicBezTo>
                <a:cubicBezTo>
                  <a:pt x="8" y="8"/>
                  <a:pt x="9" y="6"/>
                  <a:pt x="10" y="7"/>
                </a:cubicBezTo>
                <a:cubicBezTo>
                  <a:pt x="13" y="9"/>
                  <a:pt x="11" y="1"/>
                  <a:pt x="1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79" name="Freeform 675">
            <a:extLst>
              <a:ext uri="{FF2B5EF4-FFF2-40B4-BE49-F238E27FC236}">
                <a16:creationId xmlns:a16="http://schemas.microsoft.com/office/drawing/2014/main" id="{DC7B4893-913E-C349-B420-F247FC04E9EA}"/>
              </a:ext>
            </a:extLst>
          </p:cNvPr>
          <p:cNvSpPr>
            <a:spLocks/>
          </p:cNvSpPr>
          <p:nvPr/>
        </p:nvSpPr>
        <p:spPr bwMode="auto">
          <a:xfrm>
            <a:off x="6949022" y="3755606"/>
            <a:ext cx="98832" cy="82970"/>
          </a:xfrm>
          <a:custGeom>
            <a:avLst/>
            <a:gdLst>
              <a:gd name="T0" fmla="*/ 19 w 19"/>
              <a:gd name="T1" fmla="*/ 14 h 16"/>
              <a:gd name="T2" fmla="*/ 17 w 19"/>
              <a:gd name="T3" fmla="*/ 10 h 16"/>
              <a:gd name="T4" fmla="*/ 16 w 19"/>
              <a:gd name="T5" fmla="*/ 7 h 16"/>
              <a:gd name="T6" fmla="*/ 14 w 19"/>
              <a:gd name="T7" fmla="*/ 3 h 16"/>
              <a:gd name="T8" fmla="*/ 12 w 19"/>
              <a:gd name="T9" fmla="*/ 0 h 16"/>
              <a:gd name="T10" fmla="*/ 6 w 19"/>
              <a:gd name="T11" fmla="*/ 6 h 16"/>
              <a:gd name="T12" fmla="*/ 9 w 19"/>
              <a:gd name="T13" fmla="*/ 9 h 16"/>
              <a:gd name="T14" fmla="*/ 12 w 19"/>
              <a:gd name="T15" fmla="*/ 11 h 16"/>
              <a:gd name="T16" fmla="*/ 16 w 19"/>
              <a:gd name="T17" fmla="*/ 13 h 16"/>
              <a:gd name="T18" fmla="*/ 19 w 19"/>
              <a:gd name="T19" fmla="*/ 14 h 16"/>
              <a:gd name="T20" fmla="*/ 19 w 19"/>
              <a:gd name="T21" fmla="*/ 14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9" h="16">
                <a:moveTo>
                  <a:pt x="19" y="14"/>
                </a:moveTo>
                <a:cubicBezTo>
                  <a:pt x="19" y="12"/>
                  <a:pt x="19" y="11"/>
                  <a:pt x="17" y="10"/>
                </a:cubicBezTo>
                <a:cubicBezTo>
                  <a:pt x="15" y="9"/>
                  <a:pt x="17" y="8"/>
                  <a:pt x="16" y="7"/>
                </a:cubicBezTo>
                <a:cubicBezTo>
                  <a:pt x="15" y="5"/>
                  <a:pt x="14" y="6"/>
                  <a:pt x="14" y="3"/>
                </a:cubicBezTo>
                <a:cubicBezTo>
                  <a:pt x="14" y="3"/>
                  <a:pt x="11" y="1"/>
                  <a:pt x="12" y="0"/>
                </a:cubicBezTo>
                <a:cubicBezTo>
                  <a:pt x="9" y="0"/>
                  <a:pt x="0" y="1"/>
                  <a:pt x="6" y="6"/>
                </a:cubicBezTo>
                <a:cubicBezTo>
                  <a:pt x="7" y="7"/>
                  <a:pt x="8" y="8"/>
                  <a:pt x="9" y="9"/>
                </a:cubicBezTo>
                <a:cubicBezTo>
                  <a:pt x="10" y="10"/>
                  <a:pt x="11" y="10"/>
                  <a:pt x="12" y="11"/>
                </a:cubicBezTo>
                <a:cubicBezTo>
                  <a:pt x="14" y="11"/>
                  <a:pt x="16" y="11"/>
                  <a:pt x="16" y="13"/>
                </a:cubicBezTo>
                <a:cubicBezTo>
                  <a:pt x="17" y="14"/>
                  <a:pt x="18" y="16"/>
                  <a:pt x="19" y="14"/>
                </a:cubicBezTo>
                <a:cubicBezTo>
                  <a:pt x="19" y="13"/>
                  <a:pt x="18" y="15"/>
                  <a:pt x="19" y="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80" name="Freeform 676">
            <a:extLst>
              <a:ext uri="{FF2B5EF4-FFF2-40B4-BE49-F238E27FC236}">
                <a16:creationId xmlns:a16="http://schemas.microsoft.com/office/drawing/2014/main" id="{715000C9-8151-F841-B0AC-EF017853042F}"/>
              </a:ext>
            </a:extLst>
          </p:cNvPr>
          <p:cNvSpPr>
            <a:spLocks/>
          </p:cNvSpPr>
          <p:nvPr/>
        </p:nvSpPr>
        <p:spPr bwMode="auto">
          <a:xfrm>
            <a:off x="6986083" y="3797973"/>
            <a:ext cx="511806" cy="434264"/>
          </a:xfrm>
          <a:custGeom>
            <a:avLst/>
            <a:gdLst>
              <a:gd name="T0" fmla="*/ 95 w 99"/>
              <a:gd name="T1" fmla="*/ 73 h 84"/>
              <a:gd name="T2" fmla="*/ 93 w 99"/>
              <a:gd name="T3" fmla="*/ 68 h 84"/>
              <a:gd name="T4" fmla="*/ 90 w 99"/>
              <a:gd name="T5" fmla="*/ 65 h 84"/>
              <a:gd name="T6" fmla="*/ 86 w 99"/>
              <a:gd name="T7" fmla="*/ 60 h 84"/>
              <a:gd name="T8" fmla="*/ 87 w 99"/>
              <a:gd name="T9" fmla="*/ 55 h 84"/>
              <a:gd name="T10" fmla="*/ 89 w 99"/>
              <a:gd name="T11" fmla="*/ 50 h 84"/>
              <a:gd name="T12" fmla="*/ 84 w 99"/>
              <a:gd name="T13" fmla="*/ 49 h 84"/>
              <a:gd name="T14" fmla="*/ 84 w 99"/>
              <a:gd name="T15" fmla="*/ 46 h 84"/>
              <a:gd name="T16" fmla="*/ 84 w 99"/>
              <a:gd name="T17" fmla="*/ 40 h 84"/>
              <a:gd name="T18" fmla="*/ 82 w 99"/>
              <a:gd name="T19" fmla="*/ 36 h 84"/>
              <a:gd name="T20" fmla="*/ 85 w 99"/>
              <a:gd name="T21" fmla="*/ 31 h 84"/>
              <a:gd name="T22" fmla="*/ 86 w 99"/>
              <a:gd name="T23" fmla="*/ 20 h 84"/>
              <a:gd name="T24" fmla="*/ 79 w 99"/>
              <a:gd name="T25" fmla="*/ 18 h 84"/>
              <a:gd name="T26" fmla="*/ 76 w 99"/>
              <a:gd name="T27" fmla="*/ 15 h 84"/>
              <a:gd name="T28" fmla="*/ 71 w 99"/>
              <a:gd name="T29" fmla="*/ 13 h 84"/>
              <a:gd name="T30" fmla="*/ 66 w 99"/>
              <a:gd name="T31" fmla="*/ 12 h 84"/>
              <a:gd name="T32" fmla="*/ 61 w 99"/>
              <a:gd name="T33" fmla="*/ 11 h 84"/>
              <a:gd name="T34" fmla="*/ 57 w 99"/>
              <a:gd name="T35" fmla="*/ 12 h 84"/>
              <a:gd name="T36" fmla="*/ 53 w 99"/>
              <a:gd name="T37" fmla="*/ 15 h 84"/>
              <a:gd name="T38" fmla="*/ 49 w 99"/>
              <a:gd name="T39" fmla="*/ 17 h 84"/>
              <a:gd name="T40" fmla="*/ 46 w 99"/>
              <a:gd name="T41" fmla="*/ 20 h 84"/>
              <a:gd name="T42" fmla="*/ 33 w 99"/>
              <a:gd name="T43" fmla="*/ 18 h 84"/>
              <a:gd name="T44" fmla="*/ 30 w 99"/>
              <a:gd name="T45" fmla="*/ 16 h 84"/>
              <a:gd name="T46" fmla="*/ 25 w 99"/>
              <a:gd name="T47" fmla="*/ 15 h 84"/>
              <a:gd name="T48" fmla="*/ 24 w 99"/>
              <a:gd name="T49" fmla="*/ 10 h 84"/>
              <a:gd name="T50" fmla="*/ 20 w 99"/>
              <a:gd name="T51" fmla="*/ 5 h 84"/>
              <a:gd name="T52" fmla="*/ 14 w 99"/>
              <a:gd name="T53" fmla="*/ 5 h 84"/>
              <a:gd name="T54" fmla="*/ 11 w 99"/>
              <a:gd name="T55" fmla="*/ 7 h 84"/>
              <a:gd name="T56" fmla="*/ 5 w 99"/>
              <a:gd name="T57" fmla="*/ 4 h 84"/>
              <a:gd name="T58" fmla="*/ 1 w 99"/>
              <a:gd name="T59" fmla="*/ 3 h 84"/>
              <a:gd name="T60" fmla="*/ 0 w 99"/>
              <a:gd name="T61" fmla="*/ 5 h 84"/>
              <a:gd name="T62" fmla="*/ 1 w 99"/>
              <a:gd name="T63" fmla="*/ 8 h 84"/>
              <a:gd name="T64" fmla="*/ 1 w 99"/>
              <a:gd name="T65" fmla="*/ 10 h 84"/>
              <a:gd name="T66" fmla="*/ 1 w 99"/>
              <a:gd name="T67" fmla="*/ 12 h 84"/>
              <a:gd name="T68" fmla="*/ 3 w 99"/>
              <a:gd name="T69" fmla="*/ 14 h 84"/>
              <a:gd name="T70" fmla="*/ 3 w 99"/>
              <a:gd name="T71" fmla="*/ 16 h 84"/>
              <a:gd name="T72" fmla="*/ 5 w 99"/>
              <a:gd name="T73" fmla="*/ 21 h 84"/>
              <a:gd name="T74" fmla="*/ 8 w 99"/>
              <a:gd name="T75" fmla="*/ 24 h 84"/>
              <a:gd name="T76" fmla="*/ 10 w 99"/>
              <a:gd name="T77" fmla="*/ 25 h 84"/>
              <a:gd name="T78" fmla="*/ 8 w 99"/>
              <a:gd name="T79" fmla="*/ 37 h 84"/>
              <a:gd name="T80" fmla="*/ 12 w 99"/>
              <a:gd name="T81" fmla="*/ 41 h 84"/>
              <a:gd name="T82" fmla="*/ 18 w 99"/>
              <a:gd name="T83" fmla="*/ 47 h 84"/>
              <a:gd name="T84" fmla="*/ 17 w 99"/>
              <a:gd name="T85" fmla="*/ 50 h 84"/>
              <a:gd name="T86" fmla="*/ 19 w 99"/>
              <a:gd name="T87" fmla="*/ 52 h 84"/>
              <a:gd name="T88" fmla="*/ 22 w 99"/>
              <a:gd name="T89" fmla="*/ 58 h 84"/>
              <a:gd name="T90" fmla="*/ 24 w 99"/>
              <a:gd name="T91" fmla="*/ 55 h 84"/>
              <a:gd name="T92" fmla="*/ 25 w 99"/>
              <a:gd name="T93" fmla="*/ 56 h 84"/>
              <a:gd name="T94" fmla="*/ 26 w 99"/>
              <a:gd name="T95" fmla="*/ 57 h 84"/>
              <a:gd name="T96" fmla="*/ 30 w 99"/>
              <a:gd name="T97" fmla="*/ 57 h 84"/>
              <a:gd name="T98" fmla="*/ 35 w 99"/>
              <a:gd name="T99" fmla="*/ 66 h 84"/>
              <a:gd name="T100" fmla="*/ 46 w 99"/>
              <a:gd name="T101" fmla="*/ 74 h 84"/>
              <a:gd name="T102" fmla="*/ 52 w 99"/>
              <a:gd name="T103" fmla="*/ 76 h 84"/>
              <a:gd name="T104" fmla="*/ 56 w 99"/>
              <a:gd name="T105" fmla="*/ 75 h 84"/>
              <a:gd name="T106" fmla="*/ 56 w 99"/>
              <a:gd name="T107" fmla="*/ 76 h 84"/>
              <a:gd name="T108" fmla="*/ 61 w 99"/>
              <a:gd name="T109" fmla="*/ 73 h 84"/>
              <a:gd name="T110" fmla="*/ 60 w 99"/>
              <a:gd name="T111" fmla="*/ 73 h 84"/>
              <a:gd name="T112" fmla="*/ 62 w 99"/>
              <a:gd name="T113" fmla="*/ 73 h 84"/>
              <a:gd name="T114" fmla="*/ 65 w 99"/>
              <a:gd name="T115" fmla="*/ 77 h 84"/>
              <a:gd name="T116" fmla="*/ 69 w 99"/>
              <a:gd name="T117" fmla="*/ 81 h 84"/>
              <a:gd name="T118" fmla="*/ 88 w 99"/>
              <a:gd name="T119" fmla="*/ 84 h 84"/>
              <a:gd name="T120" fmla="*/ 92 w 99"/>
              <a:gd name="T121" fmla="*/ 77 h 84"/>
              <a:gd name="T122" fmla="*/ 95 w 99"/>
              <a:gd name="T123" fmla="*/ 73 h 84"/>
              <a:gd name="T124" fmla="*/ 95 w 99"/>
              <a:gd name="T125" fmla="*/ 73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9" h="84">
                <a:moveTo>
                  <a:pt x="95" y="73"/>
                </a:moveTo>
                <a:cubicBezTo>
                  <a:pt x="93" y="72"/>
                  <a:pt x="94" y="70"/>
                  <a:pt x="93" y="68"/>
                </a:cubicBezTo>
                <a:cubicBezTo>
                  <a:pt x="93" y="67"/>
                  <a:pt x="91" y="66"/>
                  <a:pt x="90" y="65"/>
                </a:cubicBezTo>
                <a:cubicBezTo>
                  <a:pt x="88" y="64"/>
                  <a:pt x="87" y="62"/>
                  <a:pt x="86" y="60"/>
                </a:cubicBezTo>
                <a:cubicBezTo>
                  <a:pt x="84" y="58"/>
                  <a:pt x="85" y="58"/>
                  <a:pt x="87" y="55"/>
                </a:cubicBezTo>
                <a:cubicBezTo>
                  <a:pt x="88" y="54"/>
                  <a:pt x="90" y="52"/>
                  <a:pt x="89" y="50"/>
                </a:cubicBezTo>
                <a:cubicBezTo>
                  <a:pt x="88" y="49"/>
                  <a:pt x="85" y="49"/>
                  <a:pt x="84" y="49"/>
                </a:cubicBezTo>
                <a:cubicBezTo>
                  <a:pt x="83" y="48"/>
                  <a:pt x="84" y="46"/>
                  <a:pt x="84" y="46"/>
                </a:cubicBezTo>
                <a:cubicBezTo>
                  <a:pt x="83" y="44"/>
                  <a:pt x="83" y="41"/>
                  <a:pt x="84" y="40"/>
                </a:cubicBezTo>
                <a:cubicBezTo>
                  <a:pt x="86" y="38"/>
                  <a:pt x="83" y="37"/>
                  <a:pt x="82" y="36"/>
                </a:cubicBezTo>
                <a:cubicBezTo>
                  <a:pt x="82" y="35"/>
                  <a:pt x="84" y="32"/>
                  <a:pt x="85" y="31"/>
                </a:cubicBezTo>
                <a:cubicBezTo>
                  <a:pt x="85" y="30"/>
                  <a:pt x="87" y="20"/>
                  <a:pt x="86" y="20"/>
                </a:cubicBezTo>
                <a:cubicBezTo>
                  <a:pt x="83" y="20"/>
                  <a:pt x="82" y="20"/>
                  <a:pt x="79" y="18"/>
                </a:cubicBezTo>
                <a:cubicBezTo>
                  <a:pt x="78" y="17"/>
                  <a:pt x="77" y="16"/>
                  <a:pt x="76" y="15"/>
                </a:cubicBezTo>
                <a:cubicBezTo>
                  <a:pt x="75" y="14"/>
                  <a:pt x="72" y="14"/>
                  <a:pt x="71" y="13"/>
                </a:cubicBezTo>
                <a:cubicBezTo>
                  <a:pt x="69" y="13"/>
                  <a:pt x="68" y="13"/>
                  <a:pt x="66" y="12"/>
                </a:cubicBezTo>
                <a:cubicBezTo>
                  <a:pt x="65" y="10"/>
                  <a:pt x="63" y="11"/>
                  <a:pt x="61" y="11"/>
                </a:cubicBezTo>
                <a:cubicBezTo>
                  <a:pt x="60" y="12"/>
                  <a:pt x="58" y="11"/>
                  <a:pt x="57" y="12"/>
                </a:cubicBezTo>
                <a:cubicBezTo>
                  <a:pt x="55" y="12"/>
                  <a:pt x="54" y="14"/>
                  <a:pt x="53" y="15"/>
                </a:cubicBezTo>
                <a:cubicBezTo>
                  <a:pt x="52" y="16"/>
                  <a:pt x="49" y="15"/>
                  <a:pt x="49" y="17"/>
                </a:cubicBezTo>
                <a:cubicBezTo>
                  <a:pt x="49" y="19"/>
                  <a:pt x="48" y="19"/>
                  <a:pt x="46" y="20"/>
                </a:cubicBezTo>
                <a:cubicBezTo>
                  <a:pt x="41" y="21"/>
                  <a:pt x="37" y="21"/>
                  <a:pt x="33" y="18"/>
                </a:cubicBezTo>
                <a:cubicBezTo>
                  <a:pt x="32" y="17"/>
                  <a:pt x="31" y="16"/>
                  <a:pt x="30" y="16"/>
                </a:cubicBezTo>
                <a:cubicBezTo>
                  <a:pt x="28" y="14"/>
                  <a:pt x="27" y="15"/>
                  <a:pt x="25" y="15"/>
                </a:cubicBezTo>
                <a:cubicBezTo>
                  <a:pt x="24" y="14"/>
                  <a:pt x="24" y="11"/>
                  <a:pt x="24" y="10"/>
                </a:cubicBezTo>
                <a:cubicBezTo>
                  <a:pt x="21" y="9"/>
                  <a:pt x="20" y="8"/>
                  <a:pt x="20" y="5"/>
                </a:cubicBezTo>
                <a:cubicBezTo>
                  <a:pt x="20" y="0"/>
                  <a:pt x="16" y="3"/>
                  <a:pt x="14" y="5"/>
                </a:cubicBezTo>
                <a:cubicBezTo>
                  <a:pt x="13" y="6"/>
                  <a:pt x="12" y="7"/>
                  <a:pt x="11" y="7"/>
                </a:cubicBezTo>
                <a:cubicBezTo>
                  <a:pt x="9" y="6"/>
                  <a:pt x="6" y="6"/>
                  <a:pt x="5" y="4"/>
                </a:cubicBezTo>
                <a:cubicBezTo>
                  <a:pt x="3" y="2"/>
                  <a:pt x="3" y="1"/>
                  <a:pt x="1" y="3"/>
                </a:cubicBezTo>
                <a:cubicBezTo>
                  <a:pt x="1" y="4"/>
                  <a:pt x="0" y="4"/>
                  <a:pt x="0" y="5"/>
                </a:cubicBezTo>
                <a:cubicBezTo>
                  <a:pt x="0" y="6"/>
                  <a:pt x="0" y="7"/>
                  <a:pt x="1" y="8"/>
                </a:cubicBezTo>
                <a:cubicBezTo>
                  <a:pt x="1" y="8"/>
                  <a:pt x="2" y="10"/>
                  <a:pt x="1" y="10"/>
                </a:cubicBezTo>
                <a:cubicBezTo>
                  <a:pt x="1" y="11"/>
                  <a:pt x="0" y="11"/>
                  <a:pt x="1" y="12"/>
                </a:cubicBezTo>
                <a:cubicBezTo>
                  <a:pt x="1" y="13"/>
                  <a:pt x="3" y="13"/>
                  <a:pt x="3" y="14"/>
                </a:cubicBezTo>
                <a:cubicBezTo>
                  <a:pt x="3" y="15"/>
                  <a:pt x="2" y="16"/>
                  <a:pt x="3" y="16"/>
                </a:cubicBezTo>
                <a:cubicBezTo>
                  <a:pt x="4" y="18"/>
                  <a:pt x="4" y="19"/>
                  <a:pt x="5" y="21"/>
                </a:cubicBezTo>
                <a:cubicBezTo>
                  <a:pt x="6" y="22"/>
                  <a:pt x="6" y="23"/>
                  <a:pt x="8" y="24"/>
                </a:cubicBezTo>
                <a:cubicBezTo>
                  <a:pt x="8" y="24"/>
                  <a:pt x="10" y="25"/>
                  <a:pt x="10" y="25"/>
                </a:cubicBezTo>
                <a:cubicBezTo>
                  <a:pt x="11" y="29"/>
                  <a:pt x="2" y="33"/>
                  <a:pt x="8" y="37"/>
                </a:cubicBezTo>
                <a:cubicBezTo>
                  <a:pt x="10" y="38"/>
                  <a:pt x="10" y="40"/>
                  <a:pt x="12" y="41"/>
                </a:cubicBezTo>
                <a:cubicBezTo>
                  <a:pt x="14" y="43"/>
                  <a:pt x="16" y="44"/>
                  <a:pt x="18" y="47"/>
                </a:cubicBezTo>
                <a:cubicBezTo>
                  <a:pt x="18" y="48"/>
                  <a:pt x="17" y="49"/>
                  <a:pt x="17" y="50"/>
                </a:cubicBezTo>
                <a:cubicBezTo>
                  <a:pt x="18" y="51"/>
                  <a:pt x="20" y="51"/>
                  <a:pt x="19" y="52"/>
                </a:cubicBezTo>
                <a:cubicBezTo>
                  <a:pt x="19" y="55"/>
                  <a:pt x="21" y="56"/>
                  <a:pt x="22" y="58"/>
                </a:cubicBezTo>
                <a:cubicBezTo>
                  <a:pt x="24" y="57"/>
                  <a:pt x="23" y="56"/>
                  <a:pt x="24" y="55"/>
                </a:cubicBezTo>
                <a:cubicBezTo>
                  <a:pt x="24" y="55"/>
                  <a:pt x="25" y="56"/>
                  <a:pt x="25" y="56"/>
                </a:cubicBezTo>
                <a:cubicBezTo>
                  <a:pt x="27" y="56"/>
                  <a:pt x="25" y="56"/>
                  <a:pt x="26" y="57"/>
                </a:cubicBezTo>
                <a:cubicBezTo>
                  <a:pt x="27" y="58"/>
                  <a:pt x="28" y="55"/>
                  <a:pt x="30" y="57"/>
                </a:cubicBezTo>
                <a:cubicBezTo>
                  <a:pt x="32" y="60"/>
                  <a:pt x="33" y="63"/>
                  <a:pt x="35" y="66"/>
                </a:cubicBezTo>
                <a:cubicBezTo>
                  <a:pt x="37" y="69"/>
                  <a:pt x="42" y="72"/>
                  <a:pt x="46" y="74"/>
                </a:cubicBezTo>
                <a:cubicBezTo>
                  <a:pt x="48" y="75"/>
                  <a:pt x="50" y="75"/>
                  <a:pt x="52" y="76"/>
                </a:cubicBezTo>
                <a:cubicBezTo>
                  <a:pt x="53" y="76"/>
                  <a:pt x="56" y="75"/>
                  <a:pt x="56" y="75"/>
                </a:cubicBezTo>
                <a:cubicBezTo>
                  <a:pt x="56" y="75"/>
                  <a:pt x="56" y="76"/>
                  <a:pt x="56" y="76"/>
                </a:cubicBezTo>
                <a:cubicBezTo>
                  <a:pt x="57" y="76"/>
                  <a:pt x="60" y="74"/>
                  <a:pt x="61" y="73"/>
                </a:cubicBezTo>
                <a:cubicBezTo>
                  <a:pt x="61" y="73"/>
                  <a:pt x="60" y="73"/>
                  <a:pt x="60" y="73"/>
                </a:cubicBezTo>
                <a:cubicBezTo>
                  <a:pt x="60" y="72"/>
                  <a:pt x="62" y="73"/>
                  <a:pt x="62" y="73"/>
                </a:cubicBezTo>
                <a:cubicBezTo>
                  <a:pt x="64" y="74"/>
                  <a:pt x="64" y="75"/>
                  <a:pt x="65" y="77"/>
                </a:cubicBezTo>
                <a:cubicBezTo>
                  <a:pt x="66" y="80"/>
                  <a:pt x="67" y="80"/>
                  <a:pt x="69" y="81"/>
                </a:cubicBezTo>
                <a:cubicBezTo>
                  <a:pt x="75" y="82"/>
                  <a:pt x="82" y="83"/>
                  <a:pt x="88" y="84"/>
                </a:cubicBezTo>
                <a:cubicBezTo>
                  <a:pt x="88" y="80"/>
                  <a:pt x="89" y="79"/>
                  <a:pt x="92" y="77"/>
                </a:cubicBezTo>
                <a:cubicBezTo>
                  <a:pt x="94" y="76"/>
                  <a:pt x="99" y="75"/>
                  <a:pt x="95" y="73"/>
                </a:cubicBezTo>
                <a:cubicBezTo>
                  <a:pt x="94" y="72"/>
                  <a:pt x="97" y="74"/>
                  <a:pt x="95" y="7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81" name="Freeform 677">
            <a:extLst>
              <a:ext uri="{FF2B5EF4-FFF2-40B4-BE49-F238E27FC236}">
                <a16:creationId xmlns:a16="http://schemas.microsoft.com/office/drawing/2014/main" id="{4619A0B8-B53F-B243-AA22-8F4ED9C1BF0E}"/>
              </a:ext>
            </a:extLst>
          </p:cNvPr>
          <p:cNvSpPr>
            <a:spLocks/>
          </p:cNvSpPr>
          <p:nvPr/>
        </p:nvSpPr>
        <p:spPr bwMode="auto">
          <a:xfrm>
            <a:off x="6996672" y="3803270"/>
            <a:ext cx="40592" cy="30011"/>
          </a:xfrm>
          <a:custGeom>
            <a:avLst/>
            <a:gdLst>
              <a:gd name="T0" fmla="*/ 1 w 8"/>
              <a:gd name="T1" fmla="*/ 1 h 6"/>
              <a:gd name="T2" fmla="*/ 3 w 8"/>
              <a:gd name="T3" fmla="*/ 4 h 6"/>
              <a:gd name="T4" fmla="*/ 8 w 8"/>
              <a:gd name="T5" fmla="*/ 6 h 6"/>
              <a:gd name="T6" fmla="*/ 0 w 8"/>
              <a:gd name="T7" fmla="*/ 0 h 6"/>
              <a:gd name="T8" fmla="*/ 1 w 8"/>
              <a:gd name="T9" fmla="*/ 1 h 6"/>
              <a:gd name="T10" fmla="*/ 1 w 8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1"/>
                </a:moveTo>
                <a:cubicBezTo>
                  <a:pt x="2" y="1"/>
                  <a:pt x="2" y="3"/>
                  <a:pt x="3" y="4"/>
                </a:cubicBezTo>
                <a:cubicBezTo>
                  <a:pt x="5" y="4"/>
                  <a:pt x="6" y="5"/>
                  <a:pt x="8" y="6"/>
                </a:cubicBezTo>
                <a:cubicBezTo>
                  <a:pt x="7" y="2"/>
                  <a:pt x="3" y="1"/>
                  <a:pt x="0" y="0"/>
                </a:cubicBezTo>
                <a:cubicBezTo>
                  <a:pt x="0" y="1"/>
                  <a:pt x="0" y="1"/>
                  <a:pt x="1" y="1"/>
                </a:cubicBezTo>
                <a:cubicBezTo>
                  <a:pt x="2" y="1"/>
                  <a:pt x="0" y="1"/>
                  <a:pt x="1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82" name="Freeform 678">
            <a:extLst>
              <a:ext uri="{FF2B5EF4-FFF2-40B4-BE49-F238E27FC236}">
                <a16:creationId xmlns:a16="http://schemas.microsoft.com/office/drawing/2014/main" id="{D3DBF3E7-2875-9946-84C8-E88A680DBAFE}"/>
              </a:ext>
            </a:extLst>
          </p:cNvPr>
          <p:cNvSpPr>
            <a:spLocks/>
          </p:cNvSpPr>
          <p:nvPr/>
        </p:nvSpPr>
        <p:spPr bwMode="auto">
          <a:xfrm>
            <a:off x="6876661" y="3677932"/>
            <a:ext cx="181781" cy="93563"/>
          </a:xfrm>
          <a:custGeom>
            <a:avLst/>
            <a:gdLst>
              <a:gd name="T0" fmla="*/ 26 w 35"/>
              <a:gd name="T1" fmla="*/ 15 h 18"/>
              <a:gd name="T2" fmla="*/ 30 w 35"/>
              <a:gd name="T3" fmla="*/ 17 h 18"/>
              <a:gd name="T4" fmla="*/ 34 w 35"/>
              <a:gd name="T5" fmla="*/ 17 h 18"/>
              <a:gd name="T6" fmla="*/ 33 w 35"/>
              <a:gd name="T7" fmla="*/ 12 h 18"/>
              <a:gd name="T8" fmla="*/ 30 w 35"/>
              <a:gd name="T9" fmla="*/ 10 h 18"/>
              <a:gd name="T10" fmla="*/ 27 w 35"/>
              <a:gd name="T11" fmla="*/ 7 h 18"/>
              <a:gd name="T12" fmla="*/ 19 w 35"/>
              <a:gd name="T13" fmla="*/ 6 h 18"/>
              <a:gd name="T14" fmla="*/ 9 w 35"/>
              <a:gd name="T15" fmla="*/ 4 h 18"/>
              <a:gd name="T16" fmla="*/ 0 w 35"/>
              <a:gd name="T17" fmla="*/ 2 h 18"/>
              <a:gd name="T18" fmla="*/ 8 w 35"/>
              <a:gd name="T19" fmla="*/ 14 h 18"/>
              <a:gd name="T20" fmla="*/ 18 w 35"/>
              <a:gd name="T21" fmla="*/ 18 h 18"/>
              <a:gd name="T22" fmla="*/ 26 w 35"/>
              <a:gd name="T23" fmla="*/ 15 h 18"/>
              <a:gd name="T24" fmla="*/ 26 w 35"/>
              <a:gd name="T25" fmla="*/ 1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5" h="18">
                <a:moveTo>
                  <a:pt x="26" y="15"/>
                </a:moveTo>
                <a:cubicBezTo>
                  <a:pt x="27" y="14"/>
                  <a:pt x="29" y="16"/>
                  <a:pt x="30" y="17"/>
                </a:cubicBezTo>
                <a:cubicBezTo>
                  <a:pt x="30" y="17"/>
                  <a:pt x="34" y="17"/>
                  <a:pt x="34" y="17"/>
                </a:cubicBezTo>
                <a:cubicBezTo>
                  <a:pt x="35" y="16"/>
                  <a:pt x="30" y="12"/>
                  <a:pt x="33" y="12"/>
                </a:cubicBezTo>
                <a:cubicBezTo>
                  <a:pt x="32" y="11"/>
                  <a:pt x="30" y="11"/>
                  <a:pt x="30" y="10"/>
                </a:cubicBezTo>
                <a:cubicBezTo>
                  <a:pt x="30" y="8"/>
                  <a:pt x="29" y="7"/>
                  <a:pt x="27" y="7"/>
                </a:cubicBezTo>
                <a:cubicBezTo>
                  <a:pt x="24" y="7"/>
                  <a:pt x="22" y="8"/>
                  <a:pt x="19" y="6"/>
                </a:cubicBezTo>
                <a:cubicBezTo>
                  <a:pt x="16" y="5"/>
                  <a:pt x="13" y="5"/>
                  <a:pt x="9" y="4"/>
                </a:cubicBezTo>
                <a:cubicBezTo>
                  <a:pt x="6" y="3"/>
                  <a:pt x="4" y="0"/>
                  <a:pt x="0" y="2"/>
                </a:cubicBezTo>
                <a:cubicBezTo>
                  <a:pt x="3" y="6"/>
                  <a:pt x="11" y="7"/>
                  <a:pt x="8" y="14"/>
                </a:cubicBezTo>
                <a:cubicBezTo>
                  <a:pt x="11" y="14"/>
                  <a:pt x="18" y="14"/>
                  <a:pt x="18" y="18"/>
                </a:cubicBezTo>
                <a:cubicBezTo>
                  <a:pt x="18" y="15"/>
                  <a:pt x="24" y="15"/>
                  <a:pt x="26" y="15"/>
                </a:cubicBezTo>
                <a:cubicBezTo>
                  <a:pt x="27" y="14"/>
                  <a:pt x="19" y="15"/>
                  <a:pt x="26" y="1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83" name="Freeform 679">
            <a:extLst>
              <a:ext uri="{FF2B5EF4-FFF2-40B4-BE49-F238E27FC236}">
                <a16:creationId xmlns:a16="http://schemas.microsoft.com/office/drawing/2014/main" id="{F4E29998-5643-CC42-B16F-BF5D95712769}"/>
              </a:ext>
            </a:extLst>
          </p:cNvPr>
          <p:cNvSpPr>
            <a:spLocks/>
          </p:cNvSpPr>
          <p:nvPr/>
        </p:nvSpPr>
        <p:spPr bwMode="auto">
          <a:xfrm>
            <a:off x="7001968" y="3739720"/>
            <a:ext cx="139423" cy="109450"/>
          </a:xfrm>
          <a:custGeom>
            <a:avLst/>
            <a:gdLst>
              <a:gd name="T0" fmla="*/ 8 w 27"/>
              <a:gd name="T1" fmla="*/ 2 h 21"/>
              <a:gd name="T2" fmla="*/ 10 w 27"/>
              <a:gd name="T3" fmla="*/ 5 h 21"/>
              <a:gd name="T4" fmla="*/ 7 w 27"/>
              <a:gd name="T5" fmla="*/ 5 h 21"/>
              <a:gd name="T6" fmla="*/ 4 w 27"/>
              <a:gd name="T7" fmla="*/ 3 h 21"/>
              <a:gd name="T8" fmla="*/ 4 w 27"/>
              <a:gd name="T9" fmla="*/ 7 h 21"/>
              <a:gd name="T10" fmla="*/ 6 w 27"/>
              <a:gd name="T11" fmla="*/ 11 h 21"/>
              <a:gd name="T12" fmla="*/ 8 w 27"/>
              <a:gd name="T13" fmla="*/ 14 h 21"/>
              <a:gd name="T14" fmla="*/ 9 w 27"/>
              <a:gd name="T15" fmla="*/ 17 h 21"/>
              <a:gd name="T16" fmla="*/ 16 w 27"/>
              <a:gd name="T17" fmla="*/ 13 h 21"/>
              <a:gd name="T18" fmla="*/ 17 w 27"/>
              <a:gd name="T19" fmla="*/ 16 h 21"/>
              <a:gd name="T20" fmla="*/ 21 w 27"/>
              <a:gd name="T21" fmla="*/ 21 h 21"/>
              <a:gd name="T22" fmla="*/ 21 w 27"/>
              <a:gd name="T23" fmla="*/ 18 h 21"/>
              <a:gd name="T24" fmla="*/ 23 w 27"/>
              <a:gd name="T25" fmla="*/ 16 h 21"/>
              <a:gd name="T26" fmla="*/ 25 w 27"/>
              <a:gd name="T27" fmla="*/ 11 h 21"/>
              <a:gd name="T28" fmla="*/ 19 w 27"/>
              <a:gd name="T29" fmla="*/ 1 h 21"/>
              <a:gd name="T30" fmla="*/ 12 w 27"/>
              <a:gd name="T31" fmla="*/ 2 h 21"/>
              <a:gd name="T32" fmla="*/ 9 w 27"/>
              <a:gd name="T33" fmla="*/ 0 h 21"/>
              <a:gd name="T34" fmla="*/ 8 w 27"/>
              <a:gd name="T35" fmla="*/ 2 h 21"/>
              <a:gd name="T36" fmla="*/ 8 w 27"/>
              <a:gd name="T37" fmla="*/ 2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7" h="21">
                <a:moveTo>
                  <a:pt x="8" y="2"/>
                </a:moveTo>
                <a:cubicBezTo>
                  <a:pt x="8" y="2"/>
                  <a:pt x="11" y="4"/>
                  <a:pt x="10" y="5"/>
                </a:cubicBezTo>
                <a:cubicBezTo>
                  <a:pt x="10" y="5"/>
                  <a:pt x="7" y="5"/>
                  <a:pt x="7" y="5"/>
                </a:cubicBezTo>
                <a:cubicBezTo>
                  <a:pt x="5" y="5"/>
                  <a:pt x="5" y="3"/>
                  <a:pt x="4" y="3"/>
                </a:cubicBezTo>
                <a:cubicBezTo>
                  <a:pt x="0" y="2"/>
                  <a:pt x="4" y="6"/>
                  <a:pt x="4" y="7"/>
                </a:cubicBezTo>
                <a:cubicBezTo>
                  <a:pt x="4" y="10"/>
                  <a:pt x="7" y="8"/>
                  <a:pt x="6" y="11"/>
                </a:cubicBezTo>
                <a:cubicBezTo>
                  <a:pt x="5" y="13"/>
                  <a:pt x="7" y="13"/>
                  <a:pt x="8" y="14"/>
                </a:cubicBezTo>
                <a:cubicBezTo>
                  <a:pt x="9" y="14"/>
                  <a:pt x="9" y="16"/>
                  <a:pt x="9" y="17"/>
                </a:cubicBezTo>
                <a:cubicBezTo>
                  <a:pt x="10" y="16"/>
                  <a:pt x="14" y="14"/>
                  <a:pt x="16" y="13"/>
                </a:cubicBezTo>
                <a:cubicBezTo>
                  <a:pt x="17" y="13"/>
                  <a:pt x="17" y="15"/>
                  <a:pt x="17" y="16"/>
                </a:cubicBezTo>
                <a:cubicBezTo>
                  <a:pt x="17" y="19"/>
                  <a:pt x="18" y="20"/>
                  <a:pt x="21" y="21"/>
                </a:cubicBezTo>
                <a:cubicBezTo>
                  <a:pt x="21" y="20"/>
                  <a:pt x="21" y="18"/>
                  <a:pt x="21" y="18"/>
                </a:cubicBezTo>
                <a:cubicBezTo>
                  <a:pt x="22" y="17"/>
                  <a:pt x="23" y="17"/>
                  <a:pt x="23" y="16"/>
                </a:cubicBezTo>
                <a:cubicBezTo>
                  <a:pt x="24" y="14"/>
                  <a:pt x="24" y="12"/>
                  <a:pt x="25" y="11"/>
                </a:cubicBezTo>
                <a:cubicBezTo>
                  <a:pt x="27" y="8"/>
                  <a:pt x="21" y="2"/>
                  <a:pt x="19" y="1"/>
                </a:cubicBezTo>
                <a:cubicBezTo>
                  <a:pt x="17" y="4"/>
                  <a:pt x="15" y="4"/>
                  <a:pt x="12" y="2"/>
                </a:cubicBezTo>
                <a:cubicBezTo>
                  <a:pt x="12" y="1"/>
                  <a:pt x="10" y="0"/>
                  <a:pt x="9" y="0"/>
                </a:cubicBezTo>
                <a:cubicBezTo>
                  <a:pt x="8" y="0"/>
                  <a:pt x="8" y="1"/>
                  <a:pt x="8" y="2"/>
                </a:cubicBezTo>
                <a:cubicBezTo>
                  <a:pt x="9" y="3"/>
                  <a:pt x="7" y="0"/>
                  <a:pt x="8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84" name="Freeform 680">
            <a:extLst>
              <a:ext uri="{FF2B5EF4-FFF2-40B4-BE49-F238E27FC236}">
                <a16:creationId xmlns:a16="http://schemas.microsoft.com/office/drawing/2014/main" id="{92A2EB3D-BEA7-3C45-A4B2-B9543CF57EF6}"/>
              </a:ext>
            </a:extLst>
          </p:cNvPr>
          <p:cNvSpPr>
            <a:spLocks/>
          </p:cNvSpPr>
          <p:nvPr/>
        </p:nvSpPr>
        <p:spPr bwMode="auto">
          <a:xfrm>
            <a:off x="7047853" y="4082189"/>
            <a:ext cx="45886" cy="52959"/>
          </a:xfrm>
          <a:custGeom>
            <a:avLst/>
            <a:gdLst>
              <a:gd name="T0" fmla="*/ 3 w 9"/>
              <a:gd name="T1" fmla="*/ 2 h 10"/>
              <a:gd name="T2" fmla="*/ 0 w 9"/>
              <a:gd name="T3" fmla="*/ 7 h 10"/>
              <a:gd name="T4" fmla="*/ 4 w 9"/>
              <a:gd name="T5" fmla="*/ 8 h 10"/>
              <a:gd name="T6" fmla="*/ 9 w 9"/>
              <a:gd name="T7" fmla="*/ 10 h 10"/>
              <a:gd name="T8" fmla="*/ 7 w 9"/>
              <a:gd name="T9" fmla="*/ 5 h 10"/>
              <a:gd name="T10" fmla="*/ 8 w 9"/>
              <a:gd name="T11" fmla="*/ 3 h 10"/>
              <a:gd name="T12" fmla="*/ 3 w 9"/>
              <a:gd name="T13" fmla="*/ 2 h 10"/>
              <a:gd name="T14" fmla="*/ 3 w 9"/>
              <a:gd name="T15" fmla="*/ 2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0">
                <a:moveTo>
                  <a:pt x="3" y="2"/>
                </a:moveTo>
                <a:cubicBezTo>
                  <a:pt x="1" y="3"/>
                  <a:pt x="0" y="5"/>
                  <a:pt x="0" y="7"/>
                </a:cubicBezTo>
                <a:cubicBezTo>
                  <a:pt x="1" y="7"/>
                  <a:pt x="4" y="7"/>
                  <a:pt x="4" y="8"/>
                </a:cubicBezTo>
                <a:cubicBezTo>
                  <a:pt x="6" y="10"/>
                  <a:pt x="7" y="10"/>
                  <a:pt x="9" y="10"/>
                </a:cubicBezTo>
                <a:cubicBezTo>
                  <a:pt x="9" y="10"/>
                  <a:pt x="7" y="5"/>
                  <a:pt x="7" y="5"/>
                </a:cubicBezTo>
                <a:cubicBezTo>
                  <a:pt x="8" y="5"/>
                  <a:pt x="9" y="5"/>
                  <a:pt x="8" y="3"/>
                </a:cubicBezTo>
                <a:cubicBezTo>
                  <a:pt x="6" y="2"/>
                  <a:pt x="5" y="0"/>
                  <a:pt x="3" y="2"/>
                </a:cubicBezTo>
                <a:cubicBezTo>
                  <a:pt x="1" y="4"/>
                  <a:pt x="4" y="1"/>
                  <a:pt x="3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85" name="Freeform 681">
            <a:extLst>
              <a:ext uri="{FF2B5EF4-FFF2-40B4-BE49-F238E27FC236}">
                <a16:creationId xmlns:a16="http://schemas.microsoft.com/office/drawing/2014/main" id="{9CEB977E-4547-2844-B080-A0A0DCD1B2EF}"/>
              </a:ext>
            </a:extLst>
          </p:cNvPr>
          <p:cNvSpPr>
            <a:spLocks/>
          </p:cNvSpPr>
          <p:nvPr/>
        </p:nvSpPr>
        <p:spPr bwMode="auto">
          <a:xfrm>
            <a:off x="6758419" y="3886239"/>
            <a:ext cx="180015" cy="139459"/>
          </a:xfrm>
          <a:custGeom>
            <a:avLst/>
            <a:gdLst>
              <a:gd name="T0" fmla="*/ 29 w 35"/>
              <a:gd name="T1" fmla="*/ 10 h 27"/>
              <a:gd name="T2" fmla="*/ 30 w 35"/>
              <a:gd name="T3" fmla="*/ 7 h 27"/>
              <a:gd name="T4" fmla="*/ 29 w 35"/>
              <a:gd name="T5" fmla="*/ 5 h 27"/>
              <a:gd name="T6" fmla="*/ 35 w 35"/>
              <a:gd name="T7" fmla="*/ 0 h 27"/>
              <a:gd name="T8" fmla="*/ 25 w 35"/>
              <a:gd name="T9" fmla="*/ 1 h 27"/>
              <a:gd name="T10" fmla="*/ 19 w 35"/>
              <a:gd name="T11" fmla="*/ 2 h 27"/>
              <a:gd name="T12" fmla="*/ 13 w 35"/>
              <a:gd name="T13" fmla="*/ 2 h 27"/>
              <a:gd name="T14" fmla="*/ 8 w 35"/>
              <a:gd name="T15" fmla="*/ 2 h 27"/>
              <a:gd name="T16" fmla="*/ 7 w 35"/>
              <a:gd name="T17" fmla="*/ 4 h 27"/>
              <a:gd name="T18" fmla="*/ 6 w 35"/>
              <a:gd name="T19" fmla="*/ 6 h 27"/>
              <a:gd name="T20" fmla="*/ 3 w 35"/>
              <a:gd name="T21" fmla="*/ 6 h 27"/>
              <a:gd name="T22" fmla="*/ 3 w 35"/>
              <a:gd name="T23" fmla="*/ 10 h 27"/>
              <a:gd name="T24" fmla="*/ 4 w 35"/>
              <a:gd name="T25" fmla="*/ 14 h 27"/>
              <a:gd name="T26" fmla="*/ 2 w 35"/>
              <a:gd name="T27" fmla="*/ 22 h 27"/>
              <a:gd name="T28" fmla="*/ 7 w 35"/>
              <a:gd name="T29" fmla="*/ 27 h 27"/>
              <a:gd name="T30" fmla="*/ 13 w 35"/>
              <a:gd name="T31" fmla="*/ 24 h 27"/>
              <a:gd name="T32" fmla="*/ 22 w 35"/>
              <a:gd name="T33" fmla="*/ 19 h 27"/>
              <a:gd name="T34" fmla="*/ 28 w 35"/>
              <a:gd name="T35" fmla="*/ 15 h 27"/>
              <a:gd name="T36" fmla="*/ 29 w 35"/>
              <a:gd name="T37" fmla="*/ 10 h 27"/>
              <a:gd name="T38" fmla="*/ 29 w 35"/>
              <a:gd name="T39" fmla="*/ 10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5" h="27">
                <a:moveTo>
                  <a:pt x="29" y="10"/>
                </a:moveTo>
                <a:cubicBezTo>
                  <a:pt x="30" y="9"/>
                  <a:pt x="31" y="8"/>
                  <a:pt x="30" y="7"/>
                </a:cubicBezTo>
                <a:cubicBezTo>
                  <a:pt x="29" y="6"/>
                  <a:pt x="28" y="6"/>
                  <a:pt x="29" y="5"/>
                </a:cubicBezTo>
                <a:cubicBezTo>
                  <a:pt x="31" y="3"/>
                  <a:pt x="35" y="3"/>
                  <a:pt x="35" y="0"/>
                </a:cubicBezTo>
                <a:cubicBezTo>
                  <a:pt x="32" y="0"/>
                  <a:pt x="28" y="0"/>
                  <a:pt x="25" y="1"/>
                </a:cubicBezTo>
                <a:cubicBezTo>
                  <a:pt x="23" y="1"/>
                  <a:pt x="21" y="2"/>
                  <a:pt x="19" y="2"/>
                </a:cubicBezTo>
                <a:cubicBezTo>
                  <a:pt x="16" y="2"/>
                  <a:pt x="15" y="1"/>
                  <a:pt x="13" y="2"/>
                </a:cubicBezTo>
                <a:cubicBezTo>
                  <a:pt x="11" y="3"/>
                  <a:pt x="10" y="3"/>
                  <a:pt x="8" y="2"/>
                </a:cubicBezTo>
                <a:cubicBezTo>
                  <a:pt x="6" y="0"/>
                  <a:pt x="7" y="4"/>
                  <a:pt x="7" y="4"/>
                </a:cubicBezTo>
                <a:cubicBezTo>
                  <a:pt x="6" y="5"/>
                  <a:pt x="6" y="6"/>
                  <a:pt x="6" y="6"/>
                </a:cubicBezTo>
                <a:cubicBezTo>
                  <a:pt x="5" y="8"/>
                  <a:pt x="4" y="6"/>
                  <a:pt x="3" y="6"/>
                </a:cubicBezTo>
                <a:cubicBezTo>
                  <a:pt x="2" y="7"/>
                  <a:pt x="3" y="9"/>
                  <a:pt x="3" y="10"/>
                </a:cubicBezTo>
                <a:cubicBezTo>
                  <a:pt x="3" y="11"/>
                  <a:pt x="2" y="13"/>
                  <a:pt x="4" y="14"/>
                </a:cubicBezTo>
                <a:cubicBezTo>
                  <a:pt x="9" y="17"/>
                  <a:pt x="5" y="19"/>
                  <a:pt x="2" y="22"/>
                </a:cubicBezTo>
                <a:cubicBezTo>
                  <a:pt x="0" y="24"/>
                  <a:pt x="5" y="27"/>
                  <a:pt x="7" y="27"/>
                </a:cubicBezTo>
                <a:cubicBezTo>
                  <a:pt x="9" y="27"/>
                  <a:pt x="11" y="25"/>
                  <a:pt x="13" y="24"/>
                </a:cubicBezTo>
                <a:cubicBezTo>
                  <a:pt x="16" y="22"/>
                  <a:pt x="19" y="21"/>
                  <a:pt x="22" y="19"/>
                </a:cubicBezTo>
                <a:cubicBezTo>
                  <a:pt x="24" y="18"/>
                  <a:pt x="26" y="17"/>
                  <a:pt x="28" y="15"/>
                </a:cubicBezTo>
                <a:cubicBezTo>
                  <a:pt x="29" y="13"/>
                  <a:pt x="28" y="11"/>
                  <a:pt x="29" y="10"/>
                </a:cubicBezTo>
                <a:cubicBezTo>
                  <a:pt x="30" y="8"/>
                  <a:pt x="29" y="11"/>
                  <a:pt x="29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86" name="Freeform 682">
            <a:extLst>
              <a:ext uri="{FF2B5EF4-FFF2-40B4-BE49-F238E27FC236}">
                <a16:creationId xmlns:a16="http://schemas.microsoft.com/office/drawing/2014/main" id="{4CED2D3A-23AC-7445-B8B2-2E5E470A74BB}"/>
              </a:ext>
            </a:extLst>
          </p:cNvPr>
          <p:cNvSpPr>
            <a:spLocks/>
          </p:cNvSpPr>
          <p:nvPr/>
        </p:nvSpPr>
        <p:spPr bwMode="auto">
          <a:xfrm>
            <a:off x="6841365" y="3875647"/>
            <a:ext cx="257668" cy="243612"/>
          </a:xfrm>
          <a:custGeom>
            <a:avLst/>
            <a:gdLst>
              <a:gd name="T0" fmla="*/ 47 w 50"/>
              <a:gd name="T1" fmla="*/ 36 h 47"/>
              <a:gd name="T2" fmla="*/ 45 w 50"/>
              <a:gd name="T3" fmla="*/ 34 h 47"/>
              <a:gd name="T4" fmla="*/ 46 w 50"/>
              <a:gd name="T5" fmla="*/ 32 h 47"/>
              <a:gd name="T6" fmla="*/ 41 w 50"/>
              <a:gd name="T7" fmla="*/ 27 h 47"/>
              <a:gd name="T8" fmla="*/ 38 w 50"/>
              <a:gd name="T9" fmla="*/ 25 h 47"/>
              <a:gd name="T10" fmla="*/ 35 w 50"/>
              <a:gd name="T11" fmla="*/ 18 h 47"/>
              <a:gd name="T12" fmla="*/ 38 w 50"/>
              <a:gd name="T13" fmla="*/ 10 h 47"/>
              <a:gd name="T14" fmla="*/ 34 w 50"/>
              <a:gd name="T15" fmla="*/ 6 h 47"/>
              <a:gd name="T16" fmla="*/ 32 w 50"/>
              <a:gd name="T17" fmla="*/ 2 h 47"/>
              <a:gd name="T18" fmla="*/ 30 w 50"/>
              <a:gd name="T19" fmla="*/ 3 h 47"/>
              <a:gd name="T20" fmla="*/ 28 w 50"/>
              <a:gd name="T21" fmla="*/ 1 h 47"/>
              <a:gd name="T22" fmla="*/ 25 w 50"/>
              <a:gd name="T23" fmla="*/ 2 h 47"/>
              <a:gd name="T24" fmla="*/ 20 w 50"/>
              <a:gd name="T25" fmla="*/ 1 h 47"/>
              <a:gd name="T26" fmla="*/ 18 w 50"/>
              <a:gd name="T27" fmla="*/ 4 h 47"/>
              <a:gd name="T28" fmla="*/ 13 w 50"/>
              <a:gd name="T29" fmla="*/ 7 h 47"/>
              <a:gd name="T30" fmla="*/ 14 w 50"/>
              <a:gd name="T31" fmla="*/ 10 h 47"/>
              <a:gd name="T32" fmla="*/ 13 w 50"/>
              <a:gd name="T33" fmla="*/ 13 h 47"/>
              <a:gd name="T34" fmla="*/ 9 w 50"/>
              <a:gd name="T35" fmla="*/ 19 h 47"/>
              <a:gd name="T36" fmla="*/ 1 w 50"/>
              <a:gd name="T37" fmla="*/ 25 h 47"/>
              <a:gd name="T38" fmla="*/ 3 w 50"/>
              <a:gd name="T39" fmla="*/ 30 h 47"/>
              <a:gd name="T40" fmla="*/ 9 w 50"/>
              <a:gd name="T41" fmla="*/ 31 h 47"/>
              <a:gd name="T42" fmla="*/ 18 w 50"/>
              <a:gd name="T43" fmla="*/ 36 h 47"/>
              <a:gd name="T44" fmla="*/ 29 w 50"/>
              <a:gd name="T45" fmla="*/ 45 h 47"/>
              <a:gd name="T46" fmla="*/ 38 w 50"/>
              <a:gd name="T47" fmla="*/ 47 h 47"/>
              <a:gd name="T48" fmla="*/ 43 w 50"/>
              <a:gd name="T49" fmla="*/ 42 h 47"/>
              <a:gd name="T50" fmla="*/ 50 w 50"/>
              <a:gd name="T51" fmla="*/ 43 h 47"/>
              <a:gd name="T52" fmla="*/ 47 w 50"/>
              <a:gd name="T53" fmla="*/ 39 h 47"/>
              <a:gd name="T54" fmla="*/ 47 w 50"/>
              <a:gd name="T55" fmla="*/ 36 h 47"/>
              <a:gd name="T56" fmla="*/ 47 w 50"/>
              <a:gd name="T57" fmla="*/ 36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50" h="47">
                <a:moveTo>
                  <a:pt x="47" y="36"/>
                </a:moveTo>
                <a:cubicBezTo>
                  <a:pt x="47" y="36"/>
                  <a:pt x="45" y="35"/>
                  <a:pt x="45" y="34"/>
                </a:cubicBezTo>
                <a:cubicBezTo>
                  <a:pt x="45" y="33"/>
                  <a:pt x="46" y="33"/>
                  <a:pt x="46" y="32"/>
                </a:cubicBezTo>
                <a:cubicBezTo>
                  <a:pt x="45" y="30"/>
                  <a:pt x="43" y="29"/>
                  <a:pt x="41" y="27"/>
                </a:cubicBezTo>
                <a:cubicBezTo>
                  <a:pt x="40" y="27"/>
                  <a:pt x="38" y="26"/>
                  <a:pt x="38" y="25"/>
                </a:cubicBezTo>
                <a:cubicBezTo>
                  <a:pt x="37" y="23"/>
                  <a:pt x="35" y="21"/>
                  <a:pt x="35" y="18"/>
                </a:cubicBezTo>
                <a:cubicBezTo>
                  <a:pt x="34" y="16"/>
                  <a:pt x="40" y="12"/>
                  <a:pt x="38" y="10"/>
                </a:cubicBezTo>
                <a:cubicBezTo>
                  <a:pt x="36" y="9"/>
                  <a:pt x="35" y="8"/>
                  <a:pt x="34" y="6"/>
                </a:cubicBezTo>
                <a:cubicBezTo>
                  <a:pt x="33" y="5"/>
                  <a:pt x="33" y="3"/>
                  <a:pt x="32" y="2"/>
                </a:cubicBezTo>
                <a:cubicBezTo>
                  <a:pt x="31" y="2"/>
                  <a:pt x="31" y="3"/>
                  <a:pt x="30" y="3"/>
                </a:cubicBezTo>
                <a:cubicBezTo>
                  <a:pt x="28" y="3"/>
                  <a:pt x="29" y="1"/>
                  <a:pt x="28" y="1"/>
                </a:cubicBezTo>
                <a:cubicBezTo>
                  <a:pt x="27" y="1"/>
                  <a:pt x="25" y="2"/>
                  <a:pt x="25" y="2"/>
                </a:cubicBezTo>
                <a:cubicBezTo>
                  <a:pt x="23" y="0"/>
                  <a:pt x="22" y="1"/>
                  <a:pt x="20" y="1"/>
                </a:cubicBezTo>
                <a:cubicBezTo>
                  <a:pt x="18" y="2"/>
                  <a:pt x="19" y="3"/>
                  <a:pt x="18" y="4"/>
                </a:cubicBezTo>
                <a:cubicBezTo>
                  <a:pt x="16" y="5"/>
                  <a:pt x="14" y="5"/>
                  <a:pt x="13" y="7"/>
                </a:cubicBezTo>
                <a:cubicBezTo>
                  <a:pt x="12" y="9"/>
                  <a:pt x="14" y="8"/>
                  <a:pt x="14" y="10"/>
                </a:cubicBezTo>
                <a:cubicBezTo>
                  <a:pt x="14" y="11"/>
                  <a:pt x="13" y="11"/>
                  <a:pt x="13" y="13"/>
                </a:cubicBezTo>
                <a:cubicBezTo>
                  <a:pt x="13" y="16"/>
                  <a:pt x="12" y="17"/>
                  <a:pt x="9" y="19"/>
                </a:cubicBezTo>
                <a:cubicBezTo>
                  <a:pt x="7" y="20"/>
                  <a:pt x="0" y="23"/>
                  <a:pt x="1" y="25"/>
                </a:cubicBezTo>
                <a:cubicBezTo>
                  <a:pt x="2" y="26"/>
                  <a:pt x="2" y="29"/>
                  <a:pt x="3" y="30"/>
                </a:cubicBezTo>
                <a:cubicBezTo>
                  <a:pt x="4" y="31"/>
                  <a:pt x="8" y="31"/>
                  <a:pt x="9" y="31"/>
                </a:cubicBezTo>
                <a:cubicBezTo>
                  <a:pt x="12" y="32"/>
                  <a:pt x="15" y="34"/>
                  <a:pt x="18" y="36"/>
                </a:cubicBezTo>
                <a:cubicBezTo>
                  <a:pt x="22" y="39"/>
                  <a:pt x="25" y="42"/>
                  <a:pt x="29" y="45"/>
                </a:cubicBezTo>
                <a:cubicBezTo>
                  <a:pt x="32" y="47"/>
                  <a:pt x="35" y="47"/>
                  <a:pt x="38" y="47"/>
                </a:cubicBezTo>
                <a:cubicBezTo>
                  <a:pt x="41" y="47"/>
                  <a:pt x="41" y="44"/>
                  <a:pt x="43" y="42"/>
                </a:cubicBezTo>
                <a:cubicBezTo>
                  <a:pt x="45" y="40"/>
                  <a:pt x="49" y="44"/>
                  <a:pt x="50" y="43"/>
                </a:cubicBezTo>
                <a:cubicBezTo>
                  <a:pt x="49" y="42"/>
                  <a:pt x="48" y="41"/>
                  <a:pt x="47" y="39"/>
                </a:cubicBezTo>
                <a:cubicBezTo>
                  <a:pt x="47" y="38"/>
                  <a:pt x="48" y="37"/>
                  <a:pt x="47" y="36"/>
                </a:cubicBezTo>
                <a:cubicBezTo>
                  <a:pt x="46" y="35"/>
                  <a:pt x="48" y="37"/>
                  <a:pt x="47" y="3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87" name="Freeform 683">
            <a:extLst>
              <a:ext uri="{FF2B5EF4-FFF2-40B4-BE49-F238E27FC236}">
                <a16:creationId xmlns:a16="http://schemas.microsoft.com/office/drawing/2014/main" id="{052115FD-20F3-3A41-BD66-5BC4D1DD1370}"/>
              </a:ext>
            </a:extLst>
          </p:cNvPr>
          <p:cNvSpPr>
            <a:spLocks/>
          </p:cNvSpPr>
          <p:nvPr/>
        </p:nvSpPr>
        <p:spPr bwMode="auto">
          <a:xfrm>
            <a:off x="6514868" y="3734424"/>
            <a:ext cx="490627" cy="187122"/>
          </a:xfrm>
          <a:custGeom>
            <a:avLst/>
            <a:gdLst>
              <a:gd name="T0" fmla="*/ 52 w 95"/>
              <a:gd name="T1" fmla="*/ 36 h 36"/>
              <a:gd name="T2" fmla="*/ 54 w 95"/>
              <a:gd name="T3" fmla="*/ 33 h 36"/>
              <a:gd name="T4" fmla="*/ 55 w 95"/>
              <a:gd name="T5" fmla="*/ 31 h 36"/>
              <a:gd name="T6" fmla="*/ 60 w 95"/>
              <a:gd name="T7" fmla="*/ 31 h 36"/>
              <a:gd name="T8" fmla="*/ 64 w 95"/>
              <a:gd name="T9" fmla="*/ 31 h 36"/>
              <a:gd name="T10" fmla="*/ 75 w 95"/>
              <a:gd name="T11" fmla="*/ 29 h 36"/>
              <a:gd name="T12" fmla="*/ 85 w 95"/>
              <a:gd name="T13" fmla="*/ 28 h 36"/>
              <a:gd name="T14" fmla="*/ 90 w 95"/>
              <a:gd name="T15" fmla="*/ 28 h 36"/>
              <a:gd name="T16" fmla="*/ 92 w 95"/>
              <a:gd name="T17" fmla="*/ 30 h 36"/>
              <a:gd name="T18" fmla="*/ 94 w 95"/>
              <a:gd name="T19" fmla="*/ 28 h 36"/>
              <a:gd name="T20" fmla="*/ 92 w 95"/>
              <a:gd name="T21" fmla="*/ 24 h 36"/>
              <a:gd name="T22" fmla="*/ 92 w 95"/>
              <a:gd name="T23" fmla="*/ 22 h 36"/>
              <a:gd name="T24" fmla="*/ 91 w 95"/>
              <a:gd name="T25" fmla="*/ 17 h 36"/>
              <a:gd name="T26" fmla="*/ 93 w 95"/>
              <a:gd name="T27" fmla="*/ 14 h 36"/>
              <a:gd name="T28" fmla="*/ 89 w 95"/>
              <a:gd name="T29" fmla="*/ 8 h 36"/>
              <a:gd name="T30" fmla="*/ 83 w 95"/>
              <a:gd name="T31" fmla="*/ 3 h 36"/>
              <a:gd name="T32" fmla="*/ 80 w 95"/>
              <a:gd name="T33" fmla="*/ 3 h 36"/>
              <a:gd name="T34" fmla="*/ 78 w 95"/>
              <a:gd name="T35" fmla="*/ 3 h 36"/>
              <a:gd name="T36" fmla="*/ 73 w 95"/>
              <a:gd name="T37" fmla="*/ 6 h 36"/>
              <a:gd name="T38" fmla="*/ 63 w 95"/>
              <a:gd name="T39" fmla="*/ 6 h 36"/>
              <a:gd name="T40" fmla="*/ 58 w 95"/>
              <a:gd name="T41" fmla="*/ 6 h 36"/>
              <a:gd name="T42" fmla="*/ 54 w 95"/>
              <a:gd name="T43" fmla="*/ 4 h 36"/>
              <a:gd name="T44" fmla="*/ 50 w 95"/>
              <a:gd name="T45" fmla="*/ 2 h 36"/>
              <a:gd name="T46" fmla="*/ 46 w 95"/>
              <a:gd name="T47" fmla="*/ 0 h 36"/>
              <a:gd name="T48" fmla="*/ 37 w 95"/>
              <a:gd name="T49" fmla="*/ 0 h 36"/>
              <a:gd name="T50" fmla="*/ 29 w 95"/>
              <a:gd name="T51" fmla="*/ 4 h 36"/>
              <a:gd name="T52" fmla="*/ 18 w 95"/>
              <a:gd name="T53" fmla="*/ 5 h 36"/>
              <a:gd name="T54" fmla="*/ 16 w 95"/>
              <a:gd name="T55" fmla="*/ 6 h 36"/>
              <a:gd name="T56" fmla="*/ 18 w 95"/>
              <a:gd name="T57" fmla="*/ 7 h 36"/>
              <a:gd name="T58" fmla="*/ 15 w 95"/>
              <a:gd name="T59" fmla="*/ 8 h 36"/>
              <a:gd name="T60" fmla="*/ 13 w 95"/>
              <a:gd name="T61" fmla="*/ 9 h 36"/>
              <a:gd name="T62" fmla="*/ 4 w 95"/>
              <a:gd name="T63" fmla="*/ 9 h 36"/>
              <a:gd name="T64" fmla="*/ 3 w 95"/>
              <a:gd name="T65" fmla="*/ 11 h 36"/>
              <a:gd name="T66" fmla="*/ 3 w 95"/>
              <a:gd name="T67" fmla="*/ 15 h 36"/>
              <a:gd name="T68" fmla="*/ 5 w 95"/>
              <a:gd name="T69" fmla="*/ 14 h 36"/>
              <a:gd name="T70" fmla="*/ 3 w 95"/>
              <a:gd name="T71" fmla="*/ 17 h 36"/>
              <a:gd name="T72" fmla="*/ 5 w 95"/>
              <a:gd name="T73" fmla="*/ 17 h 36"/>
              <a:gd name="T74" fmla="*/ 5 w 95"/>
              <a:gd name="T75" fmla="*/ 19 h 36"/>
              <a:gd name="T76" fmla="*/ 3 w 95"/>
              <a:gd name="T77" fmla="*/ 20 h 36"/>
              <a:gd name="T78" fmla="*/ 4 w 95"/>
              <a:gd name="T79" fmla="*/ 22 h 36"/>
              <a:gd name="T80" fmla="*/ 4 w 95"/>
              <a:gd name="T81" fmla="*/ 25 h 36"/>
              <a:gd name="T82" fmla="*/ 8 w 95"/>
              <a:gd name="T83" fmla="*/ 27 h 36"/>
              <a:gd name="T84" fmla="*/ 7 w 95"/>
              <a:gd name="T85" fmla="*/ 30 h 36"/>
              <a:gd name="T86" fmla="*/ 10 w 95"/>
              <a:gd name="T87" fmla="*/ 30 h 36"/>
              <a:gd name="T88" fmla="*/ 8 w 95"/>
              <a:gd name="T89" fmla="*/ 31 h 36"/>
              <a:gd name="T90" fmla="*/ 10 w 95"/>
              <a:gd name="T91" fmla="*/ 31 h 36"/>
              <a:gd name="T92" fmla="*/ 9 w 95"/>
              <a:gd name="T93" fmla="*/ 34 h 36"/>
              <a:gd name="T94" fmla="*/ 11 w 95"/>
              <a:gd name="T95" fmla="*/ 35 h 36"/>
              <a:gd name="T96" fmla="*/ 12 w 95"/>
              <a:gd name="T97" fmla="*/ 31 h 36"/>
              <a:gd name="T98" fmla="*/ 16 w 95"/>
              <a:gd name="T99" fmla="*/ 32 h 36"/>
              <a:gd name="T100" fmla="*/ 22 w 95"/>
              <a:gd name="T101" fmla="*/ 33 h 36"/>
              <a:gd name="T102" fmla="*/ 27 w 95"/>
              <a:gd name="T103" fmla="*/ 31 h 36"/>
              <a:gd name="T104" fmla="*/ 35 w 95"/>
              <a:gd name="T105" fmla="*/ 35 h 36"/>
              <a:gd name="T106" fmla="*/ 42 w 95"/>
              <a:gd name="T107" fmla="*/ 32 h 36"/>
              <a:gd name="T108" fmla="*/ 44 w 95"/>
              <a:gd name="T109" fmla="*/ 30 h 36"/>
              <a:gd name="T110" fmla="*/ 48 w 95"/>
              <a:gd name="T111" fmla="*/ 31 h 36"/>
              <a:gd name="T112" fmla="*/ 50 w 95"/>
              <a:gd name="T113" fmla="*/ 33 h 36"/>
              <a:gd name="T114" fmla="*/ 50 w 95"/>
              <a:gd name="T115" fmla="*/ 35 h 36"/>
              <a:gd name="T116" fmla="*/ 52 w 95"/>
              <a:gd name="T117" fmla="*/ 36 h 36"/>
              <a:gd name="T118" fmla="*/ 52 w 95"/>
              <a:gd name="T119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5" h="36">
                <a:moveTo>
                  <a:pt x="52" y="36"/>
                </a:moveTo>
                <a:cubicBezTo>
                  <a:pt x="53" y="35"/>
                  <a:pt x="54" y="33"/>
                  <a:pt x="54" y="33"/>
                </a:cubicBezTo>
                <a:cubicBezTo>
                  <a:pt x="53" y="31"/>
                  <a:pt x="54" y="30"/>
                  <a:pt x="55" y="31"/>
                </a:cubicBezTo>
                <a:cubicBezTo>
                  <a:pt x="57" y="32"/>
                  <a:pt x="58" y="31"/>
                  <a:pt x="60" y="31"/>
                </a:cubicBezTo>
                <a:cubicBezTo>
                  <a:pt x="62" y="30"/>
                  <a:pt x="62" y="30"/>
                  <a:pt x="64" y="31"/>
                </a:cubicBezTo>
                <a:cubicBezTo>
                  <a:pt x="68" y="31"/>
                  <a:pt x="71" y="29"/>
                  <a:pt x="75" y="29"/>
                </a:cubicBezTo>
                <a:cubicBezTo>
                  <a:pt x="78" y="29"/>
                  <a:pt x="82" y="29"/>
                  <a:pt x="85" y="28"/>
                </a:cubicBezTo>
                <a:cubicBezTo>
                  <a:pt x="87" y="27"/>
                  <a:pt x="87" y="29"/>
                  <a:pt x="90" y="28"/>
                </a:cubicBezTo>
                <a:cubicBezTo>
                  <a:pt x="92" y="27"/>
                  <a:pt x="91" y="29"/>
                  <a:pt x="92" y="30"/>
                </a:cubicBezTo>
                <a:cubicBezTo>
                  <a:pt x="93" y="31"/>
                  <a:pt x="95" y="29"/>
                  <a:pt x="94" y="28"/>
                </a:cubicBezTo>
                <a:cubicBezTo>
                  <a:pt x="93" y="27"/>
                  <a:pt x="95" y="25"/>
                  <a:pt x="92" y="24"/>
                </a:cubicBezTo>
                <a:cubicBezTo>
                  <a:pt x="91" y="23"/>
                  <a:pt x="93" y="23"/>
                  <a:pt x="92" y="22"/>
                </a:cubicBezTo>
                <a:cubicBezTo>
                  <a:pt x="92" y="20"/>
                  <a:pt x="91" y="19"/>
                  <a:pt x="91" y="17"/>
                </a:cubicBezTo>
                <a:cubicBezTo>
                  <a:pt x="91" y="16"/>
                  <a:pt x="93" y="14"/>
                  <a:pt x="93" y="14"/>
                </a:cubicBezTo>
                <a:cubicBezTo>
                  <a:pt x="92" y="12"/>
                  <a:pt x="90" y="11"/>
                  <a:pt x="89" y="8"/>
                </a:cubicBezTo>
                <a:cubicBezTo>
                  <a:pt x="87" y="5"/>
                  <a:pt x="87" y="4"/>
                  <a:pt x="83" y="3"/>
                </a:cubicBezTo>
                <a:cubicBezTo>
                  <a:pt x="82" y="3"/>
                  <a:pt x="81" y="3"/>
                  <a:pt x="80" y="3"/>
                </a:cubicBezTo>
                <a:cubicBezTo>
                  <a:pt x="78" y="2"/>
                  <a:pt x="79" y="3"/>
                  <a:pt x="78" y="3"/>
                </a:cubicBezTo>
                <a:cubicBezTo>
                  <a:pt x="76" y="5"/>
                  <a:pt x="74" y="5"/>
                  <a:pt x="73" y="6"/>
                </a:cubicBezTo>
                <a:cubicBezTo>
                  <a:pt x="70" y="7"/>
                  <a:pt x="66" y="6"/>
                  <a:pt x="63" y="6"/>
                </a:cubicBezTo>
                <a:cubicBezTo>
                  <a:pt x="61" y="6"/>
                  <a:pt x="59" y="6"/>
                  <a:pt x="58" y="6"/>
                </a:cubicBezTo>
                <a:cubicBezTo>
                  <a:pt x="56" y="5"/>
                  <a:pt x="56" y="4"/>
                  <a:pt x="54" y="4"/>
                </a:cubicBezTo>
                <a:cubicBezTo>
                  <a:pt x="52" y="4"/>
                  <a:pt x="51" y="3"/>
                  <a:pt x="50" y="2"/>
                </a:cubicBezTo>
                <a:cubicBezTo>
                  <a:pt x="49" y="2"/>
                  <a:pt x="45" y="0"/>
                  <a:pt x="46" y="0"/>
                </a:cubicBezTo>
                <a:cubicBezTo>
                  <a:pt x="44" y="1"/>
                  <a:pt x="39" y="0"/>
                  <a:pt x="37" y="0"/>
                </a:cubicBezTo>
                <a:cubicBezTo>
                  <a:pt x="34" y="0"/>
                  <a:pt x="31" y="3"/>
                  <a:pt x="29" y="4"/>
                </a:cubicBezTo>
                <a:cubicBezTo>
                  <a:pt x="26" y="6"/>
                  <a:pt x="21" y="4"/>
                  <a:pt x="18" y="5"/>
                </a:cubicBezTo>
                <a:cubicBezTo>
                  <a:pt x="17" y="5"/>
                  <a:pt x="16" y="5"/>
                  <a:pt x="16" y="6"/>
                </a:cubicBezTo>
                <a:cubicBezTo>
                  <a:pt x="16" y="6"/>
                  <a:pt x="18" y="6"/>
                  <a:pt x="18" y="7"/>
                </a:cubicBezTo>
                <a:cubicBezTo>
                  <a:pt x="18" y="7"/>
                  <a:pt x="15" y="7"/>
                  <a:pt x="15" y="8"/>
                </a:cubicBezTo>
                <a:cubicBezTo>
                  <a:pt x="15" y="9"/>
                  <a:pt x="15" y="9"/>
                  <a:pt x="13" y="9"/>
                </a:cubicBezTo>
                <a:cubicBezTo>
                  <a:pt x="10" y="9"/>
                  <a:pt x="7" y="9"/>
                  <a:pt x="4" y="9"/>
                </a:cubicBezTo>
                <a:cubicBezTo>
                  <a:pt x="2" y="9"/>
                  <a:pt x="3" y="10"/>
                  <a:pt x="3" y="11"/>
                </a:cubicBezTo>
                <a:cubicBezTo>
                  <a:pt x="2" y="13"/>
                  <a:pt x="0" y="14"/>
                  <a:pt x="3" y="15"/>
                </a:cubicBezTo>
                <a:cubicBezTo>
                  <a:pt x="3" y="15"/>
                  <a:pt x="5" y="14"/>
                  <a:pt x="5" y="14"/>
                </a:cubicBezTo>
                <a:cubicBezTo>
                  <a:pt x="5" y="15"/>
                  <a:pt x="3" y="17"/>
                  <a:pt x="3" y="17"/>
                </a:cubicBezTo>
                <a:cubicBezTo>
                  <a:pt x="4" y="18"/>
                  <a:pt x="4" y="17"/>
                  <a:pt x="5" y="17"/>
                </a:cubicBezTo>
                <a:cubicBezTo>
                  <a:pt x="5" y="17"/>
                  <a:pt x="5" y="19"/>
                  <a:pt x="5" y="19"/>
                </a:cubicBezTo>
                <a:cubicBezTo>
                  <a:pt x="7" y="22"/>
                  <a:pt x="4" y="20"/>
                  <a:pt x="3" y="20"/>
                </a:cubicBezTo>
                <a:cubicBezTo>
                  <a:pt x="3" y="20"/>
                  <a:pt x="2" y="23"/>
                  <a:pt x="4" y="22"/>
                </a:cubicBezTo>
                <a:cubicBezTo>
                  <a:pt x="6" y="22"/>
                  <a:pt x="4" y="24"/>
                  <a:pt x="4" y="25"/>
                </a:cubicBezTo>
                <a:cubicBezTo>
                  <a:pt x="4" y="26"/>
                  <a:pt x="7" y="26"/>
                  <a:pt x="8" y="27"/>
                </a:cubicBezTo>
                <a:cubicBezTo>
                  <a:pt x="9" y="28"/>
                  <a:pt x="7" y="30"/>
                  <a:pt x="7" y="30"/>
                </a:cubicBezTo>
                <a:cubicBezTo>
                  <a:pt x="8" y="30"/>
                  <a:pt x="9" y="28"/>
                  <a:pt x="10" y="30"/>
                </a:cubicBezTo>
                <a:cubicBezTo>
                  <a:pt x="10" y="31"/>
                  <a:pt x="8" y="31"/>
                  <a:pt x="8" y="31"/>
                </a:cubicBezTo>
                <a:cubicBezTo>
                  <a:pt x="8" y="31"/>
                  <a:pt x="10" y="31"/>
                  <a:pt x="10" y="31"/>
                </a:cubicBezTo>
                <a:cubicBezTo>
                  <a:pt x="11" y="32"/>
                  <a:pt x="10" y="33"/>
                  <a:pt x="9" y="34"/>
                </a:cubicBezTo>
                <a:cubicBezTo>
                  <a:pt x="9" y="35"/>
                  <a:pt x="11" y="36"/>
                  <a:pt x="11" y="35"/>
                </a:cubicBezTo>
                <a:cubicBezTo>
                  <a:pt x="12" y="34"/>
                  <a:pt x="11" y="32"/>
                  <a:pt x="12" y="31"/>
                </a:cubicBezTo>
                <a:cubicBezTo>
                  <a:pt x="13" y="30"/>
                  <a:pt x="15" y="32"/>
                  <a:pt x="16" y="32"/>
                </a:cubicBezTo>
                <a:cubicBezTo>
                  <a:pt x="18" y="33"/>
                  <a:pt x="20" y="35"/>
                  <a:pt x="22" y="33"/>
                </a:cubicBezTo>
                <a:cubicBezTo>
                  <a:pt x="25" y="32"/>
                  <a:pt x="23" y="29"/>
                  <a:pt x="27" y="31"/>
                </a:cubicBezTo>
                <a:cubicBezTo>
                  <a:pt x="29" y="33"/>
                  <a:pt x="32" y="35"/>
                  <a:pt x="35" y="35"/>
                </a:cubicBezTo>
                <a:cubicBezTo>
                  <a:pt x="37" y="34"/>
                  <a:pt x="40" y="33"/>
                  <a:pt x="42" y="32"/>
                </a:cubicBezTo>
                <a:cubicBezTo>
                  <a:pt x="43" y="31"/>
                  <a:pt x="43" y="30"/>
                  <a:pt x="44" y="30"/>
                </a:cubicBezTo>
                <a:cubicBezTo>
                  <a:pt x="46" y="31"/>
                  <a:pt x="47" y="32"/>
                  <a:pt x="48" y="31"/>
                </a:cubicBezTo>
                <a:cubicBezTo>
                  <a:pt x="51" y="30"/>
                  <a:pt x="51" y="31"/>
                  <a:pt x="50" y="33"/>
                </a:cubicBezTo>
                <a:cubicBezTo>
                  <a:pt x="50" y="34"/>
                  <a:pt x="52" y="34"/>
                  <a:pt x="50" y="35"/>
                </a:cubicBezTo>
                <a:cubicBezTo>
                  <a:pt x="51" y="36"/>
                  <a:pt x="51" y="36"/>
                  <a:pt x="52" y="36"/>
                </a:cubicBezTo>
                <a:cubicBezTo>
                  <a:pt x="53" y="35"/>
                  <a:pt x="51" y="36"/>
                  <a:pt x="52" y="3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88" name="Freeform 684">
            <a:extLst>
              <a:ext uri="{FF2B5EF4-FFF2-40B4-BE49-F238E27FC236}">
                <a16:creationId xmlns:a16="http://schemas.microsoft.com/office/drawing/2014/main" id="{704A34D2-A795-FD4D-BDCA-49790A8580A6}"/>
              </a:ext>
            </a:extLst>
          </p:cNvPr>
          <p:cNvSpPr>
            <a:spLocks/>
          </p:cNvSpPr>
          <p:nvPr/>
        </p:nvSpPr>
        <p:spPr bwMode="auto">
          <a:xfrm>
            <a:off x="6737239" y="4030995"/>
            <a:ext cx="543572" cy="436031"/>
          </a:xfrm>
          <a:custGeom>
            <a:avLst/>
            <a:gdLst>
              <a:gd name="T0" fmla="*/ 65 w 105"/>
              <a:gd name="T1" fmla="*/ 20 h 84"/>
              <a:gd name="T2" fmla="*/ 61 w 105"/>
              <a:gd name="T3" fmla="*/ 17 h 84"/>
              <a:gd name="T4" fmla="*/ 52 w 105"/>
              <a:gd name="T5" fmla="*/ 17 h 84"/>
              <a:gd name="T6" fmla="*/ 48 w 105"/>
              <a:gd name="T7" fmla="*/ 15 h 84"/>
              <a:gd name="T8" fmla="*/ 40 w 105"/>
              <a:gd name="T9" fmla="*/ 8 h 84"/>
              <a:gd name="T10" fmla="*/ 27 w 105"/>
              <a:gd name="T11" fmla="*/ 1 h 84"/>
              <a:gd name="T12" fmla="*/ 21 w 105"/>
              <a:gd name="T13" fmla="*/ 1 h 84"/>
              <a:gd name="T14" fmla="*/ 13 w 105"/>
              <a:gd name="T15" fmla="*/ 3 h 84"/>
              <a:gd name="T16" fmla="*/ 17 w 105"/>
              <a:gd name="T17" fmla="*/ 9 h 84"/>
              <a:gd name="T18" fmla="*/ 13 w 105"/>
              <a:gd name="T19" fmla="*/ 12 h 84"/>
              <a:gd name="T20" fmla="*/ 10 w 105"/>
              <a:gd name="T21" fmla="*/ 12 h 84"/>
              <a:gd name="T22" fmla="*/ 9 w 105"/>
              <a:gd name="T23" fmla="*/ 14 h 84"/>
              <a:gd name="T24" fmla="*/ 2 w 105"/>
              <a:gd name="T25" fmla="*/ 14 h 84"/>
              <a:gd name="T26" fmla="*/ 1 w 105"/>
              <a:gd name="T27" fmla="*/ 19 h 84"/>
              <a:gd name="T28" fmla="*/ 3 w 105"/>
              <a:gd name="T29" fmla="*/ 22 h 84"/>
              <a:gd name="T30" fmla="*/ 8 w 105"/>
              <a:gd name="T31" fmla="*/ 31 h 84"/>
              <a:gd name="T32" fmla="*/ 12 w 105"/>
              <a:gd name="T33" fmla="*/ 38 h 84"/>
              <a:gd name="T34" fmla="*/ 15 w 105"/>
              <a:gd name="T35" fmla="*/ 42 h 84"/>
              <a:gd name="T36" fmla="*/ 20 w 105"/>
              <a:gd name="T37" fmla="*/ 46 h 84"/>
              <a:gd name="T38" fmla="*/ 22 w 105"/>
              <a:gd name="T39" fmla="*/ 53 h 84"/>
              <a:gd name="T40" fmla="*/ 23 w 105"/>
              <a:gd name="T41" fmla="*/ 59 h 84"/>
              <a:gd name="T42" fmla="*/ 31 w 105"/>
              <a:gd name="T43" fmla="*/ 67 h 84"/>
              <a:gd name="T44" fmla="*/ 36 w 105"/>
              <a:gd name="T45" fmla="*/ 76 h 84"/>
              <a:gd name="T46" fmla="*/ 40 w 105"/>
              <a:gd name="T47" fmla="*/ 81 h 84"/>
              <a:gd name="T48" fmla="*/ 41 w 105"/>
              <a:gd name="T49" fmla="*/ 84 h 84"/>
              <a:gd name="T50" fmla="*/ 43 w 105"/>
              <a:gd name="T51" fmla="*/ 81 h 84"/>
              <a:gd name="T52" fmla="*/ 50 w 105"/>
              <a:gd name="T53" fmla="*/ 79 h 84"/>
              <a:gd name="T54" fmla="*/ 60 w 105"/>
              <a:gd name="T55" fmla="*/ 80 h 84"/>
              <a:gd name="T56" fmla="*/ 66 w 105"/>
              <a:gd name="T57" fmla="*/ 77 h 84"/>
              <a:gd name="T58" fmla="*/ 76 w 105"/>
              <a:gd name="T59" fmla="*/ 72 h 84"/>
              <a:gd name="T60" fmla="*/ 94 w 105"/>
              <a:gd name="T61" fmla="*/ 68 h 84"/>
              <a:gd name="T62" fmla="*/ 102 w 105"/>
              <a:gd name="T63" fmla="*/ 66 h 84"/>
              <a:gd name="T64" fmla="*/ 104 w 105"/>
              <a:gd name="T65" fmla="*/ 61 h 84"/>
              <a:gd name="T66" fmla="*/ 105 w 105"/>
              <a:gd name="T67" fmla="*/ 56 h 84"/>
              <a:gd name="T68" fmla="*/ 103 w 105"/>
              <a:gd name="T69" fmla="*/ 51 h 84"/>
              <a:gd name="T70" fmla="*/ 93 w 105"/>
              <a:gd name="T71" fmla="*/ 50 h 84"/>
              <a:gd name="T72" fmla="*/ 88 w 105"/>
              <a:gd name="T73" fmla="*/ 47 h 84"/>
              <a:gd name="T74" fmla="*/ 81 w 105"/>
              <a:gd name="T75" fmla="*/ 39 h 84"/>
              <a:gd name="T76" fmla="*/ 77 w 105"/>
              <a:gd name="T77" fmla="*/ 34 h 84"/>
              <a:gd name="T78" fmla="*/ 77 w 105"/>
              <a:gd name="T79" fmla="*/ 29 h 84"/>
              <a:gd name="T80" fmla="*/ 74 w 105"/>
              <a:gd name="T81" fmla="*/ 27 h 84"/>
              <a:gd name="T82" fmla="*/ 70 w 105"/>
              <a:gd name="T83" fmla="*/ 22 h 84"/>
              <a:gd name="T84" fmla="*/ 65 w 105"/>
              <a:gd name="T85" fmla="*/ 2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5" h="84">
                <a:moveTo>
                  <a:pt x="65" y="20"/>
                </a:moveTo>
                <a:cubicBezTo>
                  <a:pt x="64" y="17"/>
                  <a:pt x="64" y="17"/>
                  <a:pt x="61" y="17"/>
                </a:cubicBezTo>
                <a:cubicBezTo>
                  <a:pt x="58" y="17"/>
                  <a:pt x="55" y="17"/>
                  <a:pt x="52" y="17"/>
                </a:cubicBezTo>
                <a:cubicBezTo>
                  <a:pt x="50" y="17"/>
                  <a:pt x="49" y="15"/>
                  <a:pt x="48" y="15"/>
                </a:cubicBezTo>
                <a:cubicBezTo>
                  <a:pt x="45" y="12"/>
                  <a:pt x="42" y="10"/>
                  <a:pt x="40" y="8"/>
                </a:cubicBezTo>
                <a:cubicBezTo>
                  <a:pt x="36" y="5"/>
                  <a:pt x="32" y="2"/>
                  <a:pt x="27" y="1"/>
                </a:cubicBezTo>
                <a:cubicBezTo>
                  <a:pt x="25" y="0"/>
                  <a:pt x="24" y="0"/>
                  <a:pt x="21" y="1"/>
                </a:cubicBezTo>
                <a:cubicBezTo>
                  <a:pt x="19" y="1"/>
                  <a:pt x="16" y="2"/>
                  <a:pt x="13" y="3"/>
                </a:cubicBezTo>
                <a:cubicBezTo>
                  <a:pt x="14" y="5"/>
                  <a:pt x="17" y="7"/>
                  <a:pt x="17" y="9"/>
                </a:cubicBezTo>
                <a:cubicBezTo>
                  <a:pt x="17" y="11"/>
                  <a:pt x="14" y="12"/>
                  <a:pt x="13" y="12"/>
                </a:cubicBezTo>
                <a:cubicBezTo>
                  <a:pt x="12" y="13"/>
                  <a:pt x="11" y="12"/>
                  <a:pt x="10" y="12"/>
                </a:cubicBezTo>
                <a:cubicBezTo>
                  <a:pt x="9" y="13"/>
                  <a:pt x="9" y="14"/>
                  <a:pt x="9" y="14"/>
                </a:cubicBezTo>
                <a:cubicBezTo>
                  <a:pt x="7" y="17"/>
                  <a:pt x="3" y="15"/>
                  <a:pt x="2" y="14"/>
                </a:cubicBezTo>
                <a:cubicBezTo>
                  <a:pt x="1" y="16"/>
                  <a:pt x="1" y="17"/>
                  <a:pt x="1" y="19"/>
                </a:cubicBezTo>
                <a:cubicBezTo>
                  <a:pt x="0" y="22"/>
                  <a:pt x="1" y="21"/>
                  <a:pt x="3" y="22"/>
                </a:cubicBezTo>
                <a:cubicBezTo>
                  <a:pt x="5" y="24"/>
                  <a:pt x="7" y="28"/>
                  <a:pt x="8" y="31"/>
                </a:cubicBezTo>
                <a:cubicBezTo>
                  <a:pt x="10" y="33"/>
                  <a:pt x="11" y="35"/>
                  <a:pt x="12" y="38"/>
                </a:cubicBezTo>
                <a:cubicBezTo>
                  <a:pt x="13" y="40"/>
                  <a:pt x="14" y="41"/>
                  <a:pt x="15" y="42"/>
                </a:cubicBezTo>
                <a:cubicBezTo>
                  <a:pt x="17" y="44"/>
                  <a:pt x="19" y="44"/>
                  <a:pt x="20" y="46"/>
                </a:cubicBezTo>
                <a:cubicBezTo>
                  <a:pt x="21" y="48"/>
                  <a:pt x="22" y="50"/>
                  <a:pt x="22" y="53"/>
                </a:cubicBezTo>
                <a:cubicBezTo>
                  <a:pt x="23" y="55"/>
                  <a:pt x="22" y="57"/>
                  <a:pt x="23" y="59"/>
                </a:cubicBezTo>
                <a:cubicBezTo>
                  <a:pt x="25" y="63"/>
                  <a:pt x="29" y="64"/>
                  <a:pt x="31" y="67"/>
                </a:cubicBezTo>
                <a:cubicBezTo>
                  <a:pt x="33" y="70"/>
                  <a:pt x="34" y="74"/>
                  <a:pt x="36" y="76"/>
                </a:cubicBezTo>
                <a:cubicBezTo>
                  <a:pt x="37" y="78"/>
                  <a:pt x="39" y="80"/>
                  <a:pt x="40" y="81"/>
                </a:cubicBezTo>
                <a:cubicBezTo>
                  <a:pt x="40" y="82"/>
                  <a:pt x="40" y="84"/>
                  <a:pt x="41" y="84"/>
                </a:cubicBezTo>
                <a:cubicBezTo>
                  <a:pt x="43" y="84"/>
                  <a:pt x="42" y="82"/>
                  <a:pt x="43" y="81"/>
                </a:cubicBezTo>
                <a:cubicBezTo>
                  <a:pt x="43" y="78"/>
                  <a:pt x="48" y="79"/>
                  <a:pt x="50" y="79"/>
                </a:cubicBezTo>
                <a:cubicBezTo>
                  <a:pt x="53" y="79"/>
                  <a:pt x="58" y="78"/>
                  <a:pt x="60" y="80"/>
                </a:cubicBezTo>
                <a:cubicBezTo>
                  <a:pt x="63" y="81"/>
                  <a:pt x="64" y="79"/>
                  <a:pt x="66" y="77"/>
                </a:cubicBezTo>
                <a:cubicBezTo>
                  <a:pt x="69" y="73"/>
                  <a:pt x="72" y="73"/>
                  <a:pt x="76" y="72"/>
                </a:cubicBezTo>
                <a:cubicBezTo>
                  <a:pt x="82" y="72"/>
                  <a:pt x="88" y="70"/>
                  <a:pt x="94" y="68"/>
                </a:cubicBezTo>
                <a:cubicBezTo>
                  <a:pt x="96" y="67"/>
                  <a:pt x="99" y="66"/>
                  <a:pt x="102" y="66"/>
                </a:cubicBezTo>
                <a:cubicBezTo>
                  <a:pt x="103" y="65"/>
                  <a:pt x="103" y="63"/>
                  <a:pt x="104" y="61"/>
                </a:cubicBezTo>
                <a:cubicBezTo>
                  <a:pt x="104" y="60"/>
                  <a:pt x="105" y="58"/>
                  <a:pt x="105" y="56"/>
                </a:cubicBezTo>
                <a:cubicBezTo>
                  <a:pt x="105" y="55"/>
                  <a:pt x="104" y="52"/>
                  <a:pt x="103" y="51"/>
                </a:cubicBezTo>
                <a:cubicBezTo>
                  <a:pt x="100" y="51"/>
                  <a:pt x="96" y="51"/>
                  <a:pt x="93" y="50"/>
                </a:cubicBezTo>
                <a:cubicBezTo>
                  <a:pt x="90" y="50"/>
                  <a:pt x="90" y="49"/>
                  <a:pt x="88" y="47"/>
                </a:cubicBezTo>
                <a:cubicBezTo>
                  <a:pt x="86" y="43"/>
                  <a:pt x="83" y="42"/>
                  <a:pt x="81" y="39"/>
                </a:cubicBezTo>
                <a:cubicBezTo>
                  <a:pt x="80" y="39"/>
                  <a:pt x="78" y="35"/>
                  <a:pt x="77" y="34"/>
                </a:cubicBezTo>
                <a:cubicBezTo>
                  <a:pt x="76" y="32"/>
                  <a:pt x="81" y="31"/>
                  <a:pt x="77" y="29"/>
                </a:cubicBezTo>
                <a:cubicBezTo>
                  <a:pt x="76" y="29"/>
                  <a:pt x="75" y="27"/>
                  <a:pt x="74" y="27"/>
                </a:cubicBezTo>
                <a:cubicBezTo>
                  <a:pt x="72" y="27"/>
                  <a:pt x="71" y="24"/>
                  <a:pt x="70" y="22"/>
                </a:cubicBezTo>
                <a:cubicBezTo>
                  <a:pt x="69" y="19"/>
                  <a:pt x="69" y="20"/>
                  <a:pt x="65" y="2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89" name="Freeform 685">
            <a:extLst>
              <a:ext uri="{FF2B5EF4-FFF2-40B4-BE49-F238E27FC236}">
                <a16:creationId xmlns:a16="http://schemas.microsoft.com/office/drawing/2014/main" id="{8CC4D222-D186-B14D-90D8-58B38F86AC32}"/>
              </a:ext>
            </a:extLst>
          </p:cNvPr>
          <p:cNvSpPr>
            <a:spLocks/>
          </p:cNvSpPr>
          <p:nvPr/>
        </p:nvSpPr>
        <p:spPr bwMode="auto">
          <a:xfrm>
            <a:off x="6747828" y="3999218"/>
            <a:ext cx="107656" cy="114745"/>
          </a:xfrm>
          <a:custGeom>
            <a:avLst/>
            <a:gdLst>
              <a:gd name="T0" fmla="*/ 5 w 21"/>
              <a:gd name="T1" fmla="*/ 22 h 22"/>
              <a:gd name="T2" fmla="*/ 8 w 21"/>
              <a:gd name="T3" fmla="*/ 19 h 22"/>
              <a:gd name="T4" fmla="*/ 12 w 21"/>
              <a:gd name="T5" fmla="*/ 18 h 22"/>
              <a:gd name="T6" fmla="*/ 15 w 21"/>
              <a:gd name="T7" fmla="*/ 15 h 22"/>
              <a:gd name="T8" fmla="*/ 11 w 21"/>
              <a:gd name="T9" fmla="*/ 9 h 22"/>
              <a:gd name="T10" fmla="*/ 21 w 21"/>
              <a:gd name="T11" fmla="*/ 6 h 22"/>
              <a:gd name="T12" fmla="*/ 19 w 21"/>
              <a:gd name="T13" fmla="*/ 0 h 22"/>
              <a:gd name="T14" fmla="*/ 9 w 21"/>
              <a:gd name="T15" fmla="*/ 5 h 22"/>
              <a:gd name="T16" fmla="*/ 4 w 21"/>
              <a:gd name="T17" fmla="*/ 1 h 22"/>
              <a:gd name="T18" fmla="*/ 3 w 21"/>
              <a:gd name="T19" fmla="*/ 11 h 22"/>
              <a:gd name="T20" fmla="*/ 0 w 21"/>
              <a:gd name="T21" fmla="*/ 18 h 22"/>
              <a:gd name="T22" fmla="*/ 1 w 21"/>
              <a:gd name="T23" fmla="*/ 21 h 22"/>
              <a:gd name="T24" fmla="*/ 5 w 21"/>
              <a:gd name="T25" fmla="*/ 2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" h="22">
                <a:moveTo>
                  <a:pt x="5" y="22"/>
                </a:moveTo>
                <a:cubicBezTo>
                  <a:pt x="7" y="22"/>
                  <a:pt x="7" y="19"/>
                  <a:pt x="8" y="19"/>
                </a:cubicBezTo>
                <a:cubicBezTo>
                  <a:pt x="9" y="17"/>
                  <a:pt x="11" y="18"/>
                  <a:pt x="12" y="18"/>
                </a:cubicBezTo>
                <a:cubicBezTo>
                  <a:pt x="13" y="17"/>
                  <a:pt x="16" y="16"/>
                  <a:pt x="15" y="15"/>
                </a:cubicBezTo>
                <a:cubicBezTo>
                  <a:pt x="14" y="13"/>
                  <a:pt x="13" y="11"/>
                  <a:pt x="11" y="9"/>
                </a:cubicBezTo>
                <a:cubicBezTo>
                  <a:pt x="15" y="8"/>
                  <a:pt x="18" y="7"/>
                  <a:pt x="21" y="6"/>
                </a:cubicBezTo>
                <a:cubicBezTo>
                  <a:pt x="21" y="4"/>
                  <a:pt x="20" y="2"/>
                  <a:pt x="19" y="0"/>
                </a:cubicBezTo>
                <a:cubicBezTo>
                  <a:pt x="16" y="1"/>
                  <a:pt x="12" y="5"/>
                  <a:pt x="9" y="5"/>
                </a:cubicBezTo>
                <a:cubicBezTo>
                  <a:pt x="7" y="5"/>
                  <a:pt x="4" y="3"/>
                  <a:pt x="4" y="1"/>
                </a:cubicBezTo>
                <a:cubicBezTo>
                  <a:pt x="3" y="5"/>
                  <a:pt x="3" y="8"/>
                  <a:pt x="3" y="11"/>
                </a:cubicBezTo>
                <a:cubicBezTo>
                  <a:pt x="2" y="13"/>
                  <a:pt x="0" y="16"/>
                  <a:pt x="0" y="18"/>
                </a:cubicBezTo>
                <a:cubicBezTo>
                  <a:pt x="0" y="20"/>
                  <a:pt x="0" y="20"/>
                  <a:pt x="1" y="21"/>
                </a:cubicBezTo>
                <a:cubicBezTo>
                  <a:pt x="3" y="21"/>
                  <a:pt x="4" y="22"/>
                  <a:pt x="5" y="2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90" name="Freeform 686">
            <a:extLst>
              <a:ext uri="{FF2B5EF4-FFF2-40B4-BE49-F238E27FC236}">
                <a16:creationId xmlns:a16="http://schemas.microsoft.com/office/drawing/2014/main" id="{E11D73A2-4A67-2B4B-8F99-504617315D48}"/>
              </a:ext>
            </a:extLst>
          </p:cNvPr>
          <p:cNvSpPr>
            <a:spLocks/>
          </p:cNvSpPr>
          <p:nvPr/>
        </p:nvSpPr>
        <p:spPr bwMode="auto">
          <a:xfrm>
            <a:off x="6753123" y="3958618"/>
            <a:ext cx="40592" cy="45899"/>
          </a:xfrm>
          <a:custGeom>
            <a:avLst/>
            <a:gdLst>
              <a:gd name="T0" fmla="*/ 7 w 8"/>
              <a:gd name="T1" fmla="*/ 2 h 9"/>
              <a:gd name="T2" fmla="*/ 4 w 8"/>
              <a:gd name="T3" fmla="*/ 0 h 9"/>
              <a:gd name="T4" fmla="*/ 2 w 8"/>
              <a:gd name="T5" fmla="*/ 2 h 9"/>
              <a:gd name="T6" fmla="*/ 0 w 8"/>
              <a:gd name="T7" fmla="*/ 8 h 9"/>
              <a:gd name="T8" fmla="*/ 4 w 8"/>
              <a:gd name="T9" fmla="*/ 8 h 9"/>
              <a:gd name="T10" fmla="*/ 7 w 8"/>
              <a:gd name="T11" fmla="*/ 2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9">
                <a:moveTo>
                  <a:pt x="7" y="2"/>
                </a:moveTo>
                <a:cubicBezTo>
                  <a:pt x="7" y="1"/>
                  <a:pt x="5" y="0"/>
                  <a:pt x="4" y="0"/>
                </a:cubicBezTo>
                <a:cubicBezTo>
                  <a:pt x="3" y="1"/>
                  <a:pt x="3" y="1"/>
                  <a:pt x="2" y="2"/>
                </a:cubicBezTo>
                <a:cubicBezTo>
                  <a:pt x="2" y="4"/>
                  <a:pt x="1" y="6"/>
                  <a:pt x="0" y="8"/>
                </a:cubicBezTo>
                <a:cubicBezTo>
                  <a:pt x="2" y="8"/>
                  <a:pt x="2" y="9"/>
                  <a:pt x="4" y="8"/>
                </a:cubicBezTo>
                <a:cubicBezTo>
                  <a:pt x="5" y="7"/>
                  <a:pt x="8" y="4"/>
                  <a:pt x="7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91" name="Freeform 687">
            <a:extLst>
              <a:ext uri="{FF2B5EF4-FFF2-40B4-BE49-F238E27FC236}">
                <a16:creationId xmlns:a16="http://schemas.microsoft.com/office/drawing/2014/main" id="{26BB0714-BE22-3C4C-8066-9F98AC9C2BEF}"/>
              </a:ext>
            </a:extLst>
          </p:cNvPr>
          <p:cNvSpPr>
            <a:spLocks/>
          </p:cNvSpPr>
          <p:nvPr/>
        </p:nvSpPr>
        <p:spPr bwMode="auto">
          <a:xfrm>
            <a:off x="6747828" y="4020403"/>
            <a:ext cx="15884" cy="37071"/>
          </a:xfrm>
          <a:custGeom>
            <a:avLst/>
            <a:gdLst>
              <a:gd name="T0" fmla="*/ 0 w 3"/>
              <a:gd name="T1" fmla="*/ 3 h 7"/>
              <a:gd name="T2" fmla="*/ 3 w 3"/>
              <a:gd name="T3" fmla="*/ 7 h 7"/>
              <a:gd name="T4" fmla="*/ 3 w 3"/>
              <a:gd name="T5" fmla="*/ 1 h 7"/>
              <a:gd name="T6" fmla="*/ 2 w 3"/>
              <a:gd name="T7" fmla="*/ 0 h 7"/>
              <a:gd name="T8" fmla="*/ 0 w 3"/>
              <a:gd name="T9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7">
                <a:moveTo>
                  <a:pt x="0" y="3"/>
                </a:moveTo>
                <a:cubicBezTo>
                  <a:pt x="0" y="5"/>
                  <a:pt x="1" y="6"/>
                  <a:pt x="3" y="7"/>
                </a:cubicBezTo>
                <a:cubicBezTo>
                  <a:pt x="3" y="5"/>
                  <a:pt x="3" y="3"/>
                  <a:pt x="3" y="1"/>
                </a:cubicBezTo>
                <a:cubicBezTo>
                  <a:pt x="3" y="0"/>
                  <a:pt x="3" y="0"/>
                  <a:pt x="2" y="0"/>
                </a:cubicBezTo>
                <a:cubicBezTo>
                  <a:pt x="0" y="0"/>
                  <a:pt x="0" y="2"/>
                  <a:pt x="0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92" name="Freeform 688">
            <a:extLst>
              <a:ext uri="{FF2B5EF4-FFF2-40B4-BE49-F238E27FC236}">
                <a16:creationId xmlns:a16="http://schemas.microsoft.com/office/drawing/2014/main" id="{03C56C76-3300-B245-91FD-E3C9F5E6BAC7}"/>
              </a:ext>
            </a:extLst>
          </p:cNvPr>
          <p:cNvSpPr>
            <a:spLocks/>
          </p:cNvSpPr>
          <p:nvPr/>
        </p:nvSpPr>
        <p:spPr bwMode="auto">
          <a:xfrm>
            <a:off x="6726651" y="3999218"/>
            <a:ext cx="42356" cy="135930"/>
          </a:xfrm>
          <a:custGeom>
            <a:avLst/>
            <a:gdLst>
              <a:gd name="T0" fmla="*/ 4 w 8"/>
              <a:gd name="T1" fmla="*/ 17 h 26"/>
              <a:gd name="T2" fmla="*/ 6 w 8"/>
              <a:gd name="T3" fmla="*/ 13 h 26"/>
              <a:gd name="T4" fmla="*/ 5 w 8"/>
              <a:gd name="T5" fmla="*/ 10 h 26"/>
              <a:gd name="T6" fmla="*/ 7 w 8"/>
              <a:gd name="T7" fmla="*/ 4 h 26"/>
              <a:gd name="T8" fmla="*/ 6 w 8"/>
              <a:gd name="T9" fmla="*/ 0 h 26"/>
              <a:gd name="T10" fmla="*/ 2 w 8"/>
              <a:gd name="T11" fmla="*/ 7 h 26"/>
              <a:gd name="T12" fmla="*/ 0 w 8"/>
              <a:gd name="T13" fmla="*/ 11 h 26"/>
              <a:gd name="T14" fmla="*/ 1 w 8"/>
              <a:gd name="T15" fmla="*/ 16 h 26"/>
              <a:gd name="T16" fmla="*/ 2 w 8"/>
              <a:gd name="T17" fmla="*/ 26 h 26"/>
              <a:gd name="T18" fmla="*/ 2 w 8"/>
              <a:gd name="T19" fmla="*/ 25 h 26"/>
              <a:gd name="T20" fmla="*/ 4 w 8"/>
              <a:gd name="T21" fmla="*/ 17 h 26"/>
              <a:gd name="T22" fmla="*/ 4 w 8"/>
              <a:gd name="T23" fmla="*/ 17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" h="26">
                <a:moveTo>
                  <a:pt x="4" y="17"/>
                </a:moveTo>
                <a:cubicBezTo>
                  <a:pt x="4" y="16"/>
                  <a:pt x="5" y="15"/>
                  <a:pt x="6" y="13"/>
                </a:cubicBezTo>
                <a:cubicBezTo>
                  <a:pt x="7" y="11"/>
                  <a:pt x="6" y="12"/>
                  <a:pt x="5" y="10"/>
                </a:cubicBezTo>
                <a:cubicBezTo>
                  <a:pt x="3" y="8"/>
                  <a:pt x="4" y="3"/>
                  <a:pt x="7" y="4"/>
                </a:cubicBezTo>
                <a:cubicBezTo>
                  <a:pt x="8" y="1"/>
                  <a:pt x="8" y="1"/>
                  <a:pt x="6" y="0"/>
                </a:cubicBezTo>
                <a:cubicBezTo>
                  <a:pt x="4" y="0"/>
                  <a:pt x="3" y="5"/>
                  <a:pt x="2" y="7"/>
                </a:cubicBezTo>
                <a:cubicBezTo>
                  <a:pt x="1" y="8"/>
                  <a:pt x="0" y="9"/>
                  <a:pt x="0" y="11"/>
                </a:cubicBezTo>
                <a:cubicBezTo>
                  <a:pt x="0" y="12"/>
                  <a:pt x="1" y="14"/>
                  <a:pt x="1" y="16"/>
                </a:cubicBezTo>
                <a:cubicBezTo>
                  <a:pt x="1" y="19"/>
                  <a:pt x="2" y="22"/>
                  <a:pt x="2" y="26"/>
                </a:cubicBezTo>
                <a:cubicBezTo>
                  <a:pt x="2" y="25"/>
                  <a:pt x="2" y="25"/>
                  <a:pt x="2" y="25"/>
                </a:cubicBezTo>
                <a:cubicBezTo>
                  <a:pt x="3" y="23"/>
                  <a:pt x="3" y="20"/>
                  <a:pt x="4" y="17"/>
                </a:cubicBezTo>
                <a:cubicBezTo>
                  <a:pt x="4" y="16"/>
                  <a:pt x="4" y="18"/>
                  <a:pt x="4" y="1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93" name="Freeform 689">
            <a:extLst>
              <a:ext uri="{FF2B5EF4-FFF2-40B4-BE49-F238E27FC236}">
                <a16:creationId xmlns:a16="http://schemas.microsoft.com/office/drawing/2014/main" id="{54A10C91-1824-594E-B2BD-42ADB1938ED6}"/>
              </a:ext>
            </a:extLst>
          </p:cNvPr>
          <p:cNvSpPr>
            <a:spLocks/>
          </p:cNvSpPr>
          <p:nvPr/>
        </p:nvSpPr>
        <p:spPr bwMode="auto">
          <a:xfrm>
            <a:off x="7155508" y="4202228"/>
            <a:ext cx="26472" cy="40603"/>
          </a:xfrm>
          <a:custGeom>
            <a:avLst/>
            <a:gdLst>
              <a:gd name="T0" fmla="*/ 3 w 5"/>
              <a:gd name="T1" fmla="*/ 8 h 8"/>
              <a:gd name="T2" fmla="*/ 2 w 5"/>
              <a:gd name="T3" fmla="*/ 0 h 8"/>
              <a:gd name="T4" fmla="*/ 0 w 5"/>
              <a:gd name="T5" fmla="*/ 4 h 8"/>
              <a:gd name="T6" fmla="*/ 3 w 5"/>
              <a:gd name="T7" fmla="*/ 8 h 8"/>
              <a:gd name="T8" fmla="*/ 3 w 5"/>
              <a:gd name="T9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8">
                <a:moveTo>
                  <a:pt x="3" y="8"/>
                </a:moveTo>
                <a:cubicBezTo>
                  <a:pt x="3" y="7"/>
                  <a:pt x="5" y="0"/>
                  <a:pt x="2" y="0"/>
                </a:cubicBezTo>
                <a:cubicBezTo>
                  <a:pt x="1" y="1"/>
                  <a:pt x="0" y="3"/>
                  <a:pt x="0" y="4"/>
                </a:cubicBezTo>
                <a:cubicBezTo>
                  <a:pt x="0" y="6"/>
                  <a:pt x="1" y="7"/>
                  <a:pt x="3" y="8"/>
                </a:cubicBezTo>
                <a:cubicBezTo>
                  <a:pt x="3" y="8"/>
                  <a:pt x="2" y="8"/>
                  <a:pt x="3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94" name="Freeform 690">
            <a:extLst>
              <a:ext uri="{FF2B5EF4-FFF2-40B4-BE49-F238E27FC236}">
                <a16:creationId xmlns:a16="http://schemas.microsoft.com/office/drawing/2014/main" id="{98280CF9-A561-434C-8846-E5A55506FCFF}"/>
              </a:ext>
            </a:extLst>
          </p:cNvPr>
          <p:cNvSpPr>
            <a:spLocks/>
          </p:cNvSpPr>
          <p:nvPr/>
        </p:nvSpPr>
        <p:spPr bwMode="auto">
          <a:xfrm>
            <a:off x="6943728" y="4394648"/>
            <a:ext cx="275316" cy="174766"/>
          </a:xfrm>
          <a:custGeom>
            <a:avLst/>
            <a:gdLst>
              <a:gd name="T0" fmla="*/ 47 w 53"/>
              <a:gd name="T1" fmla="*/ 0 h 34"/>
              <a:gd name="T2" fmla="*/ 38 w 53"/>
              <a:gd name="T3" fmla="*/ 2 h 34"/>
              <a:gd name="T4" fmla="*/ 28 w 53"/>
              <a:gd name="T5" fmla="*/ 4 h 34"/>
              <a:gd name="T6" fmla="*/ 23 w 53"/>
              <a:gd name="T7" fmla="*/ 10 h 34"/>
              <a:gd name="T8" fmla="*/ 17 w 53"/>
              <a:gd name="T9" fmla="*/ 9 h 34"/>
              <a:gd name="T10" fmla="*/ 9 w 53"/>
              <a:gd name="T11" fmla="*/ 9 h 34"/>
              <a:gd name="T12" fmla="*/ 3 w 53"/>
              <a:gd name="T13" fmla="*/ 12 h 34"/>
              <a:gd name="T14" fmla="*/ 1 w 53"/>
              <a:gd name="T15" fmla="*/ 15 h 34"/>
              <a:gd name="T16" fmla="*/ 1 w 53"/>
              <a:gd name="T17" fmla="*/ 21 h 34"/>
              <a:gd name="T18" fmla="*/ 3 w 53"/>
              <a:gd name="T19" fmla="*/ 28 h 34"/>
              <a:gd name="T20" fmla="*/ 4 w 53"/>
              <a:gd name="T21" fmla="*/ 32 h 34"/>
              <a:gd name="T22" fmla="*/ 12 w 53"/>
              <a:gd name="T23" fmla="*/ 32 h 34"/>
              <a:gd name="T24" fmla="*/ 16 w 53"/>
              <a:gd name="T25" fmla="*/ 29 h 34"/>
              <a:gd name="T26" fmla="*/ 21 w 53"/>
              <a:gd name="T27" fmla="*/ 29 h 34"/>
              <a:gd name="T28" fmla="*/ 24 w 53"/>
              <a:gd name="T29" fmla="*/ 26 h 34"/>
              <a:gd name="T30" fmla="*/ 32 w 53"/>
              <a:gd name="T31" fmla="*/ 24 h 34"/>
              <a:gd name="T32" fmla="*/ 41 w 53"/>
              <a:gd name="T33" fmla="*/ 21 h 34"/>
              <a:gd name="T34" fmla="*/ 47 w 53"/>
              <a:gd name="T35" fmla="*/ 17 h 34"/>
              <a:gd name="T36" fmla="*/ 52 w 53"/>
              <a:gd name="T37" fmla="*/ 12 h 34"/>
              <a:gd name="T38" fmla="*/ 47 w 53"/>
              <a:gd name="T39" fmla="*/ 0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3" h="34">
                <a:moveTo>
                  <a:pt x="47" y="0"/>
                </a:moveTo>
                <a:cubicBezTo>
                  <a:pt x="44" y="1"/>
                  <a:pt x="41" y="2"/>
                  <a:pt x="38" y="2"/>
                </a:cubicBezTo>
                <a:cubicBezTo>
                  <a:pt x="35" y="3"/>
                  <a:pt x="31" y="2"/>
                  <a:pt x="28" y="4"/>
                </a:cubicBezTo>
                <a:cubicBezTo>
                  <a:pt x="26" y="6"/>
                  <a:pt x="25" y="8"/>
                  <a:pt x="23" y="10"/>
                </a:cubicBezTo>
                <a:cubicBezTo>
                  <a:pt x="22" y="11"/>
                  <a:pt x="19" y="9"/>
                  <a:pt x="17" y="9"/>
                </a:cubicBezTo>
                <a:cubicBezTo>
                  <a:pt x="14" y="9"/>
                  <a:pt x="12" y="9"/>
                  <a:pt x="9" y="9"/>
                </a:cubicBezTo>
                <a:cubicBezTo>
                  <a:pt x="6" y="9"/>
                  <a:pt x="3" y="8"/>
                  <a:pt x="3" y="12"/>
                </a:cubicBezTo>
                <a:cubicBezTo>
                  <a:pt x="2" y="14"/>
                  <a:pt x="1" y="13"/>
                  <a:pt x="1" y="15"/>
                </a:cubicBezTo>
                <a:cubicBezTo>
                  <a:pt x="0" y="17"/>
                  <a:pt x="0" y="19"/>
                  <a:pt x="1" y="21"/>
                </a:cubicBezTo>
                <a:cubicBezTo>
                  <a:pt x="1" y="23"/>
                  <a:pt x="2" y="26"/>
                  <a:pt x="3" y="28"/>
                </a:cubicBezTo>
                <a:cubicBezTo>
                  <a:pt x="3" y="29"/>
                  <a:pt x="3" y="31"/>
                  <a:pt x="4" y="32"/>
                </a:cubicBezTo>
                <a:cubicBezTo>
                  <a:pt x="5" y="34"/>
                  <a:pt x="10" y="33"/>
                  <a:pt x="12" y="32"/>
                </a:cubicBezTo>
                <a:cubicBezTo>
                  <a:pt x="13" y="31"/>
                  <a:pt x="14" y="30"/>
                  <a:pt x="16" y="29"/>
                </a:cubicBezTo>
                <a:cubicBezTo>
                  <a:pt x="17" y="29"/>
                  <a:pt x="19" y="29"/>
                  <a:pt x="21" y="29"/>
                </a:cubicBezTo>
                <a:cubicBezTo>
                  <a:pt x="22" y="28"/>
                  <a:pt x="23" y="27"/>
                  <a:pt x="24" y="26"/>
                </a:cubicBezTo>
                <a:cubicBezTo>
                  <a:pt x="27" y="25"/>
                  <a:pt x="29" y="25"/>
                  <a:pt x="32" y="24"/>
                </a:cubicBezTo>
                <a:cubicBezTo>
                  <a:pt x="35" y="23"/>
                  <a:pt x="38" y="22"/>
                  <a:pt x="41" y="21"/>
                </a:cubicBezTo>
                <a:cubicBezTo>
                  <a:pt x="43" y="20"/>
                  <a:pt x="47" y="19"/>
                  <a:pt x="47" y="17"/>
                </a:cubicBezTo>
                <a:cubicBezTo>
                  <a:pt x="48" y="14"/>
                  <a:pt x="53" y="14"/>
                  <a:pt x="52" y="12"/>
                </a:cubicBezTo>
                <a:cubicBezTo>
                  <a:pt x="50" y="8"/>
                  <a:pt x="49" y="4"/>
                  <a:pt x="4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95" name="Freeform 691">
            <a:extLst>
              <a:ext uri="{FF2B5EF4-FFF2-40B4-BE49-F238E27FC236}">
                <a16:creationId xmlns:a16="http://schemas.microsoft.com/office/drawing/2014/main" id="{5DD9D8C4-1807-4A41-B9C6-428C5FAF04FE}"/>
              </a:ext>
            </a:extLst>
          </p:cNvPr>
          <p:cNvSpPr>
            <a:spLocks/>
          </p:cNvSpPr>
          <p:nvPr/>
        </p:nvSpPr>
        <p:spPr bwMode="auto">
          <a:xfrm>
            <a:off x="7187275" y="4202228"/>
            <a:ext cx="211781" cy="254204"/>
          </a:xfrm>
          <a:custGeom>
            <a:avLst/>
            <a:gdLst>
              <a:gd name="T0" fmla="*/ 39 w 41"/>
              <a:gd name="T1" fmla="*/ 19 h 49"/>
              <a:gd name="T2" fmla="*/ 34 w 41"/>
              <a:gd name="T3" fmla="*/ 14 h 49"/>
              <a:gd name="T4" fmla="*/ 28 w 41"/>
              <a:gd name="T5" fmla="*/ 12 h 49"/>
              <a:gd name="T6" fmla="*/ 22 w 41"/>
              <a:gd name="T7" fmla="*/ 6 h 49"/>
              <a:gd name="T8" fmla="*/ 21 w 41"/>
              <a:gd name="T9" fmla="*/ 3 h 49"/>
              <a:gd name="T10" fmla="*/ 22 w 41"/>
              <a:gd name="T11" fmla="*/ 0 h 49"/>
              <a:gd name="T12" fmla="*/ 17 w 41"/>
              <a:gd name="T13" fmla="*/ 5 h 49"/>
              <a:gd name="T14" fmla="*/ 10 w 41"/>
              <a:gd name="T15" fmla="*/ 10 h 49"/>
              <a:gd name="T16" fmla="*/ 5 w 41"/>
              <a:gd name="T17" fmla="*/ 10 h 49"/>
              <a:gd name="T18" fmla="*/ 0 w 41"/>
              <a:gd name="T19" fmla="*/ 11 h 49"/>
              <a:gd name="T20" fmla="*/ 5 w 41"/>
              <a:gd name="T21" fmla="*/ 17 h 49"/>
              <a:gd name="T22" fmla="*/ 16 w 41"/>
              <a:gd name="T23" fmla="*/ 19 h 49"/>
              <a:gd name="T24" fmla="*/ 16 w 41"/>
              <a:gd name="T25" fmla="*/ 32 h 49"/>
              <a:gd name="T26" fmla="*/ 11 w 41"/>
              <a:gd name="T27" fmla="*/ 34 h 49"/>
              <a:gd name="T28" fmla="*/ 0 w 41"/>
              <a:gd name="T29" fmla="*/ 37 h 49"/>
              <a:gd name="T30" fmla="*/ 5 w 41"/>
              <a:gd name="T31" fmla="*/ 49 h 49"/>
              <a:gd name="T32" fmla="*/ 14 w 41"/>
              <a:gd name="T33" fmla="*/ 48 h 49"/>
              <a:gd name="T34" fmla="*/ 17 w 41"/>
              <a:gd name="T35" fmla="*/ 44 h 49"/>
              <a:gd name="T36" fmla="*/ 23 w 41"/>
              <a:gd name="T37" fmla="*/ 42 h 49"/>
              <a:gd name="T38" fmla="*/ 28 w 41"/>
              <a:gd name="T39" fmla="*/ 38 h 49"/>
              <a:gd name="T40" fmla="*/ 29 w 41"/>
              <a:gd name="T41" fmla="*/ 32 h 49"/>
              <a:gd name="T42" fmla="*/ 32 w 41"/>
              <a:gd name="T43" fmla="*/ 30 h 49"/>
              <a:gd name="T44" fmla="*/ 37 w 41"/>
              <a:gd name="T45" fmla="*/ 24 h 49"/>
              <a:gd name="T46" fmla="*/ 39 w 41"/>
              <a:gd name="T47" fmla="*/ 19 h 49"/>
              <a:gd name="T48" fmla="*/ 39 w 41"/>
              <a:gd name="T49" fmla="*/ 1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1" h="49">
                <a:moveTo>
                  <a:pt x="39" y="19"/>
                </a:moveTo>
                <a:cubicBezTo>
                  <a:pt x="36" y="19"/>
                  <a:pt x="35" y="16"/>
                  <a:pt x="34" y="14"/>
                </a:cubicBezTo>
                <a:cubicBezTo>
                  <a:pt x="33" y="13"/>
                  <a:pt x="29" y="13"/>
                  <a:pt x="28" y="12"/>
                </a:cubicBezTo>
                <a:cubicBezTo>
                  <a:pt x="25" y="11"/>
                  <a:pt x="24" y="9"/>
                  <a:pt x="22" y="6"/>
                </a:cubicBezTo>
                <a:cubicBezTo>
                  <a:pt x="22" y="5"/>
                  <a:pt x="21" y="4"/>
                  <a:pt x="21" y="3"/>
                </a:cubicBezTo>
                <a:cubicBezTo>
                  <a:pt x="21" y="3"/>
                  <a:pt x="22" y="0"/>
                  <a:pt x="22" y="0"/>
                </a:cubicBezTo>
                <a:cubicBezTo>
                  <a:pt x="21" y="0"/>
                  <a:pt x="18" y="4"/>
                  <a:pt x="17" y="5"/>
                </a:cubicBezTo>
                <a:cubicBezTo>
                  <a:pt x="15" y="7"/>
                  <a:pt x="13" y="10"/>
                  <a:pt x="10" y="10"/>
                </a:cubicBezTo>
                <a:cubicBezTo>
                  <a:pt x="8" y="11"/>
                  <a:pt x="7" y="10"/>
                  <a:pt x="5" y="10"/>
                </a:cubicBezTo>
                <a:cubicBezTo>
                  <a:pt x="3" y="11"/>
                  <a:pt x="1" y="13"/>
                  <a:pt x="0" y="11"/>
                </a:cubicBezTo>
                <a:cubicBezTo>
                  <a:pt x="1" y="14"/>
                  <a:pt x="2" y="17"/>
                  <a:pt x="5" y="17"/>
                </a:cubicBezTo>
                <a:cubicBezTo>
                  <a:pt x="7" y="17"/>
                  <a:pt x="15" y="17"/>
                  <a:pt x="16" y="19"/>
                </a:cubicBezTo>
                <a:cubicBezTo>
                  <a:pt x="19" y="23"/>
                  <a:pt x="17" y="27"/>
                  <a:pt x="16" y="32"/>
                </a:cubicBezTo>
                <a:cubicBezTo>
                  <a:pt x="15" y="33"/>
                  <a:pt x="11" y="34"/>
                  <a:pt x="11" y="34"/>
                </a:cubicBezTo>
                <a:cubicBezTo>
                  <a:pt x="7" y="35"/>
                  <a:pt x="3" y="36"/>
                  <a:pt x="0" y="37"/>
                </a:cubicBezTo>
                <a:cubicBezTo>
                  <a:pt x="2" y="41"/>
                  <a:pt x="4" y="45"/>
                  <a:pt x="5" y="49"/>
                </a:cubicBezTo>
                <a:cubicBezTo>
                  <a:pt x="8" y="48"/>
                  <a:pt x="11" y="48"/>
                  <a:pt x="14" y="48"/>
                </a:cubicBezTo>
                <a:cubicBezTo>
                  <a:pt x="18" y="47"/>
                  <a:pt x="15" y="46"/>
                  <a:pt x="17" y="44"/>
                </a:cubicBezTo>
                <a:cubicBezTo>
                  <a:pt x="19" y="43"/>
                  <a:pt x="22" y="44"/>
                  <a:pt x="23" y="42"/>
                </a:cubicBezTo>
                <a:cubicBezTo>
                  <a:pt x="25" y="40"/>
                  <a:pt x="25" y="39"/>
                  <a:pt x="28" y="38"/>
                </a:cubicBezTo>
                <a:cubicBezTo>
                  <a:pt x="30" y="37"/>
                  <a:pt x="29" y="34"/>
                  <a:pt x="29" y="32"/>
                </a:cubicBezTo>
                <a:cubicBezTo>
                  <a:pt x="28" y="30"/>
                  <a:pt x="30" y="30"/>
                  <a:pt x="32" y="30"/>
                </a:cubicBezTo>
                <a:cubicBezTo>
                  <a:pt x="35" y="29"/>
                  <a:pt x="35" y="26"/>
                  <a:pt x="37" y="24"/>
                </a:cubicBezTo>
                <a:cubicBezTo>
                  <a:pt x="38" y="23"/>
                  <a:pt x="41" y="20"/>
                  <a:pt x="39" y="19"/>
                </a:cubicBezTo>
                <a:cubicBezTo>
                  <a:pt x="38" y="19"/>
                  <a:pt x="40" y="20"/>
                  <a:pt x="39" y="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96" name="Freeform 692">
            <a:extLst>
              <a:ext uri="{FF2B5EF4-FFF2-40B4-BE49-F238E27FC236}">
                <a16:creationId xmlns:a16="http://schemas.microsoft.com/office/drawing/2014/main" id="{CC55242B-6EAE-E849-B7EB-FF6336AF120B}"/>
              </a:ext>
            </a:extLst>
          </p:cNvPr>
          <p:cNvSpPr>
            <a:spLocks/>
          </p:cNvSpPr>
          <p:nvPr/>
        </p:nvSpPr>
        <p:spPr bwMode="auto">
          <a:xfrm>
            <a:off x="7637310" y="3704413"/>
            <a:ext cx="284141" cy="123572"/>
          </a:xfrm>
          <a:custGeom>
            <a:avLst/>
            <a:gdLst>
              <a:gd name="T0" fmla="*/ 55 w 55"/>
              <a:gd name="T1" fmla="*/ 5 h 24"/>
              <a:gd name="T2" fmla="*/ 47 w 55"/>
              <a:gd name="T3" fmla="*/ 3 h 24"/>
              <a:gd name="T4" fmla="*/ 36 w 55"/>
              <a:gd name="T5" fmla="*/ 2 h 24"/>
              <a:gd name="T6" fmla="*/ 27 w 55"/>
              <a:gd name="T7" fmla="*/ 0 h 24"/>
              <a:gd name="T8" fmla="*/ 22 w 55"/>
              <a:gd name="T9" fmla="*/ 2 h 24"/>
              <a:gd name="T10" fmla="*/ 19 w 55"/>
              <a:gd name="T11" fmla="*/ 4 h 24"/>
              <a:gd name="T12" fmla="*/ 11 w 55"/>
              <a:gd name="T13" fmla="*/ 5 h 24"/>
              <a:gd name="T14" fmla="*/ 9 w 55"/>
              <a:gd name="T15" fmla="*/ 7 h 24"/>
              <a:gd name="T16" fmla="*/ 8 w 55"/>
              <a:gd name="T17" fmla="*/ 11 h 24"/>
              <a:gd name="T18" fmla="*/ 12 w 55"/>
              <a:gd name="T19" fmla="*/ 12 h 24"/>
              <a:gd name="T20" fmla="*/ 15 w 55"/>
              <a:gd name="T21" fmla="*/ 12 h 24"/>
              <a:gd name="T22" fmla="*/ 19 w 55"/>
              <a:gd name="T23" fmla="*/ 15 h 24"/>
              <a:gd name="T24" fmla="*/ 15 w 55"/>
              <a:gd name="T25" fmla="*/ 17 h 24"/>
              <a:gd name="T26" fmla="*/ 11 w 55"/>
              <a:gd name="T27" fmla="*/ 17 h 24"/>
              <a:gd name="T28" fmla="*/ 10 w 55"/>
              <a:gd name="T29" fmla="*/ 20 h 24"/>
              <a:gd name="T30" fmla="*/ 1 w 55"/>
              <a:gd name="T31" fmla="*/ 20 h 24"/>
              <a:gd name="T32" fmla="*/ 11 w 55"/>
              <a:gd name="T33" fmla="*/ 22 h 24"/>
              <a:gd name="T34" fmla="*/ 15 w 55"/>
              <a:gd name="T35" fmla="*/ 23 h 24"/>
              <a:gd name="T36" fmla="*/ 21 w 55"/>
              <a:gd name="T37" fmla="*/ 23 h 24"/>
              <a:gd name="T38" fmla="*/ 25 w 55"/>
              <a:gd name="T39" fmla="*/ 20 h 24"/>
              <a:gd name="T40" fmla="*/ 28 w 55"/>
              <a:gd name="T41" fmla="*/ 17 h 24"/>
              <a:gd name="T42" fmla="*/ 33 w 55"/>
              <a:gd name="T43" fmla="*/ 16 h 24"/>
              <a:gd name="T44" fmla="*/ 37 w 55"/>
              <a:gd name="T45" fmla="*/ 16 h 24"/>
              <a:gd name="T46" fmla="*/ 40 w 55"/>
              <a:gd name="T47" fmla="*/ 13 h 24"/>
              <a:gd name="T48" fmla="*/ 44 w 55"/>
              <a:gd name="T49" fmla="*/ 12 h 24"/>
              <a:gd name="T50" fmla="*/ 54 w 55"/>
              <a:gd name="T51" fmla="*/ 7 h 24"/>
              <a:gd name="T52" fmla="*/ 55 w 55"/>
              <a:gd name="T53" fmla="*/ 5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5" h="24">
                <a:moveTo>
                  <a:pt x="55" y="5"/>
                </a:moveTo>
                <a:cubicBezTo>
                  <a:pt x="52" y="5"/>
                  <a:pt x="50" y="3"/>
                  <a:pt x="47" y="3"/>
                </a:cubicBezTo>
                <a:cubicBezTo>
                  <a:pt x="44" y="2"/>
                  <a:pt x="40" y="2"/>
                  <a:pt x="36" y="2"/>
                </a:cubicBezTo>
                <a:cubicBezTo>
                  <a:pt x="33" y="2"/>
                  <a:pt x="30" y="2"/>
                  <a:pt x="27" y="0"/>
                </a:cubicBezTo>
                <a:cubicBezTo>
                  <a:pt x="25" y="0"/>
                  <a:pt x="23" y="0"/>
                  <a:pt x="22" y="2"/>
                </a:cubicBezTo>
                <a:cubicBezTo>
                  <a:pt x="22" y="4"/>
                  <a:pt x="21" y="5"/>
                  <a:pt x="19" y="4"/>
                </a:cubicBezTo>
                <a:cubicBezTo>
                  <a:pt x="17" y="3"/>
                  <a:pt x="12" y="1"/>
                  <a:pt x="11" y="5"/>
                </a:cubicBezTo>
                <a:cubicBezTo>
                  <a:pt x="10" y="6"/>
                  <a:pt x="11" y="6"/>
                  <a:pt x="9" y="7"/>
                </a:cubicBezTo>
                <a:cubicBezTo>
                  <a:pt x="8" y="8"/>
                  <a:pt x="6" y="10"/>
                  <a:pt x="8" y="11"/>
                </a:cubicBezTo>
                <a:cubicBezTo>
                  <a:pt x="9" y="12"/>
                  <a:pt x="12" y="13"/>
                  <a:pt x="12" y="12"/>
                </a:cubicBezTo>
                <a:cubicBezTo>
                  <a:pt x="13" y="10"/>
                  <a:pt x="14" y="11"/>
                  <a:pt x="15" y="12"/>
                </a:cubicBezTo>
                <a:cubicBezTo>
                  <a:pt x="16" y="13"/>
                  <a:pt x="20" y="14"/>
                  <a:pt x="19" y="15"/>
                </a:cubicBezTo>
                <a:cubicBezTo>
                  <a:pt x="19" y="16"/>
                  <a:pt x="16" y="16"/>
                  <a:pt x="15" y="17"/>
                </a:cubicBezTo>
                <a:cubicBezTo>
                  <a:pt x="14" y="18"/>
                  <a:pt x="13" y="19"/>
                  <a:pt x="11" y="17"/>
                </a:cubicBezTo>
                <a:cubicBezTo>
                  <a:pt x="10" y="16"/>
                  <a:pt x="10" y="19"/>
                  <a:pt x="10" y="20"/>
                </a:cubicBezTo>
                <a:cubicBezTo>
                  <a:pt x="6" y="22"/>
                  <a:pt x="4" y="15"/>
                  <a:pt x="1" y="20"/>
                </a:cubicBezTo>
                <a:cubicBezTo>
                  <a:pt x="0" y="21"/>
                  <a:pt x="10" y="23"/>
                  <a:pt x="11" y="22"/>
                </a:cubicBezTo>
                <a:cubicBezTo>
                  <a:pt x="12" y="21"/>
                  <a:pt x="14" y="22"/>
                  <a:pt x="15" y="23"/>
                </a:cubicBezTo>
                <a:cubicBezTo>
                  <a:pt x="16" y="23"/>
                  <a:pt x="19" y="24"/>
                  <a:pt x="21" y="23"/>
                </a:cubicBezTo>
                <a:cubicBezTo>
                  <a:pt x="22" y="22"/>
                  <a:pt x="24" y="23"/>
                  <a:pt x="25" y="20"/>
                </a:cubicBezTo>
                <a:cubicBezTo>
                  <a:pt x="25" y="19"/>
                  <a:pt x="27" y="18"/>
                  <a:pt x="28" y="17"/>
                </a:cubicBezTo>
                <a:cubicBezTo>
                  <a:pt x="29" y="16"/>
                  <a:pt x="33" y="16"/>
                  <a:pt x="33" y="16"/>
                </a:cubicBezTo>
                <a:cubicBezTo>
                  <a:pt x="34" y="18"/>
                  <a:pt x="35" y="16"/>
                  <a:pt x="37" y="16"/>
                </a:cubicBezTo>
                <a:cubicBezTo>
                  <a:pt x="38" y="16"/>
                  <a:pt x="39" y="13"/>
                  <a:pt x="40" y="13"/>
                </a:cubicBezTo>
                <a:cubicBezTo>
                  <a:pt x="41" y="12"/>
                  <a:pt x="43" y="13"/>
                  <a:pt x="44" y="12"/>
                </a:cubicBezTo>
                <a:cubicBezTo>
                  <a:pt x="48" y="11"/>
                  <a:pt x="50" y="9"/>
                  <a:pt x="54" y="7"/>
                </a:cubicBezTo>
                <a:cubicBezTo>
                  <a:pt x="55" y="7"/>
                  <a:pt x="55" y="7"/>
                  <a:pt x="55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97" name="Freeform 693">
            <a:extLst>
              <a:ext uri="{FF2B5EF4-FFF2-40B4-BE49-F238E27FC236}">
                <a16:creationId xmlns:a16="http://schemas.microsoft.com/office/drawing/2014/main" id="{7960E1EE-956F-6A43-A6F1-4FBF785A8EFD}"/>
              </a:ext>
            </a:extLst>
          </p:cNvPr>
          <p:cNvSpPr>
            <a:spLocks/>
          </p:cNvSpPr>
          <p:nvPr/>
        </p:nvSpPr>
        <p:spPr bwMode="auto">
          <a:xfrm>
            <a:off x="7291402" y="3626740"/>
            <a:ext cx="460625" cy="270091"/>
          </a:xfrm>
          <a:custGeom>
            <a:avLst/>
            <a:gdLst>
              <a:gd name="T0" fmla="*/ 78 w 89"/>
              <a:gd name="T1" fmla="*/ 32 h 52"/>
              <a:gd name="T2" fmla="*/ 81 w 89"/>
              <a:gd name="T3" fmla="*/ 33 h 52"/>
              <a:gd name="T4" fmla="*/ 84 w 89"/>
              <a:gd name="T5" fmla="*/ 31 h 52"/>
              <a:gd name="T6" fmla="*/ 81 w 89"/>
              <a:gd name="T7" fmla="*/ 26 h 52"/>
              <a:gd name="T8" fmla="*/ 79 w 89"/>
              <a:gd name="T9" fmla="*/ 27 h 52"/>
              <a:gd name="T10" fmla="*/ 75 w 89"/>
              <a:gd name="T11" fmla="*/ 27 h 52"/>
              <a:gd name="T12" fmla="*/ 78 w 89"/>
              <a:gd name="T13" fmla="*/ 21 h 52"/>
              <a:gd name="T14" fmla="*/ 74 w 89"/>
              <a:gd name="T15" fmla="*/ 22 h 52"/>
              <a:gd name="T16" fmla="*/ 68 w 89"/>
              <a:gd name="T17" fmla="*/ 25 h 52"/>
              <a:gd name="T18" fmla="*/ 65 w 89"/>
              <a:gd name="T19" fmla="*/ 29 h 52"/>
              <a:gd name="T20" fmla="*/ 62 w 89"/>
              <a:gd name="T21" fmla="*/ 28 h 52"/>
              <a:gd name="T22" fmla="*/ 57 w 89"/>
              <a:gd name="T23" fmla="*/ 27 h 52"/>
              <a:gd name="T24" fmla="*/ 53 w 89"/>
              <a:gd name="T25" fmla="*/ 23 h 52"/>
              <a:gd name="T26" fmla="*/ 52 w 89"/>
              <a:gd name="T27" fmla="*/ 17 h 52"/>
              <a:gd name="T28" fmla="*/ 49 w 89"/>
              <a:gd name="T29" fmla="*/ 13 h 52"/>
              <a:gd name="T30" fmla="*/ 45 w 89"/>
              <a:gd name="T31" fmla="*/ 12 h 52"/>
              <a:gd name="T32" fmla="*/ 38 w 89"/>
              <a:gd name="T33" fmla="*/ 12 h 52"/>
              <a:gd name="T34" fmla="*/ 31 w 89"/>
              <a:gd name="T35" fmla="*/ 12 h 52"/>
              <a:gd name="T36" fmla="*/ 27 w 89"/>
              <a:gd name="T37" fmla="*/ 8 h 52"/>
              <a:gd name="T38" fmla="*/ 23 w 89"/>
              <a:gd name="T39" fmla="*/ 8 h 52"/>
              <a:gd name="T40" fmla="*/ 19 w 89"/>
              <a:gd name="T41" fmla="*/ 10 h 52"/>
              <a:gd name="T42" fmla="*/ 17 w 89"/>
              <a:gd name="T43" fmla="*/ 6 h 52"/>
              <a:gd name="T44" fmla="*/ 15 w 89"/>
              <a:gd name="T45" fmla="*/ 1 h 52"/>
              <a:gd name="T46" fmla="*/ 15 w 89"/>
              <a:gd name="T47" fmla="*/ 5 h 52"/>
              <a:gd name="T48" fmla="*/ 14 w 89"/>
              <a:gd name="T49" fmla="*/ 8 h 52"/>
              <a:gd name="T50" fmla="*/ 13 w 89"/>
              <a:gd name="T51" fmla="*/ 3 h 52"/>
              <a:gd name="T52" fmla="*/ 14 w 89"/>
              <a:gd name="T53" fmla="*/ 0 h 52"/>
              <a:gd name="T54" fmla="*/ 1 w 89"/>
              <a:gd name="T55" fmla="*/ 4 h 52"/>
              <a:gd name="T56" fmla="*/ 1 w 89"/>
              <a:gd name="T57" fmla="*/ 15 h 52"/>
              <a:gd name="T58" fmla="*/ 1 w 89"/>
              <a:gd name="T59" fmla="*/ 23 h 52"/>
              <a:gd name="T60" fmla="*/ 2 w 89"/>
              <a:gd name="T61" fmla="*/ 26 h 52"/>
              <a:gd name="T62" fmla="*/ 6 w 89"/>
              <a:gd name="T63" fmla="*/ 26 h 52"/>
              <a:gd name="T64" fmla="*/ 6 w 89"/>
              <a:gd name="T65" fmla="*/ 23 h 52"/>
              <a:gd name="T66" fmla="*/ 10 w 89"/>
              <a:gd name="T67" fmla="*/ 20 h 52"/>
              <a:gd name="T68" fmla="*/ 13 w 89"/>
              <a:gd name="T69" fmla="*/ 18 h 52"/>
              <a:gd name="T70" fmla="*/ 17 w 89"/>
              <a:gd name="T71" fmla="*/ 19 h 52"/>
              <a:gd name="T72" fmla="*/ 21 w 89"/>
              <a:gd name="T73" fmla="*/ 20 h 52"/>
              <a:gd name="T74" fmla="*/ 21 w 89"/>
              <a:gd name="T75" fmla="*/ 24 h 52"/>
              <a:gd name="T76" fmla="*/ 26 w 89"/>
              <a:gd name="T77" fmla="*/ 27 h 52"/>
              <a:gd name="T78" fmla="*/ 33 w 89"/>
              <a:gd name="T79" fmla="*/ 34 h 52"/>
              <a:gd name="T80" fmla="*/ 38 w 89"/>
              <a:gd name="T81" fmla="*/ 37 h 52"/>
              <a:gd name="T82" fmla="*/ 41 w 89"/>
              <a:gd name="T83" fmla="*/ 39 h 52"/>
              <a:gd name="T84" fmla="*/ 50 w 89"/>
              <a:gd name="T85" fmla="*/ 45 h 52"/>
              <a:gd name="T86" fmla="*/ 54 w 89"/>
              <a:gd name="T87" fmla="*/ 49 h 52"/>
              <a:gd name="T88" fmla="*/ 61 w 89"/>
              <a:gd name="T89" fmla="*/ 52 h 52"/>
              <a:gd name="T90" fmla="*/ 63 w 89"/>
              <a:gd name="T91" fmla="*/ 47 h 52"/>
              <a:gd name="T92" fmla="*/ 62 w 89"/>
              <a:gd name="T93" fmla="*/ 42 h 52"/>
              <a:gd name="T94" fmla="*/ 59 w 89"/>
              <a:gd name="T95" fmla="*/ 38 h 52"/>
              <a:gd name="T96" fmla="*/ 64 w 89"/>
              <a:gd name="T97" fmla="*/ 36 h 52"/>
              <a:gd name="T98" fmla="*/ 66 w 89"/>
              <a:gd name="T99" fmla="*/ 33 h 52"/>
              <a:gd name="T100" fmla="*/ 68 w 89"/>
              <a:gd name="T101" fmla="*/ 30 h 52"/>
              <a:gd name="T102" fmla="*/ 71 w 89"/>
              <a:gd name="T103" fmla="*/ 30 h 52"/>
              <a:gd name="T104" fmla="*/ 74 w 89"/>
              <a:gd name="T105" fmla="*/ 29 h 52"/>
              <a:gd name="T106" fmla="*/ 74 w 89"/>
              <a:gd name="T107" fmla="*/ 34 h 52"/>
              <a:gd name="T108" fmla="*/ 77 w 89"/>
              <a:gd name="T109" fmla="*/ 34 h 52"/>
              <a:gd name="T110" fmla="*/ 78 w 89"/>
              <a:gd name="T111" fmla="*/ 32 h 52"/>
              <a:gd name="T112" fmla="*/ 78 w 89"/>
              <a:gd name="T113" fmla="*/ 3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9" h="52">
                <a:moveTo>
                  <a:pt x="78" y="32"/>
                </a:moveTo>
                <a:cubicBezTo>
                  <a:pt x="79" y="33"/>
                  <a:pt x="79" y="34"/>
                  <a:pt x="81" y="33"/>
                </a:cubicBezTo>
                <a:cubicBezTo>
                  <a:pt x="82" y="33"/>
                  <a:pt x="83" y="31"/>
                  <a:pt x="84" y="31"/>
                </a:cubicBezTo>
                <a:cubicBezTo>
                  <a:pt x="89" y="30"/>
                  <a:pt x="83" y="28"/>
                  <a:pt x="81" y="26"/>
                </a:cubicBezTo>
                <a:cubicBezTo>
                  <a:pt x="80" y="25"/>
                  <a:pt x="80" y="26"/>
                  <a:pt x="79" y="27"/>
                </a:cubicBezTo>
                <a:cubicBezTo>
                  <a:pt x="79" y="28"/>
                  <a:pt x="76" y="27"/>
                  <a:pt x="75" y="27"/>
                </a:cubicBezTo>
                <a:cubicBezTo>
                  <a:pt x="71" y="25"/>
                  <a:pt x="77" y="22"/>
                  <a:pt x="78" y="21"/>
                </a:cubicBezTo>
                <a:cubicBezTo>
                  <a:pt x="78" y="21"/>
                  <a:pt x="74" y="22"/>
                  <a:pt x="74" y="22"/>
                </a:cubicBezTo>
                <a:cubicBezTo>
                  <a:pt x="72" y="23"/>
                  <a:pt x="70" y="23"/>
                  <a:pt x="68" y="25"/>
                </a:cubicBezTo>
                <a:cubicBezTo>
                  <a:pt x="67" y="26"/>
                  <a:pt x="66" y="28"/>
                  <a:pt x="65" y="29"/>
                </a:cubicBezTo>
                <a:cubicBezTo>
                  <a:pt x="64" y="32"/>
                  <a:pt x="63" y="30"/>
                  <a:pt x="62" y="28"/>
                </a:cubicBezTo>
                <a:cubicBezTo>
                  <a:pt x="61" y="26"/>
                  <a:pt x="59" y="27"/>
                  <a:pt x="57" y="27"/>
                </a:cubicBezTo>
                <a:cubicBezTo>
                  <a:pt x="55" y="27"/>
                  <a:pt x="54" y="24"/>
                  <a:pt x="53" y="23"/>
                </a:cubicBezTo>
                <a:cubicBezTo>
                  <a:pt x="51" y="21"/>
                  <a:pt x="54" y="19"/>
                  <a:pt x="52" y="17"/>
                </a:cubicBezTo>
                <a:cubicBezTo>
                  <a:pt x="51" y="16"/>
                  <a:pt x="50" y="14"/>
                  <a:pt x="49" y="13"/>
                </a:cubicBezTo>
                <a:cubicBezTo>
                  <a:pt x="48" y="12"/>
                  <a:pt x="46" y="11"/>
                  <a:pt x="45" y="12"/>
                </a:cubicBezTo>
                <a:cubicBezTo>
                  <a:pt x="43" y="13"/>
                  <a:pt x="41" y="12"/>
                  <a:pt x="38" y="12"/>
                </a:cubicBezTo>
                <a:cubicBezTo>
                  <a:pt x="36" y="12"/>
                  <a:pt x="33" y="13"/>
                  <a:pt x="31" y="12"/>
                </a:cubicBezTo>
                <a:cubicBezTo>
                  <a:pt x="30" y="11"/>
                  <a:pt x="28" y="9"/>
                  <a:pt x="27" y="8"/>
                </a:cubicBezTo>
                <a:cubicBezTo>
                  <a:pt x="25" y="6"/>
                  <a:pt x="24" y="6"/>
                  <a:pt x="23" y="8"/>
                </a:cubicBezTo>
                <a:cubicBezTo>
                  <a:pt x="22" y="9"/>
                  <a:pt x="21" y="10"/>
                  <a:pt x="19" y="10"/>
                </a:cubicBezTo>
                <a:cubicBezTo>
                  <a:pt x="16" y="10"/>
                  <a:pt x="16" y="8"/>
                  <a:pt x="17" y="6"/>
                </a:cubicBezTo>
                <a:cubicBezTo>
                  <a:pt x="18" y="3"/>
                  <a:pt x="18" y="3"/>
                  <a:pt x="15" y="1"/>
                </a:cubicBezTo>
                <a:cubicBezTo>
                  <a:pt x="15" y="2"/>
                  <a:pt x="15" y="4"/>
                  <a:pt x="15" y="5"/>
                </a:cubicBezTo>
                <a:cubicBezTo>
                  <a:pt x="15" y="7"/>
                  <a:pt x="16" y="8"/>
                  <a:pt x="14" y="8"/>
                </a:cubicBezTo>
                <a:cubicBezTo>
                  <a:pt x="12" y="7"/>
                  <a:pt x="12" y="4"/>
                  <a:pt x="13" y="3"/>
                </a:cubicBezTo>
                <a:cubicBezTo>
                  <a:pt x="13" y="3"/>
                  <a:pt x="15" y="0"/>
                  <a:pt x="14" y="0"/>
                </a:cubicBezTo>
                <a:cubicBezTo>
                  <a:pt x="9" y="1"/>
                  <a:pt x="5" y="2"/>
                  <a:pt x="1" y="4"/>
                </a:cubicBezTo>
                <a:cubicBezTo>
                  <a:pt x="0" y="4"/>
                  <a:pt x="1" y="14"/>
                  <a:pt x="1" y="15"/>
                </a:cubicBezTo>
                <a:cubicBezTo>
                  <a:pt x="1" y="18"/>
                  <a:pt x="1" y="21"/>
                  <a:pt x="1" y="23"/>
                </a:cubicBezTo>
                <a:cubicBezTo>
                  <a:pt x="1" y="25"/>
                  <a:pt x="0" y="26"/>
                  <a:pt x="2" y="26"/>
                </a:cubicBezTo>
                <a:cubicBezTo>
                  <a:pt x="3" y="26"/>
                  <a:pt x="4" y="26"/>
                  <a:pt x="6" y="26"/>
                </a:cubicBezTo>
                <a:cubicBezTo>
                  <a:pt x="8" y="26"/>
                  <a:pt x="5" y="24"/>
                  <a:pt x="6" y="23"/>
                </a:cubicBezTo>
                <a:cubicBezTo>
                  <a:pt x="7" y="21"/>
                  <a:pt x="9" y="22"/>
                  <a:pt x="10" y="20"/>
                </a:cubicBezTo>
                <a:cubicBezTo>
                  <a:pt x="12" y="19"/>
                  <a:pt x="12" y="19"/>
                  <a:pt x="13" y="18"/>
                </a:cubicBezTo>
                <a:cubicBezTo>
                  <a:pt x="15" y="17"/>
                  <a:pt x="16" y="18"/>
                  <a:pt x="17" y="19"/>
                </a:cubicBezTo>
                <a:cubicBezTo>
                  <a:pt x="18" y="20"/>
                  <a:pt x="21" y="20"/>
                  <a:pt x="21" y="20"/>
                </a:cubicBezTo>
                <a:cubicBezTo>
                  <a:pt x="22" y="22"/>
                  <a:pt x="21" y="23"/>
                  <a:pt x="21" y="24"/>
                </a:cubicBezTo>
                <a:cubicBezTo>
                  <a:pt x="22" y="27"/>
                  <a:pt x="25" y="27"/>
                  <a:pt x="26" y="27"/>
                </a:cubicBezTo>
                <a:cubicBezTo>
                  <a:pt x="31" y="27"/>
                  <a:pt x="31" y="30"/>
                  <a:pt x="33" y="34"/>
                </a:cubicBezTo>
                <a:cubicBezTo>
                  <a:pt x="34" y="35"/>
                  <a:pt x="36" y="36"/>
                  <a:pt x="38" y="37"/>
                </a:cubicBezTo>
                <a:cubicBezTo>
                  <a:pt x="39" y="37"/>
                  <a:pt x="40" y="38"/>
                  <a:pt x="41" y="39"/>
                </a:cubicBezTo>
                <a:cubicBezTo>
                  <a:pt x="44" y="41"/>
                  <a:pt x="47" y="44"/>
                  <a:pt x="50" y="45"/>
                </a:cubicBezTo>
                <a:cubicBezTo>
                  <a:pt x="54" y="46"/>
                  <a:pt x="54" y="46"/>
                  <a:pt x="54" y="49"/>
                </a:cubicBezTo>
                <a:cubicBezTo>
                  <a:pt x="56" y="49"/>
                  <a:pt x="59" y="51"/>
                  <a:pt x="61" y="52"/>
                </a:cubicBezTo>
                <a:cubicBezTo>
                  <a:pt x="61" y="49"/>
                  <a:pt x="60" y="49"/>
                  <a:pt x="63" y="47"/>
                </a:cubicBezTo>
                <a:cubicBezTo>
                  <a:pt x="64" y="45"/>
                  <a:pt x="62" y="44"/>
                  <a:pt x="62" y="42"/>
                </a:cubicBezTo>
                <a:cubicBezTo>
                  <a:pt x="63" y="39"/>
                  <a:pt x="60" y="40"/>
                  <a:pt x="59" y="38"/>
                </a:cubicBezTo>
                <a:cubicBezTo>
                  <a:pt x="58" y="36"/>
                  <a:pt x="63" y="37"/>
                  <a:pt x="64" y="36"/>
                </a:cubicBezTo>
                <a:cubicBezTo>
                  <a:pt x="67" y="35"/>
                  <a:pt x="64" y="32"/>
                  <a:pt x="66" y="33"/>
                </a:cubicBezTo>
                <a:cubicBezTo>
                  <a:pt x="70" y="33"/>
                  <a:pt x="66" y="30"/>
                  <a:pt x="68" y="30"/>
                </a:cubicBezTo>
                <a:cubicBezTo>
                  <a:pt x="69" y="29"/>
                  <a:pt x="70" y="31"/>
                  <a:pt x="71" y="30"/>
                </a:cubicBezTo>
                <a:cubicBezTo>
                  <a:pt x="72" y="30"/>
                  <a:pt x="73" y="29"/>
                  <a:pt x="74" y="29"/>
                </a:cubicBezTo>
                <a:cubicBezTo>
                  <a:pt x="76" y="29"/>
                  <a:pt x="74" y="33"/>
                  <a:pt x="74" y="34"/>
                </a:cubicBezTo>
                <a:cubicBezTo>
                  <a:pt x="75" y="34"/>
                  <a:pt x="77" y="31"/>
                  <a:pt x="77" y="34"/>
                </a:cubicBezTo>
                <a:cubicBezTo>
                  <a:pt x="77" y="34"/>
                  <a:pt x="77" y="32"/>
                  <a:pt x="78" y="32"/>
                </a:cubicBezTo>
                <a:cubicBezTo>
                  <a:pt x="79" y="32"/>
                  <a:pt x="77" y="32"/>
                  <a:pt x="78" y="3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98" name="Freeform 694">
            <a:extLst>
              <a:ext uri="{FF2B5EF4-FFF2-40B4-BE49-F238E27FC236}">
                <a16:creationId xmlns:a16="http://schemas.microsoft.com/office/drawing/2014/main" id="{B38786E1-F766-5C4C-8B0E-DA9DF0DD48C6}"/>
              </a:ext>
            </a:extLst>
          </p:cNvPr>
          <p:cNvSpPr>
            <a:spLocks/>
          </p:cNvSpPr>
          <p:nvPr/>
        </p:nvSpPr>
        <p:spPr bwMode="auto">
          <a:xfrm>
            <a:off x="7430824" y="3926841"/>
            <a:ext cx="0" cy="5297"/>
          </a:xfrm>
          <a:custGeom>
            <a:avLst/>
            <a:gdLst>
              <a:gd name="T0" fmla="*/ 1 h 1"/>
              <a:gd name="T1" fmla="*/ 0 h 1"/>
              <a:gd name="T2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299" name="Freeform 695">
            <a:extLst>
              <a:ext uri="{FF2B5EF4-FFF2-40B4-BE49-F238E27FC236}">
                <a16:creationId xmlns:a16="http://schemas.microsoft.com/office/drawing/2014/main" id="{E3AF83AE-D3BF-4B4B-9E38-9AC3BBA36FB5}"/>
              </a:ext>
            </a:extLst>
          </p:cNvPr>
          <p:cNvSpPr>
            <a:spLocks/>
          </p:cNvSpPr>
          <p:nvPr/>
        </p:nvSpPr>
        <p:spPr bwMode="auto">
          <a:xfrm>
            <a:off x="7192569" y="3720301"/>
            <a:ext cx="377676" cy="222428"/>
          </a:xfrm>
          <a:custGeom>
            <a:avLst/>
            <a:gdLst>
              <a:gd name="T0" fmla="*/ 73 w 73"/>
              <a:gd name="T1" fmla="*/ 28 h 43"/>
              <a:gd name="T2" fmla="*/ 69 w 73"/>
              <a:gd name="T3" fmla="*/ 27 h 43"/>
              <a:gd name="T4" fmla="*/ 65 w 73"/>
              <a:gd name="T5" fmla="*/ 24 h 43"/>
              <a:gd name="T6" fmla="*/ 58 w 73"/>
              <a:gd name="T7" fmla="*/ 20 h 43"/>
              <a:gd name="T8" fmla="*/ 52 w 73"/>
              <a:gd name="T9" fmla="*/ 16 h 43"/>
              <a:gd name="T10" fmla="*/ 47 w 73"/>
              <a:gd name="T11" fmla="*/ 9 h 43"/>
              <a:gd name="T12" fmla="*/ 40 w 73"/>
              <a:gd name="T13" fmla="*/ 5 h 43"/>
              <a:gd name="T14" fmla="*/ 40 w 73"/>
              <a:gd name="T15" fmla="*/ 2 h 43"/>
              <a:gd name="T16" fmla="*/ 36 w 73"/>
              <a:gd name="T17" fmla="*/ 1 h 43"/>
              <a:gd name="T18" fmla="*/ 34 w 73"/>
              <a:gd name="T19" fmla="*/ 0 h 43"/>
              <a:gd name="T20" fmla="*/ 31 w 73"/>
              <a:gd name="T21" fmla="*/ 1 h 43"/>
              <a:gd name="T22" fmla="*/ 28 w 73"/>
              <a:gd name="T23" fmla="*/ 3 h 43"/>
              <a:gd name="T24" fmla="*/ 25 w 73"/>
              <a:gd name="T25" fmla="*/ 6 h 43"/>
              <a:gd name="T26" fmla="*/ 22 w 73"/>
              <a:gd name="T27" fmla="*/ 8 h 43"/>
              <a:gd name="T28" fmla="*/ 17 w 73"/>
              <a:gd name="T29" fmla="*/ 8 h 43"/>
              <a:gd name="T30" fmla="*/ 12 w 73"/>
              <a:gd name="T31" fmla="*/ 2 h 43"/>
              <a:gd name="T32" fmla="*/ 2 w 73"/>
              <a:gd name="T33" fmla="*/ 5 h 43"/>
              <a:gd name="T34" fmla="*/ 5 w 73"/>
              <a:gd name="T35" fmla="*/ 12 h 43"/>
              <a:gd name="T36" fmla="*/ 8 w 73"/>
              <a:gd name="T37" fmla="*/ 17 h 43"/>
              <a:gd name="T38" fmla="*/ 8 w 73"/>
              <a:gd name="T39" fmla="*/ 19 h 43"/>
              <a:gd name="T40" fmla="*/ 10 w 73"/>
              <a:gd name="T41" fmla="*/ 22 h 43"/>
              <a:gd name="T42" fmla="*/ 9 w 73"/>
              <a:gd name="T43" fmla="*/ 26 h 43"/>
              <a:gd name="T44" fmla="*/ 9 w 73"/>
              <a:gd name="T45" fmla="*/ 31 h 43"/>
              <a:gd name="T46" fmla="*/ 14 w 73"/>
              <a:gd name="T47" fmla="*/ 29 h 43"/>
              <a:gd name="T48" fmla="*/ 17 w 73"/>
              <a:gd name="T49" fmla="*/ 26 h 43"/>
              <a:gd name="T50" fmla="*/ 27 w 73"/>
              <a:gd name="T51" fmla="*/ 27 h 43"/>
              <a:gd name="T52" fmla="*/ 37 w 73"/>
              <a:gd name="T53" fmla="*/ 31 h 43"/>
              <a:gd name="T54" fmla="*/ 45 w 73"/>
              <a:gd name="T55" fmla="*/ 35 h 43"/>
              <a:gd name="T56" fmla="*/ 46 w 73"/>
              <a:gd name="T57" fmla="*/ 37 h 43"/>
              <a:gd name="T58" fmla="*/ 48 w 73"/>
              <a:gd name="T59" fmla="*/ 42 h 43"/>
              <a:gd name="T60" fmla="*/ 53 w 73"/>
              <a:gd name="T61" fmla="*/ 43 h 43"/>
              <a:gd name="T62" fmla="*/ 57 w 73"/>
              <a:gd name="T63" fmla="*/ 40 h 43"/>
              <a:gd name="T64" fmla="*/ 62 w 73"/>
              <a:gd name="T65" fmla="*/ 38 h 43"/>
              <a:gd name="T66" fmla="*/ 65 w 73"/>
              <a:gd name="T67" fmla="*/ 33 h 43"/>
              <a:gd name="T68" fmla="*/ 69 w 73"/>
              <a:gd name="T69" fmla="*/ 31 h 43"/>
              <a:gd name="T70" fmla="*/ 73 w 73"/>
              <a:gd name="T71" fmla="*/ 31 h 43"/>
              <a:gd name="T72" fmla="*/ 73 w 73"/>
              <a:gd name="T73" fmla="*/ 28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73" h="43">
                <a:moveTo>
                  <a:pt x="73" y="28"/>
                </a:moveTo>
                <a:cubicBezTo>
                  <a:pt x="72" y="27"/>
                  <a:pt x="71" y="27"/>
                  <a:pt x="69" y="27"/>
                </a:cubicBezTo>
                <a:cubicBezTo>
                  <a:pt x="68" y="26"/>
                  <a:pt x="66" y="25"/>
                  <a:pt x="65" y="24"/>
                </a:cubicBezTo>
                <a:cubicBezTo>
                  <a:pt x="63" y="23"/>
                  <a:pt x="60" y="22"/>
                  <a:pt x="58" y="20"/>
                </a:cubicBezTo>
                <a:cubicBezTo>
                  <a:pt x="57" y="18"/>
                  <a:pt x="54" y="18"/>
                  <a:pt x="52" y="16"/>
                </a:cubicBezTo>
                <a:cubicBezTo>
                  <a:pt x="51" y="13"/>
                  <a:pt x="50" y="9"/>
                  <a:pt x="47" y="9"/>
                </a:cubicBezTo>
                <a:cubicBezTo>
                  <a:pt x="44" y="9"/>
                  <a:pt x="40" y="9"/>
                  <a:pt x="40" y="5"/>
                </a:cubicBezTo>
                <a:cubicBezTo>
                  <a:pt x="40" y="4"/>
                  <a:pt x="41" y="2"/>
                  <a:pt x="40" y="2"/>
                </a:cubicBezTo>
                <a:cubicBezTo>
                  <a:pt x="39" y="1"/>
                  <a:pt x="38" y="2"/>
                  <a:pt x="36" y="1"/>
                </a:cubicBezTo>
                <a:cubicBezTo>
                  <a:pt x="36" y="1"/>
                  <a:pt x="35" y="0"/>
                  <a:pt x="34" y="0"/>
                </a:cubicBezTo>
                <a:cubicBezTo>
                  <a:pt x="33" y="0"/>
                  <a:pt x="32" y="1"/>
                  <a:pt x="31" y="1"/>
                </a:cubicBezTo>
                <a:cubicBezTo>
                  <a:pt x="30" y="0"/>
                  <a:pt x="29" y="3"/>
                  <a:pt x="28" y="3"/>
                </a:cubicBezTo>
                <a:cubicBezTo>
                  <a:pt x="27" y="3"/>
                  <a:pt x="24" y="4"/>
                  <a:pt x="25" y="6"/>
                </a:cubicBezTo>
                <a:cubicBezTo>
                  <a:pt x="26" y="9"/>
                  <a:pt x="25" y="8"/>
                  <a:pt x="22" y="8"/>
                </a:cubicBezTo>
                <a:cubicBezTo>
                  <a:pt x="21" y="8"/>
                  <a:pt x="18" y="8"/>
                  <a:pt x="17" y="8"/>
                </a:cubicBezTo>
                <a:cubicBezTo>
                  <a:pt x="15" y="6"/>
                  <a:pt x="14" y="4"/>
                  <a:pt x="12" y="2"/>
                </a:cubicBezTo>
                <a:cubicBezTo>
                  <a:pt x="9" y="0"/>
                  <a:pt x="5" y="3"/>
                  <a:pt x="2" y="5"/>
                </a:cubicBezTo>
                <a:cubicBezTo>
                  <a:pt x="3" y="6"/>
                  <a:pt x="6" y="10"/>
                  <a:pt x="5" y="12"/>
                </a:cubicBezTo>
                <a:cubicBezTo>
                  <a:pt x="0" y="15"/>
                  <a:pt x="6" y="15"/>
                  <a:pt x="8" y="17"/>
                </a:cubicBezTo>
                <a:cubicBezTo>
                  <a:pt x="8" y="17"/>
                  <a:pt x="8" y="19"/>
                  <a:pt x="8" y="19"/>
                </a:cubicBezTo>
                <a:cubicBezTo>
                  <a:pt x="7" y="20"/>
                  <a:pt x="9" y="22"/>
                  <a:pt x="10" y="22"/>
                </a:cubicBezTo>
                <a:cubicBezTo>
                  <a:pt x="10" y="23"/>
                  <a:pt x="9" y="24"/>
                  <a:pt x="9" y="26"/>
                </a:cubicBezTo>
                <a:cubicBezTo>
                  <a:pt x="9" y="27"/>
                  <a:pt x="9" y="29"/>
                  <a:pt x="9" y="31"/>
                </a:cubicBezTo>
                <a:cubicBezTo>
                  <a:pt x="11" y="31"/>
                  <a:pt x="12" y="31"/>
                  <a:pt x="14" y="29"/>
                </a:cubicBezTo>
                <a:cubicBezTo>
                  <a:pt x="15" y="28"/>
                  <a:pt x="16" y="27"/>
                  <a:pt x="17" y="26"/>
                </a:cubicBezTo>
                <a:cubicBezTo>
                  <a:pt x="21" y="26"/>
                  <a:pt x="24" y="25"/>
                  <a:pt x="27" y="27"/>
                </a:cubicBezTo>
                <a:cubicBezTo>
                  <a:pt x="29" y="30"/>
                  <a:pt x="35" y="28"/>
                  <a:pt x="37" y="31"/>
                </a:cubicBezTo>
                <a:cubicBezTo>
                  <a:pt x="39" y="34"/>
                  <a:pt x="41" y="35"/>
                  <a:pt x="45" y="35"/>
                </a:cubicBezTo>
                <a:cubicBezTo>
                  <a:pt x="46" y="35"/>
                  <a:pt x="46" y="35"/>
                  <a:pt x="46" y="37"/>
                </a:cubicBezTo>
                <a:cubicBezTo>
                  <a:pt x="46" y="40"/>
                  <a:pt x="46" y="40"/>
                  <a:pt x="48" y="42"/>
                </a:cubicBezTo>
                <a:cubicBezTo>
                  <a:pt x="50" y="42"/>
                  <a:pt x="51" y="43"/>
                  <a:pt x="53" y="43"/>
                </a:cubicBezTo>
                <a:cubicBezTo>
                  <a:pt x="56" y="43"/>
                  <a:pt x="56" y="42"/>
                  <a:pt x="57" y="40"/>
                </a:cubicBezTo>
                <a:cubicBezTo>
                  <a:pt x="58" y="38"/>
                  <a:pt x="60" y="39"/>
                  <a:pt x="62" y="38"/>
                </a:cubicBezTo>
                <a:cubicBezTo>
                  <a:pt x="64" y="37"/>
                  <a:pt x="64" y="35"/>
                  <a:pt x="65" y="33"/>
                </a:cubicBezTo>
                <a:cubicBezTo>
                  <a:pt x="65" y="31"/>
                  <a:pt x="68" y="33"/>
                  <a:pt x="69" y="31"/>
                </a:cubicBezTo>
                <a:cubicBezTo>
                  <a:pt x="69" y="29"/>
                  <a:pt x="72" y="31"/>
                  <a:pt x="73" y="31"/>
                </a:cubicBezTo>
                <a:cubicBezTo>
                  <a:pt x="73" y="30"/>
                  <a:pt x="73" y="29"/>
                  <a:pt x="73" y="2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00" name="Freeform 696">
            <a:extLst>
              <a:ext uri="{FF2B5EF4-FFF2-40B4-BE49-F238E27FC236}">
                <a16:creationId xmlns:a16="http://schemas.microsoft.com/office/drawing/2014/main" id="{79ADB939-6CA0-914E-B58A-2695EE6777AC}"/>
              </a:ext>
            </a:extLst>
          </p:cNvPr>
          <p:cNvSpPr>
            <a:spLocks/>
          </p:cNvSpPr>
          <p:nvPr/>
        </p:nvSpPr>
        <p:spPr bwMode="auto">
          <a:xfrm>
            <a:off x="7591425" y="3771494"/>
            <a:ext cx="206486" cy="139459"/>
          </a:xfrm>
          <a:custGeom>
            <a:avLst/>
            <a:gdLst>
              <a:gd name="T0" fmla="*/ 30 w 40"/>
              <a:gd name="T1" fmla="*/ 10 h 27"/>
              <a:gd name="T2" fmla="*/ 25 w 40"/>
              <a:gd name="T3" fmla="*/ 10 h 27"/>
              <a:gd name="T4" fmla="*/ 21 w 40"/>
              <a:gd name="T5" fmla="*/ 8 h 27"/>
              <a:gd name="T6" fmla="*/ 19 w 40"/>
              <a:gd name="T7" fmla="*/ 9 h 27"/>
              <a:gd name="T8" fmla="*/ 17 w 40"/>
              <a:gd name="T9" fmla="*/ 9 h 27"/>
              <a:gd name="T10" fmla="*/ 10 w 40"/>
              <a:gd name="T11" fmla="*/ 8 h 27"/>
              <a:gd name="T12" fmla="*/ 12 w 40"/>
              <a:gd name="T13" fmla="*/ 5 h 27"/>
              <a:gd name="T14" fmla="*/ 16 w 40"/>
              <a:gd name="T15" fmla="*/ 7 h 27"/>
              <a:gd name="T16" fmla="*/ 19 w 40"/>
              <a:gd name="T17" fmla="*/ 5 h 27"/>
              <a:gd name="T18" fmla="*/ 16 w 40"/>
              <a:gd name="T19" fmla="*/ 6 h 27"/>
              <a:gd name="T20" fmla="*/ 16 w 40"/>
              <a:gd name="T21" fmla="*/ 1 h 27"/>
              <a:gd name="T22" fmla="*/ 14 w 40"/>
              <a:gd name="T23" fmla="*/ 2 h 27"/>
              <a:gd name="T24" fmla="*/ 10 w 40"/>
              <a:gd name="T25" fmla="*/ 2 h 27"/>
              <a:gd name="T26" fmla="*/ 8 w 40"/>
              <a:gd name="T27" fmla="*/ 5 h 27"/>
              <a:gd name="T28" fmla="*/ 6 w 40"/>
              <a:gd name="T29" fmla="*/ 8 h 27"/>
              <a:gd name="T30" fmla="*/ 1 w 40"/>
              <a:gd name="T31" fmla="*/ 10 h 27"/>
              <a:gd name="T32" fmla="*/ 4 w 40"/>
              <a:gd name="T33" fmla="*/ 14 h 27"/>
              <a:gd name="T34" fmla="*/ 4 w 40"/>
              <a:gd name="T35" fmla="*/ 19 h 27"/>
              <a:gd name="T36" fmla="*/ 4 w 40"/>
              <a:gd name="T37" fmla="*/ 24 h 27"/>
              <a:gd name="T38" fmla="*/ 9 w 40"/>
              <a:gd name="T39" fmla="*/ 22 h 27"/>
              <a:gd name="T40" fmla="*/ 12 w 40"/>
              <a:gd name="T41" fmla="*/ 20 h 27"/>
              <a:gd name="T42" fmla="*/ 17 w 40"/>
              <a:gd name="T43" fmla="*/ 17 h 27"/>
              <a:gd name="T44" fmla="*/ 20 w 40"/>
              <a:gd name="T45" fmla="*/ 17 h 27"/>
              <a:gd name="T46" fmla="*/ 22 w 40"/>
              <a:gd name="T47" fmla="*/ 21 h 27"/>
              <a:gd name="T48" fmla="*/ 21 w 40"/>
              <a:gd name="T49" fmla="*/ 24 h 27"/>
              <a:gd name="T50" fmla="*/ 27 w 40"/>
              <a:gd name="T51" fmla="*/ 23 h 27"/>
              <a:gd name="T52" fmla="*/ 32 w 40"/>
              <a:gd name="T53" fmla="*/ 21 h 27"/>
              <a:gd name="T54" fmla="*/ 39 w 40"/>
              <a:gd name="T55" fmla="*/ 21 h 27"/>
              <a:gd name="T56" fmla="*/ 38 w 40"/>
              <a:gd name="T57" fmla="*/ 18 h 27"/>
              <a:gd name="T58" fmla="*/ 36 w 40"/>
              <a:gd name="T59" fmla="*/ 14 h 27"/>
              <a:gd name="T60" fmla="*/ 32 w 40"/>
              <a:gd name="T61" fmla="*/ 9 h 27"/>
              <a:gd name="T62" fmla="*/ 30 w 40"/>
              <a:gd name="T63" fmla="*/ 10 h 27"/>
              <a:gd name="T64" fmla="*/ 30 w 40"/>
              <a:gd name="T65" fmla="*/ 10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0" h="27">
                <a:moveTo>
                  <a:pt x="30" y="10"/>
                </a:moveTo>
                <a:cubicBezTo>
                  <a:pt x="28" y="11"/>
                  <a:pt x="27" y="10"/>
                  <a:pt x="25" y="10"/>
                </a:cubicBezTo>
                <a:cubicBezTo>
                  <a:pt x="23" y="10"/>
                  <a:pt x="22" y="8"/>
                  <a:pt x="21" y="8"/>
                </a:cubicBezTo>
                <a:cubicBezTo>
                  <a:pt x="20" y="8"/>
                  <a:pt x="20" y="9"/>
                  <a:pt x="19" y="9"/>
                </a:cubicBezTo>
                <a:cubicBezTo>
                  <a:pt x="19" y="10"/>
                  <a:pt x="18" y="9"/>
                  <a:pt x="17" y="9"/>
                </a:cubicBezTo>
                <a:cubicBezTo>
                  <a:pt x="15" y="9"/>
                  <a:pt x="12" y="9"/>
                  <a:pt x="10" y="8"/>
                </a:cubicBezTo>
                <a:cubicBezTo>
                  <a:pt x="9" y="7"/>
                  <a:pt x="12" y="5"/>
                  <a:pt x="12" y="5"/>
                </a:cubicBezTo>
                <a:cubicBezTo>
                  <a:pt x="14" y="4"/>
                  <a:pt x="15" y="7"/>
                  <a:pt x="16" y="7"/>
                </a:cubicBezTo>
                <a:cubicBezTo>
                  <a:pt x="18" y="7"/>
                  <a:pt x="19" y="6"/>
                  <a:pt x="19" y="5"/>
                </a:cubicBezTo>
                <a:cubicBezTo>
                  <a:pt x="18" y="4"/>
                  <a:pt x="17" y="6"/>
                  <a:pt x="16" y="6"/>
                </a:cubicBezTo>
                <a:cubicBezTo>
                  <a:pt x="15" y="5"/>
                  <a:pt x="17" y="2"/>
                  <a:pt x="16" y="1"/>
                </a:cubicBezTo>
                <a:cubicBezTo>
                  <a:pt x="16" y="0"/>
                  <a:pt x="14" y="2"/>
                  <a:pt x="14" y="2"/>
                </a:cubicBezTo>
                <a:cubicBezTo>
                  <a:pt x="12" y="3"/>
                  <a:pt x="11" y="1"/>
                  <a:pt x="10" y="2"/>
                </a:cubicBezTo>
                <a:cubicBezTo>
                  <a:pt x="8" y="2"/>
                  <a:pt x="12" y="5"/>
                  <a:pt x="8" y="5"/>
                </a:cubicBezTo>
                <a:cubicBezTo>
                  <a:pt x="6" y="4"/>
                  <a:pt x="9" y="8"/>
                  <a:pt x="6" y="8"/>
                </a:cubicBezTo>
                <a:cubicBezTo>
                  <a:pt x="5" y="9"/>
                  <a:pt x="0" y="8"/>
                  <a:pt x="1" y="10"/>
                </a:cubicBezTo>
                <a:cubicBezTo>
                  <a:pt x="2" y="13"/>
                  <a:pt x="5" y="11"/>
                  <a:pt x="4" y="14"/>
                </a:cubicBezTo>
                <a:cubicBezTo>
                  <a:pt x="4" y="17"/>
                  <a:pt x="7" y="17"/>
                  <a:pt x="4" y="19"/>
                </a:cubicBezTo>
                <a:cubicBezTo>
                  <a:pt x="3" y="20"/>
                  <a:pt x="1" y="24"/>
                  <a:pt x="4" y="24"/>
                </a:cubicBezTo>
                <a:cubicBezTo>
                  <a:pt x="6" y="24"/>
                  <a:pt x="8" y="21"/>
                  <a:pt x="9" y="22"/>
                </a:cubicBezTo>
                <a:cubicBezTo>
                  <a:pt x="12" y="25"/>
                  <a:pt x="9" y="20"/>
                  <a:pt x="12" y="20"/>
                </a:cubicBezTo>
                <a:cubicBezTo>
                  <a:pt x="14" y="20"/>
                  <a:pt x="15" y="19"/>
                  <a:pt x="17" y="17"/>
                </a:cubicBezTo>
                <a:cubicBezTo>
                  <a:pt x="18" y="14"/>
                  <a:pt x="19" y="15"/>
                  <a:pt x="20" y="17"/>
                </a:cubicBezTo>
                <a:cubicBezTo>
                  <a:pt x="21" y="18"/>
                  <a:pt x="22" y="19"/>
                  <a:pt x="22" y="21"/>
                </a:cubicBezTo>
                <a:cubicBezTo>
                  <a:pt x="22" y="22"/>
                  <a:pt x="21" y="23"/>
                  <a:pt x="21" y="24"/>
                </a:cubicBezTo>
                <a:cubicBezTo>
                  <a:pt x="22" y="27"/>
                  <a:pt x="26" y="24"/>
                  <a:pt x="27" y="23"/>
                </a:cubicBezTo>
                <a:cubicBezTo>
                  <a:pt x="28" y="22"/>
                  <a:pt x="31" y="20"/>
                  <a:pt x="32" y="21"/>
                </a:cubicBezTo>
                <a:cubicBezTo>
                  <a:pt x="34" y="23"/>
                  <a:pt x="36" y="20"/>
                  <a:pt x="39" y="21"/>
                </a:cubicBezTo>
                <a:cubicBezTo>
                  <a:pt x="40" y="20"/>
                  <a:pt x="38" y="18"/>
                  <a:pt x="38" y="18"/>
                </a:cubicBezTo>
                <a:cubicBezTo>
                  <a:pt x="37" y="16"/>
                  <a:pt x="38" y="14"/>
                  <a:pt x="36" y="14"/>
                </a:cubicBezTo>
                <a:cubicBezTo>
                  <a:pt x="33" y="15"/>
                  <a:pt x="31" y="12"/>
                  <a:pt x="32" y="9"/>
                </a:cubicBezTo>
                <a:cubicBezTo>
                  <a:pt x="32" y="9"/>
                  <a:pt x="31" y="9"/>
                  <a:pt x="30" y="10"/>
                </a:cubicBezTo>
                <a:cubicBezTo>
                  <a:pt x="29" y="10"/>
                  <a:pt x="31" y="9"/>
                  <a:pt x="30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01" name="Freeform 697">
            <a:extLst>
              <a:ext uri="{FF2B5EF4-FFF2-40B4-BE49-F238E27FC236}">
                <a16:creationId xmlns:a16="http://schemas.microsoft.com/office/drawing/2014/main" id="{4FFBF89A-639B-4F4C-A579-EC1AA9D71861}"/>
              </a:ext>
            </a:extLst>
          </p:cNvPr>
          <p:cNvSpPr>
            <a:spLocks/>
          </p:cNvSpPr>
          <p:nvPr/>
        </p:nvSpPr>
        <p:spPr bwMode="auto">
          <a:xfrm>
            <a:off x="7425530" y="3891535"/>
            <a:ext cx="428859" cy="383072"/>
          </a:xfrm>
          <a:custGeom>
            <a:avLst/>
            <a:gdLst>
              <a:gd name="T0" fmla="*/ 8 w 83"/>
              <a:gd name="T1" fmla="*/ 51 h 74"/>
              <a:gd name="T2" fmla="*/ 9 w 83"/>
              <a:gd name="T3" fmla="*/ 54 h 74"/>
              <a:gd name="T4" fmla="*/ 11 w 83"/>
              <a:gd name="T5" fmla="*/ 57 h 74"/>
              <a:gd name="T6" fmla="*/ 5 w 83"/>
              <a:gd name="T7" fmla="*/ 61 h 74"/>
              <a:gd name="T8" fmla="*/ 3 w 83"/>
              <a:gd name="T9" fmla="*/ 64 h 74"/>
              <a:gd name="T10" fmla="*/ 6 w 83"/>
              <a:gd name="T11" fmla="*/ 66 h 74"/>
              <a:gd name="T12" fmla="*/ 13 w 83"/>
              <a:gd name="T13" fmla="*/ 64 h 74"/>
              <a:gd name="T14" fmla="*/ 19 w 83"/>
              <a:gd name="T15" fmla="*/ 65 h 74"/>
              <a:gd name="T16" fmla="*/ 23 w 83"/>
              <a:gd name="T17" fmla="*/ 65 h 74"/>
              <a:gd name="T18" fmla="*/ 28 w 83"/>
              <a:gd name="T19" fmla="*/ 64 h 74"/>
              <a:gd name="T20" fmla="*/ 29 w 83"/>
              <a:gd name="T21" fmla="*/ 67 h 74"/>
              <a:gd name="T22" fmla="*/ 32 w 83"/>
              <a:gd name="T23" fmla="*/ 69 h 74"/>
              <a:gd name="T24" fmla="*/ 33 w 83"/>
              <a:gd name="T25" fmla="*/ 73 h 74"/>
              <a:gd name="T26" fmla="*/ 34 w 83"/>
              <a:gd name="T27" fmla="*/ 71 h 74"/>
              <a:gd name="T28" fmla="*/ 36 w 83"/>
              <a:gd name="T29" fmla="*/ 73 h 74"/>
              <a:gd name="T30" fmla="*/ 43 w 83"/>
              <a:gd name="T31" fmla="*/ 71 h 74"/>
              <a:gd name="T32" fmla="*/ 46 w 83"/>
              <a:gd name="T33" fmla="*/ 70 h 74"/>
              <a:gd name="T34" fmla="*/ 50 w 83"/>
              <a:gd name="T35" fmla="*/ 70 h 74"/>
              <a:gd name="T36" fmla="*/ 48 w 83"/>
              <a:gd name="T37" fmla="*/ 64 h 74"/>
              <a:gd name="T38" fmla="*/ 46 w 83"/>
              <a:gd name="T39" fmla="*/ 61 h 74"/>
              <a:gd name="T40" fmla="*/ 44 w 83"/>
              <a:gd name="T41" fmla="*/ 57 h 74"/>
              <a:gd name="T42" fmla="*/ 46 w 83"/>
              <a:gd name="T43" fmla="*/ 52 h 74"/>
              <a:gd name="T44" fmla="*/ 49 w 83"/>
              <a:gd name="T45" fmla="*/ 52 h 74"/>
              <a:gd name="T46" fmla="*/ 52 w 83"/>
              <a:gd name="T47" fmla="*/ 52 h 74"/>
              <a:gd name="T48" fmla="*/ 57 w 83"/>
              <a:gd name="T49" fmla="*/ 46 h 74"/>
              <a:gd name="T50" fmla="*/ 60 w 83"/>
              <a:gd name="T51" fmla="*/ 44 h 74"/>
              <a:gd name="T52" fmla="*/ 62 w 83"/>
              <a:gd name="T53" fmla="*/ 41 h 74"/>
              <a:gd name="T54" fmla="*/ 65 w 83"/>
              <a:gd name="T55" fmla="*/ 39 h 74"/>
              <a:gd name="T56" fmla="*/ 66 w 83"/>
              <a:gd name="T57" fmla="*/ 37 h 74"/>
              <a:gd name="T58" fmla="*/ 69 w 83"/>
              <a:gd name="T59" fmla="*/ 33 h 74"/>
              <a:gd name="T60" fmla="*/ 71 w 83"/>
              <a:gd name="T61" fmla="*/ 27 h 74"/>
              <a:gd name="T62" fmla="*/ 66 w 83"/>
              <a:gd name="T63" fmla="*/ 23 h 74"/>
              <a:gd name="T64" fmla="*/ 65 w 83"/>
              <a:gd name="T65" fmla="*/ 16 h 74"/>
              <a:gd name="T66" fmla="*/ 70 w 83"/>
              <a:gd name="T67" fmla="*/ 14 h 74"/>
              <a:gd name="T68" fmla="*/ 74 w 83"/>
              <a:gd name="T69" fmla="*/ 15 h 74"/>
              <a:gd name="T70" fmla="*/ 77 w 83"/>
              <a:gd name="T71" fmla="*/ 13 h 74"/>
              <a:gd name="T72" fmla="*/ 83 w 83"/>
              <a:gd name="T73" fmla="*/ 10 h 74"/>
              <a:gd name="T74" fmla="*/ 76 w 83"/>
              <a:gd name="T75" fmla="*/ 6 h 74"/>
              <a:gd name="T76" fmla="*/ 74 w 83"/>
              <a:gd name="T77" fmla="*/ 2 h 74"/>
              <a:gd name="T78" fmla="*/ 71 w 83"/>
              <a:gd name="T79" fmla="*/ 0 h 74"/>
              <a:gd name="T80" fmla="*/ 65 w 83"/>
              <a:gd name="T81" fmla="*/ 1 h 74"/>
              <a:gd name="T82" fmla="*/ 56 w 83"/>
              <a:gd name="T83" fmla="*/ 4 h 74"/>
              <a:gd name="T84" fmla="*/ 53 w 83"/>
              <a:gd name="T85" fmla="*/ 8 h 74"/>
              <a:gd name="T86" fmla="*/ 51 w 83"/>
              <a:gd name="T87" fmla="*/ 13 h 74"/>
              <a:gd name="T88" fmla="*/ 48 w 83"/>
              <a:gd name="T89" fmla="*/ 18 h 74"/>
              <a:gd name="T90" fmla="*/ 47 w 83"/>
              <a:gd name="T91" fmla="*/ 21 h 74"/>
              <a:gd name="T92" fmla="*/ 43 w 83"/>
              <a:gd name="T93" fmla="*/ 24 h 74"/>
              <a:gd name="T94" fmla="*/ 41 w 83"/>
              <a:gd name="T95" fmla="*/ 30 h 74"/>
              <a:gd name="T96" fmla="*/ 38 w 83"/>
              <a:gd name="T97" fmla="*/ 30 h 74"/>
              <a:gd name="T98" fmla="*/ 34 w 83"/>
              <a:gd name="T99" fmla="*/ 32 h 74"/>
              <a:gd name="T100" fmla="*/ 30 w 83"/>
              <a:gd name="T101" fmla="*/ 33 h 74"/>
              <a:gd name="T102" fmla="*/ 27 w 83"/>
              <a:gd name="T103" fmla="*/ 37 h 74"/>
              <a:gd name="T104" fmla="*/ 22 w 83"/>
              <a:gd name="T105" fmla="*/ 42 h 74"/>
              <a:gd name="T106" fmla="*/ 13 w 83"/>
              <a:gd name="T107" fmla="*/ 43 h 74"/>
              <a:gd name="T108" fmla="*/ 0 w 83"/>
              <a:gd name="T109" fmla="*/ 40 h 74"/>
              <a:gd name="T110" fmla="*/ 3 w 83"/>
              <a:gd name="T111" fmla="*/ 46 h 74"/>
              <a:gd name="T112" fmla="*/ 8 w 83"/>
              <a:gd name="T113" fmla="*/ 51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3" h="74">
                <a:moveTo>
                  <a:pt x="8" y="51"/>
                </a:moveTo>
                <a:cubicBezTo>
                  <a:pt x="8" y="52"/>
                  <a:pt x="8" y="53"/>
                  <a:pt x="9" y="54"/>
                </a:cubicBezTo>
                <a:cubicBezTo>
                  <a:pt x="10" y="55"/>
                  <a:pt x="11" y="56"/>
                  <a:pt x="11" y="57"/>
                </a:cubicBezTo>
                <a:cubicBezTo>
                  <a:pt x="11" y="58"/>
                  <a:pt x="6" y="60"/>
                  <a:pt x="5" y="61"/>
                </a:cubicBezTo>
                <a:cubicBezTo>
                  <a:pt x="4" y="61"/>
                  <a:pt x="3" y="62"/>
                  <a:pt x="3" y="64"/>
                </a:cubicBezTo>
                <a:cubicBezTo>
                  <a:pt x="3" y="66"/>
                  <a:pt x="3" y="66"/>
                  <a:pt x="6" y="66"/>
                </a:cubicBezTo>
                <a:cubicBezTo>
                  <a:pt x="8" y="65"/>
                  <a:pt x="11" y="65"/>
                  <a:pt x="13" y="64"/>
                </a:cubicBezTo>
                <a:cubicBezTo>
                  <a:pt x="15" y="64"/>
                  <a:pt x="17" y="64"/>
                  <a:pt x="19" y="65"/>
                </a:cubicBezTo>
                <a:cubicBezTo>
                  <a:pt x="20" y="65"/>
                  <a:pt x="22" y="65"/>
                  <a:pt x="23" y="65"/>
                </a:cubicBezTo>
                <a:cubicBezTo>
                  <a:pt x="25" y="65"/>
                  <a:pt x="26" y="64"/>
                  <a:pt x="28" y="64"/>
                </a:cubicBezTo>
                <a:cubicBezTo>
                  <a:pt x="29" y="64"/>
                  <a:pt x="29" y="66"/>
                  <a:pt x="29" y="67"/>
                </a:cubicBezTo>
                <a:cubicBezTo>
                  <a:pt x="30" y="68"/>
                  <a:pt x="31" y="68"/>
                  <a:pt x="32" y="69"/>
                </a:cubicBezTo>
                <a:cubicBezTo>
                  <a:pt x="32" y="70"/>
                  <a:pt x="33" y="72"/>
                  <a:pt x="33" y="73"/>
                </a:cubicBezTo>
                <a:cubicBezTo>
                  <a:pt x="35" y="74"/>
                  <a:pt x="34" y="72"/>
                  <a:pt x="34" y="71"/>
                </a:cubicBezTo>
                <a:cubicBezTo>
                  <a:pt x="35" y="71"/>
                  <a:pt x="36" y="73"/>
                  <a:pt x="36" y="73"/>
                </a:cubicBezTo>
                <a:cubicBezTo>
                  <a:pt x="38" y="72"/>
                  <a:pt x="40" y="70"/>
                  <a:pt x="43" y="71"/>
                </a:cubicBezTo>
                <a:cubicBezTo>
                  <a:pt x="44" y="71"/>
                  <a:pt x="45" y="71"/>
                  <a:pt x="46" y="70"/>
                </a:cubicBezTo>
                <a:cubicBezTo>
                  <a:pt x="47" y="70"/>
                  <a:pt x="49" y="70"/>
                  <a:pt x="50" y="70"/>
                </a:cubicBezTo>
                <a:cubicBezTo>
                  <a:pt x="51" y="69"/>
                  <a:pt x="49" y="64"/>
                  <a:pt x="48" y="64"/>
                </a:cubicBezTo>
                <a:cubicBezTo>
                  <a:pt x="47" y="63"/>
                  <a:pt x="46" y="63"/>
                  <a:pt x="46" y="61"/>
                </a:cubicBezTo>
                <a:cubicBezTo>
                  <a:pt x="46" y="59"/>
                  <a:pt x="45" y="58"/>
                  <a:pt x="44" y="57"/>
                </a:cubicBezTo>
                <a:cubicBezTo>
                  <a:pt x="41" y="56"/>
                  <a:pt x="45" y="54"/>
                  <a:pt x="46" y="52"/>
                </a:cubicBezTo>
                <a:cubicBezTo>
                  <a:pt x="47" y="52"/>
                  <a:pt x="47" y="51"/>
                  <a:pt x="49" y="52"/>
                </a:cubicBezTo>
                <a:cubicBezTo>
                  <a:pt x="51" y="54"/>
                  <a:pt x="50" y="52"/>
                  <a:pt x="52" y="52"/>
                </a:cubicBezTo>
                <a:cubicBezTo>
                  <a:pt x="56" y="51"/>
                  <a:pt x="55" y="48"/>
                  <a:pt x="57" y="46"/>
                </a:cubicBezTo>
                <a:cubicBezTo>
                  <a:pt x="58" y="45"/>
                  <a:pt x="60" y="45"/>
                  <a:pt x="60" y="44"/>
                </a:cubicBezTo>
                <a:cubicBezTo>
                  <a:pt x="61" y="43"/>
                  <a:pt x="62" y="42"/>
                  <a:pt x="62" y="41"/>
                </a:cubicBezTo>
                <a:cubicBezTo>
                  <a:pt x="62" y="40"/>
                  <a:pt x="64" y="39"/>
                  <a:pt x="65" y="39"/>
                </a:cubicBezTo>
                <a:cubicBezTo>
                  <a:pt x="66" y="39"/>
                  <a:pt x="66" y="37"/>
                  <a:pt x="66" y="37"/>
                </a:cubicBezTo>
                <a:cubicBezTo>
                  <a:pt x="66" y="34"/>
                  <a:pt x="70" y="36"/>
                  <a:pt x="69" y="33"/>
                </a:cubicBezTo>
                <a:cubicBezTo>
                  <a:pt x="69" y="30"/>
                  <a:pt x="68" y="29"/>
                  <a:pt x="71" y="27"/>
                </a:cubicBezTo>
                <a:cubicBezTo>
                  <a:pt x="72" y="27"/>
                  <a:pt x="67" y="24"/>
                  <a:pt x="66" y="23"/>
                </a:cubicBezTo>
                <a:cubicBezTo>
                  <a:pt x="65" y="21"/>
                  <a:pt x="66" y="18"/>
                  <a:pt x="65" y="16"/>
                </a:cubicBezTo>
                <a:cubicBezTo>
                  <a:pt x="65" y="13"/>
                  <a:pt x="68" y="13"/>
                  <a:pt x="70" y="14"/>
                </a:cubicBezTo>
                <a:cubicBezTo>
                  <a:pt x="71" y="14"/>
                  <a:pt x="73" y="15"/>
                  <a:pt x="74" y="15"/>
                </a:cubicBezTo>
                <a:cubicBezTo>
                  <a:pt x="76" y="15"/>
                  <a:pt x="76" y="14"/>
                  <a:pt x="77" y="13"/>
                </a:cubicBezTo>
                <a:cubicBezTo>
                  <a:pt x="80" y="13"/>
                  <a:pt x="81" y="13"/>
                  <a:pt x="83" y="10"/>
                </a:cubicBezTo>
                <a:cubicBezTo>
                  <a:pt x="80" y="9"/>
                  <a:pt x="77" y="8"/>
                  <a:pt x="76" y="6"/>
                </a:cubicBezTo>
                <a:cubicBezTo>
                  <a:pt x="75" y="5"/>
                  <a:pt x="75" y="3"/>
                  <a:pt x="74" y="2"/>
                </a:cubicBezTo>
                <a:cubicBezTo>
                  <a:pt x="73" y="1"/>
                  <a:pt x="72" y="1"/>
                  <a:pt x="71" y="0"/>
                </a:cubicBezTo>
                <a:cubicBezTo>
                  <a:pt x="69" y="0"/>
                  <a:pt x="66" y="1"/>
                  <a:pt x="65" y="1"/>
                </a:cubicBezTo>
                <a:cubicBezTo>
                  <a:pt x="61" y="0"/>
                  <a:pt x="59" y="2"/>
                  <a:pt x="56" y="4"/>
                </a:cubicBezTo>
                <a:cubicBezTo>
                  <a:pt x="53" y="5"/>
                  <a:pt x="51" y="5"/>
                  <a:pt x="53" y="8"/>
                </a:cubicBezTo>
                <a:cubicBezTo>
                  <a:pt x="55" y="10"/>
                  <a:pt x="53" y="12"/>
                  <a:pt x="51" y="13"/>
                </a:cubicBezTo>
                <a:cubicBezTo>
                  <a:pt x="49" y="15"/>
                  <a:pt x="52" y="19"/>
                  <a:pt x="48" y="18"/>
                </a:cubicBezTo>
                <a:cubicBezTo>
                  <a:pt x="43" y="18"/>
                  <a:pt x="47" y="19"/>
                  <a:pt x="47" y="21"/>
                </a:cubicBezTo>
                <a:cubicBezTo>
                  <a:pt x="48" y="22"/>
                  <a:pt x="44" y="23"/>
                  <a:pt x="43" y="24"/>
                </a:cubicBezTo>
                <a:cubicBezTo>
                  <a:pt x="42" y="26"/>
                  <a:pt x="42" y="30"/>
                  <a:pt x="41" y="30"/>
                </a:cubicBezTo>
                <a:cubicBezTo>
                  <a:pt x="40" y="31"/>
                  <a:pt x="39" y="30"/>
                  <a:pt x="38" y="30"/>
                </a:cubicBezTo>
                <a:cubicBezTo>
                  <a:pt x="36" y="30"/>
                  <a:pt x="35" y="31"/>
                  <a:pt x="34" y="32"/>
                </a:cubicBezTo>
                <a:cubicBezTo>
                  <a:pt x="32" y="33"/>
                  <a:pt x="31" y="32"/>
                  <a:pt x="30" y="33"/>
                </a:cubicBezTo>
                <a:cubicBezTo>
                  <a:pt x="28" y="34"/>
                  <a:pt x="28" y="35"/>
                  <a:pt x="27" y="37"/>
                </a:cubicBezTo>
                <a:cubicBezTo>
                  <a:pt x="27" y="40"/>
                  <a:pt x="25" y="41"/>
                  <a:pt x="22" y="42"/>
                </a:cubicBezTo>
                <a:cubicBezTo>
                  <a:pt x="19" y="43"/>
                  <a:pt x="16" y="43"/>
                  <a:pt x="13" y="43"/>
                </a:cubicBezTo>
                <a:cubicBezTo>
                  <a:pt x="8" y="43"/>
                  <a:pt x="4" y="42"/>
                  <a:pt x="0" y="40"/>
                </a:cubicBezTo>
                <a:cubicBezTo>
                  <a:pt x="1" y="42"/>
                  <a:pt x="2" y="44"/>
                  <a:pt x="3" y="46"/>
                </a:cubicBezTo>
                <a:cubicBezTo>
                  <a:pt x="4" y="47"/>
                  <a:pt x="8" y="48"/>
                  <a:pt x="8" y="5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02" name="Freeform 698">
            <a:extLst>
              <a:ext uri="{FF2B5EF4-FFF2-40B4-BE49-F238E27FC236}">
                <a16:creationId xmlns:a16="http://schemas.microsoft.com/office/drawing/2014/main" id="{2B94C368-3A39-7845-8F42-5B0CDA563ECE}"/>
              </a:ext>
            </a:extLst>
          </p:cNvPr>
          <p:cNvSpPr>
            <a:spLocks/>
          </p:cNvSpPr>
          <p:nvPr/>
        </p:nvSpPr>
        <p:spPr bwMode="auto">
          <a:xfrm>
            <a:off x="7404351" y="3843872"/>
            <a:ext cx="388266" cy="275387"/>
          </a:xfrm>
          <a:custGeom>
            <a:avLst/>
            <a:gdLst>
              <a:gd name="T0" fmla="*/ 72 w 75"/>
              <a:gd name="T1" fmla="*/ 7 h 53"/>
              <a:gd name="T2" fmla="*/ 69 w 75"/>
              <a:gd name="T3" fmla="*/ 8 h 53"/>
              <a:gd name="T4" fmla="*/ 67 w 75"/>
              <a:gd name="T5" fmla="*/ 7 h 53"/>
              <a:gd name="T6" fmla="*/ 62 w 75"/>
              <a:gd name="T7" fmla="*/ 10 h 53"/>
              <a:gd name="T8" fmla="*/ 57 w 75"/>
              <a:gd name="T9" fmla="*/ 11 h 53"/>
              <a:gd name="T10" fmla="*/ 57 w 75"/>
              <a:gd name="T11" fmla="*/ 4 h 53"/>
              <a:gd name="T12" fmla="*/ 54 w 75"/>
              <a:gd name="T13" fmla="*/ 1 h 53"/>
              <a:gd name="T14" fmla="*/ 50 w 75"/>
              <a:gd name="T15" fmla="*/ 6 h 53"/>
              <a:gd name="T16" fmla="*/ 47 w 75"/>
              <a:gd name="T17" fmla="*/ 8 h 53"/>
              <a:gd name="T18" fmla="*/ 44 w 75"/>
              <a:gd name="T19" fmla="*/ 8 h 53"/>
              <a:gd name="T20" fmla="*/ 39 w 75"/>
              <a:gd name="T21" fmla="*/ 10 h 53"/>
              <a:gd name="T22" fmla="*/ 34 w 75"/>
              <a:gd name="T23" fmla="*/ 7 h 53"/>
              <a:gd name="T24" fmla="*/ 28 w 75"/>
              <a:gd name="T25" fmla="*/ 6 h 53"/>
              <a:gd name="T26" fmla="*/ 27 w 75"/>
              <a:gd name="T27" fmla="*/ 8 h 53"/>
              <a:gd name="T28" fmla="*/ 24 w 75"/>
              <a:gd name="T29" fmla="*/ 9 h 53"/>
              <a:gd name="T30" fmla="*/ 21 w 75"/>
              <a:gd name="T31" fmla="*/ 14 h 53"/>
              <a:gd name="T32" fmla="*/ 15 w 75"/>
              <a:gd name="T33" fmla="*/ 17 h 53"/>
              <a:gd name="T34" fmla="*/ 11 w 75"/>
              <a:gd name="T35" fmla="*/ 19 h 53"/>
              <a:gd name="T36" fmla="*/ 5 w 75"/>
              <a:gd name="T37" fmla="*/ 16 h 53"/>
              <a:gd name="T38" fmla="*/ 4 w 75"/>
              <a:gd name="T39" fmla="*/ 23 h 53"/>
              <a:gd name="T40" fmla="*/ 3 w 75"/>
              <a:gd name="T41" fmla="*/ 29 h 53"/>
              <a:gd name="T42" fmla="*/ 2 w 75"/>
              <a:gd name="T43" fmla="*/ 33 h 53"/>
              <a:gd name="T44" fmla="*/ 3 w 75"/>
              <a:gd name="T45" fmla="*/ 37 h 53"/>
              <a:gd name="T46" fmla="*/ 4 w 75"/>
              <a:gd name="T47" fmla="*/ 40 h 53"/>
              <a:gd name="T48" fmla="*/ 8 w 75"/>
              <a:gd name="T49" fmla="*/ 43 h 53"/>
              <a:gd name="T50" fmla="*/ 4 w 75"/>
              <a:gd name="T51" fmla="*/ 49 h 53"/>
              <a:gd name="T52" fmla="*/ 29 w 75"/>
              <a:gd name="T53" fmla="*/ 50 h 53"/>
              <a:gd name="T54" fmla="*/ 32 w 75"/>
              <a:gd name="T55" fmla="*/ 43 h 53"/>
              <a:gd name="T56" fmla="*/ 39 w 75"/>
              <a:gd name="T57" fmla="*/ 40 h 53"/>
              <a:gd name="T58" fmla="*/ 43 w 75"/>
              <a:gd name="T59" fmla="*/ 39 h 53"/>
              <a:gd name="T60" fmla="*/ 45 w 75"/>
              <a:gd name="T61" fmla="*/ 39 h 53"/>
              <a:gd name="T62" fmla="*/ 47 w 75"/>
              <a:gd name="T63" fmla="*/ 33 h 53"/>
              <a:gd name="T64" fmla="*/ 51 w 75"/>
              <a:gd name="T65" fmla="*/ 30 h 53"/>
              <a:gd name="T66" fmla="*/ 51 w 75"/>
              <a:gd name="T67" fmla="*/ 27 h 53"/>
              <a:gd name="T68" fmla="*/ 55 w 75"/>
              <a:gd name="T69" fmla="*/ 26 h 53"/>
              <a:gd name="T70" fmla="*/ 55 w 75"/>
              <a:gd name="T71" fmla="*/ 23 h 53"/>
              <a:gd name="T72" fmla="*/ 58 w 75"/>
              <a:gd name="T73" fmla="*/ 19 h 53"/>
              <a:gd name="T74" fmla="*/ 56 w 75"/>
              <a:gd name="T75" fmla="*/ 14 h 53"/>
              <a:gd name="T76" fmla="*/ 63 w 75"/>
              <a:gd name="T77" fmla="*/ 11 h 53"/>
              <a:gd name="T78" fmla="*/ 70 w 75"/>
              <a:gd name="T79" fmla="*/ 10 h 53"/>
              <a:gd name="T80" fmla="*/ 74 w 75"/>
              <a:gd name="T81" fmla="*/ 9 h 53"/>
              <a:gd name="T82" fmla="*/ 75 w 75"/>
              <a:gd name="T83" fmla="*/ 7 h 53"/>
              <a:gd name="T84" fmla="*/ 72 w 75"/>
              <a:gd name="T85" fmla="*/ 7 h 53"/>
              <a:gd name="T86" fmla="*/ 72 w 75"/>
              <a:gd name="T87" fmla="*/ 7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" h="53">
                <a:moveTo>
                  <a:pt x="72" y="7"/>
                </a:moveTo>
                <a:cubicBezTo>
                  <a:pt x="71" y="7"/>
                  <a:pt x="70" y="9"/>
                  <a:pt x="69" y="8"/>
                </a:cubicBezTo>
                <a:cubicBezTo>
                  <a:pt x="68" y="8"/>
                  <a:pt x="68" y="6"/>
                  <a:pt x="67" y="7"/>
                </a:cubicBezTo>
                <a:cubicBezTo>
                  <a:pt x="65" y="7"/>
                  <a:pt x="63" y="9"/>
                  <a:pt x="62" y="10"/>
                </a:cubicBezTo>
                <a:cubicBezTo>
                  <a:pt x="61" y="10"/>
                  <a:pt x="59" y="12"/>
                  <a:pt x="57" y="11"/>
                </a:cubicBezTo>
                <a:cubicBezTo>
                  <a:pt x="56" y="10"/>
                  <a:pt x="59" y="6"/>
                  <a:pt x="57" y="4"/>
                </a:cubicBezTo>
                <a:cubicBezTo>
                  <a:pt x="57" y="4"/>
                  <a:pt x="55" y="0"/>
                  <a:pt x="54" y="1"/>
                </a:cubicBezTo>
                <a:cubicBezTo>
                  <a:pt x="53" y="3"/>
                  <a:pt x="52" y="5"/>
                  <a:pt x="50" y="6"/>
                </a:cubicBezTo>
                <a:cubicBezTo>
                  <a:pt x="48" y="7"/>
                  <a:pt x="47" y="6"/>
                  <a:pt x="47" y="8"/>
                </a:cubicBezTo>
                <a:cubicBezTo>
                  <a:pt x="46" y="11"/>
                  <a:pt x="45" y="7"/>
                  <a:pt x="44" y="8"/>
                </a:cubicBezTo>
                <a:cubicBezTo>
                  <a:pt x="42" y="9"/>
                  <a:pt x="41" y="10"/>
                  <a:pt x="39" y="10"/>
                </a:cubicBezTo>
                <a:cubicBezTo>
                  <a:pt x="37" y="9"/>
                  <a:pt x="35" y="8"/>
                  <a:pt x="34" y="7"/>
                </a:cubicBezTo>
                <a:cubicBezTo>
                  <a:pt x="33" y="7"/>
                  <a:pt x="28" y="6"/>
                  <a:pt x="28" y="6"/>
                </a:cubicBezTo>
                <a:cubicBezTo>
                  <a:pt x="27" y="7"/>
                  <a:pt x="28" y="8"/>
                  <a:pt x="27" y="8"/>
                </a:cubicBezTo>
                <a:cubicBezTo>
                  <a:pt x="26" y="8"/>
                  <a:pt x="24" y="8"/>
                  <a:pt x="24" y="9"/>
                </a:cubicBezTo>
                <a:cubicBezTo>
                  <a:pt x="23" y="11"/>
                  <a:pt x="23" y="13"/>
                  <a:pt x="21" y="14"/>
                </a:cubicBezTo>
                <a:cubicBezTo>
                  <a:pt x="18" y="16"/>
                  <a:pt x="17" y="15"/>
                  <a:pt x="15" y="17"/>
                </a:cubicBezTo>
                <a:cubicBezTo>
                  <a:pt x="14" y="19"/>
                  <a:pt x="12" y="19"/>
                  <a:pt x="11" y="19"/>
                </a:cubicBezTo>
                <a:cubicBezTo>
                  <a:pt x="10" y="18"/>
                  <a:pt x="5" y="17"/>
                  <a:pt x="5" y="16"/>
                </a:cubicBezTo>
                <a:cubicBezTo>
                  <a:pt x="5" y="19"/>
                  <a:pt x="5" y="21"/>
                  <a:pt x="4" y="23"/>
                </a:cubicBezTo>
                <a:cubicBezTo>
                  <a:pt x="2" y="25"/>
                  <a:pt x="0" y="27"/>
                  <a:pt x="3" y="29"/>
                </a:cubicBezTo>
                <a:cubicBezTo>
                  <a:pt x="4" y="30"/>
                  <a:pt x="2" y="31"/>
                  <a:pt x="2" y="33"/>
                </a:cubicBezTo>
                <a:cubicBezTo>
                  <a:pt x="2" y="34"/>
                  <a:pt x="2" y="36"/>
                  <a:pt x="3" y="37"/>
                </a:cubicBezTo>
                <a:cubicBezTo>
                  <a:pt x="3" y="39"/>
                  <a:pt x="2" y="40"/>
                  <a:pt x="4" y="40"/>
                </a:cubicBezTo>
                <a:cubicBezTo>
                  <a:pt x="7" y="41"/>
                  <a:pt x="8" y="40"/>
                  <a:pt x="8" y="43"/>
                </a:cubicBezTo>
                <a:cubicBezTo>
                  <a:pt x="8" y="45"/>
                  <a:pt x="5" y="48"/>
                  <a:pt x="4" y="49"/>
                </a:cubicBezTo>
                <a:cubicBezTo>
                  <a:pt x="12" y="53"/>
                  <a:pt x="21" y="52"/>
                  <a:pt x="29" y="50"/>
                </a:cubicBezTo>
                <a:cubicBezTo>
                  <a:pt x="32" y="49"/>
                  <a:pt x="31" y="45"/>
                  <a:pt x="32" y="43"/>
                </a:cubicBezTo>
                <a:cubicBezTo>
                  <a:pt x="33" y="41"/>
                  <a:pt x="37" y="42"/>
                  <a:pt x="39" y="40"/>
                </a:cubicBezTo>
                <a:cubicBezTo>
                  <a:pt x="40" y="40"/>
                  <a:pt x="41" y="39"/>
                  <a:pt x="43" y="39"/>
                </a:cubicBezTo>
                <a:cubicBezTo>
                  <a:pt x="43" y="39"/>
                  <a:pt x="45" y="40"/>
                  <a:pt x="45" y="39"/>
                </a:cubicBezTo>
                <a:cubicBezTo>
                  <a:pt x="46" y="37"/>
                  <a:pt x="46" y="35"/>
                  <a:pt x="47" y="33"/>
                </a:cubicBezTo>
                <a:cubicBezTo>
                  <a:pt x="48" y="32"/>
                  <a:pt x="52" y="31"/>
                  <a:pt x="51" y="30"/>
                </a:cubicBezTo>
                <a:cubicBezTo>
                  <a:pt x="51" y="29"/>
                  <a:pt x="47" y="27"/>
                  <a:pt x="51" y="27"/>
                </a:cubicBezTo>
                <a:cubicBezTo>
                  <a:pt x="52" y="27"/>
                  <a:pt x="54" y="28"/>
                  <a:pt x="55" y="26"/>
                </a:cubicBezTo>
                <a:cubicBezTo>
                  <a:pt x="55" y="25"/>
                  <a:pt x="54" y="24"/>
                  <a:pt x="55" y="23"/>
                </a:cubicBezTo>
                <a:cubicBezTo>
                  <a:pt x="55" y="21"/>
                  <a:pt x="58" y="21"/>
                  <a:pt x="58" y="19"/>
                </a:cubicBezTo>
                <a:cubicBezTo>
                  <a:pt x="58" y="17"/>
                  <a:pt x="55" y="16"/>
                  <a:pt x="56" y="14"/>
                </a:cubicBezTo>
                <a:cubicBezTo>
                  <a:pt x="58" y="13"/>
                  <a:pt x="61" y="12"/>
                  <a:pt x="63" y="11"/>
                </a:cubicBezTo>
                <a:cubicBezTo>
                  <a:pt x="65" y="9"/>
                  <a:pt x="68" y="10"/>
                  <a:pt x="70" y="10"/>
                </a:cubicBezTo>
                <a:cubicBezTo>
                  <a:pt x="71" y="10"/>
                  <a:pt x="73" y="10"/>
                  <a:pt x="74" y="9"/>
                </a:cubicBezTo>
                <a:cubicBezTo>
                  <a:pt x="74" y="9"/>
                  <a:pt x="75" y="8"/>
                  <a:pt x="75" y="7"/>
                </a:cubicBezTo>
                <a:cubicBezTo>
                  <a:pt x="74" y="7"/>
                  <a:pt x="73" y="7"/>
                  <a:pt x="72" y="7"/>
                </a:cubicBezTo>
                <a:cubicBezTo>
                  <a:pt x="71" y="8"/>
                  <a:pt x="73" y="7"/>
                  <a:pt x="72" y="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03" name="Freeform 699">
            <a:extLst>
              <a:ext uri="{FF2B5EF4-FFF2-40B4-BE49-F238E27FC236}">
                <a16:creationId xmlns:a16="http://schemas.microsoft.com/office/drawing/2014/main" id="{0CD93EDA-4CE3-3F41-8CAE-FCCBC05765F2}"/>
              </a:ext>
            </a:extLst>
          </p:cNvPr>
          <p:cNvSpPr>
            <a:spLocks/>
          </p:cNvSpPr>
          <p:nvPr/>
        </p:nvSpPr>
        <p:spPr bwMode="auto">
          <a:xfrm>
            <a:off x="7369055" y="3621443"/>
            <a:ext cx="14118" cy="21184"/>
          </a:xfrm>
          <a:custGeom>
            <a:avLst/>
            <a:gdLst>
              <a:gd name="T0" fmla="*/ 3 w 3"/>
              <a:gd name="T1" fmla="*/ 2 h 4"/>
              <a:gd name="T2" fmla="*/ 1 w 3"/>
              <a:gd name="T3" fmla="*/ 1 h 4"/>
              <a:gd name="T4" fmla="*/ 3 w 3"/>
              <a:gd name="T5" fmla="*/ 4 h 4"/>
              <a:gd name="T6" fmla="*/ 3 w 3"/>
              <a:gd name="T7" fmla="*/ 2 h 4"/>
              <a:gd name="T8" fmla="*/ 3 w 3"/>
              <a:gd name="T9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4">
                <a:moveTo>
                  <a:pt x="3" y="2"/>
                </a:moveTo>
                <a:cubicBezTo>
                  <a:pt x="2" y="2"/>
                  <a:pt x="1" y="0"/>
                  <a:pt x="1" y="1"/>
                </a:cubicBezTo>
                <a:cubicBezTo>
                  <a:pt x="0" y="2"/>
                  <a:pt x="2" y="3"/>
                  <a:pt x="3" y="4"/>
                </a:cubicBezTo>
                <a:cubicBezTo>
                  <a:pt x="3" y="3"/>
                  <a:pt x="3" y="2"/>
                  <a:pt x="3" y="2"/>
                </a:cubicBezTo>
                <a:cubicBezTo>
                  <a:pt x="2" y="1"/>
                  <a:pt x="3" y="2"/>
                  <a:pt x="3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04" name="Freeform 700">
            <a:extLst>
              <a:ext uri="{FF2B5EF4-FFF2-40B4-BE49-F238E27FC236}">
                <a16:creationId xmlns:a16="http://schemas.microsoft.com/office/drawing/2014/main" id="{2F5DCD22-ACFD-DC43-B699-9018500368F2}"/>
              </a:ext>
            </a:extLst>
          </p:cNvPr>
          <p:cNvSpPr>
            <a:spLocks noEditPoints="1"/>
          </p:cNvSpPr>
          <p:nvPr/>
        </p:nvSpPr>
        <p:spPr bwMode="auto">
          <a:xfrm>
            <a:off x="7042557" y="3294863"/>
            <a:ext cx="1050084" cy="503113"/>
          </a:xfrm>
          <a:custGeom>
            <a:avLst/>
            <a:gdLst>
              <a:gd name="T0" fmla="*/ 194 w 203"/>
              <a:gd name="T1" fmla="*/ 37 h 97"/>
              <a:gd name="T2" fmla="*/ 177 w 203"/>
              <a:gd name="T3" fmla="*/ 31 h 97"/>
              <a:gd name="T4" fmla="*/ 163 w 203"/>
              <a:gd name="T5" fmla="*/ 19 h 97"/>
              <a:gd name="T6" fmla="*/ 154 w 203"/>
              <a:gd name="T7" fmla="*/ 7 h 97"/>
              <a:gd name="T8" fmla="*/ 137 w 203"/>
              <a:gd name="T9" fmla="*/ 10 h 97"/>
              <a:gd name="T10" fmla="*/ 129 w 203"/>
              <a:gd name="T11" fmla="*/ 8 h 97"/>
              <a:gd name="T12" fmla="*/ 112 w 203"/>
              <a:gd name="T13" fmla="*/ 2 h 97"/>
              <a:gd name="T14" fmla="*/ 76 w 203"/>
              <a:gd name="T15" fmla="*/ 10 h 97"/>
              <a:gd name="T16" fmla="*/ 75 w 203"/>
              <a:gd name="T17" fmla="*/ 20 h 97"/>
              <a:gd name="T18" fmla="*/ 74 w 203"/>
              <a:gd name="T19" fmla="*/ 31 h 97"/>
              <a:gd name="T20" fmla="*/ 60 w 203"/>
              <a:gd name="T21" fmla="*/ 29 h 97"/>
              <a:gd name="T22" fmla="*/ 48 w 203"/>
              <a:gd name="T23" fmla="*/ 32 h 97"/>
              <a:gd name="T24" fmla="*/ 37 w 203"/>
              <a:gd name="T25" fmla="*/ 27 h 97"/>
              <a:gd name="T26" fmla="*/ 22 w 203"/>
              <a:gd name="T27" fmla="*/ 25 h 97"/>
              <a:gd name="T28" fmla="*/ 13 w 203"/>
              <a:gd name="T29" fmla="*/ 32 h 97"/>
              <a:gd name="T30" fmla="*/ 3 w 203"/>
              <a:gd name="T31" fmla="*/ 38 h 97"/>
              <a:gd name="T32" fmla="*/ 4 w 203"/>
              <a:gd name="T33" fmla="*/ 47 h 97"/>
              <a:gd name="T34" fmla="*/ 14 w 203"/>
              <a:gd name="T35" fmla="*/ 57 h 97"/>
              <a:gd name="T36" fmla="*/ 17 w 203"/>
              <a:gd name="T37" fmla="*/ 57 h 97"/>
              <a:gd name="T38" fmla="*/ 36 w 203"/>
              <a:gd name="T39" fmla="*/ 63 h 97"/>
              <a:gd name="T40" fmla="*/ 33 w 203"/>
              <a:gd name="T41" fmla="*/ 66 h 97"/>
              <a:gd name="T42" fmla="*/ 22 w 203"/>
              <a:gd name="T43" fmla="*/ 72 h 97"/>
              <a:gd name="T44" fmla="*/ 31 w 203"/>
              <a:gd name="T45" fmla="*/ 82 h 97"/>
              <a:gd name="T46" fmla="*/ 48 w 203"/>
              <a:gd name="T47" fmla="*/ 90 h 97"/>
              <a:gd name="T48" fmla="*/ 50 w 203"/>
              <a:gd name="T49" fmla="*/ 68 h 97"/>
              <a:gd name="T50" fmla="*/ 64 w 203"/>
              <a:gd name="T51" fmla="*/ 62 h 97"/>
              <a:gd name="T52" fmla="*/ 72 w 203"/>
              <a:gd name="T53" fmla="*/ 66 h 97"/>
              <a:gd name="T54" fmla="*/ 84 w 203"/>
              <a:gd name="T55" fmla="*/ 76 h 97"/>
              <a:gd name="T56" fmla="*/ 100 w 203"/>
              <a:gd name="T57" fmla="*/ 81 h 97"/>
              <a:gd name="T58" fmla="*/ 107 w 203"/>
              <a:gd name="T59" fmla="*/ 91 h 97"/>
              <a:gd name="T60" fmla="*/ 123 w 203"/>
              <a:gd name="T61" fmla="*/ 85 h 97"/>
              <a:gd name="T62" fmla="*/ 137 w 203"/>
              <a:gd name="T63" fmla="*/ 83 h 97"/>
              <a:gd name="T64" fmla="*/ 153 w 203"/>
              <a:gd name="T65" fmla="*/ 81 h 97"/>
              <a:gd name="T66" fmla="*/ 172 w 203"/>
              <a:gd name="T67" fmla="*/ 76 h 97"/>
              <a:gd name="T68" fmla="*/ 175 w 203"/>
              <a:gd name="T69" fmla="*/ 66 h 97"/>
              <a:gd name="T70" fmla="*/ 182 w 203"/>
              <a:gd name="T71" fmla="*/ 60 h 97"/>
              <a:gd name="T72" fmla="*/ 193 w 203"/>
              <a:gd name="T73" fmla="*/ 56 h 97"/>
              <a:gd name="T74" fmla="*/ 202 w 203"/>
              <a:gd name="T75" fmla="*/ 44 h 97"/>
              <a:gd name="T76" fmla="*/ 201 w 203"/>
              <a:gd name="T77" fmla="*/ 39 h 97"/>
              <a:gd name="T78" fmla="*/ 140 w 203"/>
              <a:gd name="T79" fmla="*/ 65 h 97"/>
              <a:gd name="T80" fmla="*/ 141 w 203"/>
              <a:gd name="T81" fmla="*/ 59 h 97"/>
              <a:gd name="T82" fmla="*/ 148 w 203"/>
              <a:gd name="T83" fmla="*/ 58 h 97"/>
              <a:gd name="T84" fmla="*/ 156 w 203"/>
              <a:gd name="T85" fmla="*/ 58 h 97"/>
              <a:gd name="T86" fmla="*/ 165 w 203"/>
              <a:gd name="T87" fmla="*/ 59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03" h="97">
                <a:moveTo>
                  <a:pt x="201" y="39"/>
                </a:moveTo>
                <a:cubicBezTo>
                  <a:pt x="201" y="38"/>
                  <a:pt x="197" y="39"/>
                  <a:pt x="197" y="39"/>
                </a:cubicBezTo>
                <a:cubicBezTo>
                  <a:pt x="195" y="39"/>
                  <a:pt x="194" y="38"/>
                  <a:pt x="194" y="37"/>
                </a:cubicBezTo>
                <a:cubicBezTo>
                  <a:pt x="193" y="35"/>
                  <a:pt x="191" y="35"/>
                  <a:pt x="191" y="34"/>
                </a:cubicBezTo>
                <a:cubicBezTo>
                  <a:pt x="190" y="33"/>
                  <a:pt x="189" y="30"/>
                  <a:pt x="186" y="30"/>
                </a:cubicBezTo>
                <a:cubicBezTo>
                  <a:pt x="183" y="30"/>
                  <a:pt x="180" y="33"/>
                  <a:pt x="177" y="31"/>
                </a:cubicBezTo>
                <a:cubicBezTo>
                  <a:pt x="176" y="30"/>
                  <a:pt x="175" y="29"/>
                  <a:pt x="174" y="28"/>
                </a:cubicBezTo>
                <a:cubicBezTo>
                  <a:pt x="173" y="28"/>
                  <a:pt x="171" y="31"/>
                  <a:pt x="170" y="31"/>
                </a:cubicBezTo>
                <a:cubicBezTo>
                  <a:pt x="169" y="32"/>
                  <a:pt x="163" y="21"/>
                  <a:pt x="163" y="19"/>
                </a:cubicBezTo>
                <a:cubicBezTo>
                  <a:pt x="161" y="17"/>
                  <a:pt x="160" y="14"/>
                  <a:pt x="157" y="13"/>
                </a:cubicBezTo>
                <a:cubicBezTo>
                  <a:pt x="156" y="12"/>
                  <a:pt x="155" y="11"/>
                  <a:pt x="154" y="11"/>
                </a:cubicBezTo>
                <a:cubicBezTo>
                  <a:pt x="152" y="10"/>
                  <a:pt x="154" y="8"/>
                  <a:pt x="154" y="7"/>
                </a:cubicBezTo>
                <a:cubicBezTo>
                  <a:pt x="154" y="6"/>
                  <a:pt x="147" y="10"/>
                  <a:pt x="146" y="11"/>
                </a:cubicBezTo>
                <a:cubicBezTo>
                  <a:pt x="145" y="11"/>
                  <a:pt x="137" y="14"/>
                  <a:pt x="137" y="13"/>
                </a:cubicBezTo>
                <a:cubicBezTo>
                  <a:pt x="137" y="11"/>
                  <a:pt x="139" y="10"/>
                  <a:pt x="137" y="10"/>
                </a:cubicBezTo>
                <a:cubicBezTo>
                  <a:pt x="136" y="9"/>
                  <a:pt x="135" y="8"/>
                  <a:pt x="134" y="9"/>
                </a:cubicBezTo>
                <a:cubicBezTo>
                  <a:pt x="134" y="9"/>
                  <a:pt x="134" y="10"/>
                  <a:pt x="133" y="9"/>
                </a:cubicBezTo>
                <a:cubicBezTo>
                  <a:pt x="131" y="8"/>
                  <a:pt x="132" y="7"/>
                  <a:pt x="129" y="8"/>
                </a:cubicBezTo>
                <a:cubicBezTo>
                  <a:pt x="126" y="10"/>
                  <a:pt x="126" y="7"/>
                  <a:pt x="126" y="5"/>
                </a:cubicBezTo>
                <a:cubicBezTo>
                  <a:pt x="127" y="1"/>
                  <a:pt x="121" y="0"/>
                  <a:pt x="118" y="0"/>
                </a:cubicBezTo>
                <a:cubicBezTo>
                  <a:pt x="116" y="0"/>
                  <a:pt x="114" y="1"/>
                  <a:pt x="112" y="2"/>
                </a:cubicBezTo>
                <a:cubicBezTo>
                  <a:pt x="110" y="3"/>
                  <a:pt x="108" y="4"/>
                  <a:pt x="105" y="4"/>
                </a:cubicBezTo>
                <a:cubicBezTo>
                  <a:pt x="97" y="6"/>
                  <a:pt x="89" y="9"/>
                  <a:pt x="81" y="9"/>
                </a:cubicBezTo>
                <a:cubicBezTo>
                  <a:pt x="79" y="9"/>
                  <a:pt x="77" y="9"/>
                  <a:pt x="76" y="10"/>
                </a:cubicBezTo>
                <a:cubicBezTo>
                  <a:pt x="75" y="11"/>
                  <a:pt x="77" y="14"/>
                  <a:pt x="79" y="14"/>
                </a:cubicBezTo>
                <a:cubicBezTo>
                  <a:pt x="83" y="17"/>
                  <a:pt x="76" y="16"/>
                  <a:pt x="74" y="17"/>
                </a:cubicBezTo>
                <a:cubicBezTo>
                  <a:pt x="72" y="18"/>
                  <a:pt x="75" y="19"/>
                  <a:pt x="75" y="20"/>
                </a:cubicBezTo>
                <a:cubicBezTo>
                  <a:pt x="75" y="22"/>
                  <a:pt x="71" y="22"/>
                  <a:pt x="71" y="23"/>
                </a:cubicBezTo>
                <a:cubicBezTo>
                  <a:pt x="71" y="26"/>
                  <a:pt x="79" y="25"/>
                  <a:pt x="78" y="29"/>
                </a:cubicBezTo>
                <a:cubicBezTo>
                  <a:pt x="77" y="30"/>
                  <a:pt x="76" y="31"/>
                  <a:pt x="74" y="31"/>
                </a:cubicBezTo>
                <a:cubicBezTo>
                  <a:pt x="73" y="31"/>
                  <a:pt x="70" y="31"/>
                  <a:pt x="69" y="31"/>
                </a:cubicBezTo>
                <a:cubicBezTo>
                  <a:pt x="67" y="32"/>
                  <a:pt x="68" y="33"/>
                  <a:pt x="66" y="32"/>
                </a:cubicBezTo>
                <a:cubicBezTo>
                  <a:pt x="64" y="31"/>
                  <a:pt x="62" y="29"/>
                  <a:pt x="60" y="29"/>
                </a:cubicBezTo>
                <a:cubicBezTo>
                  <a:pt x="59" y="28"/>
                  <a:pt x="57" y="30"/>
                  <a:pt x="56" y="30"/>
                </a:cubicBezTo>
                <a:cubicBezTo>
                  <a:pt x="54" y="29"/>
                  <a:pt x="53" y="29"/>
                  <a:pt x="51" y="30"/>
                </a:cubicBezTo>
                <a:cubicBezTo>
                  <a:pt x="50" y="31"/>
                  <a:pt x="49" y="33"/>
                  <a:pt x="48" y="32"/>
                </a:cubicBezTo>
                <a:cubicBezTo>
                  <a:pt x="47" y="32"/>
                  <a:pt x="44" y="29"/>
                  <a:pt x="43" y="30"/>
                </a:cubicBezTo>
                <a:cubicBezTo>
                  <a:pt x="42" y="30"/>
                  <a:pt x="42" y="33"/>
                  <a:pt x="41" y="31"/>
                </a:cubicBezTo>
                <a:cubicBezTo>
                  <a:pt x="40" y="29"/>
                  <a:pt x="39" y="28"/>
                  <a:pt x="37" y="27"/>
                </a:cubicBezTo>
                <a:cubicBezTo>
                  <a:pt x="35" y="26"/>
                  <a:pt x="33" y="26"/>
                  <a:pt x="32" y="25"/>
                </a:cubicBezTo>
                <a:cubicBezTo>
                  <a:pt x="29" y="24"/>
                  <a:pt x="29" y="26"/>
                  <a:pt x="27" y="26"/>
                </a:cubicBezTo>
                <a:cubicBezTo>
                  <a:pt x="25" y="27"/>
                  <a:pt x="24" y="24"/>
                  <a:pt x="22" y="25"/>
                </a:cubicBezTo>
                <a:cubicBezTo>
                  <a:pt x="21" y="26"/>
                  <a:pt x="21" y="27"/>
                  <a:pt x="20" y="27"/>
                </a:cubicBezTo>
                <a:cubicBezTo>
                  <a:pt x="19" y="28"/>
                  <a:pt x="17" y="28"/>
                  <a:pt x="16" y="28"/>
                </a:cubicBezTo>
                <a:cubicBezTo>
                  <a:pt x="15" y="29"/>
                  <a:pt x="13" y="31"/>
                  <a:pt x="13" y="32"/>
                </a:cubicBezTo>
                <a:cubicBezTo>
                  <a:pt x="12" y="33"/>
                  <a:pt x="14" y="36"/>
                  <a:pt x="12" y="36"/>
                </a:cubicBezTo>
                <a:cubicBezTo>
                  <a:pt x="10" y="37"/>
                  <a:pt x="7" y="31"/>
                  <a:pt x="6" y="34"/>
                </a:cubicBezTo>
                <a:cubicBezTo>
                  <a:pt x="5" y="36"/>
                  <a:pt x="4" y="36"/>
                  <a:pt x="3" y="38"/>
                </a:cubicBezTo>
                <a:cubicBezTo>
                  <a:pt x="2" y="40"/>
                  <a:pt x="6" y="40"/>
                  <a:pt x="4" y="42"/>
                </a:cubicBezTo>
                <a:cubicBezTo>
                  <a:pt x="3" y="43"/>
                  <a:pt x="0" y="45"/>
                  <a:pt x="2" y="46"/>
                </a:cubicBezTo>
                <a:cubicBezTo>
                  <a:pt x="3" y="46"/>
                  <a:pt x="4" y="47"/>
                  <a:pt x="4" y="47"/>
                </a:cubicBezTo>
                <a:cubicBezTo>
                  <a:pt x="5" y="48"/>
                  <a:pt x="4" y="49"/>
                  <a:pt x="5" y="50"/>
                </a:cubicBezTo>
                <a:cubicBezTo>
                  <a:pt x="7" y="51"/>
                  <a:pt x="9" y="49"/>
                  <a:pt x="11" y="51"/>
                </a:cubicBezTo>
                <a:cubicBezTo>
                  <a:pt x="12" y="52"/>
                  <a:pt x="14" y="55"/>
                  <a:pt x="14" y="57"/>
                </a:cubicBezTo>
                <a:cubicBezTo>
                  <a:pt x="13" y="57"/>
                  <a:pt x="10" y="56"/>
                  <a:pt x="13" y="58"/>
                </a:cubicBezTo>
                <a:cubicBezTo>
                  <a:pt x="14" y="59"/>
                  <a:pt x="14" y="60"/>
                  <a:pt x="16" y="58"/>
                </a:cubicBezTo>
                <a:cubicBezTo>
                  <a:pt x="16" y="57"/>
                  <a:pt x="16" y="57"/>
                  <a:pt x="17" y="57"/>
                </a:cubicBezTo>
                <a:cubicBezTo>
                  <a:pt x="22" y="57"/>
                  <a:pt x="24" y="54"/>
                  <a:pt x="29" y="56"/>
                </a:cubicBezTo>
                <a:cubicBezTo>
                  <a:pt x="31" y="57"/>
                  <a:pt x="33" y="54"/>
                  <a:pt x="34" y="56"/>
                </a:cubicBezTo>
                <a:cubicBezTo>
                  <a:pt x="35" y="57"/>
                  <a:pt x="37" y="61"/>
                  <a:pt x="36" y="63"/>
                </a:cubicBezTo>
                <a:cubicBezTo>
                  <a:pt x="35" y="63"/>
                  <a:pt x="33" y="64"/>
                  <a:pt x="35" y="64"/>
                </a:cubicBezTo>
                <a:cubicBezTo>
                  <a:pt x="35" y="65"/>
                  <a:pt x="35" y="65"/>
                  <a:pt x="35" y="65"/>
                </a:cubicBezTo>
                <a:cubicBezTo>
                  <a:pt x="34" y="66"/>
                  <a:pt x="33" y="66"/>
                  <a:pt x="33" y="66"/>
                </a:cubicBezTo>
                <a:cubicBezTo>
                  <a:pt x="30" y="66"/>
                  <a:pt x="22" y="64"/>
                  <a:pt x="24" y="69"/>
                </a:cubicBezTo>
                <a:cubicBezTo>
                  <a:pt x="25" y="71"/>
                  <a:pt x="24" y="71"/>
                  <a:pt x="22" y="70"/>
                </a:cubicBezTo>
                <a:cubicBezTo>
                  <a:pt x="20" y="69"/>
                  <a:pt x="21" y="71"/>
                  <a:pt x="22" y="72"/>
                </a:cubicBezTo>
                <a:cubicBezTo>
                  <a:pt x="24" y="72"/>
                  <a:pt x="24" y="75"/>
                  <a:pt x="25" y="76"/>
                </a:cubicBezTo>
                <a:cubicBezTo>
                  <a:pt x="27" y="77"/>
                  <a:pt x="24" y="79"/>
                  <a:pt x="27" y="79"/>
                </a:cubicBezTo>
                <a:cubicBezTo>
                  <a:pt x="28" y="79"/>
                  <a:pt x="30" y="81"/>
                  <a:pt x="31" y="82"/>
                </a:cubicBezTo>
                <a:cubicBezTo>
                  <a:pt x="34" y="82"/>
                  <a:pt x="31" y="85"/>
                  <a:pt x="31" y="87"/>
                </a:cubicBezTo>
                <a:cubicBezTo>
                  <a:pt x="34" y="85"/>
                  <a:pt x="38" y="82"/>
                  <a:pt x="42" y="85"/>
                </a:cubicBezTo>
                <a:cubicBezTo>
                  <a:pt x="44" y="87"/>
                  <a:pt x="45" y="90"/>
                  <a:pt x="48" y="90"/>
                </a:cubicBezTo>
                <a:cubicBezTo>
                  <a:pt x="50" y="90"/>
                  <a:pt x="49" y="88"/>
                  <a:pt x="49" y="87"/>
                </a:cubicBezTo>
                <a:cubicBezTo>
                  <a:pt x="49" y="84"/>
                  <a:pt x="49" y="81"/>
                  <a:pt x="49" y="78"/>
                </a:cubicBezTo>
                <a:cubicBezTo>
                  <a:pt x="49" y="76"/>
                  <a:pt x="48" y="68"/>
                  <a:pt x="50" y="68"/>
                </a:cubicBezTo>
                <a:cubicBezTo>
                  <a:pt x="52" y="67"/>
                  <a:pt x="55" y="66"/>
                  <a:pt x="57" y="65"/>
                </a:cubicBezTo>
                <a:cubicBezTo>
                  <a:pt x="59" y="65"/>
                  <a:pt x="61" y="64"/>
                  <a:pt x="62" y="64"/>
                </a:cubicBezTo>
                <a:cubicBezTo>
                  <a:pt x="63" y="63"/>
                  <a:pt x="62" y="61"/>
                  <a:pt x="64" y="62"/>
                </a:cubicBezTo>
                <a:cubicBezTo>
                  <a:pt x="65" y="62"/>
                  <a:pt x="68" y="64"/>
                  <a:pt x="68" y="62"/>
                </a:cubicBezTo>
                <a:cubicBezTo>
                  <a:pt x="68" y="61"/>
                  <a:pt x="70" y="60"/>
                  <a:pt x="71" y="62"/>
                </a:cubicBezTo>
                <a:cubicBezTo>
                  <a:pt x="72" y="63"/>
                  <a:pt x="71" y="64"/>
                  <a:pt x="72" y="66"/>
                </a:cubicBezTo>
                <a:cubicBezTo>
                  <a:pt x="72" y="67"/>
                  <a:pt x="73" y="69"/>
                  <a:pt x="72" y="70"/>
                </a:cubicBezTo>
                <a:cubicBezTo>
                  <a:pt x="73" y="71"/>
                  <a:pt x="74" y="71"/>
                  <a:pt x="75" y="72"/>
                </a:cubicBezTo>
                <a:cubicBezTo>
                  <a:pt x="78" y="75"/>
                  <a:pt x="80" y="77"/>
                  <a:pt x="84" y="76"/>
                </a:cubicBezTo>
                <a:cubicBezTo>
                  <a:pt x="86" y="76"/>
                  <a:pt x="88" y="77"/>
                  <a:pt x="90" y="77"/>
                </a:cubicBezTo>
                <a:cubicBezTo>
                  <a:pt x="92" y="77"/>
                  <a:pt x="93" y="75"/>
                  <a:pt x="95" y="75"/>
                </a:cubicBezTo>
                <a:cubicBezTo>
                  <a:pt x="97" y="76"/>
                  <a:pt x="99" y="79"/>
                  <a:pt x="100" y="81"/>
                </a:cubicBezTo>
                <a:cubicBezTo>
                  <a:pt x="101" y="82"/>
                  <a:pt x="100" y="83"/>
                  <a:pt x="100" y="85"/>
                </a:cubicBezTo>
                <a:cubicBezTo>
                  <a:pt x="100" y="87"/>
                  <a:pt x="103" y="88"/>
                  <a:pt x="103" y="90"/>
                </a:cubicBezTo>
                <a:cubicBezTo>
                  <a:pt x="103" y="91"/>
                  <a:pt x="106" y="91"/>
                  <a:pt x="107" y="91"/>
                </a:cubicBezTo>
                <a:cubicBezTo>
                  <a:pt x="109" y="91"/>
                  <a:pt x="109" y="91"/>
                  <a:pt x="110" y="93"/>
                </a:cubicBezTo>
                <a:cubicBezTo>
                  <a:pt x="112" y="97"/>
                  <a:pt x="114" y="92"/>
                  <a:pt x="116" y="90"/>
                </a:cubicBezTo>
                <a:cubicBezTo>
                  <a:pt x="117" y="87"/>
                  <a:pt x="121" y="87"/>
                  <a:pt x="123" y="85"/>
                </a:cubicBezTo>
                <a:cubicBezTo>
                  <a:pt x="125" y="85"/>
                  <a:pt x="125" y="85"/>
                  <a:pt x="126" y="84"/>
                </a:cubicBezTo>
                <a:cubicBezTo>
                  <a:pt x="127" y="81"/>
                  <a:pt x="128" y="82"/>
                  <a:pt x="130" y="82"/>
                </a:cubicBezTo>
                <a:cubicBezTo>
                  <a:pt x="132" y="82"/>
                  <a:pt x="136" y="85"/>
                  <a:pt x="137" y="83"/>
                </a:cubicBezTo>
                <a:cubicBezTo>
                  <a:pt x="137" y="81"/>
                  <a:pt x="137" y="80"/>
                  <a:pt x="139" y="79"/>
                </a:cubicBezTo>
                <a:cubicBezTo>
                  <a:pt x="141" y="78"/>
                  <a:pt x="143" y="80"/>
                  <a:pt x="145" y="80"/>
                </a:cubicBezTo>
                <a:cubicBezTo>
                  <a:pt x="147" y="81"/>
                  <a:pt x="151" y="81"/>
                  <a:pt x="153" y="81"/>
                </a:cubicBezTo>
                <a:cubicBezTo>
                  <a:pt x="159" y="81"/>
                  <a:pt x="164" y="83"/>
                  <a:pt x="170" y="84"/>
                </a:cubicBezTo>
                <a:cubicBezTo>
                  <a:pt x="169" y="82"/>
                  <a:pt x="171" y="81"/>
                  <a:pt x="173" y="79"/>
                </a:cubicBezTo>
                <a:cubicBezTo>
                  <a:pt x="174" y="78"/>
                  <a:pt x="173" y="78"/>
                  <a:pt x="172" y="76"/>
                </a:cubicBezTo>
                <a:cubicBezTo>
                  <a:pt x="171" y="75"/>
                  <a:pt x="171" y="73"/>
                  <a:pt x="171" y="71"/>
                </a:cubicBezTo>
                <a:cubicBezTo>
                  <a:pt x="170" y="71"/>
                  <a:pt x="170" y="67"/>
                  <a:pt x="169" y="68"/>
                </a:cubicBezTo>
                <a:cubicBezTo>
                  <a:pt x="170" y="67"/>
                  <a:pt x="173" y="67"/>
                  <a:pt x="175" y="66"/>
                </a:cubicBezTo>
                <a:cubicBezTo>
                  <a:pt x="178" y="66"/>
                  <a:pt x="180" y="68"/>
                  <a:pt x="182" y="66"/>
                </a:cubicBezTo>
                <a:cubicBezTo>
                  <a:pt x="183" y="66"/>
                  <a:pt x="181" y="65"/>
                  <a:pt x="181" y="64"/>
                </a:cubicBezTo>
                <a:cubicBezTo>
                  <a:pt x="180" y="63"/>
                  <a:pt x="181" y="61"/>
                  <a:pt x="182" y="60"/>
                </a:cubicBezTo>
                <a:cubicBezTo>
                  <a:pt x="183" y="59"/>
                  <a:pt x="184" y="53"/>
                  <a:pt x="185" y="54"/>
                </a:cubicBezTo>
                <a:cubicBezTo>
                  <a:pt x="187" y="55"/>
                  <a:pt x="188" y="56"/>
                  <a:pt x="190" y="56"/>
                </a:cubicBezTo>
                <a:cubicBezTo>
                  <a:pt x="191" y="55"/>
                  <a:pt x="192" y="57"/>
                  <a:pt x="193" y="56"/>
                </a:cubicBezTo>
                <a:cubicBezTo>
                  <a:pt x="194" y="56"/>
                  <a:pt x="196" y="55"/>
                  <a:pt x="197" y="54"/>
                </a:cubicBezTo>
                <a:cubicBezTo>
                  <a:pt x="198" y="53"/>
                  <a:pt x="196" y="51"/>
                  <a:pt x="196" y="49"/>
                </a:cubicBezTo>
                <a:cubicBezTo>
                  <a:pt x="197" y="46"/>
                  <a:pt x="200" y="47"/>
                  <a:pt x="202" y="44"/>
                </a:cubicBezTo>
                <a:cubicBezTo>
                  <a:pt x="202" y="43"/>
                  <a:pt x="202" y="43"/>
                  <a:pt x="203" y="42"/>
                </a:cubicBezTo>
                <a:cubicBezTo>
                  <a:pt x="203" y="41"/>
                  <a:pt x="202" y="40"/>
                  <a:pt x="201" y="39"/>
                </a:cubicBezTo>
                <a:cubicBezTo>
                  <a:pt x="201" y="38"/>
                  <a:pt x="202" y="39"/>
                  <a:pt x="201" y="39"/>
                </a:cubicBezTo>
                <a:close/>
                <a:moveTo>
                  <a:pt x="148" y="58"/>
                </a:moveTo>
                <a:cubicBezTo>
                  <a:pt x="146" y="58"/>
                  <a:pt x="143" y="61"/>
                  <a:pt x="142" y="62"/>
                </a:cubicBezTo>
                <a:cubicBezTo>
                  <a:pt x="141" y="62"/>
                  <a:pt x="140" y="64"/>
                  <a:pt x="140" y="65"/>
                </a:cubicBezTo>
                <a:cubicBezTo>
                  <a:pt x="140" y="66"/>
                  <a:pt x="141" y="67"/>
                  <a:pt x="141" y="67"/>
                </a:cubicBezTo>
                <a:cubicBezTo>
                  <a:pt x="140" y="68"/>
                  <a:pt x="138" y="64"/>
                  <a:pt x="138" y="63"/>
                </a:cubicBezTo>
                <a:cubicBezTo>
                  <a:pt x="138" y="61"/>
                  <a:pt x="139" y="60"/>
                  <a:pt x="141" y="59"/>
                </a:cubicBezTo>
                <a:cubicBezTo>
                  <a:pt x="143" y="58"/>
                  <a:pt x="145" y="57"/>
                  <a:pt x="147" y="57"/>
                </a:cubicBezTo>
                <a:cubicBezTo>
                  <a:pt x="147" y="57"/>
                  <a:pt x="152" y="58"/>
                  <a:pt x="152" y="58"/>
                </a:cubicBezTo>
                <a:cubicBezTo>
                  <a:pt x="151" y="59"/>
                  <a:pt x="148" y="58"/>
                  <a:pt x="148" y="58"/>
                </a:cubicBezTo>
                <a:cubicBezTo>
                  <a:pt x="146" y="58"/>
                  <a:pt x="149" y="58"/>
                  <a:pt x="148" y="58"/>
                </a:cubicBezTo>
                <a:close/>
                <a:moveTo>
                  <a:pt x="165" y="59"/>
                </a:moveTo>
                <a:cubicBezTo>
                  <a:pt x="164" y="61"/>
                  <a:pt x="157" y="60"/>
                  <a:pt x="156" y="58"/>
                </a:cubicBezTo>
                <a:cubicBezTo>
                  <a:pt x="156" y="58"/>
                  <a:pt x="160" y="58"/>
                  <a:pt x="160" y="58"/>
                </a:cubicBezTo>
                <a:cubicBezTo>
                  <a:pt x="162" y="58"/>
                  <a:pt x="163" y="58"/>
                  <a:pt x="165" y="57"/>
                </a:cubicBezTo>
                <a:cubicBezTo>
                  <a:pt x="165" y="57"/>
                  <a:pt x="165" y="59"/>
                  <a:pt x="165" y="59"/>
                </a:cubicBezTo>
                <a:cubicBezTo>
                  <a:pt x="164" y="60"/>
                  <a:pt x="165" y="58"/>
                  <a:pt x="165" y="5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05" name="Freeform 701">
            <a:extLst>
              <a:ext uri="{FF2B5EF4-FFF2-40B4-BE49-F238E27FC236}">
                <a16:creationId xmlns:a16="http://schemas.microsoft.com/office/drawing/2014/main" id="{1FCA6E2A-FD12-E84E-B572-C0896C76E5FD}"/>
              </a:ext>
            </a:extLst>
          </p:cNvPr>
          <p:cNvSpPr>
            <a:spLocks/>
          </p:cNvSpPr>
          <p:nvPr/>
        </p:nvSpPr>
        <p:spPr bwMode="auto">
          <a:xfrm>
            <a:off x="7610839" y="3921545"/>
            <a:ext cx="725352" cy="773203"/>
          </a:xfrm>
          <a:custGeom>
            <a:avLst/>
            <a:gdLst>
              <a:gd name="T0" fmla="*/ 121 w 140"/>
              <a:gd name="T1" fmla="*/ 66 h 149"/>
              <a:gd name="T2" fmla="*/ 129 w 140"/>
              <a:gd name="T3" fmla="*/ 54 h 149"/>
              <a:gd name="T4" fmla="*/ 137 w 140"/>
              <a:gd name="T5" fmla="*/ 46 h 149"/>
              <a:gd name="T6" fmla="*/ 135 w 140"/>
              <a:gd name="T7" fmla="*/ 41 h 149"/>
              <a:gd name="T8" fmla="*/ 127 w 140"/>
              <a:gd name="T9" fmla="*/ 37 h 149"/>
              <a:gd name="T10" fmla="*/ 119 w 140"/>
              <a:gd name="T11" fmla="*/ 43 h 149"/>
              <a:gd name="T12" fmla="*/ 106 w 140"/>
              <a:gd name="T13" fmla="*/ 51 h 149"/>
              <a:gd name="T14" fmla="*/ 100 w 140"/>
              <a:gd name="T15" fmla="*/ 45 h 149"/>
              <a:gd name="T16" fmla="*/ 92 w 140"/>
              <a:gd name="T17" fmla="*/ 52 h 149"/>
              <a:gd name="T18" fmla="*/ 77 w 140"/>
              <a:gd name="T19" fmla="*/ 47 h 149"/>
              <a:gd name="T20" fmla="*/ 62 w 140"/>
              <a:gd name="T21" fmla="*/ 41 h 149"/>
              <a:gd name="T22" fmla="*/ 63 w 140"/>
              <a:gd name="T23" fmla="*/ 32 h 149"/>
              <a:gd name="T24" fmla="*/ 52 w 140"/>
              <a:gd name="T25" fmla="*/ 22 h 149"/>
              <a:gd name="T26" fmla="*/ 55 w 140"/>
              <a:gd name="T27" fmla="*/ 12 h 149"/>
              <a:gd name="T28" fmla="*/ 50 w 140"/>
              <a:gd name="T29" fmla="*/ 2 h 149"/>
              <a:gd name="T30" fmla="*/ 40 w 140"/>
              <a:gd name="T31" fmla="*/ 8 h 149"/>
              <a:gd name="T32" fmla="*/ 30 w 140"/>
              <a:gd name="T33" fmla="*/ 12 h 149"/>
              <a:gd name="T34" fmla="*/ 33 w 140"/>
              <a:gd name="T35" fmla="*/ 22 h 149"/>
              <a:gd name="T36" fmla="*/ 29 w 140"/>
              <a:gd name="T37" fmla="*/ 33 h 149"/>
              <a:gd name="T38" fmla="*/ 19 w 140"/>
              <a:gd name="T39" fmla="*/ 44 h 149"/>
              <a:gd name="T40" fmla="*/ 7 w 140"/>
              <a:gd name="T41" fmla="*/ 50 h 149"/>
              <a:gd name="T42" fmla="*/ 14 w 140"/>
              <a:gd name="T43" fmla="*/ 64 h 149"/>
              <a:gd name="T44" fmla="*/ 5 w 140"/>
              <a:gd name="T45" fmla="*/ 64 h 149"/>
              <a:gd name="T46" fmla="*/ 11 w 140"/>
              <a:gd name="T47" fmla="*/ 72 h 149"/>
              <a:gd name="T48" fmla="*/ 11 w 140"/>
              <a:gd name="T49" fmla="*/ 82 h 149"/>
              <a:gd name="T50" fmla="*/ 19 w 140"/>
              <a:gd name="T51" fmla="*/ 78 h 149"/>
              <a:gd name="T52" fmla="*/ 23 w 140"/>
              <a:gd name="T53" fmla="*/ 75 h 149"/>
              <a:gd name="T54" fmla="*/ 22 w 140"/>
              <a:gd name="T55" fmla="*/ 78 h 149"/>
              <a:gd name="T56" fmla="*/ 24 w 140"/>
              <a:gd name="T57" fmla="*/ 82 h 149"/>
              <a:gd name="T58" fmla="*/ 24 w 140"/>
              <a:gd name="T59" fmla="*/ 95 h 149"/>
              <a:gd name="T60" fmla="*/ 26 w 140"/>
              <a:gd name="T61" fmla="*/ 107 h 149"/>
              <a:gd name="T62" fmla="*/ 39 w 140"/>
              <a:gd name="T63" fmla="*/ 134 h 149"/>
              <a:gd name="T64" fmla="*/ 50 w 140"/>
              <a:gd name="T65" fmla="*/ 143 h 149"/>
              <a:gd name="T66" fmla="*/ 57 w 140"/>
              <a:gd name="T67" fmla="*/ 132 h 149"/>
              <a:gd name="T68" fmla="*/ 65 w 140"/>
              <a:gd name="T69" fmla="*/ 107 h 149"/>
              <a:gd name="T70" fmla="*/ 81 w 140"/>
              <a:gd name="T71" fmla="*/ 93 h 149"/>
              <a:gd name="T72" fmla="*/ 91 w 140"/>
              <a:gd name="T73" fmla="*/ 84 h 149"/>
              <a:gd name="T74" fmla="*/ 98 w 140"/>
              <a:gd name="T75" fmla="*/ 74 h 149"/>
              <a:gd name="T76" fmla="*/ 101 w 140"/>
              <a:gd name="T77" fmla="*/ 78 h 149"/>
              <a:gd name="T78" fmla="*/ 100 w 140"/>
              <a:gd name="T79" fmla="*/ 58 h 149"/>
              <a:gd name="T80" fmla="*/ 104 w 140"/>
              <a:gd name="T81" fmla="*/ 57 h 149"/>
              <a:gd name="T82" fmla="*/ 114 w 140"/>
              <a:gd name="T83" fmla="*/ 60 h 149"/>
              <a:gd name="T84" fmla="*/ 115 w 140"/>
              <a:gd name="T85" fmla="*/ 68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0" h="149">
                <a:moveTo>
                  <a:pt x="117" y="76"/>
                </a:moveTo>
                <a:cubicBezTo>
                  <a:pt x="121" y="77"/>
                  <a:pt x="119" y="73"/>
                  <a:pt x="120" y="71"/>
                </a:cubicBezTo>
                <a:cubicBezTo>
                  <a:pt x="120" y="69"/>
                  <a:pt x="121" y="67"/>
                  <a:pt x="121" y="66"/>
                </a:cubicBezTo>
                <a:cubicBezTo>
                  <a:pt x="122" y="65"/>
                  <a:pt x="124" y="67"/>
                  <a:pt x="125" y="65"/>
                </a:cubicBezTo>
                <a:cubicBezTo>
                  <a:pt x="126" y="63"/>
                  <a:pt x="126" y="61"/>
                  <a:pt x="126" y="59"/>
                </a:cubicBezTo>
                <a:cubicBezTo>
                  <a:pt x="127" y="57"/>
                  <a:pt x="129" y="56"/>
                  <a:pt x="129" y="54"/>
                </a:cubicBezTo>
                <a:cubicBezTo>
                  <a:pt x="129" y="52"/>
                  <a:pt x="132" y="50"/>
                  <a:pt x="133" y="49"/>
                </a:cubicBezTo>
                <a:cubicBezTo>
                  <a:pt x="136" y="46"/>
                  <a:pt x="135" y="49"/>
                  <a:pt x="137" y="50"/>
                </a:cubicBezTo>
                <a:cubicBezTo>
                  <a:pt x="137" y="50"/>
                  <a:pt x="137" y="46"/>
                  <a:pt x="137" y="46"/>
                </a:cubicBezTo>
                <a:cubicBezTo>
                  <a:pt x="137" y="45"/>
                  <a:pt x="140" y="45"/>
                  <a:pt x="138" y="43"/>
                </a:cubicBezTo>
                <a:cubicBezTo>
                  <a:pt x="137" y="43"/>
                  <a:pt x="135" y="43"/>
                  <a:pt x="134" y="43"/>
                </a:cubicBezTo>
                <a:cubicBezTo>
                  <a:pt x="134" y="42"/>
                  <a:pt x="135" y="41"/>
                  <a:pt x="135" y="41"/>
                </a:cubicBezTo>
                <a:cubicBezTo>
                  <a:pt x="136" y="40"/>
                  <a:pt x="135" y="39"/>
                  <a:pt x="134" y="38"/>
                </a:cubicBezTo>
                <a:cubicBezTo>
                  <a:pt x="133" y="37"/>
                  <a:pt x="133" y="37"/>
                  <a:pt x="132" y="38"/>
                </a:cubicBezTo>
                <a:cubicBezTo>
                  <a:pt x="130" y="39"/>
                  <a:pt x="129" y="38"/>
                  <a:pt x="127" y="37"/>
                </a:cubicBezTo>
                <a:cubicBezTo>
                  <a:pt x="126" y="37"/>
                  <a:pt x="124" y="39"/>
                  <a:pt x="124" y="40"/>
                </a:cubicBezTo>
                <a:cubicBezTo>
                  <a:pt x="123" y="41"/>
                  <a:pt x="122" y="40"/>
                  <a:pt x="121" y="41"/>
                </a:cubicBezTo>
                <a:cubicBezTo>
                  <a:pt x="120" y="41"/>
                  <a:pt x="119" y="42"/>
                  <a:pt x="119" y="43"/>
                </a:cubicBezTo>
                <a:cubicBezTo>
                  <a:pt x="117" y="45"/>
                  <a:pt x="116" y="46"/>
                  <a:pt x="114" y="45"/>
                </a:cubicBezTo>
                <a:cubicBezTo>
                  <a:pt x="113" y="46"/>
                  <a:pt x="114" y="48"/>
                  <a:pt x="115" y="49"/>
                </a:cubicBezTo>
                <a:cubicBezTo>
                  <a:pt x="117" y="53"/>
                  <a:pt x="108" y="50"/>
                  <a:pt x="106" y="51"/>
                </a:cubicBezTo>
                <a:cubicBezTo>
                  <a:pt x="105" y="52"/>
                  <a:pt x="102" y="51"/>
                  <a:pt x="101" y="50"/>
                </a:cubicBezTo>
                <a:cubicBezTo>
                  <a:pt x="100" y="49"/>
                  <a:pt x="101" y="47"/>
                  <a:pt x="101" y="47"/>
                </a:cubicBezTo>
                <a:cubicBezTo>
                  <a:pt x="101" y="47"/>
                  <a:pt x="101" y="44"/>
                  <a:pt x="100" y="45"/>
                </a:cubicBezTo>
                <a:cubicBezTo>
                  <a:pt x="98" y="45"/>
                  <a:pt x="96" y="45"/>
                  <a:pt x="96" y="48"/>
                </a:cubicBezTo>
                <a:cubicBezTo>
                  <a:pt x="97" y="49"/>
                  <a:pt x="98" y="52"/>
                  <a:pt x="97" y="52"/>
                </a:cubicBezTo>
                <a:cubicBezTo>
                  <a:pt x="95" y="52"/>
                  <a:pt x="94" y="54"/>
                  <a:pt x="92" y="52"/>
                </a:cubicBezTo>
                <a:cubicBezTo>
                  <a:pt x="91" y="50"/>
                  <a:pt x="90" y="53"/>
                  <a:pt x="89" y="52"/>
                </a:cubicBezTo>
                <a:cubicBezTo>
                  <a:pt x="86" y="51"/>
                  <a:pt x="85" y="51"/>
                  <a:pt x="82" y="50"/>
                </a:cubicBezTo>
                <a:cubicBezTo>
                  <a:pt x="80" y="49"/>
                  <a:pt x="79" y="47"/>
                  <a:pt x="77" y="47"/>
                </a:cubicBezTo>
                <a:cubicBezTo>
                  <a:pt x="74" y="48"/>
                  <a:pt x="74" y="47"/>
                  <a:pt x="72" y="46"/>
                </a:cubicBezTo>
                <a:cubicBezTo>
                  <a:pt x="70" y="45"/>
                  <a:pt x="68" y="46"/>
                  <a:pt x="67" y="45"/>
                </a:cubicBezTo>
                <a:cubicBezTo>
                  <a:pt x="65" y="43"/>
                  <a:pt x="63" y="42"/>
                  <a:pt x="62" y="41"/>
                </a:cubicBezTo>
                <a:cubicBezTo>
                  <a:pt x="60" y="40"/>
                  <a:pt x="59" y="40"/>
                  <a:pt x="60" y="38"/>
                </a:cubicBezTo>
                <a:cubicBezTo>
                  <a:pt x="61" y="37"/>
                  <a:pt x="60" y="35"/>
                  <a:pt x="62" y="34"/>
                </a:cubicBezTo>
                <a:cubicBezTo>
                  <a:pt x="64" y="33"/>
                  <a:pt x="65" y="34"/>
                  <a:pt x="63" y="32"/>
                </a:cubicBezTo>
                <a:cubicBezTo>
                  <a:pt x="61" y="31"/>
                  <a:pt x="59" y="29"/>
                  <a:pt x="57" y="28"/>
                </a:cubicBezTo>
                <a:cubicBezTo>
                  <a:pt x="56" y="28"/>
                  <a:pt x="55" y="26"/>
                  <a:pt x="53" y="26"/>
                </a:cubicBezTo>
                <a:cubicBezTo>
                  <a:pt x="53" y="26"/>
                  <a:pt x="53" y="23"/>
                  <a:pt x="52" y="22"/>
                </a:cubicBezTo>
                <a:cubicBezTo>
                  <a:pt x="47" y="17"/>
                  <a:pt x="57" y="23"/>
                  <a:pt x="57" y="19"/>
                </a:cubicBezTo>
                <a:cubicBezTo>
                  <a:pt x="57" y="17"/>
                  <a:pt x="56" y="17"/>
                  <a:pt x="54" y="15"/>
                </a:cubicBezTo>
                <a:cubicBezTo>
                  <a:pt x="53" y="14"/>
                  <a:pt x="53" y="13"/>
                  <a:pt x="55" y="12"/>
                </a:cubicBezTo>
                <a:cubicBezTo>
                  <a:pt x="57" y="12"/>
                  <a:pt x="56" y="9"/>
                  <a:pt x="58" y="8"/>
                </a:cubicBezTo>
                <a:cubicBezTo>
                  <a:pt x="59" y="7"/>
                  <a:pt x="61" y="6"/>
                  <a:pt x="60" y="4"/>
                </a:cubicBezTo>
                <a:cubicBezTo>
                  <a:pt x="58" y="1"/>
                  <a:pt x="53" y="0"/>
                  <a:pt x="50" y="2"/>
                </a:cubicBezTo>
                <a:cubicBezTo>
                  <a:pt x="49" y="3"/>
                  <a:pt x="49" y="3"/>
                  <a:pt x="47" y="4"/>
                </a:cubicBezTo>
                <a:cubicBezTo>
                  <a:pt x="46" y="4"/>
                  <a:pt x="46" y="6"/>
                  <a:pt x="45" y="7"/>
                </a:cubicBezTo>
                <a:cubicBezTo>
                  <a:pt x="43" y="8"/>
                  <a:pt x="41" y="7"/>
                  <a:pt x="40" y="8"/>
                </a:cubicBezTo>
                <a:cubicBezTo>
                  <a:pt x="39" y="9"/>
                  <a:pt x="37" y="9"/>
                  <a:pt x="35" y="8"/>
                </a:cubicBezTo>
                <a:cubicBezTo>
                  <a:pt x="33" y="8"/>
                  <a:pt x="32" y="7"/>
                  <a:pt x="30" y="8"/>
                </a:cubicBezTo>
                <a:cubicBezTo>
                  <a:pt x="28" y="8"/>
                  <a:pt x="29" y="11"/>
                  <a:pt x="30" y="12"/>
                </a:cubicBezTo>
                <a:cubicBezTo>
                  <a:pt x="30" y="14"/>
                  <a:pt x="30" y="16"/>
                  <a:pt x="30" y="17"/>
                </a:cubicBezTo>
                <a:cubicBezTo>
                  <a:pt x="31" y="19"/>
                  <a:pt x="33" y="19"/>
                  <a:pt x="35" y="20"/>
                </a:cubicBezTo>
                <a:cubicBezTo>
                  <a:pt x="36" y="22"/>
                  <a:pt x="34" y="22"/>
                  <a:pt x="33" y="22"/>
                </a:cubicBezTo>
                <a:cubicBezTo>
                  <a:pt x="32" y="24"/>
                  <a:pt x="33" y="26"/>
                  <a:pt x="33" y="28"/>
                </a:cubicBezTo>
                <a:cubicBezTo>
                  <a:pt x="33" y="29"/>
                  <a:pt x="31" y="29"/>
                  <a:pt x="31" y="29"/>
                </a:cubicBezTo>
                <a:cubicBezTo>
                  <a:pt x="29" y="30"/>
                  <a:pt x="31" y="33"/>
                  <a:pt x="29" y="33"/>
                </a:cubicBezTo>
                <a:cubicBezTo>
                  <a:pt x="27" y="34"/>
                  <a:pt x="26" y="35"/>
                  <a:pt x="26" y="36"/>
                </a:cubicBezTo>
                <a:cubicBezTo>
                  <a:pt x="25" y="38"/>
                  <a:pt x="24" y="38"/>
                  <a:pt x="22" y="39"/>
                </a:cubicBezTo>
                <a:cubicBezTo>
                  <a:pt x="20" y="40"/>
                  <a:pt x="20" y="43"/>
                  <a:pt x="19" y="44"/>
                </a:cubicBezTo>
                <a:cubicBezTo>
                  <a:pt x="18" y="46"/>
                  <a:pt x="16" y="45"/>
                  <a:pt x="15" y="47"/>
                </a:cubicBezTo>
                <a:cubicBezTo>
                  <a:pt x="13" y="48"/>
                  <a:pt x="12" y="44"/>
                  <a:pt x="11" y="46"/>
                </a:cubicBezTo>
                <a:cubicBezTo>
                  <a:pt x="10" y="47"/>
                  <a:pt x="6" y="49"/>
                  <a:pt x="7" y="50"/>
                </a:cubicBezTo>
                <a:cubicBezTo>
                  <a:pt x="7" y="52"/>
                  <a:pt x="10" y="52"/>
                  <a:pt x="10" y="54"/>
                </a:cubicBezTo>
                <a:cubicBezTo>
                  <a:pt x="9" y="57"/>
                  <a:pt x="11" y="57"/>
                  <a:pt x="13" y="58"/>
                </a:cubicBezTo>
                <a:cubicBezTo>
                  <a:pt x="13" y="60"/>
                  <a:pt x="14" y="62"/>
                  <a:pt x="14" y="64"/>
                </a:cubicBezTo>
                <a:cubicBezTo>
                  <a:pt x="14" y="64"/>
                  <a:pt x="11" y="64"/>
                  <a:pt x="10" y="64"/>
                </a:cubicBezTo>
                <a:cubicBezTo>
                  <a:pt x="9" y="64"/>
                  <a:pt x="8" y="65"/>
                  <a:pt x="7" y="65"/>
                </a:cubicBezTo>
                <a:cubicBezTo>
                  <a:pt x="7" y="65"/>
                  <a:pt x="6" y="64"/>
                  <a:pt x="5" y="64"/>
                </a:cubicBezTo>
                <a:cubicBezTo>
                  <a:pt x="4" y="64"/>
                  <a:pt x="0" y="66"/>
                  <a:pt x="0" y="67"/>
                </a:cubicBezTo>
                <a:cubicBezTo>
                  <a:pt x="2" y="69"/>
                  <a:pt x="3" y="70"/>
                  <a:pt x="5" y="72"/>
                </a:cubicBezTo>
                <a:cubicBezTo>
                  <a:pt x="5" y="72"/>
                  <a:pt x="11" y="72"/>
                  <a:pt x="11" y="72"/>
                </a:cubicBezTo>
                <a:cubicBezTo>
                  <a:pt x="11" y="73"/>
                  <a:pt x="9" y="74"/>
                  <a:pt x="8" y="74"/>
                </a:cubicBezTo>
                <a:cubicBezTo>
                  <a:pt x="7" y="75"/>
                  <a:pt x="4" y="73"/>
                  <a:pt x="4" y="75"/>
                </a:cubicBezTo>
                <a:cubicBezTo>
                  <a:pt x="4" y="77"/>
                  <a:pt x="9" y="80"/>
                  <a:pt x="11" y="82"/>
                </a:cubicBezTo>
                <a:cubicBezTo>
                  <a:pt x="12" y="83"/>
                  <a:pt x="13" y="83"/>
                  <a:pt x="15" y="83"/>
                </a:cubicBezTo>
                <a:cubicBezTo>
                  <a:pt x="17" y="82"/>
                  <a:pt x="20" y="81"/>
                  <a:pt x="21" y="79"/>
                </a:cubicBezTo>
                <a:cubicBezTo>
                  <a:pt x="21" y="79"/>
                  <a:pt x="20" y="78"/>
                  <a:pt x="19" y="78"/>
                </a:cubicBezTo>
                <a:cubicBezTo>
                  <a:pt x="19" y="77"/>
                  <a:pt x="20" y="77"/>
                  <a:pt x="20" y="77"/>
                </a:cubicBezTo>
                <a:cubicBezTo>
                  <a:pt x="21" y="76"/>
                  <a:pt x="20" y="75"/>
                  <a:pt x="21" y="75"/>
                </a:cubicBezTo>
                <a:cubicBezTo>
                  <a:pt x="21" y="75"/>
                  <a:pt x="23" y="75"/>
                  <a:pt x="23" y="75"/>
                </a:cubicBezTo>
                <a:cubicBezTo>
                  <a:pt x="23" y="76"/>
                  <a:pt x="21" y="76"/>
                  <a:pt x="22" y="77"/>
                </a:cubicBezTo>
                <a:cubicBezTo>
                  <a:pt x="22" y="77"/>
                  <a:pt x="23" y="77"/>
                  <a:pt x="23" y="77"/>
                </a:cubicBezTo>
                <a:cubicBezTo>
                  <a:pt x="23" y="78"/>
                  <a:pt x="22" y="78"/>
                  <a:pt x="22" y="78"/>
                </a:cubicBezTo>
                <a:cubicBezTo>
                  <a:pt x="21" y="78"/>
                  <a:pt x="23" y="78"/>
                  <a:pt x="23" y="78"/>
                </a:cubicBezTo>
                <a:cubicBezTo>
                  <a:pt x="23" y="79"/>
                  <a:pt x="22" y="79"/>
                  <a:pt x="22" y="80"/>
                </a:cubicBezTo>
                <a:cubicBezTo>
                  <a:pt x="21" y="80"/>
                  <a:pt x="23" y="81"/>
                  <a:pt x="24" y="82"/>
                </a:cubicBezTo>
                <a:cubicBezTo>
                  <a:pt x="25" y="83"/>
                  <a:pt x="23" y="85"/>
                  <a:pt x="22" y="87"/>
                </a:cubicBezTo>
                <a:cubicBezTo>
                  <a:pt x="22" y="88"/>
                  <a:pt x="23" y="89"/>
                  <a:pt x="24" y="90"/>
                </a:cubicBezTo>
                <a:cubicBezTo>
                  <a:pt x="24" y="92"/>
                  <a:pt x="24" y="93"/>
                  <a:pt x="24" y="95"/>
                </a:cubicBezTo>
                <a:cubicBezTo>
                  <a:pt x="24" y="97"/>
                  <a:pt x="23" y="100"/>
                  <a:pt x="23" y="101"/>
                </a:cubicBezTo>
                <a:cubicBezTo>
                  <a:pt x="23" y="101"/>
                  <a:pt x="24" y="99"/>
                  <a:pt x="24" y="99"/>
                </a:cubicBezTo>
                <a:cubicBezTo>
                  <a:pt x="25" y="100"/>
                  <a:pt x="26" y="106"/>
                  <a:pt x="26" y="107"/>
                </a:cubicBezTo>
                <a:cubicBezTo>
                  <a:pt x="27" y="109"/>
                  <a:pt x="29" y="112"/>
                  <a:pt x="30" y="115"/>
                </a:cubicBezTo>
                <a:cubicBezTo>
                  <a:pt x="31" y="118"/>
                  <a:pt x="31" y="121"/>
                  <a:pt x="32" y="124"/>
                </a:cubicBezTo>
                <a:cubicBezTo>
                  <a:pt x="34" y="128"/>
                  <a:pt x="37" y="131"/>
                  <a:pt x="39" y="134"/>
                </a:cubicBezTo>
                <a:cubicBezTo>
                  <a:pt x="40" y="137"/>
                  <a:pt x="40" y="140"/>
                  <a:pt x="41" y="143"/>
                </a:cubicBezTo>
                <a:cubicBezTo>
                  <a:pt x="43" y="146"/>
                  <a:pt x="45" y="149"/>
                  <a:pt x="48" y="146"/>
                </a:cubicBezTo>
                <a:cubicBezTo>
                  <a:pt x="50" y="145"/>
                  <a:pt x="50" y="144"/>
                  <a:pt x="50" y="143"/>
                </a:cubicBezTo>
                <a:cubicBezTo>
                  <a:pt x="50" y="141"/>
                  <a:pt x="52" y="140"/>
                  <a:pt x="53" y="139"/>
                </a:cubicBezTo>
                <a:cubicBezTo>
                  <a:pt x="54" y="138"/>
                  <a:pt x="56" y="138"/>
                  <a:pt x="57" y="137"/>
                </a:cubicBezTo>
                <a:cubicBezTo>
                  <a:pt x="58" y="136"/>
                  <a:pt x="57" y="133"/>
                  <a:pt x="57" y="132"/>
                </a:cubicBezTo>
                <a:cubicBezTo>
                  <a:pt x="56" y="128"/>
                  <a:pt x="61" y="125"/>
                  <a:pt x="60" y="122"/>
                </a:cubicBezTo>
                <a:cubicBezTo>
                  <a:pt x="59" y="119"/>
                  <a:pt x="58" y="116"/>
                  <a:pt x="58" y="113"/>
                </a:cubicBezTo>
                <a:cubicBezTo>
                  <a:pt x="58" y="109"/>
                  <a:pt x="62" y="108"/>
                  <a:pt x="65" y="107"/>
                </a:cubicBezTo>
                <a:cubicBezTo>
                  <a:pt x="66" y="106"/>
                  <a:pt x="69" y="106"/>
                  <a:pt x="69" y="105"/>
                </a:cubicBezTo>
                <a:cubicBezTo>
                  <a:pt x="70" y="103"/>
                  <a:pt x="71" y="102"/>
                  <a:pt x="72" y="101"/>
                </a:cubicBezTo>
                <a:cubicBezTo>
                  <a:pt x="75" y="98"/>
                  <a:pt x="78" y="95"/>
                  <a:pt x="81" y="93"/>
                </a:cubicBezTo>
                <a:cubicBezTo>
                  <a:pt x="82" y="92"/>
                  <a:pt x="83" y="90"/>
                  <a:pt x="84" y="89"/>
                </a:cubicBezTo>
                <a:cubicBezTo>
                  <a:pt x="85" y="88"/>
                  <a:pt x="87" y="88"/>
                  <a:pt x="88" y="87"/>
                </a:cubicBezTo>
                <a:cubicBezTo>
                  <a:pt x="89" y="86"/>
                  <a:pt x="90" y="85"/>
                  <a:pt x="91" y="84"/>
                </a:cubicBezTo>
                <a:cubicBezTo>
                  <a:pt x="92" y="83"/>
                  <a:pt x="90" y="82"/>
                  <a:pt x="90" y="81"/>
                </a:cubicBezTo>
                <a:cubicBezTo>
                  <a:pt x="91" y="79"/>
                  <a:pt x="94" y="79"/>
                  <a:pt x="95" y="78"/>
                </a:cubicBezTo>
                <a:cubicBezTo>
                  <a:pt x="96" y="78"/>
                  <a:pt x="98" y="75"/>
                  <a:pt x="98" y="74"/>
                </a:cubicBezTo>
                <a:cubicBezTo>
                  <a:pt x="98" y="76"/>
                  <a:pt x="96" y="76"/>
                  <a:pt x="97" y="78"/>
                </a:cubicBezTo>
                <a:cubicBezTo>
                  <a:pt x="99" y="79"/>
                  <a:pt x="100" y="76"/>
                  <a:pt x="100" y="76"/>
                </a:cubicBezTo>
                <a:cubicBezTo>
                  <a:pt x="101" y="77"/>
                  <a:pt x="100" y="78"/>
                  <a:pt x="101" y="78"/>
                </a:cubicBezTo>
                <a:cubicBezTo>
                  <a:pt x="102" y="75"/>
                  <a:pt x="101" y="72"/>
                  <a:pt x="99" y="69"/>
                </a:cubicBezTo>
                <a:cubicBezTo>
                  <a:pt x="98" y="67"/>
                  <a:pt x="96" y="65"/>
                  <a:pt x="97" y="62"/>
                </a:cubicBezTo>
                <a:cubicBezTo>
                  <a:pt x="98" y="59"/>
                  <a:pt x="103" y="61"/>
                  <a:pt x="100" y="58"/>
                </a:cubicBezTo>
                <a:cubicBezTo>
                  <a:pt x="99" y="57"/>
                  <a:pt x="97" y="56"/>
                  <a:pt x="98" y="54"/>
                </a:cubicBezTo>
                <a:cubicBezTo>
                  <a:pt x="99" y="53"/>
                  <a:pt x="100" y="54"/>
                  <a:pt x="102" y="55"/>
                </a:cubicBezTo>
                <a:cubicBezTo>
                  <a:pt x="103" y="56"/>
                  <a:pt x="104" y="55"/>
                  <a:pt x="104" y="57"/>
                </a:cubicBezTo>
                <a:cubicBezTo>
                  <a:pt x="104" y="58"/>
                  <a:pt x="104" y="59"/>
                  <a:pt x="106" y="60"/>
                </a:cubicBezTo>
                <a:cubicBezTo>
                  <a:pt x="107" y="60"/>
                  <a:pt x="109" y="60"/>
                  <a:pt x="110" y="60"/>
                </a:cubicBezTo>
                <a:cubicBezTo>
                  <a:pt x="111" y="60"/>
                  <a:pt x="113" y="61"/>
                  <a:pt x="114" y="60"/>
                </a:cubicBezTo>
                <a:cubicBezTo>
                  <a:pt x="119" y="59"/>
                  <a:pt x="115" y="65"/>
                  <a:pt x="113" y="66"/>
                </a:cubicBezTo>
                <a:cubicBezTo>
                  <a:pt x="110" y="66"/>
                  <a:pt x="112" y="70"/>
                  <a:pt x="112" y="71"/>
                </a:cubicBezTo>
                <a:cubicBezTo>
                  <a:pt x="113" y="71"/>
                  <a:pt x="115" y="67"/>
                  <a:pt x="115" y="68"/>
                </a:cubicBezTo>
                <a:cubicBezTo>
                  <a:pt x="115" y="71"/>
                  <a:pt x="117" y="74"/>
                  <a:pt x="117" y="7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06" name="Freeform 702">
            <a:extLst>
              <a:ext uri="{FF2B5EF4-FFF2-40B4-BE49-F238E27FC236}">
                <a16:creationId xmlns:a16="http://schemas.microsoft.com/office/drawing/2014/main" id="{3C4F5455-2FC8-6845-A720-F92091E41287}"/>
              </a:ext>
            </a:extLst>
          </p:cNvPr>
          <p:cNvSpPr>
            <a:spLocks/>
          </p:cNvSpPr>
          <p:nvPr/>
        </p:nvSpPr>
        <p:spPr bwMode="auto">
          <a:xfrm>
            <a:off x="8207356" y="4135147"/>
            <a:ext cx="211781" cy="508408"/>
          </a:xfrm>
          <a:custGeom>
            <a:avLst/>
            <a:gdLst>
              <a:gd name="T0" fmla="*/ 37 w 41"/>
              <a:gd name="T1" fmla="*/ 37 h 98"/>
              <a:gd name="T2" fmla="*/ 34 w 41"/>
              <a:gd name="T3" fmla="*/ 35 h 98"/>
              <a:gd name="T4" fmla="*/ 31 w 41"/>
              <a:gd name="T5" fmla="*/ 29 h 98"/>
              <a:gd name="T6" fmla="*/ 32 w 41"/>
              <a:gd name="T7" fmla="*/ 25 h 98"/>
              <a:gd name="T8" fmla="*/ 25 w 41"/>
              <a:gd name="T9" fmla="*/ 22 h 98"/>
              <a:gd name="T10" fmla="*/ 30 w 41"/>
              <a:gd name="T11" fmla="*/ 10 h 98"/>
              <a:gd name="T12" fmla="*/ 28 w 41"/>
              <a:gd name="T13" fmla="*/ 6 h 98"/>
              <a:gd name="T14" fmla="*/ 23 w 41"/>
              <a:gd name="T15" fmla="*/ 2 h 98"/>
              <a:gd name="T16" fmla="*/ 22 w 41"/>
              <a:gd name="T17" fmla="*/ 9 h 98"/>
              <a:gd name="T18" fmla="*/ 18 w 41"/>
              <a:gd name="T19" fmla="*/ 9 h 98"/>
              <a:gd name="T20" fmla="*/ 13 w 41"/>
              <a:gd name="T21" fmla="*/ 15 h 98"/>
              <a:gd name="T22" fmla="*/ 11 w 41"/>
              <a:gd name="T23" fmla="*/ 21 h 98"/>
              <a:gd name="T24" fmla="*/ 6 w 41"/>
              <a:gd name="T25" fmla="*/ 25 h 98"/>
              <a:gd name="T26" fmla="*/ 2 w 41"/>
              <a:gd name="T27" fmla="*/ 35 h 98"/>
              <a:gd name="T28" fmla="*/ 0 w 41"/>
              <a:gd name="T29" fmla="*/ 40 h 98"/>
              <a:gd name="T30" fmla="*/ 4 w 41"/>
              <a:gd name="T31" fmla="*/ 44 h 98"/>
              <a:gd name="T32" fmla="*/ 7 w 41"/>
              <a:gd name="T33" fmla="*/ 52 h 98"/>
              <a:gd name="T34" fmla="*/ 11 w 41"/>
              <a:gd name="T35" fmla="*/ 58 h 98"/>
              <a:gd name="T36" fmla="*/ 11 w 41"/>
              <a:gd name="T37" fmla="*/ 64 h 98"/>
              <a:gd name="T38" fmla="*/ 12 w 41"/>
              <a:gd name="T39" fmla="*/ 66 h 98"/>
              <a:gd name="T40" fmla="*/ 14 w 41"/>
              <a:gd name="T41" fmla="*/ 66 h 98"/>
              <a:gd name="T42" fmla="*/ 17 w 41"/>
              <a:gd name="T43" fmla="*/ 65 h 98"/>
              <a:gd name="T44" fmla="*/ 22 w 41"/>
              <a:gd name="T45" fmla="*/ 64 h 98"/>
              <a:gd name="T46" fmla="*/ 25 w 41"/>
              <a:gd name="T47" fmla="*/ 72 h 98"/>
              <a:gd name="T48" fmla="*/ 29 w 41"/>
              <a:gd name="T49" fmla="*/ 80 h 98"/>
              <a:gd name="T50" fmla="*/ 30 w 41"/>
              <a:gd name="T51" fmla="*/ 85 h 98"/>
              <a:gd name="T52" fmla="*/ 29 w 41"/>
              <a:gd name="T53" fmla="*/ 88 h 98"/>
              <a:gd name="T54" fmla="*/ 29 w 41"/>
              <a:gd name="T55" fmla="*/ 98 h 98"/>
              <a:gd name="T56" fmla="*/ 34 w 41"/>
              <a:gd name="T57" fmla="*/ 85 h 98"/>
              <a:gd name="T58" fmla="*/ 28 w 41"/>
              <a:gd name="T59" fmla="*/ 71 h 98"/>
              <a:gd name="T60" fmla="*/ 30 w 41"/>
              <a:gd name="T61" fmla="*/ 65 h 98"/>
              <a:gd name="T62" fmla="*/ 26 w 41"/>
              <a:gd name="T63" fmla="*/ 49 h 98"/>
              <a:gd name="T64" fmla="*/ 34 w 41"/>
              <a:gd name="T65" fmla="*/ 44 h 98"/>
              <a:gd name="T66" fmla="*/ 41 w 41"/>
              <a:gd name="T67" fmla="*/ 38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1" h="98">
                <a:moveTo>
                  <a:pt x="39" y="38"/>
                </a:moveTo>
                <a:cubicBezTo>
                  <a:pt x="38" y="38"/>
                  <a:pt x="37" y="39"/>
                  <a:pt x="37" y="37"/>
                </a:cubicBezTo>
                <a:cubicBezTo>
                  <a:pt x="37" y="37"/>
                  <a:pt x="37" y="36"/>
                  <a:pt x="37" y="36"/>
                </a:cubicBezTo>
                <a:cubicBezTo>
                  <a:pt x="37" y="35"/>
                  <a:pt x="34" y="35"/>
                  <a:pt x="34" y="35"/>
                </a:cubicBezTo>
                <a:cubicBezTo>
                  <a:pt x="33" y="34"/>
                  <a:pt x="34" y="32"/>
                  <a:pt x="34" y="31"/>
                </a:cubicBezTo>
                <a:cubicBezTo>
                  <a:pt x="35" y="29"/>
                  <a:pt x="32" y="30"/>
                  <a:pt x="31" y="29"/>
                </a:cubicBezTo>
                <a:cubicBezTo>
                  <a:pt x="31" y="28"/>
                  <a:pt x="30" y="28"/>
                  <a:pt x="30" y="27"/>
                </a:cubicBezTo>
                <a:cubicBezTo>
                  <a:pt x="30" y="26"/>
                  <a:pt x="32" y="25"/>
                  <a:pt x="32" y="25"/>
                </a:cubicBezTo>
                <a:cubicBezTo>
                  <a:pt x="31" y="23"/>
                  <a:pt x="25" y="26"/>
                  <a:pt x="24" y="25"/>
                </a:cubicBezTo>
                <a:cubicBezTo>
                  <a:pt x="24" y="25"/>
                  <a:pt x="25" y="23"/>
                  <a:pt x="25" y="22"/>
                </a:cubicBezTo>
                <a:cubicBezTo>
                  <a:pt x="24" y="21"/>
                  <a:pt x="27" y="19"/>
                  <a:pt x="27" y="18"/>
                </a:cubicBezTo>
                <a:cubicBezTo>
                  <a:pt x="29" y="15"/>
                  <a:pt x="31" y="13"/>
                  <a:pt x="30" y="10"/>
                </a:cubicBezTo>
                <a:cubicBezTo>
                  <a:pt x="30" y="9"/>
                  <a:pt x="31" y="8"/>
                  <a:pt x="31" y="7"/>
                </a:cubicBezTo>
                <a:cubicBezTo>
                  <a:pt x="31" y="5"/>
                  <a:pt x="29" y="7"/>
                  <a:pt x="28" y="6"/>
                </a:cubicBezTo>
                <a:cubicBezTo>
                  <a:pt x="28" y="4"/>
                  <a:pt x="27" y="3"/>
                  <a:pt x="27" y="2"/>
                </a:cubicBezTo>
                <a:cubicBezTo>
                  <a:pt x="25" y="0"/>
                  <a:pt x="25" y="3"/>
                  <a:pt x="23" y="2"/>
                </a:cubicBezTo>
                <a:cubicBezTo>
                  <a:pt x="24" y="4"/>
                  <a:pt x="22" y="4"/>
                  <a:pt x="22" y="5"/>
                </a:cubicBezTo>
                <a:cubicBezTo>
                  <a:pt x="22" y="5"/>
                  <a:pt x="22" y="9"/>
                  <a:pt x="22" y="9"/>
                </a:cubicBezTo>
                <a:cubicBezTo>
                  <a:pt x="21" y="9"/>
                  <a:pt x="21" y="7"/>
                  <a:pt x="21" y="7"/>
                </a:cubicBezTo>
                <a:cubicBezTo>
                  <a:pt x="19" y="7"/>
                  <a:pt x="18" y="8"/>
                  <a:pt x="18" y="9"/>
                </a:cubicBezTo>
                <a:cubicBezTo>
                  <a:pt x="17" y="10"/>
                  <a:pt x="15" y="10"/>
                  <a:pt x="14" y="11"/>
                </a:cubicBezTo>
                <a:cubicBezTo>
                  <a:pt x="13" y="12"/>
                  <a:pt x="14" y="14"/>
                  <a:pt x="13" y="15"/>
                </a:cubicBezTo>
                <a:cubicBezTo>
                  <a:pt x="13" y="16"/>
                  <a:pt x="12" y="17"/>
                  <a:pt x="11" y="18"/>
                </a:cubicBezTo>
                <a:cubicBezTo>
                  <a:pt x="11" y="19"/>
                  <a:pt x="11" y="20"/>
                  <a:pt x="11" y="21"/>
                </a:cubicBezTo>
                <a:cubicBezTo>
                  <a:pt x="11" y="23"/>
                  <a:pt x="10" y="25"/>
                  <a:pt x="9" y="25"/>
                </a:cubicBezTo>
                <a:cubicBezTo>
                  <a:pt x="8" y="25"/>
                  <a:pt x="7" y="25"/>
                  <a:pt x="6" y="25"/>
                </a:cubicBezTo>
                <a:cubicBezTo>
                  <a:pt x="5" y="27"/>
                  <a:pt x="6" y="35"/>
                  <a:pt x="4" y="35"/>
                </a:cubicBezTo>
                <a:cubicBezTo>
                  <a:pt x="4" y="35"/>
                  <a:pt x="2" y="35"/>
                  <a:pt x="2" y="35"/>
                </a:cubicBezTo>
                <a:cubicBezTo>
                  <a:pt x="2" y="36"/>
                  <a:pt x="2" y="37"/>
                  <a:pt x="2" y="37"/>
                </a:cubicBezTo>
                <a:cubicBezTo>
                  <a:pt x="2" y="38"/>
                  <a:pt x="1" y="39"/>
                  <a:pt x="0" y="40"/>
                </a:cubicBezTo>
                <a:cubicBezTo>
                  <a:pt x="0" y="41"/>
                  <a:pt x="4" y="46"/>
                  <a:pt x="5" y="47"/>
                </a:cubicBezTo>
                <a:cubicBezTo>
                  <a:pt x="5" y="47"/>
                  <a:pt x="4" y="44"/>
                  <a:pt x="4" y="44"/>
                </a:cubicBezTo>
                <a:cubicBezTo>
                  <a:pt x="4" y="44"/>
                  <a:pt x="7" y="48"/>
                  <a:pt x="7" y="48"/>
                </a:cubicBezTo>
                <a:cubicBezTo>
                  <a:pt x="8" y="50"/>
                  <a:pt x="6" y="50"/>
                  <a:pt x="7" y="52"/>
                </a:cubicBezTo>
                <a:cubicBezTo>
                  <a:pt x="6" y="51"/>
                  <a:pt x="8" y="51"/>
                  <a:pt x="9" y="52"/>
                </a:cubicBezTo>
                <a:cubicBezTo>
                  <a:pt x="10" y="54"/>
                  <a:pt x="11" y="56"/>
                  <a:pt x="11" y="58"/>
                </a:cubicBezTo>
                <a:cubicBezTo>
                  <a:pt x="11" y="58"/>
                  <a:pt x="10" y="67"/>
                  <a:pt x="10" y="67"/>
                </a:cubicBezTo>
                <a:cubicBezTo>
                  <a:pt x="11" y="67"/>
                  <a:pt x="11" y="64"/>
                  <a:pt x="11" y="64"/>
                </a:cubicBezTo>
                <a:cubicBezTo>
                  <a:pt x="11" y="64"/>
                  <a:pt x="11" y="67"/>
                  <a:pt x="11" y="67"/>
                </a:cubicBezTo>
                <a:cubicBezTo>
                  <a:pt x="11" y="67"/>
                  <a:pt x="12" y="66"/>
                  <a:pt x="12" y="66"/>
                </a:cubicBezTo>
                <a:cubicBezTo>
                  <a:pt x="12" y="66"/>
                  <a:pt x="12" y="68"/>
                  <a:pt x="12" y="68"/>
                </a:cubicBezTo>
                <a:cubicBezTo>
                  <a:pt x="13" y="68"/>
                  <a:pt x="13" y="66"/>
                  <a:pt x="14" y="66"/>
                </a:cubicBezTo>
                <a:cubicBezTo>
                  <a:pt x="14" y="66"/>
                  <a:pt x="14" y="67"/>
                  <a:pt x="14" y="67"/>
                </a:cubicBezTo>
                <a:cubicBezTo>
                  <a:pt x="14" y="67"/>
                  <a:pt x="17" y="66"/>
                  <a:pt x="17" y="65"/>
                </a:cubicBezTo>
                <a:cubicBezTo>
                  <a:pt x="18" y="65"/>
                  <a:pt x="23" y="62"/>
                  <a:pt x="21" y="61"/>
                </a:cubicBezTo>
                <a:cubicBezTo>
                  <a:pt x="22" y="61"/>
                  <a:pt x="21" y="63"/>
                  <a:pt x="22" y="64"/>
                </a:cubicBezTo>
                <a:cubicBezTo>
                  <a:pt x="23" y="64"/>
                  <a:pt x="24" y="64"/>
                  <a:pt x="24" y="65"/>
                </a:cubicBezTo>
                <a:cubicBezTo>
                  <a:pt x="25" y="67"/>
                  <a:pt x="25" y="70"/>
                  <a:pt x="25" y="72"/>
                </a:cubicBezTo>
                <a:cubicBezTo>
                  <a:pt x="26" y="75"/>
                  <a:pt x="26" y="77"/>
                  <a:pt x="28" y="79"/>
                </a:cubicBezTo>
                <a:cubicBezTo>
                  <a:pt x="28" y="79"/>
                  <a:pt x="29" y="80"/>
                  <a:pt x="29" y="80"/>
                </a:cubicBezTo>
                <a:cubicBezTo>
                  <a:pt x="29" y="82"/>
                  <a:pt x="30" y="82"/>
                  <a:pt x="30" y="82"/>
                </a:cubicBezTo>
                <a:cubicBezTo>
                  <a:pt x="31" y="83"/>
                  <a:pt x="29" y="85"/>
                  <a:pt x="30" y="85"/>
                </a:cubicBezTo>
                <a:cubicBezTo>
                  <a:pt x="30" y="85"/>
                  <a:pt x="30" y="85"/>
                  <a:pt x="31" y="85"/>
                </a:cubicBezTo>
                <a:cubicBezTo>
                  <a:pt x="31" y="86"/>
                  <a:pt x="29" y="87"/>
                  <a:pt x="29" y="88"/>
                </a:cubicBezTo>
                <a:cubicBezTo>
                  <a:pt x="29" y="90"/>
                  <a:pt x="30" y="88"/>
                  <a:pt x="31" y="89"/>
                </a:cubicBezTo>
                <a:cubicBezTo>
                  <a:pt x="31" y="89"/>
                  <a:pt x="29" y="97"/>
                  <a:pt x="29" y="98"/>
                </a:cubicBezTo>
                <a:cubicBezTo>
                  <a:pt x="31" y="96"/>
                  <a:pt x="32" y="92"/>
                  <a:pt x="33" y="90"/>
                </a:cubicBezTo>
                <a:cubicBezTo>
                  <a:pt x="34" y="88"/>
                  <a:pt x="35" y="87"/>
                  <a:pt x="34" y="85"/>
                </a:cubicBezTo>
                <a:cubicBezTo>
                  <a:pt x="33" y="83"/>
                  <a:pt x="33" y="82"/>
                  <a:pt x="33" y="80"/>
                </a:cubicBezTo>
                <a:cubicBezTo>
                  <a:pt x="32" y="78"/>
                  <a:pt x="27" y="74"/>
                  <a:pt x="28" y="71"/>
                </a:cubicBezTo>
                <a:cubicBezTo>
                  <a:pt x="28" y="71"/>
                  <a:pt x="30" y="70"/>
                  <a:pt x="30" y="69"/>
                </a:cubicBezTo>
                <a:cubicBezTo>
                  <a:pt x="29" y="67"/>
                  <a:pt x="30" y="67"/>
                  <a:pt x="30" y="65"/>
                </a:cubicBezTo>
                <a:cubicBezTo>
                  <a:pt x="31" y="62"/>
                  <a:pt x="27" y="60"/>
                  <a:pt x="26" y="58"/>
                </a:cubicBezTo>
                <a:cubicBezTo>
                  <a:pt x="23" y="56"/>
                  <a:pt x="25" y="52"/>
                  <a:pt x="26" y="49"/>
                </a:cubicBezTo>
                <a:cubicBezTo>
                  <a:pt x="26" y="47"/>
                  <a:pt x="27" y="47"/>
                  <a:pt x="29" y="47"/>
                </a:cubicBezTo>
                <a:cubicBezTo>
                  <a:pt x="31" y="47"/>
                  <a:pt x="33" y="45"/>
                  <a:pt x="34" y="44"/>
                </a:cubicBezTo>
                <a:cubicBezTo>
                  <a:pt x="36" y="43"/>
                  <a:pt x="37" y="44"/>
                  <a:pt x="39" y="42"/>
                </a:cubicBezTo>
                <a:cubicBezTo>
                  <a:pt x="40" y="40"/>
                  <a:pt x="41" y="39"/>
                  <a:pt x="41" y="38"/>
                </a:cubicBezTo>
                <a:cubicBezTo>
                  <a:pt x="41" y="38"/>
                  <a:pt x="40" y="38"/>
                  <a:pt x="39" y="3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07" name="Freeform 703">
            <a:extLst>
              <a:ext uri="{FF2B5EF4-FFF2-40B4-BE49-F238E27FC236}">
                <a16:creationId xmlns:a16="http://schemas.microsoft.com/office/drawing/2014/main" id="{491823B7-5A54-734F-B02C-6024841E3D18}"/>
              </a:ext>
            </a:extLst>
          </p:cNvPr>
          <p:cNvSpPr>
            <a:spLocks/>
          </p:cNvSpPr>
          <p:nvPr/>
        </p:nvSpPr>
        <p:spPr bwMode="auto">
          <a:xfrm>
            <a:off x="8108525" y="4196932"/>
            <a:ext cx="118246" cy="144755"/>
          </a:xfrm>
          <a:custGeom>
            <a:avLst/>
            <a:gdLst>
              <a:gd name="T0" fmla="*/ 21 w 23"/>
              <a:gd name="T1" fmla="*/ 26 h 28"/>
              <a:gd name="T2" fmla="*/ 20 w 23"/>
              <a:gd name="T3" fmla="*/ 17 h 28"/>
              <a:gd name="T4" fmla="*/ 18 w 23"/>
              <a:gd name="T5" fmla="*/ 16 h 28"/>
              <a:gd name="T6" fmla="*/ 16 w 23"/>
              <a:gd name="T7" fmla="*/ 18 h 28"/>
              <a:gd name="T8" fmla="*/ 17 w 23"/>
              <a:gd name="T9" fmla="*/ 13 h 28"/>
              <a:gd name="T10" fmla="*/ 18 w 23"/>
              <a:gd name="T11" fmla="*/ 7 h 28"/>
              <a:gd name="T12" fmla="*/ 14 w 23"/>
              <a:gd name="T13" fmla="*/ 7 h 28"/>
              <a:gd name="T14" fmla="*/ 10 w 23"/>
              <a:gd name="T15" fmla="*/ 7 h 28"/>
              <a:gd name="T16" fmla="*/ 8 w 23"/>
              <a:gd name="T17" fmla="*/ 4 h 28"/>
              <a:gd name="T18" fmla="*/ 6 w 23"/>
              <a:gd name="T19" fmla="*/ 2 h 28"/>
              <a:gd name="T20" fmla="*/ 2 w 23"/>
              <a:gd name="T21" fmla="*/ 1 h 28"/>
              <a:gd name="T22" fmla="*/ 4 w 23"/>
              <a:gd name="T23" fmla="*/ 5 h 28"/>
              <a:gd name="T24" fmla="*/ 1 w 23"/>
              <a:gd name="T25" fmla="*/ 9 h 28"/>
              <a:gd name="T26" fmla="*/ 3 w 23"/>
              <a:gd name="T27" fmla="*/ 16 h 28"/>
              <a:gd name="T28" fmla="*/ 5 w 23"/>
              <a:gd name="T29" fmla="*/ 25 h 28"/>
              <a:gd name="T30" fmla="*/ 6 w 23"/>
              <a:gd name="T31" fmla="*/ 22 h 28"/>
              <a:gd name="T32" fmla="*/ 7 w 23"/>
              <a:gd name="T33" fmla="*/ 24 h 28"/>
              <a:gd name="T34" fmla="*/ 7 w 23"/>
              <a:gd name="T35" fmla="*/ 23 h 28"/>
              <a:gd name="T36" fmla="*/ 8 w 23"/>
              <a:gd name="T37" fmla="*/ 21 h 28"/>
              <a:gd name="T38" fmla="*/ 13 w 23"/>
              <a:gd name="T39" fmla="*/ 22 h 28"/>
              <a:gd name="T40" fmla="*/ 11 w 23"/>
              <a:gd name="T41" fmla="*/ 16 h 28"/>
              <a:gd name="T42" fmla="*/ 13 w 23"/>
              <a:gd name="T43" fmla="*/ 19 h 28"/>
              <a:gd name="T44" fmla="*/ 17 w 23"/>
              <a:gd name="T45" fmla="*/ 20 h 28"/>
              <a:gd name="T46" fmla="*/ 18 w 23"/>
              <a:gd name="T47" fmla="*/ 22 h 28"/>
              <a:gd name="T48" fmla="*/ 19 w 23"/>
              <a:gd name="T49" fmla="*/ 28 h 28"/>
              <a:gd name="T50" fmla="*/ 21 w 23"/>
              <a:gd name="T51" fmla="*/ 26 h 28"/>
              <a:gd name="T52" fmla="*/ 21 w 23"/>
              <a:gd name="T53" fmla="*/ 26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3" h="28">
                <a:moveTo>
                  <a:pt x="21" y="26"/>
                </a:moveTo>
                <a:cubicBezTo>
                  <a:pt x="22" y="24"/>
                  <a:pt x="20" y="19"/>
                  <a:pt x="20" y="17"/>
                </a:cubicBezTo>
                <a:cubicBezTo>
                  <a:pt x="20" y="17"/>
                  <a:pt x="19" y="13"/>
                  <a:pt x="18" y="16"/>
                </a:cubicBezTo>
                <a:cubicBezTo>
                  <a:pt x="18" y="16"/>
                  <a:pt x="17" y="17"/>
                  <a:pt x="16" y="18"/>
                </a:cubicBezTo>
                <a:cubicBezTo>
                  <a:pt x="16" y="17"/>
                  <a:pt x="14" y="13"/>
                  <a:pt x="17" y="13"/>
                </a:cubicBezTo>
                <a:cubicBezTo>
                  <a:pt x="19" y="12"/>
                  <a:pt x="23" y="6"/>
                  <a:pt x="18" y="7"/>
                </a:cubicBezTo>
                <a:cubicBezTo>
                  <a:pt x="17" y="8"/>
                  <a:pt x="15" y="7"/>
                  <a:pt x="14" y="7"/>
                </a:cubicBezTo>
                <a:cubicBezTo>
                  <a:pt x="13" y="7"/>
                  <a:pt x="11" y="7"/>
                  <a:pt x="10" y="7"/>
                </a:cubicBezTo>
                <a:cubicBezTo>
                  <a:pt x="8" y="6"/>
                  <a:pt x="8" y="5"/>
                  <a:pt x="8" y="4"/>
                </a:cubicBezTo>
                <a:cubicBezTo>
                  <a:pt x="8" y="2"/>
                  <a:pt x="7" y="3"/>
                  <a:pt x="6" y="2"/>
                </a:cubicBezTo>
                <a:cubicBezTo>
                  <a:pt x="4" y="1"/>
                  <a:pt x="3" y="0"/>
                  <a:pt x="2" y="1"/>
                </a:cubicBezTo>
                <a:cubicBezTo>
                  <a:pt x="1" y="3"/>
                  <a:pt x="3" y="4"/>
                  <a:pt x="4" y="5"/>
                </a:cubicBezTo>
                <a:cubicBezTo>
                  <a:pt x="7" y="8"/>
                  <a:pt x="2" y="6"/>
                  <a:pt x="1" y="9"/>
                </a:cubicBezTo>
                <a:cubicBezTo>
                  <a:pt x="0" y="12"/>
                  <a:pt x="2" y="14"/>
                  <a:pt x="3" y="16"/>
                </a:cubicBezTo>
                <a:cubicBezTo>
                  <a:pt x="5" y="19"/>
                  <a:pt x="6" y="22"/>
                  <a:pt x="5" y="25"/>
                </a:cubicBezTo>
                <a:cubicBezTo>
                  <a:pt x="6" y="26"/>
                  <a:pt x="6" y="23"/>
                  <a:pt x="6" y="22"/>
                </a:cubicBezTo>
                <a:cubicBezTo>
                  <a:pt x="6" y="23"/>
                  <a:pt x="6" y="24"/>
                  <a:pt x="7" y="24"/>
                </a:cubicBezTo>
                <a:cubicBezTo>
                  <a:pt x="7" y="24"/>
                  <a:pt x="7" y="23"/>
                  <a:pt x="7" y="23"/>
                </a:cubicBezTo>
                <a:cubicBezTo>
                  <a:pt x="8" y="26"/>
                  <a:pt x="8" y="23"/>
                  <a:pt x="8" y="21"/>
                </a:cubicBezTo>
                <a:cubicBezTo>
                  <a:pt x="8" y="22"/>
                  <a:pt x="12" y="25"/>
                  <a:pt x="13" y="22"/>
                </a:cubicBezTo>
                <a:cubicBezTo>
                  <a:pt x="13" y="21"/>
                  <a:pt x="12" y="16"/>
                  <a:pt x="11" y="16"/>
                </a:cubicBezTo>
                <a:cubicBezTo>
                  <a:pt x="12" y="16"/>
                  <a:pt x="13" y="18"/>
                  <a:pt x="13" y="19"/>
                </a:cubicBezTo>
                <a:cubicBezTo>
                  <a:pt x="14" y="20"/>
                  <a:pt x="17" y="18"/>
                  <a:pt x="17" y="20"/>
                </a:cubicBezTo>
                <a:cubicBezTo>
                  <a:pt x="17" y="21"/>
                  <a:pt x="18" y="20"/>
                  <a:pt x="18" y="22"/>
                </a:cubicBezTo>
                <a:cubicBezTo>
                  <a:pt x="18" y="24"/>
                  <a:pt x="18" y="26"/>
                  <a:pt x="19" y="28"/>
                </a:cubicBezTo>
                <a:cubicBezTo>
                  <a:pt x="20" y="27"/>
                  <a:pt x="20" y="27"/>
                  <a:pt x="21" y="26"/>
                </a:cubicBezTo>
                <a:cubicBezTo>
                  <a:pt x="22" y="25"/>
                  <a:pt x="20" y="27"/>
                  <a:pt x="21" y="2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08" name="Freeform 704">
            <a:extLst>
              <a:ext uri="{FF2B5EF4-FFF2-40B4-BE49-F238E27FC236}">
                <a16:creationId xmlns:a16="http://schemas.microsoft.com/office/drawing/2014/main" id="{DFA541E2-DCBB-0D44-B9F1-59700DA1B1EE}"/>
              </a:ext>
            </a:extLst>
          </p:cNvPr>
          <p:cNvSpPr>
            <a:spLocks/>
          </p:cNvSpPr>
          <p:nvPr/>
        </p:nvSpPr>
        <p:spPr bwMode="auto">
          <a:xfrm>
            <a:off x="8330895" y="4357575"/>
            <a:ext cx="217077" cy="398959"/>
          </a:xfrm>
          <a:custGeom>
            <a:avLst/>
            <a:gdLst>
              <a:gd name="T0" fmla="*/ 40 w 42"/>
              <a:gd name="T1" fmla="*/ 30 h 77"/>
              <a:gd name="T2" fmla="*/ 41 w 42"/>
              <a:gd name="T3" fmla="*/ 27 h 77"/>
              <a:gd name="T4" fmla="*/ 39 w 42"/>
              <a:gd name="T5" fmla="*/ 24 h 77"/>
              <a:gd name="T6" fmla="*/ 36 w 42"/>
              <a:gd name="T7" fmla="*/ 20 h 77"/>
              <a:gd name="T8" fmla="*/ 35 w 42"/>
              <a:gd name="T9" fmla="*/ 15 h 77"/>
              <a:gd name="T10" fmla="*/ 30 w 42"/>
              <a:gd name="T11" fmla="*/ 12 h 77"/>
              <a:gd name="T12" fmla="*/ 25 w 42"/>
              <a:gd name="T13" fmla="*/ 14 h 77"/>
              <a:gd name="T14" fmla="*/ 21 w 42"/>
              <a:gd name="T15" fmla="*/ 14 h 77"/>
              <a:gd name="T16" fmla="*/ 17 w 42"/>
              <a:gd name="T17" fmla="*/ 16 h 77"/>
              <a:gd name="T18" fmla="*/ 19 w 42"/>
              <a:gd name="T19" fmla="*/ 12 h 77"/>
              <a:gd name="T20" fmla="*/ 19 w 42"/>
              <a:gd name="T21" fmla="*/ 9 h 77"/>
              <a:gd name="T22" fmla="*/ 18 w 42"/>
              <a:gd name="T23" fmla="*/ 5 h 77"/>
              <a:gd name="T24" fmla="*/ 15 w 42"/>
              <a:gd name="T25" fmla="*/ 4 h 77"/>
              <a:gd name="T26" fmla="*/ 9 w 42"/>
              <a:gd name="T27" fmla="*/ 1 h 77"/>
              <a:gd name="T28" fmla="*/ 4 w 42"/>
              <a:gd name="T29" fmla="*/ 4 h 77"/>
              <a:gd name="T30" fmla="*/ 1 w 42"/>
              <a:gd name="T31" fmla="*/ 8 h 77"/>
              <a:gd name="T32" fmla="*/ 0 w 42"/>
              <a:gd name="T33" fmla="*/ 13 h 77"/>
              <a:gd name="T34" fmla="*/ 3 w 42"/>
              <a:gd name="T35" fmla="*/ 16 h 77"/>
              <a:gd name="T36" fmla="*/ 6 w 42"/>
              <a:gd name="T37" fmla="*/ 20 h 77"/>
              <a:gd name="T38" fmla="*/ 5 w 42"/>
              <a:gd name="T39" fmla="*/ 24 h 77"/>
              <a:gd name="T40" fmla="*/ 5 w 42"/>
              <a:gd name="T41" fmla="*/ 27 h 77"/>
              <a:gd name="T42" fmla="*/ 4 w 42"/>
              <a:gd name="T43" fmla="*/ 28 h 77"/>
              <a:gd name="T44" fmla="*/ 6 w 42"/>
              <a:gd name="T45" fmla="*/ 33 h 77"/>
              <a:gd name="T46" fmla="*/ 9 w 42"/>
              <a:gd name="T47" fmla="*/ 37 h 77"/>
              <a:gd name="T48" fmla="*/ 10 w 42"/>
              <a:gd name="T49" fmla="*/ 42 h 77"/>
              <a:gd name="T50" fmla="*/ 6 w 42"/>
              <a:gd name="T51" fmla="*/ 52 h 77"/>
              <a:gd name="T52" fmla="*/ 5 w 42"/>
              <a:gd name="T53" fmla="*/ 55 h 77"/>
              <a:gd name="T54" fmla="*/ 4 w 42"/>
              <a:gd name="T55" fmla="*/ 58 h 77"/>
              <a:gd name="T56" fmla="*/ 5 w 42"/>
              <a:gd name="T57" fmla="*/ 62 h 77"/>
              <a:gd name="T58" fmla="*/ 11 w 42"/>
              <a:gd name="T59" fmla="*/ 69 h 77"/>
              <a:gd name="T60" fmla="*/ 13 w 42"/>
              <a:gd name="T61" fmla="*/ 72 h 77"/>
              <a:gd name="T62" fmla="*/ 16 w 42"/>
              <a:gd name="T63" fmla="*/ 72 h 77"/>
              <a:gd name="T64" fmla="*/ 18 w 42"/>
              <a:gd name="T65" fmla="*/ 74 h 77"/>
              <a:gd name="T66" fmla="*/ 19 w 42"/>
              <a:gd name="T67" fmla="*/ 76 h 77"/>
              <a:gd name="T68" fmla="*/ 21 w 42"/>
              <a:gd name="T69" fmla="*/ 76 h 77"/>
              <a:gd name="T70" fmla="*/ 23 w 42"/>
              <a:gd name="T71" fmla="*/ 74 h 77"/>
              <a:gd name="T72" fmla="*/ 16 w 42"/>
              <a:gd name="T73" fmla="*/ 69 h 77"/>
              <a:gd name="T74" fmla="*/ 13 w 42"/>
              <a:gd name="T75" fmla="*/ 67 h 77"/>
              <a:gd name="T76" fmla="*/ 15 w 42"/>
              <a:gd name="T77" fmla="*/ 67 h 77"/>
              <a:gd name="T78" fmla="*/ 12 w 42"/>
              <a:gd name="T79" fmla="*/ 60 h 77"/>
              <a:gd name="T80" fmla="*/ 11 w 42"/>
              <a:gd name="T81" fmla="*/ 58 h 77"/>
              <a:gd name="T82" fmla="*/ 9 w 42"/>
              <a:gd name="T83" fmla="*/ 56 h 77"/>
              <a:gd name="T84" fmla="*/ 11 w 42"/>
              <a:gd name="T85" fmla="*/ 48 h 77"/>
              <a:gd name="T86" fmla="*/ 13 w 42"/>
              <a:gd name="T87" fmla="*/ 43 h 77"/>
              <a:gd name="T88" fmla="*/ 14 w 42"/>
              <a:gd name="T89" fmla="*/ 36 h 77"/>
              <a:gd name="T90" fmla="*/ 17 w 42"/>
              <a:gd name="T91" fmla="*/ 40 h 77"/>
              <a:gd name="T92" fmla="*/ 22 w 42"/>
              <a:gd name="T93" fmla="*/ 41 h 77"/>
              <a:gd name="T94" fmla="*/ 27 w 42"/>
              <a:gd name="T95" fmla="*/ 44 h 77"/>
              <a:gd name="T96" fmla="*/ 24 w 42"/>
              <a:gd name="T97" fmla="*/ 38 h 77"/>
              <a:gd name="T98" fmla="*/ 28 w 42"/>
              <a:gd name="T99" fmla="*/ 33 h 77"/>
              <a:gd name="T100" fmla="*/ 34 w 42"/>
              <a:gd name="T101" fmla="*/ 32 h 77"/>
              <a:gd name="T102" fmla="*/ 38 w 42"/>
              <a:gd name="T103" fmla="*/ 33 h 77"/>
              <a:gd name="T104" fmla="*/ 40 w 42"/>
              <a:gd name="T105" fmla="*/ 30 h 77"/>
              <a:gd name="T106" fmla="*/ 40 w 42"/>
              <a:gd name="T107" fmla="*/ 30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2" h="77">
                <a:moveTo>
                  <a:pt x="40" y="30"/>
                </a:moveTo>
                <a:cubicBezTo>
                  <a:pt x="41" y="30"/>
                  <a:pt x="40" y="28"/>
                  <a:pt x="41" y="27"/>
                </a:cubicBezTo>
                <a:cubicBezTo>
                  <a:pt x="42" y="26"/>
                  <a:pt x="40" y="24"/>
                  <a:pt x="39" y="24"/>
                </a:cubicBezTo>
                <a:cubicBezTo>
                  <a:pt x="38" y="23"/>
                  <a:pt x="36" y="22"/>
                  <a:pt x="36" y="20"/>
                </a:cubicBezTo>
                <a:cubicBezTo>
                  <a:pt x="36" y="18"/>
                  <a:pt x="37" y="17"/>
                  <a:pt x="35" y="15"/>
                </a:cubicBezTo>
                <a:cubicBezTo>
                  <a:pt x="34" y="14"/>
                  <a:pt x="32" y="12"/>
                  <a:pt x="30" y="12"/>
                </a:cubicBezTo>
                <a:cubicBezTo>
                  <a:pt x="28" y="12"/>
                  <a:pt x="27" y="14"/>
                  <a:pt x="25" y="14"/>
                </a:cubicBezTo>
                <a:cubicBezTo>
                  <a:pt x="23" y="13"/>
                  <a:pt x="23" y="13"/>
                  <a:pt x="21" y="14"/>
                </a:cubicBezTo>
                <a:cubicBezTo>
                  <a:pt x="21" y="14"/>
                  <a:pt x="18" y="17"/>
                  <a:pt x="17" y="16"/>
                </a:cubicBezTo>
                <a:cubicBezTo>
                  <a:pt x="17" y="15"/>
                  <a:pt x="20" y="13"/>
                  <a:pt x="19" y="12"/>
                </a:cubicBezTo>
                <a:cubicBezTo>
                  <a:pt x="17" y="11"/>
                  <a:pt x="19" y="10"/>
                  <a:pt x="19" y="9"/>
                </a:cubicBezTo>
                <a:cubicBezTo>
                  <a:pt x="19" y="8"/>
                  <a:pt x="19" y="5"/>
                  <a:pt x="18" y="5"/>
                </a:cubicBezTo>
                <a:cubicBezTo>
                  <a:pt x="16" y="6"/>
                  <a:pt x="14" y="6"/>
                  <a:pt x="15" y="4"/>
                </a:cubicBezTo>
                <a:cubicBezTo>
                  <a:pt x="16" y="0"/>
                  <a:pt x="11" y="0"/>
                  <a:pt x="9" y="1"/>
                </a:cubicBezTo>
                <a:cubicBezTo>
                  <a:pt x="8" y="3"/>
                  <a:pt x="6" y="4"/>
                  <a:pt x="4" y="4"/>
                </a:cubicBezTo>
                <a:cubicBezTo>
                  <a:pt x="2" y="4"/>
                  <a:pt x="1" y="7"/>
                  <a:pt x="1" y="8"/>
                </a:cubicBezTo>
                <a:cubicBezTo>
                  <a:pt x="1" y="10"/>
                  <a:pt x="0" y="11"/>
                  <a:pt x="0" y="13"/>
                </a:cubicBezTo>
                <a:cubicBezTo>
                  <a:pt x="0" y="15"/>
                  <a:pt x="1" y="15"/>
                  <a:pt x="3" y="16"/>
                </a:cubicBezTo>
                <a:cubicBezTo>
                  <a:pt x="4" y="18"/>
                  <a:pt x="5" y="19"/>
                  <a:pt x="6" y="20"/>
                </a:cubicBezTo>
                <a:cubicBezTo>
                  <a:pt x="7" y="22"/>
                  <a:pt x="5" y="23"/>
                  <a:pt x="5" y="24"/>
                </a:cubicBezTo>
                <a:cubicBezTo>
                  <a:pt x="5" y="25"/>
                  <a:pt x="6" y="26"/>
                  <a:pt x="5" y="27"/>
                </a:cubicBezTo>
                <a:cubicBezTo>
                  <a:pt x="5" y="27"/>
                  <a:pt x="4" y="27"/>
                  <a:pt x="4" y="28"/>
                </a:cubicBezTo>
                <a:cubicBezTo>
                  <a:pt x="3" y="29"/>
                  <a:pt x="5" y="32"/>
                  <a:pt x="6" y="33"/>
                </a:cubicBezTo>
                <a:cubicBezTo>
                  <a:pt x="7" y="34"/>
                  <a:pt x="8" y="35"/>
                  <a:pt x="9" y="37"/>
                </a:cubicBezTo>
                <a:cubicBezTo>
                  <a:pt x="9" y="39"/>
                  <a:pt x="9" y="40"/>
                  <a:pt x="10" y="42"/>
                </a:cubicBezTo>
                <a:cubicBezTo>
                  <a:pt x="11" y="46"/>
                  <a:pt x="8" y="49"/>
                  <a:pt x="6" y="52"/>
                </a:cubicBezTo>
                <a:cubicBezTo>
                  <a:pt x="6" y="53"/>
                  <a:pt x="5" y="54"/>
                  <a:pt x="5" y="55"/>
                </a:cubicBezTo>
                <a:cubicBezTo>
                  <a:pt x="4" y="56"/>
                  <a:pt x="4" y="57"/>
                  <a:pt x="4" y="58"/>
                </a:cubicBezTo>
                <a:cubicBezTo>
                  <a:pt x="4" y="59"/>
                  <a:pt x="3" y="62"/>
                  <a:pt x="5" y="62"/>
                </a:cubicBezTo>
                <a:cubicBezTo>
                  <a:pt x="8" y="64"/>
                  <a:pt x="9" y="67"/>
                  <a:pt x="11" y="69"/>
                </a:cubicBezTo>
                <a:cubicBezTo>
                  <a:pt x="12" y="70"/>
                  <a:pt x="12" y="71"/>
                  <a:pt x="13" y="72"/>
                </a:cubicBezTo>
                <a:cubicBezTo>
                  <a:pt x="14" y="72"/>
                  <a:pt x="15" y="72"/>
                  <a:pt x="16" y="72"/>
                </a:cubicBezTo>
                <a:cubicBezTo>
                  <a:pt x="17" y="73"/>
                  <a:pt x="18" y="73"/>
                  <a:pt x="18" y="74"/>
                </a:cubicBezTo>
                <a:cubicBezTo>
                  <a:pt x="18" y="75"/>
                  <a:pt x="18" y="76"/>
                  <a:pt x="19" y="76"/>
                </a:cubicBezTo>
                <a:cubicBezTo>
                  <a:pt x="19" y="77"/>
                  <a:pt x="20" y="76"/>
                  <a:pt x="21" y="76"/>
                </a:cubicBezTo>
                <a:cubicBezTo>
                  <a:pt x="22" y="76"/>
                  <a:pt x="23" y="74"/>
                  <a:pt x="23" y="74"/>
                </a:cubicBezTo>
                <a:cubicBezTo>
                  <a:pt x="21" y="71"/>
                  <a:pt x="20" y="70"/>
                  <a:pt x="16" y="69"/>
                </a:cubicBezTo>
                <a:cubicBezTo>
                  <a:pt x="15" y="69"/>
                  <a:pt x="14" y="68"/>
                  <a:pt x="13" y="67"/>
                </a:cubicBezTo>
                <a:cubicBezTo>
                  <a:pt x="13" y="65"/>
                  <a:pt x="14" y="67"/>
                  <a:pt x="15" y="67"/>
                </a:cubicBezTo>
                <a:cubicBezTo>
                  <a:pt x="14" y="67"/>
                  <a:pt x="12" y="61"/>
                  <a:pt x="12" y="60"/>
                </a:cubicBezTo>
                <a:cubicBezTo>
                  <a:pt x="12" y="59"/>
                  <a:pt x="12" y="59"/>
                  <a:pt x="11" y="58"/>
                </a:cubicBezTo>
                <a:cubicBezTo>
                  <a:pt x="10" y="58"/>
                  <a:pt x="9" y="57"/>
                  <a:pt x="9" y="56"/>
                </a:cubicBezTo>
                <a:cubicBezTo>
                  <a:pt x="8" y="53"/>
                  <a:pt x="10" y="50"/>
                  <a:pt x="11" y="48"/>
                </a:cubicBezTo>
                <a:cubicBezTo>
                  <a:pt x="11" y="46"/>
                  <a:pt x="13" y="44"/>
                  <a:pt x="13" y="43"/>
                </a:cubicBezTo>
                <a:cubicBezTo>
                  <a:pt x="13" y="41"/>
                  <a:pt x="12" y="37"/>
                  <a:pt x="14" y="36"/>
                </a:cubicBezTo>
                <a:cubicBezTo>
                  <a:pt x="17" y="36"/>
                  <a:pt x="17" y="37"/>
                  <a:pt x="17" y="40"/>
                </a:cubicBezTo>
                <a:cubicBezTo>
                  <a:pt x="16" y="42"/>
                  <a:pt x="20" y="41"/>
                  <a:pt x="22" y="41"/>
                </a:cubicBezTo>
                <a:cubicBezTo>
                  <a:pt x="23" y="41"/>
                  <a:pt x="26" y="43"/>
                  <a:pt x="27" y="44"/>
                </a:cubicBezTo>
                <a:cubicBezTo>
                  <a:pt x="27" y="42"/>
                  <a:pt x="25" y="41"/>
                  <a:pt x="24" y="38"/>
                </a:cubicBezTo>
                <a:cubicBezTo>
                  <a:pt x="24" y="36"/>
                  <a:pt x="26" y="35"/>
                  <a:pt x="28" y="33"/>
                </a:cubicBezTo>
                <a:cubicBezTo>
                  <a:pt x="29" y="32"/>
                  <a:pt x="32" y="32"/>
                  <a:pt x="34" y="32"/>
                </a:cubicBezTo>
                <a:cubicBezTo>
                  <a:pt x="36" y="32"/>
                  <a:pt x="37" y="32"/>
                  <a:pt x="38" y="33"/>
                </a:cubicBezTo>
                <a:cubicBezTo>
                  <a:pt x="40" y="33"/>
                  <a:pt x="39" y="32"/>
                  <a:pt x="40" y="30"/>
                </a:cubicBezTo>
                <a:cubicBezTo>
                  <a:pt x="41" y="30"/>
                  <a:pt x="40" y="31"/>
                  <a:pt x="40" y="3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09" name="Freeform 705">
            <a:extLst>
              <a:ext uri="{FF2B5EF4-FFF2-40B4-BE49-F238E27FC236}">
                <a16:creationId xmlns:a16="http://schemas.microsoft.com/office/drawing/2014/main" id="{09F22278-B049-1E4E-8D31-A2B6AFDBAD15}"/>
              </a:ext>
            </a:extLst>
          </p:cNvPr>
          <p:cNvSpPr>
            <a:spLocks/>
          </p:cNvSpPr>
          <p:nvPr/>
        </p:nvSpPr>
        <p:spPr bwMode="auto">
          <a:xfrm>
            <a:off x="8449140" y="4274606"/>
            <a:ext cx="197663" cy="404256"/>
          </a:xfrm>
          <a:custGeom>
            <a:avLst/>
            <a:gdLst>
              <a:gd name="T0" fmla="*/ 37 w 38"/>
              <a:gd name="T1" fmla="*/ 55 h 78"/>
              <a:gd name="T2" fmla="*/ 36 w 38"/>
              <a:gd name="T3" fmla="*/ 49 h 78"/>
              <a:gd name="T4" fmla="*/ 32 w 38"/>
              <a:gd name="T5" fmla="*/ 41 h 78"/>
              <a:gd name="T6" fmla="*/ 28 w 38"/>
              <a:gd name="T7" fmla="*/ 37 h 78"/>
              <a:gd name="T8" fmla="*/ 22 w 38"/>
              <a:gd name="T9" fmla="*/ 31 h 78"/>
              <a:gd name="T10" fmla="*/ 18 w 38"/>
              <a:gd name="T11" fmla="*/ 26 h 78"/>
              <a:gd name="T12" fmla="*/ 19 w 38"/>
              <a:gd name="T13" fmla="*/ 20 h 78"/>
              <a:gd name="T14" fmla="*/ 23 w 38"/>
              <a:gd name="T15" fmla="*/ 15 h 78"/>
              <a:gd name="T16" fmla="*/ 29 w 38"/>
              <a:gd name="T17" fmla="*/ 11 h 78"/>
              <a:gd name="T18" fmla="*/ 23 w 38"/>
              <a:gd name="T19" fmla="*/ 7 h 78"/>
              <a:gd name="T20" fmla="*/ 24 w 38"/>
              <a:gd name="T21" fmla="*/ 4 h 78"/>
              <a:gd name="T22" fmla="*/ 19 w 38"/>
              <a:gd name="T23" fmla="*/ 3 h 78"/>
              <a:gd name="T24" fmla="*/ 14 w 38"/>
              <a:gd name="T25" fmla="*/ 3 h 78"/>
              <a:gd name="T26" fmla="*/ 11 w 38"/>
              <a:gd name="T27" fmla="*/ 5 h 78"/>
              <a:gd name="T28" fmla="*/ 8 w 38"/>
              <a:gd name="T29" fmla="*/ 5 h 78"/>
              <a:gd name="T30" fmla="*/ 5 w 38"/>
              <a:gd name="T31" fmla="*/ 5 h 78"/>
              <a:gd name="T32" fmla="*/ 3 w 38"/>
              <a:gd name="T33" fmla="*/ 5 h 78"/>
              <a:gd name="T34" fmla="*/ 0 w 38"/>
              <a:gd name="T35" fmla="*/ 6 h 78"/>
              <a:gd name="T36" fmla="*/ 4 w 38"/>
              <a:gd name="T37" fmla="*/ 9 h 78"/>
              <a:gd name="T38" fmla="*/ 5 w 38"/>
              <a:gd name="T39" fmla="*/ 13 h 78"/>
              <a:gd name="T40" fmla="*/ 9 w 38"/>
              <a:gd name="T41" fmla="*/ 14 h 78"/>
              <a:gd name="T42" fmla="*/ 12 w 38"/>
              <a:gd name="T43" fmla="*/ 17 h 78"/>
              <a:gd name="T44" fmla="*/ 13 w 38"/>
              <a:gd name="T45" fmla="*/ 21 h 78"/>
              <a:gd name="T46" fmla="*/ 10 w 38"/>
              <a:gd name="T47" fmla="*/ 22 h 78"/>
              <a:gd name="T48" fmla="*/ 14 w 38"/>
              <a:gd name="T49" fmla="*/ 25 h 78"/>
              <a:gd name="T50" fmla="*/ 19 w 38"/>
              <a:gd name="T51" fmla="*/ 31 h 78"/>
              <a:gd name="T52" fmla="*/ 23 w 38"/>
              <a:gd name="T53" fmla="*/ 35 h 78"/>
              <a:gd name="T54" fmla="*/ 26 w 38"/>
              <a:gd name="T55" fmla="*/ 39 h 78"/>
              <a:gd name="T56" fmla="*/ 28 w 38"/>
              <a:gd name="T57" fmla="*/ 43 h 78"/>
              <a:gd name="T58" fmla="*/ 27 w 38"/>
              <a:gd name="T59" fmla="*/ 48 h 78"/>
              <a:gd name="T60" fmla="*/ 28 w 38"/>
              <a:gd name="T61" fmla="*/ 52 h 78"/>
              <a:gd name="T62" fmla="*/ 28 w 38"/>
              <a:gd name="T63" fmla="*/ 57 h 78"/>
              <a:gd name="T64" fmla="*/ 23 w 38"/>
              <a:gd name="T65" fmla="*/ 60 h 78"/>
              <a:gd name="T66" fmla="*/ 20 w 38"/>
              <a:gd name="T67" fmla="*/ 62 h 78"/>
              <a:gd name="T68" fmla="*/ 20 w 38"/>
              <a:gd name="T69" fmla="*/ 65 h 78"/>
              <a:gd name="T70" fmla="*/ 18 w 38"/>
              <a:gd name="T71" fmla="*/ 66 h 78"/>
              <a:gd name="T72" fmla="*/ 14 w 38"/>
              <a:gd name="T73" fmla="*/ 67 h 78"/>
              <a:gd name="T74" fmla="*/ 15 w 38"/>
              <a:gd name="T75" fmla="*/ 70 h 78"/>
              <a:gd name="T76" fmla="*/ 14 w 38"/>
              <a:gd name="T77" fmla="*/ 74 h 78"/>
              <a:gd name="T78" fmla="*/ 14 w 38"/>
              <a:gd name="T79" fmla="*/ 77 h 78"/>
              <a:gd name="T80" fmla="*/ 18 w 38"/>
              <a:gd name="T81" fmla="*/ 75 h 78"/>
              <a:gd name="T82" fmla="*/ 19 w 38"/>
              <a:gd name="T83" fmla="*/ 71 h 78"/>
              <a:gd name="T84" fmla="*/ 22 w 38"/>
              <a:gd name="T85" fmla="*/ 72 h 78"/>
              <a:gd name="T86" fmla="*/ 21 w 38"/>
              <a:gd name="T87" fmla="*/ 70 h 78"/>
              <a:gd name="T88" fmla="*/ 23 w 38"/>
              <a:gd name="T89" fmla="*/ 71 h 78"/>
              <a:gd name="T90" fmla="*/ 24 w 38"/>
              <a:gd name="T91" fmla="*/ 67 h 78"/>
              <a:gd name="T92" fmla="*/ 26 w 38"/>
              <a:gd name="T93" fmla="*/ 68 h 78"/>
              <a:gd name="T94" fmla="*/ 30 w 38"/>
              <a:gd name="T95" fmla="*/ 66 h 78"/>
              <a:gd name="T96" fmla="*/ 36 w 38"/>
              <a:gd name="T97" fmla="*/ 61 h 78"/>
              <a:gd name="T98" fmla="*/ 36 w 38"/>
              <a:gd name="T99" fmla="*/ 57 h 78"/>
              <a:gd name="T100" fmla="*/ 37 w 38"/>
              <a:gd name="T101" fmla="*/ 55 h 78"/>
              <a:gd name="T102" fmla="*/ 37 w 38"/>
              <a:gd name="T103" fmla="*/ 55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8" h="78">
                <a:moveTo>
                  <a:pt x="37" y="55"/>
                </a:moveTo>
                <a:cubicBezTo>
                  <a:pt x="36" y="54"/>
                  <a:pt x="36" y="52"/>
                  <a:pt x="36" y="49"/>
                </a:cubicBezTo>
                <a:cubicBezTo>
                  <a:pt x="35" y="46"/>
                  <a:pt x="34" y="44"/>
                  <a:pt x="32" y="41"/>
                </a:cubicBezTo>
                <a:cubicBezTo>
                  <a:pt x="31" y="39"/>
                  <a:pt x="30" y="38"/>
                  <a:pt x="28" y="37"/>
                </a:cubicBezTo>
                <a:cubicBezTo>
                  <a:pt x="26" y="35"/>
                  <a:pt x="23" y="34"/>
                  <a:pt x="22" y="31"/>
                </a:cubicBezTo>
                <a:cubicBezTo>
                  <a:pt x="22" y="29"/>
                  <a:pt x="20" y="28"/>
                  <a:pt x="18" y="26"/>
                </a:cubicBezTo>
                <a:cubicBezTo>
                  <a:pt x="17" y="25"/>
                  <a:pt x="18" y="21"/>
                  <a:pt x="19" y="20"/>
                </a:cubicBezTo>
                <a:cubicBezTo>
                  <a:pt x="21" y="19"/>
                  <a:pt x="23" y="17"/>
                  <a:pt x="23" y="15"/>
                </a:cubicBezTo>
                <a:cubicBezTo>
                  <a:pt x="24" y="14"/>
                  <a:pt x="28" y="12"/>
                  <a:pt x="29" y="11"/>
                </a:cubicBezTo>
                <a:cubicBezTo>
                  <a:pt x="27" y="10"/>
                  <a:pt x="25" y="9"/>
                  <a:pt x="23" y="7"/>
                </a:cubicBezTo>
                <a:cubicBezTo>
                  <a:pt x="21" y="6"/>
                  <a:pt x="24" y="6"/>
                  <a:pt x="24" y="4"/>
                </a:cubicBezTo>
                <a:cubicBezTo>
                  <a:pt x="24" y="4"/>
                  <a:pt x="19" y="3"/>
                  <a:pt x="19" y="3"/>
                </a:cubicBezTo>
                <a:cubicBezTo>
                  <a:pt x="17" y="2"/>
                  <a:pt x="15" y="0"/>
                  <a:pt x="14" y="3"/>
                </a:cubicBezTo>
                <a:cubicBezTo>
                  <a:pt x="13" y="4"/>
                  <a:pt x="12" y="4"/>
                  <a:pt x="11" y="5"/>
                </a:cubicBezTo>
                <a:cubicBezTo>
                  <a:pt x="9" y="8"/>
                  <a:pt x="9" y="4"/>
                  <a:pt x="8" y="5"/>
                </a:cubicBezTo>
                <a:cubicBezTo>
                  <a:pt x="6" y="6"/>
                  <a:pt x="6" y="5"/>
                  <a:pt x="5" y="5"/>
                </a:cubicBezTo>
                <a:cubicBezTo>
                  <a:pt x="4" y="6"/>
                  <a:pt x="3" y="6"/>
                  <a:pt x="3" y="5"/>
                </a:cubicBezTo>
                <a:cubicBezTo>
                  <a:pt x="3" y="4"/>
                  <a:pt x="1" y="6"/>
                  <a:pt x="0" y="6"/>
                </a:cubicBezTo>
                <a:cubicBezTo>
                  <a:pt x="0" y="7"/>
                  <a:pt x="3" y="9"/>
                  <a:pt x="4" y="9"/>
                </a:cubicBezTo>
                <a:cubicBezTo>
                  <a:pt x="5" y="11"/>
                  <a:pt x="4" y="12"/>
                  <a:pt x="5" y="13"/>
                </a:cubicBezTo>
                <a:cubicBezTo>
                  <a:pt x="5" y="15"/>
                  <a:pt x="8" y="15"/>
                  <a:pt x="9" y="14"/>
                </a:cubicBezTo>
                <a:cubicBezTo>
                  <a:pt x="11" y="13"/>
                  <a:pt x="12" y="16"/>
                  <a:pt x="12" y="17"/>
                </a:cubicBezTo>
                <a:cubicBezTo>
                  <a:pt x="13" y="19"/>
                  <a:pt x="15" y="19"/>
                  <a:pt x="13" y="21"/>
                </a:cubicBezTo>
                <a:cubicBezTo>
                  <a:pt x="11" y="22"/>
                  <a:pt x="10" y="19"/>
                  <a:pt x="10" y="22"/>
                </a:cubicBezTo>
                <a:cubicBezTo>
                  <a:pt x="10" y="24"/>
                  <a:pt x="13" y="24"/>
                  <a:pt x="14" y="25"/>
                </a:cubicBezTo>
                <a:cubicBezTo>
                  <a:pt x="16" y="27"/>
                  <a:pt x="17" y="29"/>
                  <a:pt x="19" y="31"/>
                </a:cubicBezTo>
                <a:cubicBezTo>
                  <a:pt x="20" y="33"/>
                  <a:pt x="22" y="33"/>
                  <a:pt x="23" y="35"/>
                </a:cubicBezTo>
                <a:cubicBezTo>
                  <a:pt x="24" y="37"/>
                  <a:pt x="24" y="38"/>
                  <a:pt x="26" y="39"/>
                </a:cubicBezTo>
                <a:cubicBezTo>
                  <a:pt x="27" y="40"/>
                  <a:pt x="26" y="42"/>
                  <a:pt x="28" y="43"/>
                </a:cubicBezTo>
                <a:cubicBezTo>
                  <a:pt x="29" y="44"/>
                  <a:pt x="28" y="47"/>
                  <a:pt x="27" y="48"/>
                </a:cubicBezTo>
                <a:cubicBezTo>
                  <a:pt x="26" y="49"/>
                  <a:pt x="27" y="51"/>
                  <a:pt x="28" y="52"/>
                </a:cubicBezTo>
                <a:cubicBezTo>
                  <a:pt x="28" y="54"/>
                  <a:pt x="28" y="55"/>
                  <a:pt x="28" y="57"/>
                </a:cubicBezTo>
                <a:cubicBezTo>
                  <a:pt x="26" y="59"/>
                  <a:pt x="26" y="59"/>
                  <a:pt x="23" y="60"/>
                </a:cubicBezTo>
                <a:cubicBezTo>
                  <a:pt x="21" y="60"/>
                  <a:pt x="24" y="63"/>
                  <a:pt x="20" y="62"/>
                </a:cubicBezTo>
                <a:cubicBezTo>
                  <a:pt x="18" y="62"/>
                  <a:pt x="20" y="64"/>
                  <a:pt x="20" y="65"/>
                </a:cubicBezTo>
                <a:cubicBezTo>
                  <a:pt x="21" y="67"/>
                  <a:pt x="19" y="66"/>
                  <a:pt x="18" y="66"/>
                </a:cubicBezTo>
                <a:cubicBezTo>
                  <a:pt x="16" y="66"/>
                  <a:pt x="15" y="66"/>
                  <a:pt x="14" y="67"/>
                </a:cubicBezTo>
                <a:cubicBezTo>
                  <a:pt x="11" y="69"/>
                  <a:pt x="13" y="69"/>
                  <a:pt x="15" y="70"/>
                </a:cubicBezTo>
                <a:cubicBezTo>
                  <a:pt x="16" y="70"/>
                  <a:pt x="14" y="73"/>
                  <a:pt x="14" y="74"/>
                </a:cubicBezTo>
                <a:cubicBezTo>
                  <a:pt x="13" y="74"/>
                  <a:pt x="13" y="78"/>
                  <a:pt x="14" y="77"/>
                </a:cubicBezTo>
                <a:cubicBezTo>
                  <a:pt x="16" y="76"/>
                  <a:pt x="17" y="75"/>
                  <a:pt x="18" y="75"/>
                </a:cubicBezTo>
                <a:cubicBezTo>
                  <a:pt x="22" y="74"/>
                  <a:pt x="20" y="73"/>
                  <a:pt x="19" y="71"/>
                </a:cubicBezTo>
                <a:cubicBezTo>
                  <a:pt x="20" y="71"/>
                  <a:pt x="21" y="73"/>
                  <a:pt x="22" y="72"/>
                </a:cubicBezTo>
                <a:cubicBezTo>
                  <a:pt x="23" y="71"/>
                  <a:pt x="21" y="70"/>
                  <a:pt x="21" y="70"/>
                </a:cubicBezTo>
                <a:cubicBezTo>
                  <a:pt x="21" y="69"/>
                  <a:pt x="23" y="71"/>
                  <a:pt x="23" y="71"/>
                </a:cubicBezTo>
                <a:cubicBezTo>
                  <a:pt x="22" y="71"/>
                  <a:pt x="23" y="67"/>
                  <a:pt x="24" y="67"/>
                </a:cubicBezTo>
                <a:cubicBezTo>
                  <a:pt x="24" y="66"/>
                  <a:pt x="26" y="68"/>
                  <a:pt x="26" y="68"/>
                </a:cubicBezTo>
                <a:cubicBezTo>
                  <a:pt x="28" y="68"/>
                  <a:pt x="29" y="67"/>
                  <a:pt x="30" y="66"/>
                </a:cubicBezTo>
                <a:cubicBezTo>
                  <a:pt x="31" y="65"/>
                  <a:pt x="36" y="63"/>
                  <a:pt x="36" y="61"/>
                </a:cubicBezTo>
                <a:cubicBezTo>
                  <a:pt x="36" y="60"/>
                  <a:pt x="35" y="59"/>
                  <a:pt x="36" y="57"/>
                </a:cubicBezTo>
                <a:cubicBezTo>
                  <a:pt x="36" y="56"/>
                  <a:pt x="38" y="57"/>
                  <a:pt x="37" y="55"/>
                </a:cubicBezTo>
                <a:cubicBezTo>
                  <a:pt x="36" y="54"/>
                  <a:pt x="38" y="56"/>
                  <a:pt x="37" y="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10" name="Freeform 706">
            <a:extLst>
              <a:ext uri="{FF2B5EF4-FFF2-40B4-BE49-F238E27FC236}">
                <a16:creationId xmlns:a16="http://schemas.microsoft.com/office/drawing/2014/main" id="{B391DBE9-1A90-DC41-AB24-A2964330E5B4}"/>
              </a:ext>
            </a:extLst>
          </p:cNvPr>
          <p:cNvSpPr>
            <a:spLocks/>
          </p:cNvSpPr>
          <p:nvPr/>
        </p:nvSpPr>
        <p:spPr bwMode="auto">
          <a:xfrm>
            <a:off x="8403254" y="4306382"/>
            <a:ext cx="190604" cy="233020"/>
          </a:xfrm>
          <a:custGeom>
            <a:avLst/>
            <a:gdLst>
              <a:gd name="T0" fmla="*/ 37 w 37"/>
              <a:gd name="T1" fmla="*/ 38 h 45"/>
              <a:gd name="T2" fmla="*/ 35 w 37"/>
              <a:gd name="T3" fmla="*/ 35 h 45"/>
              <a:gd name="T4" fmla="*/ 33 w 37"/>
              <a:gd name="T5" fmla="*/ 32 h 45"/>
              <a:gd name="T6" fmla="*/ 30 w 37"/>
              <a:gd name="T7" fmla="*/ 28 h 45"/>
              <a:gd name="T8" fmla="*/ 26 w 37"/>
              <a:gd name="T9" fmla="*/ 22 h 45"/>
              <a:gd name="T10" fmla="*/ 22 w 37"/>
              <a:gd name="T11" fmla="*/ 18 h 45"/>
              <a:gd name="T12" fmla="*/ 19 w 37"/>
              <a:gd name="T13" fmla="*/ 15 h 45"/>
              <a:gd name="T14" fmla="*/ 22 w 37"/>
              <a:gd name="T15" fmla="*/ 14 h 45"/>
              <a:gd name="T16" fmla="*/ 21 w 37"/>
              <a:gd name="T17" fmla="*/ 10 h 45"/>
              <a:gd name="T18" fmla="*/ 14 w 37"/>
              <a:gd name="T19" fmla="*/ 8 h 45"/>
              <a:gd name="T20" fmla="*/ 13 w 37"/>
              <a:gd name="T21" fmla="*/ 4 h 45"/>
              <a:gd name="T22" fmla="*/ 9 w 37"/>
              <a:gd name="T23" fmla="*/ 0 h 45"/>
              <a:gd name="T24" fmla="*/ 7 w 37"/>
              <a:gd name="T25" fmla="*/ 0 h 45"/>
              <a:gd name="T26" fmla="*/ 8 w 37"/>
              <a:gd name="T27" fmla="*/ 4 h 45"/>
              <a:gd name="T28" fmla="*/ 8 w 37"/>
              <a:gd name="T29" fmla="*/ 7 h 45"/>
              <a:gd name="T30" fmla="*/ 4 w 37"/>
              <a:gd name="T31" fmla="*/ 5 h 45"/>
              <a:gd name="T32" fmla="*/ 0 w 37"/>
              <a:gd name="T33" fmla="*/ 10 h 45"/>
              <a:gd name="T34" fmla="*/ 4 w 37"/>
              <a:gd name="T35" fmla="*/ 15 h 45"/>
              <a:gd name="T36" fmla="*/ 4 w 37"/>
              <a:gd name="T37" fmla="*/ 22 h 45"/>
              <a:gd name="T38" fmla="*/ 3 w 37"/>
              <a:gd name="T39" fmla="*/ 26 h 45"/>
              <a:gd name="T40" fmla="*/ 7 w 37"/>
              <a:gd name="T41" fmla="*/ 25 h 45"/>
              <a:gd name="T42" fmla="*/ 10 w 37"/>
              <a:gd name="T43" fmla="*/ 23 h 45"/>
              <a:gd name="T44" fmla="*/ 15 w 37"/>
              <a:gd name="T45" fmla="*/ 22 h 45"/>
              <a:gd name="T46" fmla="*/ 23 w 37"/>
              <a:gd name="T47" fmla="*/ 28 h 45"/>
              <a:gd name="T48" fmla="*/ 27 w 37"/>
              <a:gd name="T49" fmla="*/ 36 h 45"/>
              <a:gd name="T50" fmla="*/ 27 w 37"/>
              <a:gd name="T51" fmla="*/ 39 h 45"/>
              <a:gd name="T52" fmla="*/ 25 w 37"/>
              <a:gd name="T53" fmla="*/ 43 h 45"/>
              <a:gd name="T54" fmla="*/ 29 w 37"/>
              <a:gd name="T55" fmla="*/ 43 h 45"/>
              <a:gd name="T56" fmla="*/ 32 w 37"/>
              <a:gd name="T57" fmla="*/ 42 h 45"/>
              <a:gd name="T58" fmla="*/ 35 w 37"/>
              <a:gd name="T59" fmla="*/ 42 h 45"/>
              <a:gd name="T60" fmla="*/ 37 w 37"/>
              <a:gd name="T61" fmla="*/ 38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7" h="45">
                <a:moveTo>
                  <a:pt x="37" y="38"/>
                </a:moveTo>
                <a:cubicBezTo>
                  <a:pt x="37" y="37"/>
                  <a:pt x="36" y="37"/>
                  <a:pt x="35" y="35"/>
                </a:cubicBezTo>
                <a:cubicBezTo>
                  <a:pt x="35" y="33"/>
                  <a:pt x="34" y="34"/>
                  <a:pt x="33" y="32"/>
                </a:cubicBezTo>
                <a:cubicBezTo>
                  <a:pt x="32" y="30"/>
                  <a:pt x="32" y="29"/>
                  <a:pt x="30" y="28"/>
                </a:cubicBezTo>
                <a:cubicBezTo>
                  <a:pt x="28" y="26"/>
                  <a:pt x="27" y="24"/>
                  <a:pt x="26" y="22"/>
                </a:cubicBezTo>
                <a:cubicBezTo>
                  <a:pt x="25" y="21"/>
                  <a:pt x="23" y="19"/>
                  <a:pt x="22" y="18"/>
                </a:cubicBezTo>
                <a:cubicBezTo>
                  <a:pt x="20" y="17"/>
                  <a:pt x="19" y="18"/>
                  <a:pt x="19" y="15"/>
                </a:cubicBezTo>
                <a:cubicBezTo>
                  <a:pt x="19" y="14"/>
                  <a:pt x="21" y="16"/>
                  <a:pt x="22" y="14"/>
                </a:cubicBezTo>
                <a:cubicBezTo>
                  <a:pt x="24" y="13"/>
                  <a:pt x="22" y="12"/>
                  <a:pt x="21" y="10"/>
                </a:cubicBezTo>
                <a:cubicBezTo>
                  <a:pt x="19" y="5"/>
                  <a:pt x="16" y="11"/>
                  <a:pt x="14" y="8"/>
                </a:cubicBezTo>
                <a:cubicBezTo>
                  <a:pt x="13" y="7"/>
                  <a:pt x="14" y="5"/>
                  <a:pt x="13" y="4"/>
                </a:cubicBezTo>
                <a:cubicBezTo>
                  <a:pt x="12" y="3"/>
                  <a:pt x="10" y="2"/>
                  <a:pt x="9" y="0"/>
                </a:cubicBezTo>
                <a:cubicBezTo>
                  <a:pt x="9" y="0"/>
                  <a:pt x="7" y="0"/>
                  <a:pt x="7" y="0"/>
                </a:cubicBezTo>
                <a:cubicBezTo>
                  <a:pt x="6" y="1"/>
                  <a:pt x="8" y="3"/>
                  <a:pt x="8" y="4"/>
                </a:cubicBezTo>
                <a:cubicBezTo>
                  <a:pt x="8" y="5"/>
                  <a:pt x="9" y="7"/>
                  <a:pt x="8" y="7"/>
                </a:cubicBezTo>
                <a:cubicBezTo>
                  <a:pt x="6" y="7"/>
                  <a:pt x="6" y="5"/>
                  <a:pt x="4" y="5"/>
                </a:cubicBezTo>
                <a:cubicBezTo>
                  <a:pt x="3" y="4"/>
                  <a:pt x="0" y="10"/>
                  <a:pt x="0" y="10"/>
                </a:cubicBezTo>
                <a:cubicBezTo>
                  <a:pt x="1" y="13"/>
                  <a:pt x="0" y="17"/>
                  <a:pt x="4" y="15"/>
                </a:cubicBezTo>
                <a:cubicBezTo>
                  <a:pt x="6" y="14"/>
                  <a:pt x="4" y="22"/>
                  <a:pt x="4" y="22"/>
                </a:cubicBezTo>
                <a:cubicBezTo>
                  <a:pt x="6" y="23"/>
                  <a:pt x="4" y="24"/>
                  <a:pt x="3" y="26"/>
                </a:cubicBezTo>
                <a:cubicBezTo>
                  <a:pt x="3" y="27"/>
                  <a:pt x="6" y="25"/>
                  <a:pt x="7" y="25"/>
                </a:cubicBezTo>
                <a:cubicBezTo>
                  <a:pt x="7" y="24"/>
                  <a:pt x="9" y="23"/>
                  <a:pt x="10" y="23"/>
                </a:cubicBezTo>
                <a:cubicBezTo>
                  <a:pt x="12" y="24"/>
                  <a:pt x="13" y="24"/>
                  <a:pt x="15" y="22"/>
                </a:cubicBezTo>
                <a:cubicBezTo>
                  <a:pt x="17" y="21"/>
                  <a:pt x="24" y="25"/>
                  <a:pt x="23" y="28"/>
                </a:cubicBezTo>
                <a:cubicBezTo>
                  <a:pt x="21" y="32"/>
                  <a:pt x="25" y="33"/>
                  <a:pt x="27" y="36"/>
                </a:cubicBezTo>
                <a:cubicBezTo>
                  <a:pt x="27" y="37"/>
                  <a:pt x="27" y="38"/>
                  <a:pt x="27" y="39"/>
                </a:cubicBezTo>
                <a:cubicBezTo>
                  <a:pt x="27" y="40"/>
                  <a:pt x="26" y="42"/>
                  <a:pt x="25" y="43"/>
                </a:cubicBezTo>
                <a:cubicBezTo>
                  <a:pt x="26" y="43"/>
                  <a:pt x="29" y="45"/>
                  <a:pt x="29" y="43"/>
                </a:cubicBezTo>
                <a:cubicBezTo>
                  <a:pt x="29" y="42"/>
                  <a:pt x="31" y="41"/>
                  <a:pt x="32" y="42"/>
                </a:cubicBezTo>
                <a:cubicBezTo>
                  <a:pt x="33" y="43"/>
                  <a:pt x="34" y="43"/>
                  <a:pt x="35" y="42"/>
                </a:cubicBezTo>
                <a:cubicBezTo>
                  <a:pt x="37" y="42"/>
                  <a:pt x="37" y="40"/>
                  <a:pt x="37" y="3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11" name="Freeform 707">
            <a:extLst>
              <a:ext uri="{FF2B5EF4-FFF2-40B4-BE49-F238E27FC236}">
                <a16:creationId xmlns:a16="http://schemas.microsoft.com/office/drawing/2014/main" id="{95AC47F4-7529-DF4D-854E-ECA4CA1313C2}"/>
              </a:ext>
            </a:extLst>
          </p:cNvPr>
          <p:cNvSpPr>
            <a:spLocks/>
          </p:cNvSpPr>
          <p:nvPr/>
        </p:nvSpPr>
        <p:spPr bwMode="auto">
          <a:xfrm>
            <a:off x="9220377" y="4938360"/>
            <a:ext cx="232960" cy="197714"/>
          </a:xfrm>
          <a:custGeom>
            <a:avLst/>
            <a:gdLst>
              <a:gd name="T0" fmla="*/ 45 w 45"/>
              <a:gd name="T1" fmla="*/ 29 h 38"/>
              <a:gd name="T2" fmla="*/ 45 w 45"/>
              <a:gd name="T3" fmla="*/ 26 h 38"/>
              <a:gd name="T4" fmla="*/ 45 w 45"/>
              <a:gd name="T5" fmla="*/ 24 h 38"/>
              <a:gd name="T6" fmla="*/ 45 w 45"/>
              <a:gd name="T7" fmla="*/ 15 h 38"/>
              <a:gd name="T8" fmla="*/ 45 w 45"/>
              <a:gd name="T9" fmla="*/ 6 h 38"/>
              <a:gd name="T10" fmla="*/ 35 w 45"/>
              <a:gd name="T11" fmla="*/ 3 h 38"/>
              <a:gd name="T12" fmla="*/ 30 w 45"/>
              <a:gd name="T13" fmla="*/ 0 h 38"/>
              <a:gd name="T14" fmla="*/ 26 w 45"/>
              <a:gd name="T15" fmla="*/ 3 h 38"/>
              <a:gd name="T16" fmla="*/ 22 w 45"/>
              <a:gd name="T17" fmla="*/ 5 h 38"/>
              <a:gd name="T18" fmla="*/ 18 w 45"/>
              <a:gd name="T19" fmla="*/ 10 h 38"/>
              <a:gd name="T20" fmla="*/ 14 w 45"/>
              <a:gd name="T21" fmla="*/ 8 h 38"/>
              <a:gd name="T22" fmla="*/ 11 w 45"/>
              <a:gd name="T23" fmla="*/ 5 h 38"/>
              <a:gd name="T24" fmla="*/ 9 w 45"/>
              <a:gd name="T25" fmla="*/ 6 h 38"/>
              <a:gd name="T26" fmla="*/ 7 w 45"/>
              <a:gd name="T27" fmla="*/ 5 h 38"/>
              <a:gd name="T28" fmla="*/ 4 w 45"/>
              <a:gd name="T29" fmla="*/ 6 h 38"/>
              <a:gd name="T30" fmla="*/ 0 w 45"/>
              <a:gd name="T31" fmla="*/ 7 h 38"/>
              <a:gd name="T32" fmla="*/ 3 w 45"/>
              <a:gd name="T33" fmla="*/ 8 h 38"/>
              <a:gd name="T34" fmla="*/ 4 w 45"/>
              <a:gd name="T35" fmla="*/ 11 h 38"/>
              <a:gd name="T36" fmla="*/ 7 w 45"/>
              <a:gd name="T37" fmla="*/ 14 h 38"/>
              <a:gd name="T38" fmla="*/ 9 w 45"/>
              <a:gd name="T39" fmla="*/ 8 h 38"/>
              <a:gd name="T40" fmla="*/ 10 w 45"/>
              <a:gd name="T41" fmla="*/ 12 h 38"/>
              <a:gd name="T42" fmla="*/ 15 w 45"/>
              <a:gd name="T43" fmla="*/ 12 h 38"/>
              <a:gd name="T44" fmla="*/ 18 w 45"/>
              <a:gd name="T45" fmla="*/ 15 h 38"/>
              <a:gd name="T46" fmla="*/ 27 w 45"/>
              <a:gd name="T47" fmla="*/ 19 h 38"/>
              <a:gd name="T48" fmla="*/ 32 w 45"/>
              <a:gd name="T49" fmla="*/ 22 h 38"/>
              <a:gd name="T50" fmla="*/ 34 w 45"/>
              <a:gd name="T51" fmla="*/ 26 h 38"/>
              <a:gd name="T52" fmla="*/ 36 w 45"/>
              <a:gd name="T53" fmla="*/ 27 h 38"/>
              <a:gd name="T54" fmla="*/ 34 w 45"/>
              <a:gd name="T55" fmla="*/ 28 h 38"/>
              <a:gd name="T56" fmla="*/ 36 w 45"/>
              <a:gd name="T57" fmla="*/ 29 h 38"/>
              <a:gd name="T58" fmla="*/ 35 w 45"/>
              <a:gd name="T59" fmla="*/ 30 h 38"/>
              <a:gd name="T60" fmla="*/ 32 w 45"/>
              <a:gd name="T61" fmla="*/ 31 h 38"/>
              <a:gd name="T62" fmla="*/ 29 w 45"/>
              <a:gd name="T63" fmla="*/ 34 h 38"/>
              <a:gd name="T64" fmla="*/ 34 w 45"/>
              <a:gd name="T65" fmla="*/ 35 h 38"/>
              <a:gd name="T66" fmla="*/ 36 w 45"/>
              <a:gd name="T67" fmla="*/ 31 h 38"/>
              <a:gd name="T68" fmla="*/ 36 w 45"/>
              <a:gd name="T69" fmla="*/ 33 h 38"/>
              <a:gd name="T70" fmla="*/ 40 w 45"/>
              <a:gd name="T71" fmla="*/ 32 h 38"/>
              <a:gd name="T72" fmla="*/ 45 w 45"/>
              <a:gd name="T73" fmla="*/ 38 h 38"/>
              <a:gd name="T74" fmla="*/ 45 w 45"/>
              <a:gd name="T75" fmla="*/ 29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5" h="38">
                <a:moveTo>
                  <a:pt x="45" y="29"/>
                </a:moveTo>
                <a:cubicBezTo>
                  <a:pt x="45" y="28"/>
                  <a:pt x="44" y="27"/>
                  <a:pt x="45" y="26"/>
                </a:cubicBezTo>
                <a:cubicBezTo>
                  <a:pt x="45" y="25"/>
                  <a:pt x="45" y="25"/>
                  <a:pt x="45" y="24"/>
                </a:cubicBezTo>
                <a:cubicBezTo>
                  <a:pt x="45" y="21"/>
                  <a:pt x="45" y="18"/>
                  <a:pt x="45" y="15"/>
                </a:cubicBezTo>
                <a:cubicBezTo>
                  <a:pt x="45" y="12"/>
                  <a:pt x="45" y="9"/>
                  <a:pt x="45" y="6"/>
                </a:cubicBezTo>
                <a:cubicBezTo>
                  <a:pt x="45" y="6"/>
                  <a:pt x="36" y="3"/>
                  <a:pt x="35" y="3"/>
                </a:cubicBezTo>
                <a:cubicBezTo>
                  <a:pt x="33" y="2"/>
                  <a:pt x="32" y="1"/>
                  <a:pt x="30" y="0"/>
                </a:cubicBezTo>
                <a:cubicBezTo>
                  <a:pt x="27" y="0"/>
                  <a:pt x="27" y="2"/>
                  <a:pt x="26" y="3"/>
                </a:cubicBezTo>
                <a:cubicBezTo>
                  <a:pt x="26" y="4"/>
                  <a:pt x="23" y="4"/>
                  <a:pt x="22" y="5"/>
                </a:cubicBezTo>
                <a:cubicBezTo>
                  <a:pt x="21" y="7"/>
                  <a:pt x="20" y="9"/>
                  <a:pt x="18" y="10"/>
                </a:cubicBezTo>
                <a:cubicBezTo>
                  <a:pt x="16" y="11"/>
                  <a:pt x="14" y="10"/>
                  <a:pt x="14" y="8"/>
                </a:cubicBezTo>
                <a:cubicBezTo>
                  <a:pt x="13" y="6"/>
                  <a:pt x="12" y="6"/>
                  <a:pt x="11" y="5"/>
                </a:cubicBezTo>
                <a:cubicBezTo>
                  <a:pt x="11" y="3"/>
                  <a:pt x="10" y="5"/>
                  <a:pt x="9" y="6"/>
                </a:cubicBezTo>
                <a:cubicBezTo>
                  <a:pt x="8" y="6"/>
                  <a:pt x="7" y="5"/>
                  <a:pt x="7" y="5"/>
                </a:cubicBezTo>
                <a:cubicBezTo>
                  <a:pt x="6" y="5"/>
                  <a:pt x="5" y="6"/>
                  <a:pt x="4" y="6"/>
                </a:cubicBezTo>
                <a:cubicBezTo>
                  <a:pt x="4" y="7"/>
                  <a:pt x="0" y="6"/>
                  <a:pt x="0" y="7"/>
                </a:cubicBezTo>
                <a:cubicBezTo>
                  <a:pt x="0" y="8"/>
                  <a:pt x="2" y="8"/>
                  <a:pt x="3" y="8"/>
                </a:cubicBezTo>
                <a:cubicBezTo>
                  <a:pt x="4" y="9"/>
                  <a:pt x="4" y="10"/>
                  <a:pt x="4" y="11"/>
                </a:cubicBezTo>
                <a:cubicBezTo>
                  <a:pt x="4" y="13"/>
                  <a:pt x="7" y="13"/>
                  <a:pt x="7" y="14"/>
                </a:cubicBezTo>
                <a:cubicBezTo>
                  <a:pt x="7" y="12"/>
                  <a:pt x="7" y="9"/>
                  <a:pt x="9" y="8"/>
                </a:cubicBezTo>
                <a:cubicBezTo>
                  <a:pt x="7" y="9"/>
                  <a:pt x="8" y="11"/>
                  <a:pt x="10" y="12"/>
                </a:cubicBezTo>
                <a:cubicBezTo>
                  <a:pt x="12" y="13"/>
                  <a:pt x="13" y="13"/>
                  <a:pt x="15" y="12"/>
                </a:cubicBezTo>
                <a:cubicBezTo>
                  <a:pt x="12" y="13"/>
                  <a:pt x="17" y="15"/>
                  <a:pt x="18" y="15"/>
                </a:cubicBezTo>
                <a:cubicBezTo>
                  <a:pt x="21" y="16"/>
                  <a:pt x="24" y="18"/>
                  <a:pt x="27" y="19"/>
                </a:cubicBezTo>
                <a:cubicBezTo>
                  <a:pt x="29" y="20"/>
                  <a:pt x="31" y="21"/>
                  <a:pt x="32" y="22"/>
                </a:cubicBezTo>
                <a:cubicBezTo>
                  <a:pt x="32" y="24"/>
                  <a:pt x="33" y="25"/>
                  <a:pt x="34" y="26"/>
                </a:cubicBezTo>
                <a:cubicBezTo>
                  <a:pt x="34" y="26"/>
                  <a:pt x="36" y="27"/>
                  <a:pt x="36" y="27"/>
                </a:cubicBezTo>
                <a:cubicBezTo>
                  <a:pt x="36" y="27"/>
                  <a:pt x="34" y="28"/>
                  <a:pt x="34" y="28"/>
                </a:cubicBezTo>
                <a:cubicBezTo>
                  <a:pt x="34" y="28"/>
                  <a:pt x="36" y="28"/>
                  <a:pt x="36" y="29"/>
                </a:cubicBezTo>
                <a:cubicBezTo>
                  <a:pt x="36" y="28"/>
                  <a:pt x="35" y="29"/>
                  <a:pt x="35" y="30"/>
                </a:cubicBezTo>
                <a:cubicBezTo>
                  <a:pt x="34" y="31"/>
                  <a:pt x="33" y="30"/>
                  <a:pt x="32" y="31"/>
                </a:cubicBezTo>
                <a:cubicBezTo>
                  <a:pt x="31" y="31"/>
                  <a:pt x="28" y="34"/>
                  <a:pt x="29" y="34"/>
                </a:cubicBezTo>
                <a:cubicBezTo>
                  <a:pt x="30" y="35"/>
                  <a:pt x="32" y="35"/>
                  <a:pt x="34" y="35"/>
                </a:cubicBezTo>
                <a:cubicBezTo>
                  <a:pt x="34" y="34"/>
                  <a:pt x="35" y="30"/>
                  <a:pt x="36" y="31"/>
                </a:cubicBezTo>
                <a:cubicBezTo>
                  <a:pt x="36" y="32"/>
                  <a:pt x="33" y="33"/>
                  <a:pt x="36" y="33"/>
                </a:cubicBezTo>
                <a:cubicBezTo>
                  <a:pt x="38" y="34"/>
                  <a:pt x="39" y="34"/>
                  <a:pt x="40" y="32"/>
                </a:cubicBezTo>
                <a:cubicBezTo>
                  <a:pt x="39" y="34"/>
                  <a:pt x="44" y="37"/>
                  <a:pt x="45" y="38"/>
                </a:cubicBezTo>
                <a:cubicBezTo>
                  <a:pt x="45" y="35"/>
                  <a:pt x="45" y="32"/>
                  <a:pt x="45" y="2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12" name="Freeform 708">
            <a:extLst>
              <a:ext uri="{FF2B5EF4-FFF2-40B4-BE49-F238E27FC236}">
                <a16:creationId xmlns:a16="http://schemas.microsoft.com/office/drawing/2014/main" id="{2A8043A4-8077-C745-99E2-579732B9D923}"/>
              </a:ext>
            </a:extLst>
          </p:cNvPr>
          <p:cNvSpPr>
            <a:spLocks/>
          </p:cNvSpPr>
          <p:nvPr/>
        </p:nvSpPr>
        <p:spPr bwMode="auto">
          <a:xfrm>
            <a:off x="9448043" y="4970138"/>
            <a:ext cx="264727" cy="211836"/>
          </a:xfrm>
          <a:custGeom>
            <a:avLst/>
            <a:gdLst>
              <a:gd name="T0" fmla="*/ 50 w 51"/>
              <a:gd name="T1" fmla="*/ 39 h 41"/>
              <a:gd name="T2" fmla="*/ 45 w 51"/>
              <a:gd name="T3" fmla="*/ 37 h 41"/>
              <a:gd name="T4" fmla="*/ 47 w 51"/>
              <a:gd name="T5" fmla="*/ 36 h 41"/>
              <a:gd name="T6" fmla="*/ 42 w 51"/>
              <a:gd name="T7" fmla="*/ 34 h 41"/>
              <a:gd name="T8" fmla="*/ 38 w 51"/>
              <a:gd name="T9" fmla="*/ 30 h 41"/>
              <a:gd name="T10" fmla="*/ 37 w 51"/>
              <a:gd name="T11" fmla="*/ 28 h 41"/>
              <a:gd name="T12" fmla="*/ 34 w 51"/>
              <a:gd name="T13" fmla="*/ 26 h 41"/>
              <a:gd name="T14" fmla="*/ 29 w 51"/>
              <a:gd name="T15" fmla="*/ 21 h 41"/>
              <a:gd name="T16" fmla="*/ 34 w 51"/>
              <a:gd name="T17" fmla="*/ 21 h 41"/>
              <a:gd name="T18" fmla="*/ 34 w 51"/>
              <a:gd name="T19" fmla="*/ 18 h 41"/>
              <a:gd name="T20" fmla="*/ 31 w 51"/>
              <a:gd name="T21" fmla="*/ 17 h 41"/>
              <a:gd name="T22" fmla="*/ 25 w 51"/>
              <a:gd name="T23" fmla="*/ 12 h 41"/>
              <a:gd name="T24" fmla="*/ 19 w 51"/>
              <a:gd name="T25" fmla="*/ 7 h 41"/>
              <a:gd name="T26" fmla="*/ 16 w 51"/>
              <a:gd name="T27" fmla="*/ 6 h 41"/>
              <a:gd name="T28" fmla="*/ 13 w 51"/>
              <a:gd name="T29" fmla="*/ 4 h 41"/>
              <a:gd name="T30" fmla="*/ 8 w 51"/>
              <a:gd name="T31" fmla="*/ 2 h 41"/>
              <a:gd name="T32" fmla="*/ 1 w 51"/>
              <a:gd name="T33" fmla="*/ 0 h 41"/>
              <a:gd name="T34" fmla="*/ 1 w 51"/>
              <a:gd name="T35" fmla="*/ 10 h 41"/>
              <a:gd name="T36" fmla="*/ 1 w 51"/>
              <a:gd name="T37" fmla="*/ 20 h 41"/>
              <a:gd name="T38" fmla="*/ 1 w 51"/>
              <a:gd name="T39" fmla="*/ 25 h 41"/>
              <a:gd name="T40" fmla="*/ 1 w 51"/>
              <a:gd name="T41" fmla="*/ 30 h 41"/>
              <a:gd name="T42" fmla="*/ 4 w 51"/>
              <a:gd name="T43" fmla="*/ 33 h 41"/>
              <a:gd name="T44" fmla="*/ 13 w 51"/>
              <a:gd name="T45" fmla="*/ 31 h 41"/>
              <a:gd name="T46" fmla="*/ 9 w 51"/>
              <a:gd name="T47" fmla="*/ 28 h 41"/>
              <a:gd name="T48" fmla="*/ 14 w 51"/>
              <a:gd name="T49" fmla="*/ 30 h 41"/>
              <a:gd name="T50" fmla="*/ 13 w 51"/>
              <a:gd name="T51" fmla="*/ 26 h 41"/>
              <a:gd name="T52" fmla="*/ 15 w 51"/>
              <a:gd name="T53" fmla="*/ 27 h 41"/>
              <a:gd name="T54" fmla="*/ 18 w 51"/>
              <a:gd name="T55" fmla="*/ 25 h 41"/>
              <a:gd name="T56" fmla="*/ 26 w 51"/>
              <a:gd name="T57" fmla="*/ 27 h 41"/>
              <a:gd name="T58" fmla="*/ 31 w 51"/>
              <a:gd name="T59" fmla="*/ 33 h 41"/>
              <a:gd name="T60" fmla="*/ 36 w 51"/>
              <a:gd name="T61" fmla="*/ 38 h 41"/>
              <a:gd name="T62" fmla="*/ 45 w 51"/>
              <a:gd name="T63" fmla="*/ 40 h 41"/>
              <a:gd name="T64" fmla="*/ 48 w 51"/>
              <a:gd name="T65" fmla="*/ 40 h 41"/>
              <a:gd name="T66" fmla="*/ 50 w 51"/>
              <a:gd name="T67" fmla="*/ 39 h 41"/>
              <a:gd name="T68" fmla="*/ 50 w 51"/>
              <a:gd name="T69" fmla="*/ 3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" h="41">
                <a:moveTo>
                  <a:pt x="50" y="39"/>
                </a:moveTo>
                <a:cubicBezTo>
                  <a:pt x="48" y="38"/>
                  <a:pt x="46" y="38"/>
                  <a:pt x="45" y="37"/>
                </a:cubicBezTo>
                <a:cubicBezTo>
                  <a:pt x="44" y="36"/>
                  <a:pt x="46" y="35"/>
                  <a:pt x="47" y="36"/>
                </a:cubicBezTo>
                <a:cubicBezTo>
                  <a:pt x="45" y="35"/>
                  <a:pt x="42" y="36"/>
                  <a:pt x="42" y="34"/>
                </a:cubicBezTo>
                <a:cubicBezTo>
                  <a:pt x="42" y="32"/>
                  <a:pt x="39" y="32"/>
                  <a:pt x="38" y="30"/>
                </a:cubicBezTo>
                <a:cubicBezTo>
                  <a:pt x="37" y="29"/>
                  <a:pt x="38" y="29"/>
                  <a:pt x="37" y="28"/>
                </a:cubicBezTo>
                <a:cubicBezTo>
                  <a:pt x="36" y="27"/>
                  <a:pt x="35" y="27"/>
                  <a:pt x="34" y="26"/>
                </a:cubicBezTo>
                <a:cubicBezTo>
                  <a:pt x="34" y="26"/>
                  <a:pt x="30" y="21"/>
                  <a:pt x="29" y="21"/>
                </a:cubicBezTo>
                <a:cubicBezTo>
                  <a:pt x="30" y="20"/>
                  <a:pt x="33" y="21"/>
                  <a:pt x="34" y="21"/>
                </a:cubicBezTo>
                <a:cubicBezTo>
                  <a:pt x="36" y="21"/>
                  <a:pt x="35" y="20"/>
                  <a:pt x="34" y="18"/>
                </a:cubicBezTo>
                <a:cubicBezTo>
                  <a:pt x="34" y="17"/>
                  <a:pt x="32" y="17"/>
                  <a:pt x="31" y="17"/>
                </a:cubicBezTo>
                <a:cubicBezTo>
                  <a:pt x="28" y="15"/>
                  <a:pt x="26" y="14"/>
                  <a:pt x="25" y="12"/>
                </a:cubicBezTo>
                <a:cubicBezTo>
                  <a:pt x="24" y="10"/>
                  <a:pt x="21" y="8"/>
                  <a:pt x="19" y="7"/>
                </a:cubicBezTo>
                <a:cubicBezTo>
                  <a:pt x="18" y="6"/>
                  <a:pt x="17" y="6"/>
                  <a:pt x="16" y="6"/>
                </a:cubicBezTo>
                <a:cubicBezTo>
                  <a:pt x="15" y="6"/>
                  <a:pt x="14" y="4"/>
                  <a:pt x="13" y="4"/>
                </a:cubicBezTo>
                <a:cubicBezTo>
                  <a:pt x="12" y="3"/>
                  <a:pt x="10" y="3"/>
                  <a:pt x="8" y="2"/>
                </a:cubicBezTo>
                <a:cubicBezTo>
                  <a:pt x="6" y="2"/>
                  <a:pt x="4" y="0"/>
                  <a:pt x="1" y="0"/>
                </a:cubicBezTo>
                <a:cubicBezTo>
                  <a:pt x="1" y="3"/>
                  <a:pt x="1" y="7"/>
                  <a:pt x="1" y="10"/>
                </a:cubicBezTo>
                <a:cubicBezTo>
                  <a:pt x="1" y="13"/>
                  <a:pt x="2" y="17"/>
                  <a:pt x="1" y="20"/>
                </a:cubicBezTo>
                <a:cubicBezTo>
                  <a:pt x="0" y="21"/>
                  <a:pt x="1" y="23"/>
                  <a:pt x="1" y="25"/>
                </a:cubicBezTo>
                <a:cubicBezTo>
                  <a:pt x="1" y="27"/>
                  <a:pt x="1" y="28"/>
                  <a:pt x="1" y="30"/>
                </a:cubicBezTo>
                <a:cubicBezTo>
                  <a:pt x="1" y="33"/>
                  <a:pt x="2" y="33"/>
                  <a:pt x="4" y="33"/>
                </a:cubicBezTo>
                <a:cubicBezTo>
                  <a:pt x="7" y="33"/>
                  <a:pt x="10" y="33"/>
                  <a:pt x="13" y="31"/>
                </a:cubicBezTo>
                <a:cubicBezTo>
                  <a:pt x="14" y="31"/>
                  <a:pt x="9" y="28"/>
                  <a:pt x="9" y="28"/>
                </a:cubicBezTo>
                <a:cubicBezTo>
                  <a:pt x="10" y="28"/>
                  <a:pt x="14" y="31"/>
                  <a:pt x="14" y="30"/>
                </a:cubicBezTo>
                <a:cubicBezTo>
                  <a:pt x="14" y="29"/>
                  <a:pt x="13" y="28"/>
                  <a:pt x="13" y="26"/>
                </a:cubicBezTo>
                <a:cubicBezTo>
                  <a:pt x="13" y="26"/>
                  <a:pt x="16" y="28"/>
                  <a:pt x="15" y="27"/>
                </a:cubicBezTo>
                <a:cubicBezTo>
                  <a:pt x="15" y="25"/>
                  <a:pt x="17" y="25"/>
                  <a:pt x="18" y="25"/>
                </a:cubicBezTo>
                <a:cubicBezTo>
                  <a:pt x="19" y="25"/>
                  <a:pt x="26" y="28"/>
                  <a:pt x="26" y="27"/>
                </a:cubicBezTo>
                <a:cubicBezTo>
                  <a:pt x="26" y="29"/>
                  <a:pt x="30" y="31"/>
                  <a:pt x="31" y="33"/>
                </a:cubicBezTo>
                <a:cubicBezTo>
                  <a:pt x="32" y="35"/>
                  <a:pt x="34" y="38"/>
                  <a:pt x="36" y="38"/>
                </a:cubicBezTo>
                <a:cubicBezTo>
                  <a:pt x="39" y="38"/>
                  <a:pt x="42" y="39"/>
                  <a:pt x="45" y="40"/>
                </a:cubicBezTo>
                <a:cubicBezTo>
                  <a:pt x="46" y="40"/>
                  <a:pt x="48" y="41"/>
                  <a:pt x="48" y="40"/>
                </a:cubicBezTo>
                <a:cubicBezTo>
                  <a:pt x="48" y="39"/>
                  <a:pt x="51" y="39"/>
                  <a:pt x="50" y="39"/>
                </a:cubicBezTo>
                <a:cubicBezTo>
                  <a:pt x="49" y="38"/>
                  <a:pt x="51" y="39"/>
                  <a:pt x="50" y="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13" name="Freeform 709">
            <a:extLst>
              <a:ext uri="{FF2B5EF4-FFF2-40B4-BE49-F238E27FC236}">
                <a16:creationId xmlns:a16="http://schemas.microsoft.com/office/drawing/2014/main" id="{E10E3AE1-83B0-894C-AA64-6572C61B2439}"/>
              </a:ext>
            </a:extLst>
          </p:cNvPr>
          <p:cNvSpPr>
            <a:spLocks/>
          </p:cNvSpPr>
          <p:nvPr/>
        </p:nvSpPr>
        <p:spPr bwMode="auto">
          <a:xfrm>
            <a:off x="8625625" y="4777719"/>
            <a:ext cx="264727" cy="233020"/>
          </a:xfrm>
          <a:custGeom>
            <a:avLst/>
            <a:gdLst>
              <a:gd name="T0" fmla="*/ 33 w 51"/>
              <a:gd name="T1" fmla="*/ 5 h 45"/>
              <a:gd name="T2" fmla="*/ 29 w 51"/>
              <a:gd name="T3" fmla="*/ 13 h 45"/>
              <a:gd name="T4" fmla="*/ 20 w 51"/>
              <a:gd name="T5" fmla="*/ 16 h 45"/>
              <a:gd name="T6" fmla="*/ 15 w 51"/>
              <a:gd name="T7" fmla="*/ 18 h 45"/>
              <a:gd name="T8" fmla="*/ 10 w 51"/>
              <a:gd name="T9" fmla="*/ 19 h 45"/>
              <a:gd name="T10" fmla="*/ 7 w 51"/>
              <a:gd name="T11" fmla="*/ 18 h 45"/>
              <a:gd name="T12" fmla="*/ 3 w 51"/>
              <a:gd name="T13" fmla="*/ 14 h 45"/>
              <a:gd name="T14" fmla="*/ 0 w 51"/>
              <a:gd name="T15" fmla="*/ 20 h 45"/>
              <a:gd name="T16" fmla="*/ 4 w 51"/>
              <a:gd name="T17" fmla="*/ 29 h 45"/>
              <a:gd name="T18" fmla="*/ 8 w 51"/>
              <a:gd name="T19" fmla="*/ 37 h 45"/>
              <a:gd name="T20" fmla="*/ 13 w 51"/>
              <a:gd name="T21" fmla="*/ 39 h 45"/>
              <a:gd name="T22" fmla="*/ 14 w 51"/>
              <a:gd name="T23" fmla="*/ 41 h 45"/>
              <a:gd name="T24" fmla="*/ 19 w 51"/>
              <a:gd name="T25" fmla="*/ 41 h 45"/>
              <a:gd name="T26" fmla="*/ 21 w 51"/>
              <a:gd name="T27" fmla="*/ 39 h 45"/>
              <a:gd name="T28" fmla="*/ 25 w 51"/>
              <a:gd name="T29" fmla="*/ 40 h 45"/>
              <a:gd name="T30" fmla="*/ 28 w 51"/>
              <a:gd name="T31" fmla="*/ 40 h 45"/>
              <a:gd name="T32" fmla="*/ 31 w 51"/>
              <a:gd name="T33" fmla="*/ 43 h 45"/>
              <a:gd name="T34" fmla="*/ 34 w 51"/>
              <a:gd name="T35" fmla="*/ 42 h 45"/>
              <a:gd name="T36" fmla="*/ 36 w 51"/>
              <a:gd name="T37" fmla="*/ 43 h 45"/>
              <a:gd name="T38" fmla="*/ 37 w 51"/>
              <a:gd name="T39" fmla="*/ 37 h 45"/>
              <a:gd name="T40" fmla="*/ 37 w 51"/>
              <a:gd name="T41" fmla="*/ 33 h 45"/>
              <a:gd name="T42" fmla="*/ 39 w 51"/>
              <a:gd name="T43" fmla="*/ 30 h 45"/>
              <a:gd name="T44" fmla="*/ 42 w 51"/>
              <a:gd name="T45" fmla="*/ 24 h 45"/>
              <a:gd name="T46" fmla="*/ 47 w 51"/>
              <a:gd name="T47" fmla="*/ 19 h 45"/>
              <a:gd name="T48" fmla="*/ 49 w 51"/>
              <a:gd name="T49" fmla="*/ 18 h 45"/>
              <a:gd name="T50" fmla="*/ 45 w 51"/>
              <a:gd name="T51" fmla="*/ 13 h 45"/>
              <a:gd name="T52" fmla="*/ 42 w 51"/>
              <a:gd name="T53" fmla="*/ 7 h 45"/>
              <a:gd name="T54" fmla="*/ 44 w 51"/>
              <a:gd name="T55" fmla="*/ 6 h 45"/>
              <a:gd name="T56" fmla="*/ 44 w 51"/>
              <a:gd name="T57" fmla="*/ 3 h 45"/>
              <a:gd name="T58" fmla="*/ 33 w 51"/>
              <a:gd name="T59" fmla="*/ 5 h 45"/>
              <a:gd name="T60" fmla="*/ 33 w 51"/>
              <a:gd name="T61" fmla="*/ 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1" h="45">
                <a:moveTo>
                  <a:pt x="33" y="5"/>
                </a:moveTo>
                <a:cubicBezTo>
                  <a:pt x="32" y="8"/>
                  <a:pt x="31" y="10"/>
                  <a:pt x="29" y="13"/>
                </a:cubicBezTo>
                <a:cubicBezTo>
                  <a:pt x="28" y="17"/>
                  <a:pt x="23" y="17"/>
                  <a:pt x="20" y="16"/>
                </a:cubicBezTo>
                <a:cubicBezTo>
                  <a:pt x="18" y="15"/>
                  <a:pt x="16" y="17"/>
                  <a:pt x="15" y="18"/>
                </a:cubicBezTo>
                <a:cubicBezTo>
                  <a:pt x="14" y="19"/>
                  <a:pt x="11" y="18"/>
                  <a:pt x="10" y="19"/>
                </a:cubicBezTo>
                <a:cubicBezTo>
                  <a:pt x="8" y="20"/>
                  <a:pt x="8" y="20"/>
                  <a:pt x="7" y="18"/>
                </a:cubicBezTo>
                <a:cubicBezTo>
                  <a:pt x="5" y="17"/>
                  <a:pt x="4" y="16"/>
                  <a:pt x="3" y="14"/>
                </a:cubicBezTo>
                <a:cubicBezTo>
                  <a:pt x="2" y="13"/>
                  <a:pt x="0" y="19"/>
                  <a:pt x="0" y="20"/>
                </a:cubicBezTo>
                <a:cubicBezTo>
                  <a:pt x="0" y="23"/>
                  <a:pt x="3" y="26"/>
                  <a:pt x="4" y="29"/>
                </a:cubicBezTo>
                <a:cubicBezTo>
                  <a:pt x="6" y="32"/>
                  <a:pt x="5" y="35"/>
                  <a:pt x="8" y="37"/>
                </a:cubicBezTo>
                <a:cubicBezTo>
                  <a:pt x="10" y="38"/>
                  <a:pt x="12" y="39"/>
                  <a:pt x="13" y="39"/>
                </a:cubicBezTo>
                <a:cubicBezTo>
                  <a:pt x="16" y="38"/>
                  <a:pt x="13" y="40"/>
                  <a:pt x="14" y="41"/>
                </a:cubicBezTo>
                <a:cubicBezTo>
                  <a:pt x="15" y="41"/>
                  <a:pt x="18" y="41"/>
                  <a:pt x="19" y="41"/>
                </a:cubicBezTo>
                <a:cubicBezTo>
                  <a:pt x="20" y="40"/>
                  <a:pt x="20" y="38"/>
                  <a:pt x="21" y="39"/>
                </a:cubicBezTo>
                <a:cubicBezTo>
                  <a:pt x="22" y="40"/>
                  <a:pt x="24" y="41"/>
                  <a:pt x="25" y="40"/>
                </a:cubicBezTo>
                <a:cubicBezTo>
                  <a:pt x="26" y="40"/>
                  <a:pt x="28" y="39"/>
                  <a:pt x="28" y="40"/>
                </a:cubicBezTo>
                <a:cubicBezTo>
                  <a:pt x="29" y="43"/>
                  <a:pt x="27" y="45"/>
                  <a:pt x="31" y="43"/>
                </a:cubicBezTo>
                <a:cubicBezTo>
                  <a:pt x="32" y="43"/>
                  <a:pt x="33" y="42"/>
                  <a:pt x="34" y="42"/>
                </a:cubicBezTo>
                <a:cubicBezTo>
                  <a:pt x="35" y="42"/>
                  <a:pt x="36" y="43"/>
                  <a:pt x="36" y="43"/>
                </a:cubicBezTo>
                <a:cubicBezTo>
                  <a:pt x="37" y="41"/>
                  <a:pt x="35" y="39"/>
                  <a:pt x="37" y="37"/>
                </a:cubicBezTo>
                <a:cubicBezTo>
                  <a:pt x="38" y="36"/>
                  <a:pt x="37" y="35"/>
                  <a:pt x="37" y="33"/>
                </a:cubicBezTo>
                <a:cubicBezTo>
                  <a:pt x="37" y="32"/>
                  <a:pt x="38" y="31"/>
                  <a:pt x="39" y="30"/>
                </a:cubicBezTo>
                <a:cubicBezTo>
                  <a:pt x="41" y="28"/>
                  <a:pt x="43" y="27"/>
                  <a:pt x="42" y="24"/>
                </a:cubicBezTo>
                <a:cubicBezTo>
                  <a:pt x="42" y="22"/>
                  <a:pt x="45" y="18"/>
                  <a:pt x="47" y="19"/>
                </a:cubicBezTo>
                <a:cubicBezTo>
                  <a:pt x="48" y="20"/>
                  <a:pt x="51" y="19"/>
                  <a:pt x="49" y="18"/>
                </a:cubicBezTo>
                <a:cubicBezTo>
                  <a:pt x="48" y="16"/>
                  <a:pt x="45" y="15"/>
                  <a:pt x="45" y="13"/>
                </a:cubicBezTo>
                <a:cubicBezTo>
                  <a:pt x="45" y="11"/>
                  <a:pt x="43" y="9"/>
                  <a:pt x="42" y="7"/>
                </a:cubicBezTo>
                <a:cubicBezTo>
                  <a:pt x="41" y="4"/>
                  <a:pt x="44" y="7"/>
                  <a:pt x="44" y="6"/>
                </a:cubicBezTo>
                <a:cubicBezTo>
                  <a:pt x="45" y="5"/>
                  <a:pt x="41" y="4"/>
                  <a:pt x="44" y="3"/>
                </a:cubicBezTo>
                <a:cubicBezTo>
                  <a:pt x="40" y="2"/>
                  <a:pt x="34" y="0"/>
                  <a:pt x="33" y="5"/>
                </a:cubicBezTo>
                <a:cubicBezTo>
                  <a:pt x="32" y="7"/>
                  <a:pt x="34" y="3"/>
                  <a:pt x="33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14" name="Freeform 710">
            <a:extLst>
              <a:ext uri="{FF2B5EF4-FFF2-40B4-BE49-F238E27FC236}">
                <a16:creationId xmlns:a16="http://schemas.microsoft.com/office/drawing/2014/main" id="{AA66162C-5545-A147-8711-7814CD17D682}"/>
              </a:ext>
            </a:extLst>
          </p:cNvPr>
          <p:cNvSpPr>
            <a:spLocks/>
          </p:cNvSpPr>
          <p:nvPr/>
        </p:nvSpPr>
        <p:spPr bwMode="auto">
          <a:xfrm>
            <a:off x="8641508" y="4715932"/>
            <a:ext cx="254138" cy="165939"/>
          </a:xfrm>
          <a:custGeom>
            <a:avLst/>
            <a:gdLst>
              <a:gd name="T0" fmla="*/ 45 w 49"/>
              <a:gd name="T1" fmla="*/ 10 h 32"/>
              <a:gd name="T2" fmla="*/ 47 w 49"/>
              <a:gd name="T3" fmla="*/ 8 h 32"/>
              <a:gd name="T4" fmla="*/ 43 w 49"/>
              <a:gd name="T5" fmla="*/ 7 h 32"/>
              <a:gd name="T6" fmla="*/ 42 w 49"/>
              <a:gd name="T7" fmla="*/ 6 h 32"/>
              <a:gd name="T8" fmla="*/ 41 w 49"/>
              <a:gd name="T9" fmla="*/ 6 h 32"/>
              <a:gd name="T10" fmla="*/ 41 w 49"/>
              <a:gd name="T11" fmla="*/ 4 h 32"/>
              <a:gd name="T12" fmla="*/ 39 w 49"/>
              <a:gd name="T13" fmla="*/ 2 h 32"/>
              <a:gd name="T14" fmla="*/ 37 w 49"/>
              <a:gd name="T15" fmla="*/ 2 h 32"/>
              <a:gd name="T16" fmla="*/ 36 w 49"/>
              <a:gd name="T17" fmla="*/ 1 h 32"/>
              <a:gd name="T18" fmla="*/ 32 w 49"/>
              <a:gd name="T19" fmla="*/ 6 h 32"/>
              <a:gd name="T20" fmla="*/ 30 w 49"/>
              <a:gd name="T21" fmla="*/ 8 h 32"/>
              <a:gd name="T22" fmla="*/ 29 w 49"/>
              <a:gd name="T23" fmla="*/ 9 h 32"/>
              <a:gd name="T24" fmla="*/ 29 w 49"/>
              <a:gd name="T25" fmla="*/ 10 h 32"/>
              <a:gd name="T26" fmla="*/ 25 w 49"/>
              <a:gd name="T27" fmla="*/ 12 h 32"/>
              <a:gd name="T28" fmla="*/ 25 w 49"/>
              <a:gd name="T29" fmla="*/ 15 h 32"/>
              <a:gd name="T30" fmla="*/ 27 w 49"/>
              <a:gd name="T31" fmla="*/ 14 h 32"/>
              <a:gd name="T32" fmla="*/ 29 w 49"/>
              <a:gd name="T33" fmla="*/ 13 h 32"/>
              <a:gd name="T34" fmla="*/ 28 w 49"/>
              <a:gd name="T35" fmla="*/ 11 h 32"/>
              <a:gd name="T36" fmla="*/ 29 w 49"/>
              <a:gd name="T37" fmla="*/ 13 h 32"/>
              <a:gd name="T38" fmla="*/ 26 w 49"/>
              <a:gd name="T39" fmla="*/ 14 h 32"/>
              <a:gd name="T40" fmla="*/ 23 w 49"/>
              <a:gd name="T41" fmla="*/ 13 h 32"/>
              <a:gd name="T42" fmla="*/ 14 w 49"/>
              <a:gd name="T43" fmla="*/ 20 h 32"/>
              <a:gd name="T44" fmla="*/ 9 w 49"/>
              <a:gd name="T45" fmla="*/ 23 h 32"/>
              <a:gd name="T46" fmla="*/ 7 w 49"/>
              <a:gd name="T47" fmla="*/ 26 h 32"/>
              <a:gd name="T48" fmla="*/ 9 w 49"/>
              <a:gd name="T49" fmla="*/ 28 h 32"/>
              <a:gd name="T50" fmla="*/ 0 w 49"/>
              <a:gd name="T51" fmla="*/ 26 h 32"/>
              <a:gd name="T52" fmla="*/ 5 w 49"/>
              <a:gd name="T53" fmla="*/ 32 h 32"/>
              <a:gd name="T54" fmla="*/ 7 w 49"/>
              <a:gd name="T55" fmla="*/ 31 h 32"/>
              <a:gd name="T56" fmla="*/ 12 w 49"/>
              <a:gd name="T57" fmla="*/ 30 h 32"/>
              <a:gd name="T58" fmla="*/ 20 w 49"/>
              <a:gd name="T59" fmla="*/ 29 h 32"/>
              <a:gd name="T60" fmla="*/ 27 w 49"/>
              <a:gd name="T61" fmla="*/ 24 h 32"/>
              <a:gd name="T62" fmla="*/ 30 w 49"/>
              <a:gd name="T63" fmla="*/ 18 h 32"/>
              <a:gd name="T64" fmla="*/ 34 w 49"/>
              <a:gd name="T65" fmla="*/ 14 h 32"/>
              <a:gd name="T66" fmla="*/ 43 w 49"/>
              <a:gd name="T67" fmla="*/ 14 h 32"/>
              <a:gd name="T68" fmla="*/ 45 w 49"/>
              <a:gd name="T69" fmla="*/ 1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9" h="32">
                <a:moveTo>
                  <a:pt x="45" y="10"/>
                </a:moveTo>
                <a:cubicBezTo>
                  <a:pt x="48" y="10"/>
                  <a:pt x="49" y="9"/>
                  <a:pt x="47" y="8"/>
                </a:cubicBezTo>
                <a:cubicBezTo>
                  <a:pt x="45" y="7"/>
                  <a:pt x="45" y="6"/>
                  <a:pt x="43" y="7"/>
                </a:cubicBezTo>
                <a:cubicBezTo>
                  <a:pt x="42" y="8"/>
                  <a:pt x="43" y="7"/>
                  <a:pt x="42" y="6"/>
                </a:cubicBezTo>
                <a:cubicBezTo>
                  <a:pt x="42" y="6"/>
                  <a:pt x="41" y="6"/>
                  <a:pt x="41" y="6"/>
                </a:cubicBezTo>
                <a:cubicBezTo>
                  <a:pt x="41" y="6"/>
                  <a:pt x="41" y="4"/>
                  <a:pt x="41" y="4"/>
                </a:cubicBezTo>
                <a:cubicBezTo>
                  <a:pt x="40" y="3"/>
                  <a:pt x="39" y="2"/>
                  <a:pt x="39" y="2"/>
                </a:cubicBezTo>
                <a:cubicBezTo>
                  <a:pt x="37" y="0"/>
                  <a:pt x="38" y="1"/>
                  <a:pt x="37" y="2"/>
                </a:cubicBezTo>
                <a:cubicBezTo>
                  <a:pt x="36" y="3"/>
                  <a:pt x="36" y="1"/>
                  <a:pt x="36" y="1"/>
                </a:cubicBezTo>
                <a:cubicBezTo>
                  <a:pt x="35" y="1"/>
                  <a:pt x="32" y="5"/>
                  <a:pt x="32" y="6"/>
                </a:cubicBezTo>
                <a:cubicBezTo>
                  <a:pt x="31" y="6"/>
                  <a:pt x="30" y="7"/>
                  <a:pt x="30" y="8"/>
                </a:cubicBezTo>
                <a:cubicBezTo>
                  <a:pt x="29" y="8"/>
                  <a:pt x="29" y="9"/>
                  <a:pt x="29" y="9"/>
                </a:cubicBezTo>
                <a:cubicBezTo>
                  <a:pt x="29" y="10"/>
                  <a:pt x="29" y="10"/>
                  <a:pt x="29" y="10"/>
                </a:cubicBezTo>
                <a:cubicBezTo>
                  <a:pt x="29" y="11"/>
                  <a:pt x="26" y="11"/>
                  <a:pt x="25" y="12"/>
                </a:cubicBezTo>
                <a:cubicBezTo>
                  <a:pt x="22" y="12"/>
                  <a:pt x="23" y="14"/>
                  <a:pt x="25" y="15"/>
                </a:cubicBezTo>
                <a:cubicBezTo>
                  <a:pt x="27" y="17"/>
                  <a:pt x="26" y="15"/>
                  <a:pt x="27" y="14"/>
                </a:cubicBezTo>
                <a:cubicBezTo>
                  <a:pt x="27" y="13"/>
                  <a:pt x="29" y="13"/>
                  <a:pt x="29" y="13"/>
                </a:cubicBezTo>
                <a:cubicBezTo>
                  <a:pt x="29" y="13"/>
                  <a:pt x="28" y="12"/>
                  <a:pt x="28" y="11"/>
                </a:cubicBezTo>
                <a:cubicBezTo>
                  <a:pt x="28" y="12"/>
                  <a:pt x="29" y="13"/>
                  <a:pt x="29" y="13"/>
                </a:cubicBezTo>
                <a:cubicBezTo>
                  <a:pt x="29" y="13"/>
                  <a:pt x="27" y="13"/>
                  <a:pt x="26" y="14"/>
                </a:cubicBezTo>
                <a:cubicBezTo>
                  <a:pt x="26" y="17"/>
                  <a:pt x="24" y="14"/>
                  <a:pt x="23" y="13"/>
                </a:cubicBezTo>
                <a:cubicBezTo>
                  <a:pt x="20" y="16"/>
                  <a:pt x="18" y="19"/>
                  <a:pt x="14" y="20"/>
                </a:cubicBezTo>
                <a:cubicBezTo>
                  <a:pt x="12" y="21"/>
                  <a:pt x="10" y="21"/>
                  <a:pt x="9" y="23"/>
                </a:cubicBezTo>
                <a:cubicBezTo>
                  <a:pt x="8" y="24"/>
                  <a:pt x="8" y="25"/>
                  <a:pt x="7" y="26"/>
                </a:cubicBezTo>
                <a:cubicBezTo>
                  <a:pt x="7" y="27"/>
                  <a:pt x="9" y="28"/>
                  <a:pt x="9" y="28"/>
                </a:cubicBezTo>
                <a:cubicBezTo>
                  <a:pt x="8" y="29"/>
                  <a:pt x="1" y="26"/>
                  <a:pt x="0" y="26"/>
                </a:cubicBezTo>
                <a:cubicBezTo>
                  <a:pt x="1" y="28"/>
                  <a:pt x="3" y="31"/>
                  <a:pt x="5" y="32"/>
                </a:cubicBezTo>
                <a:cubicBezTo>
                  <a:pt x="6" y="32"/>
                  <a:pt x="7" y="31"/>
                  <a:pt x="7" y="31"/>
                </a:cubicBezTo>
                <a:cubicBezTo>
                  <a:pt x="9" y="30"/>
                  <a:pt x="12" y="31"/>
                  <a:pt x="12" y="30"/>
                </a:cubicBezTo>
                <a:cubicBezTo>
                  <a:pt x="15" y="27"/>
                  <a:pt x="17" y="28"/>
                  <a:pt x="20" y="29"/>
                </a:cubicBezTo>
                <a:cubicBezTo>
                  <a:pt x="23" y="29"/>
                  <a:pt x="26" y="27"/>
                  <a:pt x="27" y="24"/>
                </a:cubicBezTo>
                <a:cubicBezTo>
                  <a:pt x="28" y="22"/>
                  <a:pt x="29" y="20"/>
                  <a:pt x="30" y="18"/>
                </a:cubicBezTo>
                <a:cubicBezTo>
                  <a:pt x="30" y="15"/>
                  <a:pt x="31" y="14"/>
                  <a:pt x="34" y="14"/>
                </a:cubicBezTo>
                <a:cubicBezTo>
                  <a:pt x="37" y="14"/>
                  <a:pt x="40" y="15"/>
                  <a:pt x="43" y="14"/>
                </a:cubicBezTo>
                <a:cubicBezTo>
                  <a:pt x="47" y="13"/>
                  <a:pt x="40" y="10"/>
                  <a:pt x="45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15" name="Freeform 711">
            <a:extLst>
              <a:ext uri="{FF2B5EF4-FFF2-40B4-BE49-F238E27FC236}">
                <a16:creationId xmlns:a16="http://schemas.microsoft.com/office/drawing/2014/main" id="{B1B5C1C2-ECB0-3E4C-AD78-2171ECF0CCDD}"/>
              </a:ext>
            </a:extLst>
          </p:cNvPr>
          <p:cNvSpPr>
            <a:spLocks/>
          </p:cNvSpPr>
          <p:nvPr/>
        </p:nvSpPr>
        <p:spPr bwMode="auto">
          <a:xfrm>
            <a:off x="8124409" y="4140443"/>
            <a:ext cx="88242" cy="51193"/>
          </a:xfrm>
          <a:custGeom>
            <a:avLst/>
            <a:gdLst>
              <a:gd name="T0" fmla="*/ 2 w 17"/>
              <a:gd name="T1" fmla="*/ 8 h 10"/>
              <a:gd name="T2" fmla="*/ 7 w 17"/>
              <a:gd name="T3" fmla="*/ 9 h 10"/>
              <a:gd name="T4" fmla="*/ 12 w 17"/>
              <a:gd name="T5" fmla="*/ 9 h 10"/>
              <a:gd name="T6" fmla="*/ 16 w 17"/>
              <a:gd name="T7" fmla="*/ 8 h 10"/>
              <a:gd name="T8" fmla="*/ 15 w 17"/>
              <a:gd name="T9" fmla="*/ 3 h 10"/>
              <a:gd name="T10" fmla="*/ 10 w 17"/>
              <a:gd name="T11" fmla="*/ 3 h 10"/>
              <a:gd name="T12" fmla="*/ 6 w 17"/>
              <a:gd name="T13" fmla="*/ 1 h 10"/>
              <a:gd name="T14" fmla="*/ 2 w 17"/>
              <a:gd name="T15" fmla="*/ 8 h 10"/>
              <a:gd name="T16" fmla="*/ 2 w 17"/>
              <a:gd name="T17" fmla="*/ 8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10">
                <a:moveTo>
                  <a:pt x="2" y="8"/>
                </a:moveTo>
                <a:cubicBezTo>
                  <a:pt x="3" y="9"/>
                  <a:pt x="6" y="10"/>
                  <a:pt x="7" y="9"/>
                </a:cubicBezTo>
                <a:cubicBezTo>
                  <a:pt x="9" y="8"/>
                  <a:pt x="10" y="10"/>
                  <a:pt x="12" y="9"/>
                </a:cubicBezTo>
                <a:cubicBezTo>
                  <a:pt x="13" y="9"/>
                  <a:pt x="17" y="9"/>
                  <a:pt x="16" y="8"/>
                </a:cubicBezTo>
                <a:cubicBezTo>
                  <a:pt x="15" y="6"/>
                  <a:pt x="14" y="5"/>
                  <a:pt x="15" y="3"/>
                </a:cubicBezTo>
                <a:cubicBezTo>
                  <a:pt x="13" y="2"/>
                  <a:pt x="11" y="4"/>
                  <a:pt x="10" y="3"/>
                </a:cubicBezTo>
                <a:cubicBezTo>
                  <a:pt x="9" y="2"/>
                  <a:pt x="7" y="0"/>
                  <a:pt x="6" y="1"/>
                </a:cubicBezTo>
                <a:cubicBezTo>
                  <a:pt x="4" y="3"/>
                  <a:pt x="0" y="6"/>
                  <a:pt x="2" y="8"/>
                </a:cubicBezTo>
                <a:cubicBezTo>
                  <a:pt x="3" y="9"/>
                  <a:pt x="1" y="7"/>
                  <a:pt x="2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16" name="Freeform 712">
            <a:extLst>
              <a:ext uri="{FF2B5EF4-FFF2-40B4-BE49-F238E27FC236}">
                <a16:creationId xmlns:a16="http://schemas.microsoft.com/office/drawing/2014/main" id="{A836775A-F2E8-3349-B1F1-B93A768CA5DC}"/>
              </a:ext>
            </a:extLst>
          </p:cNvPr>
          <p:cNvSpPr>
            <a:spLocks/>
          </p:cNvSpPr>
          <p:nvPr/>
        </p:nvSpPr>
        <p:spPr bwMode="auto">
          <a:xfrm>
            <a:off x="7921451" y="4082189"/>
            <a:ext cx="192367" cy="120040"/>
          </a:xfrm>
          <a:custGeom>
            <a:avLst/>
            <a:gdLst>
              <a:gd name="T0" fmla="*/ 1 w 37"/>
              <a:gd name="T1" fmla="*/ 3 h 23"/>
              <a:gd name="T2" fmla="*/ 0 w 37"/>
              <a:gd name="T3" fmla="*/ 9 h 23"/>
              <a:gd name="T4" fmla="*/ 5 w 37"/>
              <a:gd name="T5" fmla="*/ 13 h 23"/>
              <a:gd name="T6" fmla="*/ 7 w 37"/>
              <a:gd name="T7" fmla="*/ 14 h 23"/>
              <a:gd name="T8" fmla="*/ 12 w 37"/>
              <a:gd name="T9" fmla="*/ 15 h 23"/>
              <a:gd name="T10" fmla="*/ 15 w 37"/>
              <a:gd name="T11" fmla="*/ 16 h 23"/>
              <a:gd name="T12" fmla="*/ 19 w 37"/>
              <a:gd name="T13" fmla="*/ 16 h 23"/>
              <a:gd name="T14" fmla="*/ 22 w 37"/>
              <a:gd name="T15" fmla="*/ 19 h 23"/>
              <a:gd name="T16" fmla="*/ 26 w 37"/>
              <a:gd name="T17" fmla="*/ 20 h 23"/>
              <a:gd name="T18" fmla="*/ 29 w 37"/>
              <a:gd name="T19" fmla="*/ 22 h 23"/>
              <a:gd name="T20" fmla="*/ 32 w 37"/>
              <a:gd name="T21" fmla="*/ 20 h 23"/>
              <a:gd name="T22" fmla="*/ 35 w 37"/>
              <a:gd name="T23" fmla="*/ 22 h 23"/>
              <a:gd name="T24" fmla="*/ 37 w 37"/>
              <a:gd name="T25" fmla="*/ 21 h 23"/>
              <a:gd name="T26" fmla="*/ 37 w 37"/>
              <a:gd name="T27" fmla="*/ 18 h 23"/>
              <a:gd name="T28" fmla="*/ 37 w 37"/>
              <a:gd name="T29" fmla="*/ 14 h 23"/>
              <a:gd name="T30" fmla="*/ 32 w 37"/>
              <a:gd name="T31" fmla="*/ 14 h 23"/>
              <a:gd name="T32" fmla="*/ 31 w 37"/>
              <a:gd name="T33" fmla="*/ 13 h 23"/>
              <a:gd name="T34" fmla="*/ 28 w 37"/>
              <a:gd name="T35" fmla="*/ 13 h 23"/>
              <a:gd name="T36" fmla="*/ 26 w 37"/>
              <a:gd name="T37" fmla="*/ 12 h 23"/>
              <a:gd name="T38" fmla="*/ 24 w 37"/>
              <a:gd name="T39" fmla="*/ 12 h 23"/>
              <a:gd name="T40" fmla="*/ 20 w 37"/>
              <a:gd name="T41" fmla="*/ 10 h 23"/>
              <a:gd name="T42" fmla="*/ 18 w 37"/>
              <a:gd name="T43" fmla="*/ 8 h 23"/>
              <a:gd name="T44" fmla="*/ 16 w 37"/>
              <a:gd name="T45" fmla="*/ 7 h 23"/>
              <a:gd name="T46" fmla="*/ 10 w 37"/>
              <a:gd name="T47" fmla="*/ 2 h 23"/>
              <a:gd name="T48" fmla="*/ 8 w 37"/>
              <a:gd name="T49" fmla="*/ 0 h 23"/>
              <a:gd name="T50" fmla="*/ 5 w 37"/>
              <a:gd name="T51" fmla="*/ 2 h 23"/>
              <a:gd name="T52" fmla="*/ 4 w 37"/>
              <a:gd name="T53" fmla="*/ 2 h 23"/>
              <a:gd name="T54" fmla="*/ 1 w 37"/>
              <a:gd name="T55" fmla="*/ 3 h 23"/>
              <a:gd name="T56" fmla="*/ 1 w 37"/>
              <a:gd name="T57" fmla="*/ 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7" h="23">
                <a:moveTo>
                  <a:pt x="1" y="3"/>
                </a:moveTo>
                <a:cubicBezTo>
                  <a:pt x="0" y="4"/>
                  <a:pt x="0" y="8"/>
                  <a:pt x="0" y="9"/>
                </a:cubicBezTo>
                <a:cubicBezTo>
                  <a:pt x="1" y="10"/>
                  <a:pt x="4" y="11"/>
                  <a:pt x="5" y="13"/>
                </a:cubicBezTo>
                <a:cubicBezTo>
                  <a:pt x="6" y="13"/>
                  <a:pt x="7" y="14"/>
                  <a:pt x="7" y="14"/>
                </a:cubicBezTo>
                <a:cubicBezTo>
                  <a:pt x="9" y="15"/>
                  <a:pt x="10" y="14"/>
                  <a:pt x="12" y="15"/>
                </a:cubicBezTo>
                <a:cubicBezTo>
                  <a:pt x="13" y="15"/>
                  <a:pt x="14" y="16"/>
                  <a:pt x="15" y="16"/>
                </a:cubicBezTo>
                <a:cubicBezTo>
                  <a:pt x="16" y="16"/>
                  <a:pt x="18" y="16"/>
                  <a:pt x="19" y="16"/>
                </a:cubicBezTo>
                <a:cubicBezTo>
                  <a:pt x="20" y="17"/>
                  <a:pt x="21" y="18"/>
                  <a:pt x="22" y="19"/>
                </a:cubicBezTo>
                <a:cubicBezTo>
                  <a:pt x="23" y="19"/>
                  <a:pt x="25" y="19"/>
                  <a:pt x="26" y="20"/>
                </a:cubicBezTo>
                <a:cubicBezTo>
                  <a:pt x="27" y="20"/>
                  <a:pt x="28" y="22"/>
                  <a:pt x="29" y="22"/>
                </a:cubicBezTo>
                <a:cubicBezTo>
                  <a:pt x="30" y="22"/>
                  <a:pt x="31" y="20"/>
                  <a:pt x="32" y="20"/>
                </a:cubicBezTo>
                <a:cubicBezTo>
                  <a:pt x="33" y="21"/>
                  <a:pt x="33" y="23"/>
                  <a:pt x="35" y="22"/>
                </a:cubicBezTo>
                <a:cubicBezTo>
                  <a:pt x="35" y="22"/>
                  <a:pt x="37" y="21"/>
                  <a:pt x="37" y="21"/>
                </a:cubicBezTo>
                <a:cubicBezTo>
                  <a:pt x="37" y="20"/>
                  <a:pt x="37" y="19"/>
                  <a:pt x="37" y="18"/>
                </a:cubicBezTo>
                <a:cubicBezTo>
                  <a:pt x="36" y="17"/>
                  <a:pt x="37" y="16"/>
                  <a:pt x="37" y="14"/>
                </a:cubicBezTo>
                <a:cubicBezTo>
                  <a:pt x="35" y="14"/>
                  <a:pt x="34" y="15"/>
                  <a:pt x="32" y="14"/>
                </a:cubicBezTo>
                <a:cubicBezTo>
                  <a:pt x="32" y="14"/>
                  <a:pt x="31" y="13"/>
                  <a:pt x="31" y="13"/>
                </a:cubicBezTo>
                <a:cubicBezTo>
                  <a:pt x="30" y="13"/>
                  <a:pt x="29" y="14"/>
                  <a:pt x="28" y="13"/>
                </a:cubicBezTo>
                <a:cubicBezTo>
                  <a:pt x="28" y="13"/>
                  <a:pt x="27" y="12"/>
                  <a:pt x="26" y="12"/>
                </a:cubicBezTo>
                <a:cubicBezTo>
                  <a:pt x="25" y="12"/>
                  <a:pt x="24" y="14"/>
                  <a:pt x="24" y="12"/>
                </a:cubicBezTo>
                <a:cubicBezTo>
                  <a:pt x="22" y="10"/>
                  <a:pt x="21" y="11"/>
                  <a:pt x="20" y="10"/>
                </a:cubicBezTo>
                <a:cubicBezTo>
                  <a:pt x="19" y="9"/>
                  <a:pt x="19" y="8"/>
                  <a:pt x="18" y="8"/>
                </a:cubicBezTo>
                <a:cubicBezTo>
                  <a:pt x="17" y="7"/>
                  <a:pt x="16" y="7"/>
                  <a:pt x="16" y="7"/>
                </a:cubicBezTo>
                <a:cubicBezTo>
                  <a:pt x="14" y="6"/>
                  <a:pt x="11" y="4"/>
                  <a:pt x="10" y="2"/>
                </a:cubicBezTo>
                <a:cubicBezTo>
                  <a:pt x="10" y="1"/>
                  <a:pt x="9" y="0"/>
                  <a:pt x="8" y="0"/>
                </a:cubicBezTo>
                <a:cubicBezTo>
                  <a:pt x="6" y="0"/>
                  <a:pt x="6" y="1"/>
                  <a:pt x="5" y="2"/>
                </a:cubicBezTo>
                <a:cubicBezTo>
                  <a:pt x="5" y="3"/>
                  <a:pt x="4" y="2"/>
                  <a:pt x="4" y="2"/>
                </a:cubicBezTo>
                <a:cubicBezTo>
                  <a:pt x="3" y="3"/>
                  <a:pt x="2" y="3"/>
                  <a:pt x="1" y="3"/>
                </a:cubicBezTo>
                <a:cubicBezTo>
                  <a:pt x="0" y="4"/>
                  <a:pt x="2" y="3"/>
                  <a:pt x="1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17" name="Freeform 713">
            <a:extLst>
              <a:ext uri="{FF2B5EF4-FFF2-40B4-BE49-F238E27FC236}">
                <a16:creationId xmlns:a16="http://schemas.microsoft.com/office/drawing/2014/main" id="{A4FE41FF-B752-A546-A900-0064BC01A15F}"/>
              </a:ext>
            </a:extLst>
          </p:cNvPr>
          <p:cNvSpPr>
            <a:spLocks/>
          </p:cNvSpPr>
          <p:nvPr/>
        </p:nvSpPr>
        <p:spPr bwMode="auto">
          <a:xfrm>
            <a:off x="8454434" y="4518218"/>
            <a:ext cx="144716" cy="120040"/>
          </a:xfrm>
          <a:custGeom>
            <a:avLst/>
            <a:gdLst>
              <a:gd name="T0" fmla="*/ 14 w 28"/>
              <a:gd name="T1" fmla="*/ 19 h 23"/>
              <a:gd name="T2" fmla="*/ 19 w 28"/>
              <a:gd name="T3" fmla="*/ 18 h 23"/>
              <a:gd name="T4" fmla="*/ 19 w 28"/>
              <a:gd name="T5" fmla="*/ 15 h 23"/>
              <a:gd name="T6" fmla="*/ 21 w 28"/>
              <a:gd name="T7" fmla="*/ 14 h 23"/>
              <a:gd name="T8" fmla="*/ 24 w 28"/>
              <a:gd name="T9" fmla="*/ 12 h 23"/>
              <a:gd name="T10" fmla="*/ 27 w 28"/>
              <a:gd name="T11" fmla="*/ 9 h 23"/>
              <a:gd name="T12" fmla="*/ 26 w 28"/>
              <a:gd name="T13" fmla="*/ 1 h 23"/>
              <a:gd name="T14" fmla="*/ 22 w 28"/>
              <a:gd name="T15" fmla="*/ 1 h 23"/>
              <a:gd name="T16" fmla="*/ 19 w 28"/>
              <a:gd name="T17" fmla="*/ 2 h 23"/>
              <a:gd name="T18" fmla="*/ 17 w 28"/>
              <a:gd name="T19" fmla="*/ 2 h 23"/>
              <a:gd name="T20" fmla="*/ 3 w 28"/>
              <a:gd name="T21" fmla="*/ 3 h 23"/>
              <a:gd name="T22" fmla="*/ 0 w 28"/>
              <a:gd name="T23" fmla="*/ 7 h 23"/>
              <a:gd name="T24" fmla="*/ 1 w 28"/>
              <a:gd name="T25" fmla="*/ 10 h 23"/>
              <a:gd name="T26" fmla="*/ 3 w 28"/>
              <a:gd name="T27" fmla="*/ 14 h 23"/>
              <a:gd name="T28" fmla="*/ 5 w 28"/>
              <a:gd name="T29" fmla="*/ 18 h 23"/>
              <a:gd name="T30" fmla="*/ 6 w 28"/>
              <a:gd name="T31" fmla="*/ 19 h 23"/>
              <a:gd name="T32" fmla="*/ 7 w 28"/>
              <a:gd name="T33" fmla="*/ 21 h 23"/>
              <a:gd name="T34" fmla="*/ 8 w 28"/>
              <a:gd name="T35" fmla="*/ 23 h 23"/>
              <a:gd name="T36" fmla="*/ 14 w 28"/>
              <a:gd name="T37" fmla="*/ 19 h 23"/>
              <a:gd name="T38" fmla="*/ 14 w 28"/>
              <a:gd name="T39" fmla="*/ 19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8" h="23">
                <a:moveTo>
                  <a:pt x="14" y="19"/>
                </a:moveTo>
                <a:cubicBezTo>
                  <a:pt x="14" y="18"/>
                  <a:pt x="20" y="20"/>
                  <a:pt x="19" y="18"/>
                </a:cubicBezTo>
                <a:cubicBezTo>
                  <a:pt x="19" y="18"/>
                  <a:pt x="18" y="15"/>
                  <a:pt x="19" y="15"/>
                </a:cubicBezTo>
                <a:cubicBezTo>
                  <a:pt x="20" y="15"/>
                  <a:pt x="21" y="16"/>
                  <a:pt x="21" y="14"/>
                </a:cubicBezTo>
                <a:cubicBezTo>
                  <a:pt x="21" y="12"/>
                  <a:pt x="23" y="13"/>
                  <a:pt x="24" y="12"/>
                </a:cubicBezTo>
                <a:cubicBezTo>
                  <a:pt x="26" y="12"/>
                  <a:pt x="26" y="10"/>
                  <a:pt x="27" y="9"/>
                </a:cubicBezTo>
                <a:cubicBezTo>
                  <a:pt x="28" y="7"/>
                  <a:pt x="25" y="2"/>
                  <a:pt x="26" y="1"/>
                </a:cubicBezTo>
                <a:cubicBezTo>
                  <a:pt x="24" y="2"/>
                  <a:pt x="24" y="2"/>
                  <a:pt x="22" y="1"/>
                </a:cubicBezTo>
                <a:cubicBezTo>
                  <a:pt x="21" y="0"/>
                  <a:pt x="19" y="2"/>
                  <a:pt x="19" y="2"/>
                </a:cubicBezTo>
                <a:cubicBezTo>
                  <a:pt x="19" y="4"/>
                  <a:pt x="17" y="2"/>
                  <a:pt x="17" y="2"/>
                </a:cubicBezTo>
                <a:cubicBezTo>
                  <a:pt x="13" y="1"/>
                  <a:pt x="6" y="0"/>
                  <a:pt x="3" y="3"/>
                </a:cubicBezTo>
                <a:cubicBezTo>
                  <a:pt x="2" y="4"/>
                  <a:pt x="0" y="5"/>
                  <a:pt x="0" y="7"/>
                </a:cubicBezTo>
                <a:cubicBezTo>
                  <a:pt x="0" y="8"/>
                  <a:pt x="1" y="9"/>
                  <a:pt x="1" y="10"/>
                </a:cubicBezTo>
                <a:cubicBezTo>
                  <a:pt x="3" y="11"/>
                  <a:pt x="3" y="13"/>
                  <a:pt x="3" y="14"/>
                </a:cubicBezTo>
                <a:cubicBezTo>
                  <a:pt x="4" y="16"/>
                  <a:pt x="4" y="17"/>
                  <a:pt x="5" y="18"/>
                </a:cubicBezTo>
                <a:cubicBezTo>
                  <a:pt x="5" y="19"/>
                  <a:pt x="6" y="18"/>
                  <a:pt x="6" y="19"/>
                </a:cubicBezTo>
                <a:cubicBezTo>
                  <a:pt x="7" y="19"/>
                  <a:pt x="6" y="20"/>
                  <a:pt x="7" y="21"/>
                </a:cubicBezTo>
                <a:cubicBezTo>
                  <a:pt x="9" y="21"/>
                  <a:pt x="8" y="22"/>
                  <a:pt x="8" y="23"/>
                </a:cubicBezTo>
                <a:cubicBezTo>
                  <a:pt x="8" y="22"/>
                  <a:pt x="14" y="20"/>
                  <a:pt x="14" y="19"/>
                </a:cubicBezTo>
                <a:cubicBezTo>
                  <a:pt x="14" y="19"/>
                  <a:pt x="14" y="20"/>
                  <a:pt x="14" y="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18" name="Freeform 714">
            <a:extLst>
              <a:ext uri="{FF2B5EF4-FFF2-40B4-BE49-F238E27FC236}">
                <a16:creationId xmlns:a16="http://schemas.microsoft.com/office/drawing/2014/main" id="{5F9D9113-E1AE-BD4B-9045-631D0FB7A7A9}"/>
              </a:ext>
            </a:extLst>
          </p:cNvPr>
          <p:cNvSpPr>
            <a:spLocks/>
          </p:cNvSpPr>
          <p:nvPr/>
        </p:nvSpPr>
        <p:spPr bwMode="auto">
          <a:xfrm>
            <a:off x="8397959" y="4730054"/>
            <a:ext cx="114715" cy="135930"/>
          </a:xfrm>
          <a:custGeom>
            <a:avLst/>
            <a:gdLst>
              <a:gd name="T0" fmla="*/ 10 w 22"/>
              <a:gd name="T1" fmla="*/ 3 h 26"/>
              <a:gd name="T2" fmla="*/ 7 w 22"/>
              <a:gd name="T3" fmla="*/ 4 h 26"/>
              <a:gd name="T4" fmla="*/ 6 w 22"/>
              <a:gd name="T5" fmla="*/ 4 h 26"/>
              <a:gd name="T6" fmla="*/ 5 w 22"/>
              <a:gd name="T7" fmla="*/ 1 h 26"/>
              <a:gd name="T8" fmla="*/ 0 w 22"/>
              <a:gd name="T9" fmla="*/ 0 h 26"/>
              <a:gd name="T10" fmla="*/ 1 w 22"/>
              <a:gd name="T11" fmla="*/ 6 h 26"/>
              <a:gd name="T12" fmla="*/ 4 w 22"/>
              <a:gd name="T13" fmla="*/ 14 h 26"/>
              <a:gd name="T14" fmla="*/ 9 w 22"/>
              <a:gd name="T15" fmla="*/ 21 h 26"/>
              <a:gd name="T16" fmla="*/ 19 w 22"/>
              <a:gd name="T17" fmla="*/ 26 h 26"/>
              <a:gd name="T18" fmla="*/ 20 w 22"/>
              <a:gd name="T19" fmla="*/ 23 h 26"/>
              <a:gd name="T20" fmla="*/ 16 w 22"/>
              <a:gd name="T21" fmla="*/ 14 h 26"/>
              <a:gd name="T22" fmla="*/ 16 w 22"/>
              <a:gd name="T23" fmla="*/ 6 h 26"/>
              <a:gd name="T24" fmla="*/ 10 w 22"/>
              <a:gd name="T25" fmla="*/ 3 h 26"/>
              <a:gd name="T26" fmla="*/ 10 w 22"/>
              <a:gd name="T27" fmla="*/ 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2" h="26">
                <a:moveTo>
                  <a:pt x="10" y="3"/>
                </a:moveTo>
                <a:cubicBezTo>
                  <a:pt x="9" y="3"/>
                  <a:pt x="8" y="4"/>
                  <a:pt x="7" y="4"/>
                </a:cubicBezTo>
                <a:cubicBezTo>
                  <a:pt x="7" y="3"/>
                  <a:pt x="6" y="4"/>
                  <a:pt x="6" y="4"/>
                </a:cubicBezTo>
                <a:cubicBezTo>
                  <a:pt x="5" y="4"/>
                  <a:pt x="5" y="2"/>
                  <a:pt x="5" y="1"/>
                </a:cubicBezTo>
                <a:cubicBezTo>
                  <a:pt x="4" y="0"/>
                  <a:pt x="2" y="0"/>
                  <a:pt x="0" y="0"/>
                </a:cubicBezTo>
                <a:cubicBezTo>
                  <a:pt x="1" y="1"/>
                  <a:pt x="1" y="4"/>
                  <a:pt x="1" y="6"/>
                </a:cubicBezTo>
                <a:cubicBezTo>
                  <a:pt x="2" y="8"/>
                  <a:pt x="3" y="11"/>
                  <a:pt x="4" y="14"/>
                </a:cubicBezTo>
                <a:cubicBezTo>
                  <a:pt x="6" y="16"/>
                  <a:pt x="7" y="19"/>
                  <a:pt x="9" y="21"/>
                </a:cubicBezTo>
                <a:cubicBezTo>
                  <a:pt x="12" y="22"/>
                  <a:pt x="15" y="26"/>
                  <a:pt x="19" y="26"/>
                </a:cubicBezTo>
                <a:cubicBezTo>
                  <a:pt x="22" y="26"/>
                  <a:pt x="21" y="25"/>
                  <a:pt x="20" y="23"/>
                </a:cubicBezTo>
                <a:cubicBezTo>
                  <a:pt x="18" y="20"/>
                  <a:pt x="16" y="18"/>
                  <a:pt x="16" y="14"/>
                </a:cubicBezTo>
                <a:cubicBezTo>
                  <a:pt x="16" y="11"/>
                  <a:pt x="18" y="9"/>
                  <a:pt x="16" y="6"/>
                </a:cubicBezTo>
                <a:cubicBezTo>
                  <a:pt x="15" y="5"/>
                  <a:pt x="11" y="0"/>
                  <a:pt x="10" y="3"/>
                </a:cubicBezTo>
                <a:cubicBezTo>
                  <a:pt x="9" y="4"/>
                  <a:pt x="10" y="2"/>
                  <a:pt x="10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19" name="Freeform 715">
            <a:extLst>
              <a:ext uri="{FF2B5EF4-FFF2-40B4-BE49-F238E27FC236}">
                <a16:creationId xmlns:a16="http://schemas.microsoft.com/office/drawing/2014/main" id="{8B4C0BF1-4361-4A4A-8774-AAE38A47DEEB}"/>
              </a:ext>
            </a:extLst>
          </p:cNvPr>
          <p:cNvSpPr>
            <a:spLocks/>
          </p:cNvSpPr>
          <p:nvPr/>
        </p:nvSpPr>
        <p:spPr bwMode="auto">
          <a:xfrm>
            <a:off x="7752026" y="3356647"/>
            <a:ext cx="1551301" cy="1011520"/>
          </a:xfrm>
          <a:custGeom>
            <a:avLst/>
            <a:gdLst>
              <a:gd name="T0" fmla="*/ 279 w 300"/>
              <a:gd name="T1" fmla="*/ 37 h 195"/>
              <a:gd name="T2" fmla="*/ 244 w 300"/>
              <a:gd name="T3" fmla="*/ 1 h 195"/>
              <a:gd name="T4" fmla="*/ 223 w 300"/>
              <a:gd name="T5" fmla="*/ 18 h 195"/>
              <a:gd name="T6" fmla="*/ 214 w 300"/>
              <a:gd name="T7" fmla="*/ 27 h 195"/>
              <a:gd name="T8" fmla="*/ 205 w 300"/>
              <a:gd name="T9" fmla="*/ 39 h 195"/>
              <a:gd name="T10" fmla="*/ 224 w 300"/>
              <a:gd name="T11" fmla="*/ 46 h 195"/>
              <a:gd name="T12" fmla="*/ 197 w 300"/>
              <a:gd name="T13" fmla="*/ 55 h 195"/>
              <a:gd name="T14" fmla="*/ 180 w 300"/>
              <a:gd name="T15" fmla="*/ 66 h 195"/>
              <a:gd name="T16" fmla="*/ 146 w 300"/>
              <a:gd name="T17" fmla="*/ 75 h 195"/>
              <a:gd name="T18" fmla="*/ 121 w 300"/>
              <a:gd name="T19" fmla="*/ 70 h 195"/>
              <a:gd name="T20" fmla="*/ 94 w 300"/>
              <a:gd name="T21" fmla="*/ 56 h 195"/>
              <a:gd name="T22" fmla="*/ 66 w 300"/>
              <a:gd name="T23" fmla="*/ 30 h 195"/>
              <a:gd name="T24" fmla="*/ 56 w 300"/>
              <a:gd name="T25" fmla="*/ 44 h 195"/>
              <a:gd name="T26" fmla="*/ 44 w 300"/>
              <a:gd name="T27" fmla="*/ 51 h 195"/>
              <a:gd name="T28" fmla="*/ 34 w 300"/>
              <a:gd name="T29" fmla="*/ 63 h 195"/>
              <a:gd name="T30" fmla="*/ 28 w 300"/>
              <a:gd name="T31" fmla="*/ 76 h 195"/>
              <a:gd name="T32" fmla="*/ 11 w 300"/>
              <a:gd name="T33" fmla="*/ 84 h 195"/>
              <a:gd name="T34" fmla="*/ 1 w 300"/>
              <a:gd name="T35" fmla="*/ 91 h 195"/>
              <a:gd name="T36" fmla="*/ 7 w 300"/>
              <a:gd name="T37" fmla="*/ 103 h 195"/>
              <a:gd name="T38" fmla="*/ 23 w 300"/>
              <a:gd name="T39" fmla="*/ 111 h 195"/>
              <a:gd name="T40" fmla="*/ 27 w 300"/>
              <a:gd name="T41" fmla="*/ 121 h 195"/>
              <a:gd name="T42" fmla="*/ 27 w 300"/>
              <a:gd name="T43" fmla="*/ 135 h 195"/>
              <a:gd name="T44" fmla="*/ 40 w 300"/>
              <a:gd name="T45" fmla="*/ 140 h 195"/>
              <a:gd name="T46" fmla="*/ 62 w 300"/>
              <a:gd name="T47" fmla="*/ 154 h 195"/>
              <a:gd name="T48" fmla="*/ 74 w 300"/>
              <a:gd name="T49" fmla="*/ 156 h 195"/>
              <a:gd name="T50" fmla="*/ 92 w 300"/>
              <a:gd name="T51" fmla="*/ 151 h 195"/>
              <a:gd name="T52" fmla="*/ 106 w 300"/>
              <a:gd name="T53" fmla="*/ 146 h 195"/>
              <a:gd name="T54" fmla="*/ 116 w 300"/>
              <a:gd name="T55" fmla="*/ 155 h 195"/>
              <a:gd name="T56" fmla="*/ 117 w 300"/>
              <a:gd name="T57" fmla="*/ 166 h 195"/>
              <a:gd name="T58" fmla="*/ 119 w 300"/>
              <a:gd name="T59" fmla="*/ 178 h 195"/>
              <a:gd name="T60" fmla="*/ 125 w 300"/>
              <a:gd name="T61" fmla="*/ 187 h 195"/>
              <a:gd name="T62" fmla="*/ 134 w 300"/>
              <a:gd name="T63" fmla="*/ 186 h 195"/>
              <a:gd name="T64" fmla="*/ 143 w 300"/>
              <a:gd name="T65" fmla="*/ 182 h 195"/>
              <a:gd name="T66" fmla="*/ 155 w 300"/>
              <a:gd name="T67" fmla="*/ 180 h 195"/>
              <a:gd name="T68" fmla="*/ 168 w 300"/>
              <a:gd name="T69" fmla="*/ 186 h 195"/>
              <a:gd name="T70" fmla="*/ 175 w 300"/>
              <a:gd name="T71" fmla="*/ 195 h 195"/>
              <a:gd name="T72" fmla="*/ 189 w 300"/>
              <a:gd name="T73" fmla="*/ 186 h 195"/>
              <a:gd name="T74" fmla="*/ 202 w 300"/>
              <a:gd name="T75" fmla="*/ 182 h 195"/>
              <a:gd name="T76" fmla="*/ 215 w 300"/>
              <a:gd name="T77" fmla="*/ 173 h 195"/>
              <a:gd name="T78" fmla="*/ 221 w 300"/>
              <a:gd name="T79" fmla="*/ 164 h 195"/>
              <a:gd name="T80" fmla="*/ 228 w 300"/>
              <a:gd name="T81" fmla="*/ 156 h 195"/>
              <a:gd name="T82" fmla="*/ 232 w 300"/>
              <a:gd name="T83" fmla="*/ 149 h 195"/>
              <a:gd name="T84" fmla="*/ 236 w 300"/>
              <a:gd name="T85" fmla="*/ 143 h 195"/>
              <a:gd name="T86" fmla="*/ 231 w 300"/>
              <a:gd name="T87" fmla="*/ 139 h 195"/>
              <a:gd name="T88" fmla="*/ 229 w 300"/>
              <a:gd name="T89" fmla="*/ 132 h 195"/>
              <a:gd name="T90" fmla="*/ 221 w 300"/>
              <a:gd name="T91" fmla="*/ 115 h 195"/>
              <a:gd name="T92" fmla="*/ 229 w 300"/>
              <a:gd name="T93" fmla="*/ 106 h 195"/>
              <a:gd name="T94" fmla="*/ 238 w 300"/>
              <a:gd name="T95" fmla="*/ 102 h 195"/>
              <a:gd name="T96" fmla="*/ 220 w 300"/>
              <a:gd name="T97" fmla="*/ 102 h 195"/>
              <a:gd name="T98" fmla="*/ 221 w 300"/>
              <a:gd name="T99" fmla="*/ 90 h 195"/>
              <a:gd name="T100" fmla="*/ 234 w 300"/>
              <a:gd name="T101" fmla="*/ 87 h 195"/>
              <a:gd name="T102" fmla="*/ 238 w 300"/>
              <a:gd name="T103" fmla="*/ 89 h 195"/>
              <a:gd name="T104" fmla="*/ 259 w 300"/>
              <a:gd name="T105" fmla="*/ 77 h 195"/>
              <a:gd name="T106" fmla="*/ 271 w 300"/>
              <a:gd name="T107" fmla="*/ 72 h 195"/>
              <a:gd name="T108" fmla="*/ 281 w 300"/>
              <a:gd name="T109" fmla="*/ 60 h 195"/>
              <a:gd name="T110" fmla="*/ 295 w 300"/>
              <a:gd name="T111" fmla="*/ 47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00" h="195">
                <a:moveTo>
                  <a:pt x="298" y="37"/>
                </a:moveTo>
                <a:cubicBezTo>
                  <a:pt x="298" y="35"/>
                  <a:pt x="294" y="36"/>
                  <a:pt x="293" y="37"/>
                </a:cubicBezTo>
                <a:cubicBezTo>
                  <a:pt x="291" y="37"/>
                  <a:pt x="290" y="38"/>
                  <a:pt x="288" y="39"/>
                </a:cubicBezTo>
                <a:cubicBezTo>
                  <a:pt x="286" y="40"/>
                  <a:pt x="279" y="40"/>
                  <a:pt x="279" y="37"/>
                </a:cubicBezTo>
                <a:cubicBezTo>
                  <a:pt x="277" y="33"/>
                  <a:pt x="276" y="31"/>
                  <a:pt x="272" y="29"/>
                </a:cubicBezTo>
                <a:cubicBezTo>
                  <a:pt x="269" y="28"/>
                  <a:pt x="263" y="28"/>
                  <a:pt x="262" y="24"/>
                </a:cubicBezTo>
                <a:cubicBezTo>
                  <a:pt x="261" y="18"/>
                  <a:pt x="259" y="11"/>
                  <a:pt x="255" y="6"/>
                </a:cubicBezTo>
                <a:cubicBezTo>
                  <a:pt x="252" y="3"/>
                  <a:pt x="248" y="3"/>
                  <a:pt x="244" y="1"/>
                </a:cubicBezTo>
                <a:cubicBezTo>
                  <a:pt x="240" y="0"/>
                  <a:pt x="233" y="1"/>
                  <a:pt x="229" y="3"/>
                </a:cubicBezTo>
                <a:cubicBezTo>
                  <a:pt x="228" y="4"/>
                  <a:pt x="226" y="5"/>
                  <a:pt x="225" y="6"/>
                </a:cubicBezTo>
                <a:cubicBezTo>
                  <a:pt x="225" y="7"/>
                  <a:pt x="228" y="7"/>
                  <a:pt x="228" y="8"/>
                </a:cubicBezTo>
                <a:cubicBezTo>
                  <a:pt x="229" y="12"/>
                  <a:pt x="224" y="15"/>
                  <a:pt x="223" y="18"/>
                </a:cubicBezTo>
                <a:cubicBezTo>
                  <a:pt x="222" y="19"/>
                  <a:pt x="222" y="20"/>
                  <a:pt x="222" y="21"/>
                </a:cubicBezTo>
                <a:cubicBezTo>
                  <a:pt x="222" y="22"/>
                  <a:pt x="222" y="22"/>
                  <a:pt x="222" y="23"/>
                </a:cubicBezTo>
                <a:cubicBezTo>
                  <a:pt x="222" y="25"/>
                  <a:pt x="219" y="25"/>
                  <a:pt x="217" y="26"/>
                </a:cubicBezTo>
                <a:cubicBezTo>
                  <a:pt x="216" y="26"/>
                  <a:pt x="215" y="27"/>
                  <a:pt x="214" y="27"/>
                </a:cubicBezTo>
                <a:cubicBezTo>
                  <a:pt x="213" y="27"/>
                  <a:pt x="208" y="25"/>
                  <a:pt x="208" y="25"/>
                </a:cubicBezTo>
                <a:cubicBezTo>
                  <a:pt x="207" y="27"/>
                  <a:pt x="206" y="30"/>
                  <a:pt x="205" y="32"/>
                </a:cubicBezTo>
                <a:cubicBezTo>
                  <a:pt x="205" y="33"/>
                  <a:pt x="204" y="34"/>
                  <a:pt x="204" y="35"/>
                </a:cubicBezTo>
                <a:cubicBezTo>
                  <a:pt x="204" y="35"/>
                  <a:pt x="202" y="41"/>
                  <a:pt x="205" y="39"/>
                </a:cubicBezTo>
                <a:cubicBezTo>
                  <a:pt x="206" y="38"/>
                  <a:pt x="206" y="38"/>
                  <a:pt x="208" y="38"/>
                </a:cubicBezTo>
                <a:cubicBezTo>
                  <a:pt x="209" y="38"/>
                  <a:pt x="211" y="40"/>
                  <a:pt x="212" y="39"/>
                </a:cubicBezTo>
                <a:cubicBezTo>
                  <a:pt x="216" y="36"/>
                  <a:pt x="219" y="38"/>
                  <a:pt x="222" y="42"/>
                </a:cubicBezTo>
                <a:cubicBezTo>
                  <a:pt x="223" y="43"/>
                  <a:pt x="225" y="45"/>
                  <a:pt x="224" y="46"/>
                </a:cubicBezTo>
                <a:cubicBezTo>
                  <a:pt x="224" y="46"/>
                  <a:pt x="220" y="45"/>
                  <a:pt x="219" y="45"/>
                </a:cubicBezTo>
                <a:cubicBezTo>
                  <a:pt x="216" y="46"/>
                  <a:pt x="212" y="46"/>
                  <a:pt x="209" y="47"/>
                </a:cubicBezTo>
                <a:cubicBezTo>
                  <a:pt x="206" y="48"/>
                  <a:pt x="206" y="54"/>
                  <a:pt x="202" y="54"/>
                </a:cubicBezTo>
                <a:cubicBezTo>
                  <a:pt x="200" y="54"/>
                  <a:pt x="198" y="53"/>
                  <a:pt x="197" y="55"/>
                </a:cubicBezTo>
                <a:cubicBezTo>
                  <a:pt x="196" y="56"/>
                  <a:pt x="194" y="58"/>
                  <a:pt x="192" y="58"/>
                </a:cubicBezTo>
                <a:cubicBezTo>
                  <a:pt x="189" y="57"/>
                  <a:pt x="183" y="53"/>
                  <a:pt x="182" y="59"/>
                </a:cubicBezTo>
                <a:cubicBezTo>
                  <a:pt x="182" y="61"/>
                  <a:pt x="184" y="62"/>
                  <a:pt x="184" y="63"/>
                </a:cubicBezTo>
                <a:cubicBezTo>
                  <a:pt x="184" y="65"/>
                  <a:pt x="181" y="65"/>
                  <a:pt x="180" y="66"/>
                </a:cubicBezTo>
                <a:cubicBezTo>
                  <a:pt x="177" y="69"/>
                  <a:pt x="176" y="72"/>
                  <a:pt x="172" y="72"/>
                </a:cubicBezTo>
                <a:cubicBezTo>
                  <a:pt x="167" y="72"/>
                  <a:pt x="162" y="72"/>
                  <a:pt x="157" y="73"/>
                </a:cubicBezTo>
                <a:cubicBezTo>
                  <a:pt x="155" y="74"/>
                  <a:pt x="151" y="78"/>
                  <a:pt x="150" y="77"/>
                </a:cubicBezTo>
                <a:cubicBezTo>
                  <a:pt x="148" y="77"/>
                  <a:pt x="147" y="75"/>
                  <a:pt x="146" y="75"/>
                </a:cubicBezTo>
                <a:cubicBezTo>
                  <a:pt x="144" y="75"/>
                  <a:pt x="143" y="75"/>
                  <a:pt x="141" y="75"/>
                </a:cubicBezTo>
                <a:cubicBezTo>
                  <a:pt x="139" y="74"/>
                  <a:pt x="137" y="74"/>
                  <a:pt x="135" y="72"/>
                </a:cubicBezTo>
                <a:cubicBezTo>
                  <a:pt x="133" y="71"/>
                  <a:pt x="132" y="71"/>
                  <a:pt x="131" y="70"/>
                </a:cubicBezTo>
                <a:cubicBezTo>
                  <a:pt x="127" y="70"/>
                  <a:pt x="125" y="70"/>
                  <a:pt x="121" y="70"/>
                </a:cubicBezTo>
                <a:cubicBezTo>
                  <a:pt x="118" y="70"/>
                  <a:pt x="113" y="71"/>
                  <a:pt x="109" y="70"/>
                </a:cubicBezTo>
                <a:cubicBezTo>
                  <a:pt x="108" y="70"/>
                  <a:pt x="107" y="68"/>
                  <a:pt x="107" y="67"/>
                </a:cubicBezTo>
                <a:cubicBezTo>
                  <a:pt x="105" y="65"/>
                  <a:pt x="104" y="63"/>
                  <a:pt x="102" y="61"/>
                </a:cubicBezTo>
                <a:cubicBezTo>
                  <a:pt x="99" y="59"/>
                  <a:pt x="97" y="56"/>
                  <a:pt x="94" y="56"/>
                </a:cubicBezTo>
                <a:cubicBezTo>
                  <a:pt x="92" y="56"/>
                  <a:pt x="81" y="56"/>
                  <a:pt x="83" y="52"/>
                </a:cubicBezTo>
                <a:cubicBezTo>
                  <a:pt x="85" y="48"/>
                  <a:pt x="84" y="41"/>
                  <a:pt x="79" y="38"/>
                </a:cubicBezTo>
                <a:cubicBezTo>
                  <a:pt x="75" y="35"/>
                  <a:pt x="70" y="35"/>
                  <a:pt x="69" y="29"/>
                </a:cubicBezTo>
                <a:cubicBezTo>
                  <a:pt x="68" y="30"/>
                  <a:pt x="67" y="29"/>
                  <a:pt x="66" y="30"/>
                </a:cubicBezTo>
                <a:cubicBezTo>
                  <a:pt x="65" y="31"/>
                  <a:pt x="65" y="31"/>
                  <a:pt x="65" y="32"/>
                </a:cubicBezTo>
                <a:cubicBezTo>
                  <a:pt x="63" y="35"/>
                  <a:pt x="60" y="34"/>
                  <a:pt x="59" y="37"/>
                </a:cubicBezTo>
                <a:cubicBezTo>
                  <a:pt x="59" y="39"/>
                  <a:pt x="61" y="41"/>
                  <a:pt x="60" y="42"/>
                </a:cubicBezTo>
                <a:cubicBezTo>
                  <a:pt x="59" y="43"/>
                  <a:pt x="57" y="44"/>
                  <a:pt x="56" y="44"/>
                </a:cubicBezTo>
                <a:cubicBezTo>
                  <a:pt x="55" y="45"/>
                  <a:pt x="54" y="43"/>
                  <a:pt x="53" y="44"/>
                </a:cubicBezTo>
                <a:cubicBezTo>
                  <a:pt x="51" y="44"/>
                  <a:pt x="50" y="43"/>
                  <a:pt x="48" y="42"/>
                </a:cubicBezTo>
                <a:cubicBezTo>
                  <a:pt x="47" y="41"/>
                  <a:pt x="46" y="46"/>
                  <a:pt x="45" y="47"/>
                </a:cubicBezTo>
                <a:cubicBezTo>
                  <a:pt x="45" y="48"/>
                  <a:pt x="44" y="50"/>
                  <a:pt x="44" y="51"/>
                </a:cubicBezTo>
                <a:cubicBezTo>
                  <a:pt x="44" y="53"/>
                  <a:pt x="45" y="53"/>
                  <a:pt x="45" y="54"/>
                </a:cubicBezTo>
                <a:cubicBezTo>
                  <a:pt x="45" y="56"/>
                  <a:pt x="39" y="54"/>
                  <a:pt x="39" y="54"/>
                </a:cubicBezTo>
                <a:cubicBezTo>
                  <a:pt x="37" y="55"/>
                  <a:pt x="33" y="55"/>
                  <a:pt x="32" y="56"/>
                </a:cubicBezTo>
                <a:cubicBezTo>
                  <a:pt x="33" y="55"/>
                  <a:pt x="34" y="62"/>
                  <a:pt x="34" y="63"/>
                </a:cubicBezTo>
                <a:cubicBezTo>
                  <a:pt x="35" y="64"/>
                  <a:pt x="36" y="65"/>
                  <a:pt x="37" y="66"/>
                </a:cubicBezTo>
                <a:cubicBezTo>
                  <a:pt x="37" y="67"/>
                  <a:pt x="34" y="69"/>
                  <a:pt x="33" y="70"/>
                </a:cubicBezTo>
                <a:cubicBezTo>
                  <a:pt x="32" y="71"/>
                  <a:pt x="33" y="74"/>
                  <a:pt x="32" y="74"/>
                </a:cubicBezTo>
                <a:cubicBezTo>
                  <a:pt x="31" y="75"/>
                  <a:pt x="29" y="75"/>
                  <a:pt x="28" y="76"/>
                </a:cubicBezTo>
                <a:cubicBezTo>
                  <a:pt x="26" y="77"/>
                  <a:pt x="25" y="78"/>
                  <a:pt x="24" y="79"/>
                </a:cubicBezTo>
                <a:cubicBezTo>
                  <a:pt x="22" y="79"/>
                  <a:pt x="21" y="79"/>
                  <a:pt x="19" y="80"/>
                </a:cubicBezTo>
                <a:cubicBezTo>
                  <a:pt x="17" y="80"/>
                  <a:pt x="16" y="81"/>
                  <a:pt x="15" y="83"/>
                </a:cubicBezTo>
                <a:cubicBezTo>
                  <a:pt x="15" y="83"/>
                  <a:pt x="11" y="84"/>
                  <a:pt x="11" y="84"/>
                </a:cubicBezTo>
                <a:cubicBezTo>
                  <a:pt x="11" y="84"/>
                  <a:pt x="11" y="83"/>
                  <a:pt x="11" y="83"/>
                </a:cubicBezTo>
                <a:cubicBezTo>
                  <a:pt x="10" y="83"/>
                  <a:pt x="9" y="83"/>
                  <a:pt x="7" y="83"/>
                </a:cubicBezTo>
                <a:cubicBezTo>
                  <a:pt x="6" y="83"/>
                  <a:pt x="3" y="85"/>
                  <a:pt x="3" y="86"/>
                </a:cubicBezTo>
                <a:cubicBezTo>
                  <a:pt x="2" y="88"/>
                  <a:pt x="1" y="90"/>
                  <a:pt x="1" y="91"/>
                </a:cubicBezTo>
                <a:cubicBezTo>
                  <a:pt x="0" y="93"/>
                  <a:pt x="3" y="95"/>
                  <a:pt x="4" y="95"/>
                </a:cubicBezTo>
                <a:cubicBezTo>
                  <a:pt x="7" y="95"/>
                  <a:pt x="6" y="95"/>
                  <a:pt x="7" y="98"/>
                </a:cubicBezTo>
                <a:cubicBezTo>
                  <a:pt x="7" y="99"/>
                  <a:pt x="8" y="99"/>
                  <a:pt x="8" y="101"/>
                </a:cubicBezTo>
                <a:cubicBezTo>
                  <a:pt x="8" y="101"/>
                  <a:pt x="7" y="103"/>
                  <a:pt x="7" y="103"/>
                </a:cubicBezTo>
                <a:cubicBezTo>
                  <a:pt x="9" y="104"/>
                  <a:pt x="10" y="104"/>
                  <a:pt x="11" y="105"/>
                </a:cubicBezTo>
                <a:cubicBezTo>
                  <a:pt x="13" y="107"/>
                  <a:pt x="12" y="109"/>
                  <a:pt x="14" y="110"/>
                </a:cubicBezTo>
                <a:cubicBezTo>
                  <a:pt x="16" y="111"/>
                  <a:pt x="18" y="112"/>
                  <a:pt x="20" y="113"/>
                </a:cubicBezTo>
                <a:cubicBezTo>
                  <a:pt x="21" y="113"/>
                  <a:pt x="22" y="112"/>
                  <a:pt x="23" y="111"/>
                </a:cubicBezTo>
                <a:cubicBezTo>
                  <a:pt x="26" y="109"/>
                  <a:pt x="31" y="110"/>
                  <a:pt x="33" y="113"/>
                </a:cubicBezTo>
                <a:cubicBezTo>
                  <a:pt x="34" y="115"/>
                  <a:pt x="32" y="116"/>
                  <a:pt x="31" y="117"/>
                </a:cubicBezTo>
                <a:cubicBezTo>
                  <a:pt x="30" y="118"/>
                  <a:pt x="30" y="118"/>
                  <a:pt x="30" y="119"/>
                </a:cubicBezTo>
                <a:cubicBezTo>
                  <a:pt x="29" y="121"/>
                  <a:pt x="28" y="121"/>
                  <a:pt x="27" y="121"/>
                </a:cubicBezTo>
                <a:cubicBezTo>
                  <a:pt x="24" y="123"/>
                  <a:pt x="32" y="126"/>
                  <a:pt x="29" y="128"/>
                </a:cubicBezTo>
                <a:cubicBezTo>
                  <a:pt x="28" y="130"/>
                  <a:pt x="27" y="129"/>
                  <a:pt x="25" y="129"/>
                </a:cubicBezTo>
                <a:cubicBezTo>
                  <a:pt x="21" y="128"/>
                  <a:pt x="26" y="132"/>
                  <a:pt x="26" y="132"/>
                </a:cubicBezTo>
                <a:cubicBezTo>
                  <a:pt x="26" y="134"/>
                  <a:pt x="25" y="135"/>
                  <a:pt x="27" y="135"/>
                </a:cubicBezTo>
                <a:cubicBezTo>
                  <a:pt x="29" y="136"/>
                  <a:pt x="29" y="137"/>
                  <a:pt x="31" y="138"/>
                </a:cubicBezTo>
                <a:cubicBezTo>
                  <a:pt x="33" y="138"/>
                  <a:pt x="34" y="140"/>
                  <a:pt x="36" y="141"/>
                </a:cubicBezTo>
                <a:cubicBezTo>
                  <a:pt x="36" y="141"/>
                  <a:pt x="37" y="142"/>
                  <a:pt x="38" y="142"/>
                </a:cubicBezTo>
                <a:cubicBezTo>
                  <a:pt x="39" y="142"/>
                  <a:pt x="38" y="140"/>
                  <a:pt x="40" y="140"/>
                </a:cubicBezTo>
                <a:cubicBezTo>
                  <a:pt x="44" y="140"/>
                  <a:pt x="46" y="147"/>
                  <a:pt x="50" y="147"/>
                </a:cubicBezTo>
                <a:cubicBezTo>
                  <a:pt x="52" y="147"/>
                  <a:pt x="52" y="150"/>
                  <a:pt x="54" y="150"/>
                </a:cubicBezTo>
                <a:cubicBezTo>
                  <a:pt x="56" y="151"/>
                  <a:pt x="57" y="153"/>
                  <a:pt x="58" y="153"/>
                </a:cubicBezTo>
                <a:cubicBezTo>
                  <a:pt x="60" y="151"/>
                  <a:pt x="60" y="154"/>
                  <a:pt x="62" y="154"/>
                </a:cubicBezTo>
                <a:cubicBezTo>
                  <a:pt x="63" y="154"/>
                  <a:pt x="63" y="153"/>
                  <a:pt x="64" y="153"/>
                </a:cubicBezTo>
                <a:cubicBezTo>
                  <a:pt x="65" y="153"/>
                  <a:pt x="65" y="154"/>
                  <a:pt x="66" y="155"/>
                </a:cubicBezTo>
                <a:cubicBezTo>
                  <a:pt x="68" y="155"/>
                  <a:pt x="70" y="155"/>
                  <a:pt x="72" y="154"/>
                </a:cubicBezTo>
                <a:cubicBezTo>
                  <a:pt x="75" y="153"/>
                  <a:pt x="73" y="155"/>
                  <a:pt x="74" y="156"/>
                </a:cubicBezTo>
                <a:cubicBezTo>
                  <a:pt x="74" y="156"/>
                  <a:pt x="76" y="153"/>
                  <a:pt x="77" y="153"/>
                </a:cubicBezTo>
                <a:cubicBezTo>
                  <a:pt x="78" y="152"/>
                  <a:pt x="80" y="152"/>
                  <a:pt x="81" y="153"/>
                </a:cubicBezTo>
                <a:cubicBezTo>
                  <a:pt x="83" y="155"/>
                  <a:pt x="85" y="153"/>
                  <a:pt x="87" y="154"/>
                </a:cubicBezTo>
                <a:cubicBezTo>
                  <a:pt x="89" y="155"/>
                  <a:pt x="91" y="153"/>
                  <a:pt x="92" y="151"/>
                </a:cubicBezTo>
                <a:cubicBezTo>
                  <a:pt x="93" y="151"/>
                  <a:pt x="93" y="150"/>
                  <a:pt x="94" y="150"/>
                </a:cubicBezTo>
                <a:cubicBezTo>
                  <a:pt x="95" y="149"/>
                  <a:pt x="96" y="150"/>
                  <a:pt x="97" y="149"/>
                </a:cubicBezTo>
                <a:cubicBezTo>
                  <a:pt x="98" y="148"/>
                  <a:pt x="99" y="146"/>
                  <a:pt x="101" y="147"/>
                </a:cubicBezTo>
                <a:cubicBezTo>
                  <a:pt x="103" y="148"/>
                  <a:pt x="103" y="148"/>
                  <a:pt x="106" y="146"/>
                </a:cubicBezTo>
                <a:cubicBezTo>
                  <a:pt x="107" y="145"/>
                  <a:pt x="109" y="148"/>
                  <a:pt x="109" y="149"/>
                </a:cubicBezTo>
                <a:cubicBezTo>
                  <a:pt x="108" y="151"/>
                  <a:pt x="106" y="152"/>
                  <a:pt x="108" y="152"/>
                </a:cubicBezTo>
                <a:cubicBezTo>
                  <a:pt x="111" y="152"/>
                  <a:pt x="111" y="152"/>
                  <a:pt x="114" y="151"/>
                </a:cubicBezTo>
                <a:cubicBezTo>
                  <a:pt x="115" y="151"/>
                  <a:pt x="116" y="154"/>
                  <a:pt x="116" y="155"/>
                </a:cubicBezTo>
                <a:cubicBezTo>
                  <a:pt x="116" y="155"/>
                  <a:pt x="116" y="157"/>
                  <a:pt x="117" y="156"/>
                </a:cubicBezTo>
                <a:cubicBezTo>
                  <a:pt x="117" y="156"/>
                  <a:pt x="119" y="156"/>
                  <a:pt x="119" y="157"/>
                </a:cubicBezTo>
                <a:cubicBezTo>
                  <a:pt x="119" y="158"/>
                  <a:pt x="117" y="159"/>
                  <a:pt x="118" y="160"/>
                </a:cubicBezTo>
                <a:cubicBezTo>
                  <a:pt x="119" y="162"/>
                  <a:pt x="118" y="165"/>
                  <a:pt x="117" y="166"/>
                </a:cubicBezTo>
                <a:cubicBezTo>
                  <a:pt x="116" y="168"/>
                  <a:pt x="114" y="169"/>
                  <a:pt x="113" y="170"/>
                </a:cubicBezTo>
                <a:cubicBezTo>
                  <a:pt x="113" y="171"/>
                  <a:pt x="113" y="176"/>
                  <a:pt x="112" y="175"/>
                </a:cubicBezTo>
                <a:cubicBezTo>
                  <a:pt x="113" y="176"/>
                  <a:pt x="119" y="173"/>
                  <a:pt x="120" y="175"/>
                </a:cubicBezTo>
                <a:cubicBezTo>
                  <a:pt x="120" y="175"/>
                  <a:pt x="118" y="176"/>
                  <a:pt x="119" y="178"/>
                </a:cubicBezTo>
                <a:cubicBezTo>
                  <a:pt x="120" y="180"/>
                  <a:pt x="123" y="180"/>
                  <a:pt x="122" y="181"/>
                </a:cubicBezTo>
                <a:cubicBezTo>
                  <a:pt x="122" y="182"/>
                  <a:pt x="121" y="184"/>
                  <a:pt x="121" y="185"/>
                </a:cubicBezTo>
                <a:cubicBezTo>
                  <a:pt x="122" y="186"/>
                  <a:pt x="125" y="185"/>
                  <a:pt x="125" y="186"/>
                </a:cubicBezTo>
                <a:cubicBezTo>
                  <a:pt x="125" y="186"/>
                  <a:pt x="125" y="187"/>
                  <a:pt x="125" y="187"/>
                </a:cubicBezTo>
                <a:cubicBezTo>
                  <a:pt x="125" y="189"/>
                  <a:pt x="126" y="188"/>
                  <a:pt x="127" y="188"/>
                </a:cubicBezTo>
                <a:cubicBezTo>
                  <a:pt x="128" y="188"/>
                  <a:pt x="129" y="187"/>
                  <a:pt x="130" y="188"/>
                </a:cubicBezTo>
                <a:cubicBezTo>
                  <a:pt x="131" y="188"/>
                  <a:pt x="132" y="189"/>
                  <a:pt x="133" y="190"/>
                </a:cubicBezTo>
                <a:cubicBezTo>
                  <a:pt x="135" y="191"/>
                  <a:pt x="134" y="187"/>
                  <a:pt x="134" y="186"/>
                </a:cubicBezTo>
                <a:cubicBezTo>
                  <a:pt x="132" y="182"/>
                  <a:pt x="134" y="184"/>
                  <a:pt x="136" y="182"/>
                </a:cubicBezTo>
                <a:cubicBezTo>
                  <a:pt x="138" y="181"/>
                  <a:pt x="137" y="182"/>
                  <a:pt x="139" y="183"/>
                </a:cubicBezTo>
                <a:cubicBezTo>
                  <a:pt x="139" y="183"/>
                  <a:pt x="141" y="182"/>
                  <a:pt x="141" y="182"/>
                </a:cubicBezTo>
                <a:cubicBezTo>
                  <a:pt x="141" y="183"/>
                  <a:pt x="143" y="181"/>
                  <a:pt x="143" y="182"/>
                </a:cubicBezTo>
                <a:cubicBezTo>
                  <a:pt x="144" y="183"/>
                  <a:pt x="144" y="184"/>
                  <a:pt x="146" y="182"/>
                </a:cubicBezTo>
                <a:cubicBezTo>
                  <a:pt x="147" y="181"/>
                  <a:pt x="147" y="182"/>
                  <a:pt x="148" y="181"/>
                </a:cubicBezTo>
                <a:cubicBezTo>
                  <a:pt x="149" y="180"/>
                  <a:pt x="149" y="178"/>
                  <a:pt x="151" y="178"/>
                </a:cubicBezTo>
                <a:cubicBezTo>
                  <a:pt x="152" y="178"/>
                  <a:pt x="153" y="180"/>
                  <a:pt x="155" y="180"/>
                </a:cubicBezTo>
                <a:cubicBezTo>
                  <a:pt x="155" y="180"/>
                  <a:pt x="159" y="181"/>
                  <a:pt x="159" y="181"/>
                </a:cubicBezTo>
                <a:cubicBezTo>
                  <a:pt x="159" y="182"/>
                  <a:pt x="157" y="183"/>
                  <a:pt x="157" y="184"/>
                </a:cubicBezTo>
                <a:cubicBezTo>
                  <a:pt x="158" y="185"/>
                  <a:pt x="160" y="186"/>
                  <a:pt x="161" y="187"/>
                </a:cubicBezTo>
                <a:cubicBezTo>
                  <a:pt x="163" y="188"/>
                  <a:pt x="167" y="189"/>
                  <a:pt x="168" y="186"/>
                </a:cubicBezTo>
                <a:cubicBezTo>
                  <a:pt x="168" y="186"/>
                  <a:pt x="170" y="188"/>
                  <a:pt x="170" y="188"/>
                </a:cubicBezTo>
                <a:cubicBezTo>
                  <a:pt x="171" y="189"/>
                  <a:pt x="172" y="187"/>
                  <a:pt x="174" y="188"/>
                </a:cubicBezTo>
                <a:cubicBezTo>
                  <a:pt x="175" y="189"/>
                  <a:pt x="173" y="190"/>
                  <a:pt x="173" y="191"/>
                </a:cubicBezTo>
                <a:cubicBezTo>
                  <a:pt x="173" y="192"/>
                  <a:pt x="175" y="194"/>
                  <a:pt x="175" y="195"/>
                </a:cubicBezTo>
                <a:cubicBezTo>
                  <a:pt x="176" y="195"/>
                  <a:pt x="177" y="194"/>
                  <a:pt x="178" y="194"/>
                </a:cubicBezTo>
                <a:cubicBezTo>
                  <a:pt x="178" y="193"/>
                  <a:pt x="175" y="192"/>
                  <a:pt x="176" y="191"/>
                </a:cubicBezTo>
                <a:cubicBezTo>
                  <a:pt x="178" y="188"/>
                  <a:pt x="180" y="188"/>
                  <a:pt x="183" y="187"/>
                </a:cubicBezTo>
                <a:cubicBezTo>
                  <a:pt x="185" y="186"/>
                  <a:pt x="187" y="186"/>
                  <a:pt x="189" y="186"/>
                </a:cubicBezTo>
                <a:cubicBezTo>
                  <a:pt x="190" y="186"/>
                  <a:pt x="190" y="184"/>
                  <a:pt x="191" y="184"/>
                </a:cubicBezTo>
                <a:cubicBezTo>
                  <a:pt x="193" y="184"/>
                  <a:pt x="192" y="183"/>
                  <a:pt x="192" y="182"/>
                </a:cubicBezTo>
                <a:cubicBezTo>
                  <a:pt x="192" y="183"/>
                  <a:pt x="196" y="182"/>
                  <a:pt x="196" y="182"/>
                </a:cubicBezTo>
                <a:cubicBezTo>
                  <a:pt x="198" y="181"/>
                  <a:pt x="200" y="182"/>
                  <a:pt x="202" y="182"/>
                </a:cubicBezTo>
                <a:cubicBezTo>
                  <a:pt x="204" y="182"/>
                  <a:pt x="205" y="181"/>
                  <a:pt x="207" y="180"/>
                </a:cubicBezTo>
                <a:cubicBezTo>
                  <a:pt x="208" y="180"/>
                  <a:pt x="208" y="177"/>
                  <a:pt x="209" y="177"/>
                </a:cubicBezTo>
                <a:cubicBezTo>
                  <a:pt x="211" y="177"/>
                  <a:pt x="212" y="176"/>
                  <a:pt x="213" y="175"/>
                </a:cubicBezTo>
                <a:cubicBezTo>
                  <a:pt x="214" y="175"/>
                  <a:pt x="215" y="174"/>
                  <a:pt x="215" y="173"/>
                </a:cubicBezTo>
                <a:cubicBezTo>
                  <a:pt x="214" y="173"/>
                  <a:pt x="218" y="172"/>
                  <a:pt x="218" y="172"/>
                </a:cubicBezTo>
                <a:cubicBezTo>
                  <a:pt x="219" y="171"/>
                  <a:pt x="220" y="169"/>
                  <a:pt x="221" y="168"/>
                </a:cubicBezTo>
                <a:cubicBezTo>
                  <a:pt x="222" y="167"/>
                  <a:pt x="222" y="167"/>
                  <a:pt x="222" y="166"/>
                </a:cubicBezTo>
                <a:cubicBezTo>
                  <a:pt x="223" y="164"/>
                  <a:pt x="221" y="165"/>
                  <a:pt x="221" y="164"/>
                </a:cubicBezTo>
                <a:cubicBezTo>
                  <a:pt x="221" y="164"/>
                  <a:pt x="226" y="164"/>
                  <a:pt x="223" y="162"/>
                </a:cubicBezTo>
                <a:cubicBezTo>
                  <a:pt x="222" y="161"/>
                  <a:pt x="223" y="161"/>
                  <a:pt x="224" y="161"/>
                </a:cubicBezTo>
                <a:cubicBezTo>
                  <a:pt x="225" y="161"/>
                  <a:pt x="225" y="160"/>
                  <a:pt x="226" y="159"/>
                </a:cubicBezTo>
                <a:cubicBezTo>
                  <a:pt x="227" y="158"/>
                  <a:pt x="227" y="157"/>
                  <a:pt x="228" y="156"/>
                </a:cubicBezTo>
                <a:cubicBezTo>
                  <a:pt x="228" y="156"/>
                  <a:pt x="228" y="154"/>
                  <a:pt x="228" y="154"/>
                </a:cubicBezTo>
                <a:cubicBezTo>
                  <a:pt x="229" y="153"/>
                  <a:pt x="230" y="153"/>
                  <a:pt x="231" y="152"/>
                </a:cubicBezTo>
                <a:cubicBezTo>
                  <a:pt x="232" y="151"/>
                  <a:pt x="231" y="150"/>
                  <a:pt x="231" y="150"/>
                </a:cubicBezTo>
                <a:cubicBezTo>
                  <a:pt x="231" y="149"/>
                  <a:pt x="232" y="149"/>
                  <a:pt x="232" y="149"/>
                </a:cubicBezTo>
                <a:cubicBezTo>
                  <a:pt x="233" y="149"/>
                  <a:pt x="232" y="147"/>
                  <a:pt x="232" y="147"/>
                </a:cubicBezTo>
                <a:cubicBezTo>
                  <a:pt x="232" y="147"/>
                  <a:pt x="234" y="148"/>
                  <a:pt x="234" y="147"/>
                </a:cubicBezTo>
                <a:cubicBezTo>
                  <a:pt x="236" y="146"/>
                  <a:pt x="234" y="146"/>
                  <a:pt x="233" y="145"/>
                </a:cubicBezTo>
                <a:cubicBezTo>
                  <a:pt x="233" y="145"/>
                  <a:pt x="236" y="143"/>
                  <a:pt x="236" y="143"/>
                </a:cubicBezTo>
                <a:cubicBezTo>
                  <a:pt x="235" y="145"/>
                  <a:pt x="232" y="142"/>
                  <a:pt x="231" y="141"/>
                </a:cubicBezTo>
                <a:cubicBezTo>
                  <a:pt x="231" y="141"/>
                  <a:pt x="230" y="142"/>
                  <a:pt x="229" y="142"/>
                </a:cubicBezTo>
                <a:cubicBezTo>
                  <a:pt x="228" y="143"/>
                  <a:pt x="227" y="141"/>
                  <a:pt x="226" y="142"/>
                </a:cubicBezTo>
                <a:cubicBezTo>
                  <a:pt x="228" y="141"/>
                  <a:pt x="230" y="140"/>
                  <a:pt x="231" y="139"/>
                </a:cubicBezTo>
                <a:cubicBezTo>
                  <a:pt x="232" y="138"/>
                  <a:pt x="235" y="138"/>
                  <a:pt x="233" y="136"/>
                </a:cubicBezTo>
                <a:cubicBezTo>
                  <a:pt x="231" y="135"/>
                  <a:pt x="230" y="134"/>
                  <a:pt x="228" y="132"/>
                </a:cubicBezTo>
                <a:cubicBezTo>
                  <a:pt x="228" y="131"/>
                  <a:pt x="223" y="133"/>
                  <a:pt x="223" y="130"/>
                </a:cubicBezTo>
                <a:cubicBezTo>
                  <a:pt x="223" y="132"/>
                  <a:pt x="228" y="132"/>
                  <a:pt x="229" y="132"/>
                </a:cubicBezTo>
                <a:cubicBezTo>
                  <a:pt x="230" y="132"/>
                  <a:pt x="233" y="135"/>
                  <a:pt x="234" y="133"/>
                </a:cubicBezTo>
                <a:cubicBezTo>
                  <a:pt x="235" y="131"/>
                  <a:pt x="229" y="129"/>
                  <a:pt x="229" y="127"/>
                </a:cubicBezTo>
                <a:cubicBezTo>
                  <a:pt x="228" y="125"/>
                  <a:pt x="228" y="121"/>
                  <a:pt x="226" y="120"/>
                </a:cubicBezTo>
                <a:cubicBezTo>
                  <a:pt x="225" y="118"/>
                  <a:pt x="219" y="118"/>
                  <a:pt x="221" y="115"/>
                </a:cubicBezTo>
                <a:cubicBezTo>
                  <a:pt x="222" y="113"/>
                  <a:pt x="223" y="112"/>
                  <a:pt x="224" y="111"/>
                </a:cubicBezTo>
                <a:cubicBezTo>
                  <a:pt x="226" y="109"/>
                  <a:pt x="224" y="110"/>
                  <a:pt x="225" y="109"/>
                </a:cubicBezTo>
                <a:cubicBezTo>
                  <a:pt x="225" y="108"/>
                  <a:pt x="228" y="109"/>
                  <a:pt x="228" y="109"/>
                </a:cubicBezTo>
                <a:cubicBezTo>
                  <a:pt x="229" y="108"/>
                  <a:pt x="227" y="107"/>
                  <a:pt x="229" y="106"/>
                </a:cubicBezTo>
                <a:cubicBezTo>
                  <a:pt x="231" y="106"/>
                  <a:pt x="232" y="105"/>
                  <a:pt x="233" y="104"/>
                </a:cubicBezTo>
                <a:cubicBezTo>
                  <a:pt x="234" y="104"/>
                  <a:pt x="235" y="104"/>
                  <a:pt x="235" y="104"/>
                </a:cubicBezTo>
                <a:cubicBezTo>
                  <a:pt x="236" y="104"/>
                  <a:pt x="235" y="105"/>
                  <a:pt x="236" y="105"/>
                </a:cubicBezTo>
                <a:cubicBezTo>
                  <a:pt x="237" y="106"/>
                  <a:pt x="238" y="103"/>
                  <a:pt x="238" y="102"/>
                </a:cubicBezTo>
                <a:cubicBezTo>
                  <a:pt x="236" y="100"/>
                  <a:pt x="234" y="101"/>
                  <a:pt x="233" y="101"/>
                </a:cubicBezTo>
                <a:cubicBezTo>
                  <a:pt x="231" y="101"/>
                  <a:pt x="230" y="99"/>
                  <a:pt x="228" y="100"/>
                </a:cubicBezTo>
                <a:cubicBezTo>
                  <a:pt x="227" y="100"/>
                  <a:pt x="226" y="102"/>
                  <a:pt x="224" y="102"/>
                </a:cubicBezTo>
                <a:cubicBezTo>
                  <a:pt x="223" y="103"/>
                  <a:pt x="221" y="103"/>
                  <a:pt x="220" y="102"/>
                </a:cubicBezTo>
                <a:cubicBezTo>
                  <a:pt x="219" y="101"/>
                  <a:pt x="221" y="99"/>
                  <a:pt x="220" y="98"/>
                </a:cubicBezTo>
                <a:cubicBezTo>
                  <a:pt x="218" y="97"/>
                  <a:pt x="210" y="97"/>
                  <a:pt x="213" y="92"/>
                </a:cubicBezTo>
                <a:cubicBezTo>
                  <a:pt x="214" y="91"/>
                  <a:pt x="215" y="92"/>
                  <a:pt x="217" y="92"/>
                </a:cubicBezTo>
                <a:cubicBezTo>
                  <a:pt x="218" y="92"/>
                  <a:pt x="220" y="91"/>
                  <a:pt x="221" y="90"/>
                </a:cubicBezTo>
                <a:cubicBezTo>
                  <a:pt x="223" y="87"/>
                  <a:pt x="226" y="85"/>
                  <a:pt x="229" y="83"/>
                </a:cubicBezTo>
                <a:cubicBezTo>
                  <a:pt x="230" y="81"/>
                  <a:pt x="231" y="81"/>
                  <a:pt x="233" y="81"/>
                </a:cubicBezTo>
                <a:cubicBezTo>
                  <a:pt x="233" y="82"/>
                  <a:pt x="236" y="82"/>
                  <a:pt x="236" y="83"/>
                </a:cubicBezTo>
                <a:cubicBezTo>
                  <a:pt x="235" y="84"/>
                  <a:pt x="235" y="86"/>
                  <a:pt x="234" y="87"/>
                </a:cubicBezTo>
                <a:cubicBezTo>
                  <a:pt x="233" y="87"/>
                  <a:pt x="231" y="88"/>
                  <a:pt x="231" y="89"/>
                </a:cubicBezTo>
                <a:cubicBezTo>
                  <a:pt x="231" y="90"/>
                  <a:pt x="234" y="90"/>
                  <a:pt x="234" y="90"/>
                </a:cubicBezTo>
                <a:cubicBezTo>
                  <a:pt x="234" y="90"/>
                  <a:pt x="230" y="93"/>
                  <a:pt x="231" y="93"/>
                </a:cubicBezTo>
                <a:cubicBezTo>
                  <a:pt x="232" y="94"/>
                  <a:pt x="237" y="89"/>
                  <a:pt x="238" y="89"/>
                </a:cubicBezTo>
                <a:cubicBezTo>
                  <a:pt x="240" y="88"/>
                  <a:pt x="242" y="87"/>
                  <a:pt x="244" y="87"/>
                </a:cubicBezTo>
                <a:cubicBezTo>
                  <a:pt x="246" y="87"/>
                  <a:pt x="246" y="87"/>
                  <a:pt x="247" y="85"/>
                </a:cubicBezTo>
                <a:cubicBezTo>
                  <a:pt x="249" y="84"/>
                  <a:pt x="252" y="83"/>
                  <a:pt x="254" y="81"/>
                </a:cubicBezTo>
                <a:cubicBezTo>
                  <a:pt x="255" y="80"/>
                  <a:pt x="257" y="77"/>
                  <a:pt x="259" y="77"/>
                </a:cubicBezTo>
                <a:cubicBezTo>
                  <a:pt x="260" y="76"/>
                  <a:pt x="266" y="80"/>
                  <a:pt x="266" y="77"/>
                </a:cubicBezTo>
                <a:cubicBezTo>
                  <a:pt x="266" y="76"/>
                  <a:pt x="265" y="75"/>
                  <a:pt x="266" y="74"/>
                </a:cubicBezTo>
                <a:cubicBezTo>
                  <a:pt x="267" y="74"/>
                  <a:pt x="268" y="74"/>
                  <a:pt x="269" y="74"/>
                </a:cubicBezTo>
                <a:cubicBezTo>
                  <a:pt x="271" y="74"/>
                  <a:pt x="270" y="73"/>
                  <a:pt x="271" y="72"/>
                </a:cubicBezTo>
                <a:cubicBezTo>
                  <a:pt x="273" y="71"/>
                  <a:pt x="274" y="72"/>
                  <a:pt x="274" y="70"/>
                </a:cubicBezTo>
                <a:cubicBezTo>
                  <a:pt x="274" y="67"/>
                  <a:pt x="277" y="70"/>
                  <a:pt x="278" y="71"/>
                </a:cubicBezTo>
                <a:cubicBezTo>
                  <a:pt x="278" y="69"/>
                  <a:pt x="281" y="69"/>
                  <a:pt x="281" y="67"/>
                </a:cubicBezTo>
                <a:cubicBezTo>
                  <a:pt x="281" y="65"/>
                  <a:pt x="282" y="62"/>
                  <a:pt x="281" y="60"/>
                </a:cubicBezTo>
                <a:cubicBezTo>
                  <a:pt x="279" y="57"/>
                  <a:pt x="280" y="58"/>
                  <a:pt x="282" y="56"/>
                </a:cubicBezTo>
                <a:cubicBezTo>
                  <a:pt x="284" y="55"/>
                  <a:pt x="285" y="54"/>
                  <a:pt x="287" y="55"/>
                </a:cubicBezTo>
                <a:cubicBezTo>
                  <a:pt x="290" y="56"/>
                  <a:pt x="290" y="56"/>
                  <a:pt x="291" y="53"/>
                </a:cubicBezTo>
                <a:cubicBezTo>
                  <a:pt x="292" y="51"/>
                  <a:pt x="294" y="50"/>
                  <a:pt x="295" y="47"/>
                </a:cubicBezTo>
                <a:cubicBezTo>
                  <a:pt x="295" y="45"/>
                  <a:pt x="296" y="43"/>
                  <a:pt x="298" y="41"/>
                </a:cubicBezTo>
                <a:cubicBezTo>
                  <a:pt x="300" y="39"/>
                  <a:pt x="298" y="39"/>
                  <a:pt x="298" y="3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20" name="Freeform 716">
            <a:extLst>
              <a:ext uri="{FF2B5EF4-FFF2-40B4-BE49-F238E27FC236}">
                <a16:creationId xmlns:a16="http://schemas.microsoft.com/office/drawing/2014/main" id="{2A18D66C-49A2-C340-A2CD-34A6D555700C}"/>
              </a:ext>
            </a:extLst>
          </p:cNvPr>
          <p:cNvSpPr>
            <a:spLocks/>
          </p:cNvSpPr>
          <p:nvPr/>
        </p:nvSpPr>
        <p:spPr bwMode="auto">
          <a:xfrm>
            <a:off x="8108525" y="3407842"/>
            <a:ext cx="811829" cy="353060"/>
          </a:xfrm>
          <a:custGeom>
            <a:avLst/>
            <a:gdLst>
              <a:gd name="T0" fmla="*/ 0 w 157"/>
              <a:gd name="T1" fmla="*/ 19 h 68"/>
              <a:gd name="T2" fmla="*/ 7 w 157"/>
              <a:gd name="T3" fmla="*/ 26 h 68"/>
              <a:gd name="T4" fmla="*/ 12 w 157"/>
              <a:gd name="T5" fmla="*/ 29 h 68"/>
              <a:gd name="T6" fmla="*/ 15 w 157"/>
              <a:gd name="T7" fmla="*/ 36 h 68"/>
              <a:gd name="T8" fmla="*/ 15 w 157"/>
              <a:gd name="T9" fmla="*/ 38 h 68"/>
              <a:gd name="T10" fmla="*/ 15 w 157"/>
              <a:gd name="T11" fmla="*/ 40 h 68"/>
              <a:gd name="T12" fmla="*/ 16 w 157"/>
              <a:gd name="T13" fmla="*/ 45 h 68"/>
              <a:gd name="T14" fmla="*/ 28 w 157"/>
              <a:gd name="T15" fmla="*/ 47 h 68"/>
              <a:gd name="T16" fmla="*/ 36 w 157"/>
              <a:gd name="T17" fmla="*/ 54 h 68"/>
              <a:gd name="T18" fmla="*/ 39 w 157"/>
              <a:gd name="T19" fmla="*/ 59 h 68"/>
              <a:gd name="T20" fmla="*/ 44 w 157"/>
              <a:gd name="T21" fmla="*/ 60 h 68"/>
              <a:gd name="T22" fmla="*/ 56 w 157"/>
              <a:gd name="T23" fmla="*/ 60 h 68"/>
              <a:gd name="T24" fmla="*/ 64 w 157"/>
              <a:gd name="T25" fmla="*/ 61 h 68"/>
              <a:gd name="T26" fmla="*/ 69 w 157"/>
              <a:gd name="T27" fmla="*/ 64 h 68"/>
              <a:gd name="T28" fmla="*/ 76 w 157"/>
              <a:gd name="T29" fmla="*/ 66 h 68"/>
              <a:gd name="T30" fmla="*/ 81 w 157"/>
              <a:gd name="T31" fmla="*/ 67 h 68"/>
              <a:gd name="T32" fmla="*/ 93 w 157"/>
              <a:gd name="T33" fmla="*/ 62 h 68"/>
              <a:gd name="T34" fmla="*/ 106 w 157"/>
              <a:gd name="T35" fmla="*/ 61 h 68"/>
              <a:gd name="T36" fmla="*/ 113 w 157"/>
              <a:gd name="T37" fmla="*/ 55 h 68"/>
              <a:gd name="T38" fmla="*/ 114 w 157"/>
              <a:gd name="T39" fmla="*/ 51 h 68"/>
              <a:gd name="T40" fmla="*/ 115 w 157"/>
              <a:gd name="T41" fmla="*/ 47 h 68"/>
              <a:gd name="T42" fmla="*/ 126 w 157"/>
              <a:gd name="T43" fmla="*/ 46 h 68"/>
              <a:gd name="T44" fmla="*/ 130 w 157"/>
              <a:gd name="T45" fmla="*/ 44 h 68"/>
              <a:gd name="T46" fmla="*/ 137 w 157"/>
              <a:gd name="T47" fmla="*/ 42 h 68"/>
              <a:gd name="T48" fmla="*/ 139 w 157"/>
              <a:gd name="T49" fmla="*/ 38 h 68"/>
              <a:gd name="T50" fmla="*/ 143 w 157"/>
              <a:gd name="T51" fmla="*/ 37 h 68"/>
              <a:gd name="T52" fmla="*/ 154 w 157"/>
              <a:gd name="T53" fmla="*/ 36 h 68"/>
              <a:gd name="T54" fmla="*/ 150 w 157"/>
              <a:gd name="T55" fmla="*/ 29 h 68"/>
              <a:gd name="T56" fmla="*/ 145 w 157"/>
              <a:gd name="T57" fmla="*/ 28 h 68"/>
              <a:gd name="T58" fmla="*/ 141 w 157"/>
              <a:gd name="T59" fmla="*/ 29 h 68"/>
              <a:gd name="T60" fmla="*/ 136 w 157"/>
              <a:gd name="T61" fmla="*/ 28 h 68"/>
              <a:gd name="T62" fmla="*/ 134 w 157"/>
              <a:gd name="T63" fmla="*/ 27 h 68"/>
              <a:gd name="T64" fmla="*/ 137 w 157"/>
              <a:gd name="T65" fmla="*/ 19 h 68"/>
              <a:gd name="T66" fmla="*/ 137 w 157"/>
              <a:gd name="T67" fmla="*/ 14 h 68"/>
              <a:gd name="T68" fmla="*/ 131 w 157"/>
              <a:gd name="T69" fmla="*/ 14 h 68"/>
              <a:gd name="T70" fmla="*/ 124 w 157"/>
              <a:gd name="T71" fmla="*/ 15 h 68"/>
              <a:gd name="T72" fmla="*/ 114 w 157"/>
              <a:gd name="T73" fmla="*/ 19 h 68"/>
              <a:gd name="T74" fmla="*/ 103 w 157"/>
              <a:gd name="T75" fmla="*/ 19 h 68"/>
              <a:gd name="T76" fmla="*/ 98 w 157"/>
              <a:gd name="T77" fmla="*/ 17 h 68"/>
              <a:gd name="T78" fmla="*/ 94 w 157"/>
              <a:gd name="T79" fmla="*/ 15 h 68"/>
              <a:gd name="T80" fmla="*/ 83 w 157"/>
              <a:gd name="T81" fmla="*/ 11 h 68"/>
              <a:gd name="T82" fmla="*/ 77 w 157"/>
              <a:gd name="T83" fmla="*/ 13 h 68"/>
              <a:gd name="T84" fmla="*/ 71 w 157"/>
              <a:gd name="T85" fmla="*/ 12 h 68"/>
              <a:gd name="T86" fmla="*/ 68 w 157"/>
              <a:gd name="T87" fmla="*/ 8 h 68"/>
              <a:gd name="T88" fmla="*/ 64 w 157"/>
              <a:gd name="T89" fmla="*/ 5 h 68"/>
              <a:gd name="T90" fmla="*/ 58 w 157"/>
              <a:gd name="T91" fmla="*/ 3 h 68"/>
              <a:gd name="T92" fmla="*/ 52 w 157"/>
              <a:gd name="T93" fmla="*/ 1 h 68"/>
              <a:gd name="T94" fmla="*/ 45 w 157"/>
              <a:gd name="T95" fmla="*/ 7 h 68"/>
              <a:gd name="T96" fmla="*/ 47 w 157"/>
              <a:gd name="T97" fmla="*/ 13 h 68"/>
              <a:gd name="T98" fmla="*/ 41 w 157"/>
              <a:gd name="T99" fmla="*/ 15 h 68"/>
              <a:gd name="T100" fmla="*/ 37 w 157"/>
              <a:gd name="T101" fmla="*/ 14 h 68"/>
              <a:gd name="T102" fmla="*/ 34 w 157"/>
              <a:gd name="T103" fmla="*/ 14 h 68"/>
              <a:gd name="T104" fmla="*/ 28 w 157"/>
              <a:gd name="T105" fmla="*/ 10 h 68"/>
              <a:gd name="T106" fmla="*/ 21 w 157"/>
              <a:gd name="T107" fmla="*/ 9 h 68"/>
              <a:gd name="T108" fmla="*/ 13 w 157"/>
              <a:gd name="T109" fmla="*/ 13 h 68"/>
              <a:gd name="T110" fmla="*/ 7 w 157"/>
              <a:gd name="T111" fmla="*/ 17 h 68"/>
              <a:gd name="T112" fmla="*/ 0 w 157"/>
              <a:gd name="T113" fmla="*/ 19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7" h="68">
                <a:moveTo>
                  <a:pt x="0" y="19"/>
                </a:moveTo>
                <a:cubicBezTo>
                  <a:pt x="1" y="23"/>
                  <a:pt x="3" y="25"/>
                  <a:pt x="7" y="26"/>
                </a:cubicBezTo>
                <a:cubicBezTo>
                  <a:pt x="9" y="27"/>
                  <a:pt x="10" y="28"/>
                  <a:pt x="12" y="29"/>
                </a:cubicBezTo>
                <a:cubicBezTo>
                  <a:pt x="13" y="31"/>
                  <a:pt x="14" y="34"/>
                  <a:pt x="15" y="36"/>
                </a:cubicBezTo>
                <a:cubicBezTo>
                  <a:pt x="16" y="37"/>
                  <a:pt x="15" y="37"/>
                  <a:pt x="15" y="38"/>
                </a:cubicBezTo>
                <a:cubicBezTo>
                  <a:pt x="14" y="38"/>
                  <a:pt x="15" y="39"/>
                  <a:pt x="15" y="40"/>
                </a:cubicBezTo>
                <a:cubicBezTo>
                  <a:pt x="14" y="43"/>
                  <a:pt x="13" y="43"/>
                  <a:pt x="16" y="45"/>
                </a:cubicBezTo>
                <a:cubicBezTo>
                  <a:pt x="20" y="46"/>
                  <a:pt x="24" y="45"/>
                  <a:pt x="28" y="47"/>
                </a:cubicBezTo>
                <a:cubicBezTo>
                  <a:pt x="30" y="49"/>
                  <a:pt x="34" y="52"/>
                  <a:pt x="36" y="54"/>
                </a:cubicBezTo>
                <a:cubicBezTo>
                  <a:pt x="37" y="55"/>
                  <a:pt x="38" y="57"/>
                  <a:pt x="39" y="59"/>
                </a:cubicBezTo>
                <a:cubicBezTo>
                  <a:pt x="40" y="61"/>
                  <a:pt x="43" y="60"/>
                  <a:pt x="44" y="60"/>
                </a:cubicBezTo>
                <a:cubicBezTo>
                  <a:pt x="48" y="60"/>
                  <a:pt x="52" y="60"/>
                  <a:pt x="56" y="60"/>
                </a:cubicBezTo>
                <a:cubicBezTo>
                  <a:pt x="58" y="60"/>
                  <a:pt x="62" y="60"/>
                  <a:pt x="64" y="61"/>
                </a:cubicBezTo>
                <a:cubicBezTo>
                  <a:pt x="66" y="62"/>
                  <a:pt x="67" y="64"/>
                  <a:pt x="69" y="64"/>
                </a:cubicBezTo>
                <a:cubicBezTo>
                  <a:pt x="71" y="65"/>
                  <a:pt x="74" y="66"/>
                  <a:pt x="76" y="66"/>
                </a:cubicBezTo>
                <a:cubicBezTo>
                  <a:pt x="78" y="65"/>
                  <a:pt x="80" y="68"/>
                  <a:pt x="81" y="67"/>
                </a:cubicBezTo>
                <a:cubicBezTo>
                  <a:pt x="85" y="65"/>
                  <a:pt x="88" y="63"/>
                  <a:pt x="93" y="62"/>
                </a:cubicBezTo>
                <a:cubicBezTo>
                  <a:pt x="97" y="62"/>
                  <a:pt x="103" y="63"/>
                  <a:pt x="106" y="61"/>
                </a:cubicBezTo>
                <a:cubicBezTo>
                  <a:pt x="109" y="59"/>
                  <a:pt x="110" y="56"/>
                  <a:pt x="113" y="55"/>
                </a:cubicBezTo>
                <a:cubicBezTo>
                  <a:pt x="116" y="54"/>
                  <a:pt x="116" y="53"/>
                  <a:pt x="114" y="51"/>
                </a:cubicBezTo>
                <a:cubicBezTo>
                  <a:pt x="113" y="50"/>
                  <a:pt x="113" y="48"/>
                  <a:pt x="115" y="47"/>
                </a:cubicBezTo>
                <a:cubicBezTo>
                  <a:pt x="118" y="44"/>
                  <a:pt x="122" y="50"/>
                  <a:pt x="126" y="46"/>
                </a:cubicBezTo>
                <a:cubicBezTo>
                  <a:pt x="127" y="45"/>
                  <a:pt x="128" y="44"/>
                  <a:pt x="130" y="44"/>
                </a:cubicBezTo>
                <a:cubicBezTo>
                  <a:pt x="133" y="43"/>
                  <a:pt x="134" y="44"/>
                  <a:pt x="137" y="42"/>
                </a:cubicBezTo>
                <a:cubicBezTo>
                  <a:pt x="138" y="41"/>
                  <a:pt x="138" y="38"/>
                  <a:pt x="139" y="38"/>
                </a:cubicBezTo>
                <a:cubicBezTo>
                  <a:pt x="141" y="37"/>
                  <a:pt x="142" y="37"/>
                  <a:pt x="143" y="37"/>
                </a:cubicBezTo>
                <a:cubicBezTo>
                  <a:pt x="147" y="36"/>
                  <a:pt x="150" y="35"/>
                  <a:pt x="154" y="36"/>
                </a:cubicBezTo>
                <a:cubicBezTo>
                  <a:pt x="157" y="36"/>
                  <a:pt x="151" y="29"/>
                  <a:pt x="150" y="29"/>
                </a:cubicBezTo>
                <a:cubicBezTo>
                  <a:pt x="149" y="28"/>
                  <a:pt x="147" y="27"/>
                  <a:pt x="145" y="28"/>
                </a:cubicBezTo>
                <a:cubicBezTo>
                  <a:pt x="143" y="28"/>
                  <a:pt x="143" y="30"/>
                  <a:pt x="141" y="29"/>
                </a:cubicBezTo>
                <a:cubicBezTo>
                  <a:pt x="140" y="28"/>
                  <a:pt x="137" y="27"/>
                  <a:pt x="136" y="28"/>
                </a:cubicBezTo>
                <a:cubicBezTo>
                  <a:pt x="135" y="30"/>
                  <a:pt x="134" y="29"/>
                  <a:pt x="134" y="27"/>
                </a:cubicBezTo>
                <a:cubicBezTo>
                  <a:pt x="134" y="25"/>
                  <a:pt x="137" y="21"/>
                  <a:pt x="137" y="19"/>
                </a:cubicBezTo>
                <a:cubicBezTo>
                  <a:pt x="138" y="17"/>
                  <a:pt x="141" y="14"/>
                  <a:pt x="137" y="14"/>
                </a:cubicBezTo>
                <a:cubicBezTo>
                  <a:pt x="134" y="14"/>
                  <a:pt x="134" y="15"/>
                  <a:pt x="131" y="14"/>
                </a:cubicBezTo>
                <a:cubicBezTo>
                  <a:pt x="128" y="13"/>
                  <a:pt x="127" y="13"/>
                  <a:pt x="124" y="15"/>
                </a:cubicBezTo>
                <a:cubicBezTo>
                  <a:pt x="121" y="17"/>
                  <a:pt x="117" y="18"/>
                  <a:pt x="114" y="19"/>
                </a:cubicBezTo>
                <a:cubicBezTo>
                  <a:pt x="109" y="20"/>
                  <a:pt x="107" y="19"/>
                  <a:pt x="103" y="19"/>
                </a:cubicBezTo>
                <a:cubicBezTo>
                  <a:pt x="101" y="18"/>
                  <a:pt x="100" y="18"/>
                  <a:pt x="98" y="17"/>
                </a:cubicBezTo>
                <a:cubicBezTo>
                  <a:pt x="97" y="17"/>
                  <a:pt x="96" y="15"/>
                  <a:pt x="94" y="15"/>
                </a:cubicBezTo>
                <a:cubicBezTo>
                  <a:pt x="90" y="14"/>
                  <a:pt x="88" y="12"/>
                  <a:pt x="83" y="11"/>
                </a:cubicBezTo>
                <a:cubicBezTo>
                  <a:pt x="81" y="11"/>
                  <a:pt x="79" y="12"/>
                  <a:pt x="77" y="13"/>
                </a:cubicBezTo>
                <a:cubicBezTo>
                  <a:pt x="75" y="14"/>
                  <a:pt x="73" y="13"/>
                  <a:pt x="71" y="12"/>
                </a:cubicBezTo>
                <a:cubicBezTo>
                  <a:pt x="69" y="11"/>
                  <a:pt x="68" y="11"/>
                  <a:pt x="68" y="8"/>
                </a:cubicBezTo>
                <a:cubicBezTo>
                  <a:pt x="67" y="6"/>
                  <a:pt x="67" y="6"/>
                  <a:pt x="64" y="5"/>
                </a:cubicBezTo>
                <a:cubicBezTo>
                  <a:pt x="62" y="4"/>
                  <a:pt x="60" y="3"/>
                  <a:pt x="58" y="3"/>
                </a:cubicBezTo>
                <a:cubicBezTo>
                  <a:pt x="56" y="3"/>
                  <a:pt x="53" y="0"/>
                  <a:pt x="52" y="1"/>
                </a:cubicBezTo>
                <a:cubicBezTo>
                  <a:pt x="50" y="1"/>
                  <a:pt x="46" y="5"/>
                  <a:pt x="45" y="7"/>
                </a:cubicBezTo>
                <a:cubicBezTo>
                  <a:pt x="45" y="9"/>
                  <a:pt x="48" y="11"/>
                  <a:pt x="47" y="13"/>
                </a:cubicBezTo>
                <a:cubicBezTo>
                  <a:pt x="46" y="15"/>
                  <a:pt x="43" y="17"/>
                  <a:pt x="41" y="15"/>
                </a:cubicBezTo>
                <a:cubicBezTo>
                  <a:pt x="39" y="15"/>
                  <a:pt x="38" y="14"/>
                  <a:pt x="37" y="14"/>
                </a:cubicBezTo>
                <a:cubicBezTo>
                  <a:pt x="36" y="14"/>
                  <a:pt x="35" y="14"/>
                  <a:pt x="34" y="14"/>
                </a:cubicBezTo>
                <a:cubicBezTo>
                  <a:pt x="31" y="13"/>
                  <a:pt x="31" y="11"/>
                  <a:pt x="28" y="10"/>
                </a:cubicBezTo>
                <a:cubicBezTo>
                  <a:pt x="26" y="9"/>
                  <a:pt x="23" y="8"/>
                  <a:pt x="21" y="9"/>
                </a:cubicBezTo>
                <a:cubicBezTo>
                  <a:pt x="18" y="10"/>
                  <a:pt x="16" y="12"/>
                  <a:pt x="13" y="13"/>
                </a:cubicBezTo>
                <a:cubicBezTo>
                  <a:pt x="11" y="14"/>
                  <a:pt x="9" y="16"/>
                  <a:pt x="7" y="17"/>
                </a:cubicBezTo>
                <a:cubicBezTo>
                  <a:pt x="4" y="17"/>
                  <a:pt x="2" y="19"/>
                  <a:pt x="0" y="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21" name="Freeform 717">
            <a:extLst>
              <a:ext uri="{FF2B5EF4-FFF2-40B4-BE49-F238E27FC236}">
                <a16:creationId xmlns:a16="http://schemas.microsoft.com/office/drawing/2014/main" id="{917A240D-BE1E-B143-8DFD-3C2DEABDDC6B}"/>
              </a:ext>
            </a:extLst>
          </p:cNvPr>
          <p:cNvSpPr>
            <a:spLocks/>
          </p:cNvSpPr>
          <p:nvPr/>
        </p:nvSpPr>
        <p:spPr bwMode="auto">
          <a:xfrm>
            <a:off x="6153075" y="2729964"/>
            <a:ext cx="324731" cy="559603"/>
          </a:xfrm>
          <a:custGeom>
            <a:avLst/>
            <a:gdLst>
              <a:gd name="T0" fmla="*/ 61 w 63"/>
              <a:gd name="T1" fmla="*/ 25 h 108"/>
              <a:gd name="T2" fmla="*/ 61 w 63"/>
              <a:gd name="T3" fmla="*/ 20 h 108"/>
              <a:gd name="T4" fmla="*/ 61 w 63"/>
              <a:gd name="T5" fmla="*/ 16 h 108"/>
              <a:gd name="T6" fmla="*/ 60 w 63"/>
              <a:gd name="T7" fmla="*/ 13 h 108"/>
              <a:gd name="T8" fmla="*/ 60 w 63"/>
              <a:gd name="T9" fmla="*/ 11 h 108"/>
              <a:gd name="T10" fmla="*/ 57 w 63"/>
              <a:gd name="T11" fmla="*/ 7 h 108"/>
              <a:gd name="T12" fmla="*/ 51 w 63"/>
              <a:gd name="T13" fmla="*/ 5 h 108"/>
              <a:gd name="T14" fmla="*/ 44 w 63"/>
              <a:gd name="T15" fmla="*/ 1 h 108"/>
              <a:gd name="T16" fmla="*/ 44 w 63"/>
              <a:gd name="T17" fmla="*/ 5 h 108"/>
              <a:gd name="T18" fmla="*/ 34 w 63"/>
              <a:gd name="T19" fmla="*/ 5 h 108"/>
              <a:gd name="T20" fmla="*/ 34 w 63"/>
              <a:gd name="T21" fmla="*/ 10 h 108"/>
              <a:gd name="T22" fmla="*/ 29 w 63"/>
              <a:gd name="T23" fmla="*/ 10 h 108"/>
              <a:gd name="T24" fmla="*/ 27 w 63"/>
              <a:gd name="T25" fmla="*/ 12 h 108"/>
              <a:gd name="T26" fmla="*/ 25 w 63"/>
              <a:gd name="T27" fmla="*/ 15 h 108"/>
              <a:gd name="T28" fmla="*/ 25 w 63"/>
              <a:gd name="T29" fmla="*/ 18 h 108"/>
              <a:gd name="T30" fmla="*/ 24 w 63"/>
              <a:gd name="T31" fmla="*/ 20 h 108"/>
              <a:gd name="T32" fmla="*/ 20 w 63"/>
              <a:gd name="T33" fmla="*/ 25 h 108"/>
              <a:gd name="T34" fmla="*/ 17 w 63"/>
              <a:gd name="T35" fmla="*/ 27 h 108"/>
              <a:gd name="T36" fmla="*/ 16 w 63"/>
              <a:gd name="T37" fmla="*/ 33 h 108"/>
              <a:gd name="T38" fmla="*/ 13 w 63"/>
              <a:gd name="T39" fmla="*/ 38 h 108"/>
              <a:gd name="T40" fmla="*/ 15 w 63"/>
              <a:gd name="T41" fmla="*/ 42 h 108"/>
              <a:gd name="T42" fmla="*/ 9 w 63"/>
              <a:gd name="T43" fmla="*/ 44 h 108"/>
              <a:gd name="T44" fmla="*/ 5 w 63"/>
              <a:gd name="T45" fmla="*/ 51 h 108"/>
              <a:gd name="T46" fmla="*/ 6 w 63"/>
              <a:gd name="T47" fmla="*/ 57 h 108"/>
              <a:gd name="T48" fmla="*/ 8 w 63"/>
              <a:gd name="T49" fmla="*/ 63 h 108"/>
              <a:gd name="T50" fmla="*/ 7 w 63"/>
              <a:gd name="T51" fmla="*/ 67 h 108"/>
              <a:gd name="T52" fmla="*/ 7 w 63"/>
              <a:gd name="T53" fmla="*/ 74 h 108"/>
              <a:gd name="T54" fmla="*/ 4 w 63"/>
              <a:gd name="T55" fmla="*/ 78 h 108"/>
              <a:gd name="T56" fmla="*/ 3 w 63"/>
              <a:gd name="T57" fmla="*/ 83 h 108"/>
              <a:gd name="T58" fmla="*/ 0 w 63"/>
              <a:gd name="T59" fmla="*/ 82 h 108"/>
              <a:gd name="T60" fmla="*/ 4 w 63"/>
              <a:gd name="T61" fmla="*/ 90 h 108"/>
              <a:gd name="T62" fmla="*/ 7 w 63"/>
              <a:gd name="T63" fmla="*/ 97 h 108"/>
              <a:gd name="T64" fmla="*/ 8 w 63"/>
              <a:gd name="T65" fmla="*/ 102 h 108"/>
              <a:gd name="T66" fmla="*/ 10 w 63"/>
              <a:gd name="T67" fmla="*/ 107 h 108"/>
              <a:gd name="T68" fmla="*/ 14 w 63"/>
              <a:gd name="T69" fmla="*/ 108 h 108"/>
              <a:gd name="T70" fmla="*/ 15 w 63"/>
              <a:gd name="T71" fmla="*/ 105 h 108"/>
              <a:gd name="T72" fmla="*/ 24 w 63"/>
              <a:gd name="T73" fmla="*/ 101 h 108"/>
              <a:gd name="T74" fmla="*/ 27 w 63"/>
              <a:gd name="T75" fmla="*/ 92 h 108"/>
              <a:gd name="T76" fmla="*/ 26 w 63"/>
              <a:gd name="T77" fmla="*/ 87 h 108"/>
              <a:gd name="T78" fmla="*/ 28 w 63"/>
              <a:gd name="T79" fmla="*/ 84 h 108"/>
              <a:gd name="T80" fmla="*/ 32 w 63"/>
              <a:gd name="T81" fmla="*/ 82 h 108"/>
              <a:gd name="T82" fmla="*/ 32 w 63"/>
              <a:gd name="T83" fmla="*/ 81 h 108"/>
              <a:gd name="T84" fmla="*/ 35 w 63"/>
              <a:gd name="T85" fmla="*/ 80 h 108"/>
              <a:gd name="T86" fmla="*/ 34 w 63"/>
              <a:gd name="T87" fmla="*/ 78 h 108"/>
              <a:gd name="T88" fmla="*/ 36 w 63"/>
              <a:gd name="T89" fmla="*/ 77 h 108"/>
              <a:gd name="T90" fmla="*/ 35 w 63"/>
              <a:gd name="T91" fmla="*/ 73 h 108"/>
              <a:gd name="T92" fmla="*/ 29 w 63"/>
              <a:gd name="T93" fmla="*/ 66 h 108"/>
              <a:gd name="T94" fmla="*/ 30 w 63"/>
              <a:gd name="T95" fmla="*/ 60 h 108"/>
              <a:gd name="T96" fmla="*/ 30 w 63"/>
              <a:gd name="T97" fmla="*/ 56 h 108"/>
              <a:gd name="T98" fmla="*/ 33 w 63"/>
              <a:gd name="T99" fmla="*/ 53 h 108"/>
              <a:gd name="T100" fmla="*/ 39 w 63"/>
              <a:gd name="T101" fmla="*/ 48 h 108"/>
              <a:gd name="T102" fmla="*/ 49 w 63"/>
              <a:gd name="T103" fmla="*/ 41 h 108"/>
              <a:gd name="T104" fmla="*/ 50 w 63"/>
              <a:gd name="T105" fmla="*/ 35 h 108"/>
              <a:gd name="T106" fmla="*/ 50 w 63"/>
              <a:gd name="T107" fmla="*/ 32 h 108"/>
              <a:gd name="T108" fmla="*/ 54 w 63"/>
              <a:gd name="T109" fmla="*/ 30 h 108"/>
              <a:gd name="T110" fmla="*/ 58 w 63"/>
              <a:gd name="T111" fmla="*/ 29 h 108"/>
              <a:gd name="T112" fmla="*/ 60 w 63"/>
              <a:gd name="T113" fmla="*/ 28 h 108"/>
              <a:gd name="T114" fmla="*/ 63 w 63"/>
              <a:gd name="T115" fmla="*/ 28 h 108"/>
              <a:gd name="T116" fmla="*/ 61 w 63"/>
              <a:gd name="T117" fmla="*/ 25 h 108"/>
              <a:gd name="T118" fmla="*/ 61 w 63"/>
              <a:gd name="T119" fmla="*/ 25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" h="108">
                <a:moveTo>
                  <a:pt x="61" y="25"/>
                </a:moveTo>
                <a:cubicBezTo>
                  <a:pt x="60" y="24"/>
                  <a:pt x="62" y="22"/>
                  <a:pt x="61" y="20"/>
                </a:cubicBezTo>
                <a:cubicBezTo>
                  <a:pt x="60" y="18"/>
                  <a:pt x="61" y="18"/>
                  <a:pt x="61" y="16"/>
                </a:cubicBezTo>
                <a:cubicBezTo>
                  <a:pt x="61" y="15"/>
                  <a:pt x="60" y="14"/>
                  <a:pt x="60" y="13"/>
                </a:cubicBezTo>
                <a:cubicBezTo>
                  <a:pt x="59" y="12"/>
                  <a:pt x="60" y="12"/>
                  <a:pt x="60" y="11"/>
                </a:cubicBezTo>
                <a:cubicBezTo>
                  <a:pt x="59" y="9"/>
                  <a:pt x="59" y="8"/>
                  <a:pt x="57" y="7"/>
                </a:cubicBezTo>
                <a:cubicBezTo>
                  <a:pt x="55" y="6"/>
                  <a:pt x="53" y="6"/>
                  <a:pt x="51" y="5"/>
                </a:cubicBezTo>
                <a:cubicBezTo>
                  <a:pt x="49" y="3"/>
                  <a:pt x="47" y="0"/>
                  <a:pt x="44" y="1"/>
                </a:cubicBezTo>
                <a:cubicBezTo>
                  <a:pt x="43" y="1"/>
                  <a:pt x="44" y="4"/>
                  <a:pt x="44" y="5"/>
                </a:cubicBezTo>
                <a:cubicBezTo>
                  <a:pt x="43" y="8"/>
                  <a:pt x="37" y="6"/>
                  <a:pt x="34" y="5"/>
                </a:cubicBezTo>
                <a:cubicBezTo>
                  <a:pt x="34" y="7"/>
                  <a:pt x="34" y="8"/>
                  <a:pt x="34" y="10"/>
                </a:cubicBezTo>
                <a:cubicBezTo>
                  <a:pt x="33" y="10"/>
                  <a:pt x="31" y="9"/>
                  <a:pt x="29" y="10"/>
                </a:cubicBezTo>
                <a:cubicBezTo>
                  <a:pt x="28" y="10"/>
                  <a:pt x="28" y="11"/>
                  <a:pt x="27" y="12"/>
                </a:cubicBezTo>
                <a:cubicBezTo>
                  <a:pt x="27" y="13"/>
                  <a:pt x="25" y="14"/>
                  <a:pt x="25" y="15"/>
                </a:cubicBezTo>
                <a:cubicBezTo>
                  <a:pt x="24" y="16"/>
                  <a:pt x="26" y="18"/>
                  <a:pt x="25" y="18"/>
                </a:cubicBezTo>
                <a:cubicBezTo>
                  <a:pt x="25" y="19"/>
                  <a:pt x="24" y="19"/>
                  <a:pt x="24" y="20"/>
                </a:cubicBezTo>
                <a:cubicBezTo>
                  <a:pt x="22" y="21"/>
                  <a:pt x="20" y="23"/>
                  <a:pt x="20" y="25"/>
                </a:cubicBezTo>
                <a:cubicBezTo>
                  <a:pt x="20" y="27"/>
                  <a:pt x="18" y="25"/>
                  <a:pt x="17" y="27"/>
                </a:cubicBezTo>
                <a:cubicBezTo>
                  <a:pt x="17" y="29"/>
                  <a:pt x="17" y="31"/>
                  <a:pt x="16" y="33"/>
                </a:cubicBezTo>
                <a:cubicBezTo>
                  <a:pt x="16" y="35"/>
                  <a:pt x="13" y="36"/>
                  <a:pt x="13" y="38"/>
                </a:cubicBezTo>
                <a:cubicBezTo>
                  <a:pt x="13" y="39"/>
                  <a:pt x="16" y="41"/>
                  <a:pt x="15" y="42"/>
                </a:cubicBezTo>
                <a:cubicBezTo>
                  <a:pt x="13" y="44"/>
                  <a:pt x="11" y="43"/>
                  <a:pt x="9" y="44"/>
                </a:cubicBezTo>
                <a:cubicBezTo>
                  <a:pt x="6" y="45"/>
                  <a:pt x="5" y="48"/>
                  <a:pt x="5" y="51"/>
                </a:cubicBezTo>
                <a:cubicBezTo>
                  <a:pt x="6" y="53"/>
                  <a:pt x="6" y="55"/>
                  <a:pt x="6" y="57"/>
                </a:cubicBezTo>
                <a:cubicBezTo>
                  <a:pt x="6" y="60"/>
                  <a:pt x="4" y="61"/>
                  <a:pt x="8" y="63"/>
                </a:cubicBezTo>
                <a:cubicBezTo>
                  <a:pt x="10" y="65"/>
                  <a:pt x="9" y="66"/>
                  <a:pt x="7" y="67"/>
                </a:cubicBezTo>
                <a:cubicBezTo>
                  <a:pt x="6" y="68"/>
                  <a:pt x="8" y="72"/>
                  <a:pt x="7" y="74"/>
                </a:cubicBezTo>
                <a:cubicBezTo>
                  <a:pt x="7" y="76"/>
                  <a:pt x="4" y="76"/>
                  <a:pt x="4" y="78"/>
                </a:cubicBezTo>
                <a:cubicBezTo>
                  <a:pt x="4" y="79"/>
                  <a:pt x="4" y="83"/>
                  <a:pt x="3" y="83"/>
                </a:cubicBezTo>
                <a:cubicBezTo>
                  <a:pt x="3" y="83"/>
                  <a:pt x="1" y="82"/>
                  <a:pt x="0" y="82"/>
                </a:cubicBezTo>
                <a:cubicBezTo>
                  <a:pt x="0" y="86"/>
                  <a:pt x="4" y="87"/>
                  <a:pt x="4" y="90"/>
                </a:cubicBezTo>
                <a:cubicBezTo>
                  <a:pt x="3" y="91"/>
                  <a:pt x="6" y="96"/>
                  <a:pt x="7" y="97"/>
                </a:cubicBezTo>
                <a:cubicBezTo>
                  <a:pt x="9" y="99"/>
                  <a:pt x="8" y="100"/>
                  <a:pt x="8" y="102"/>
                </a:cubicBezTo>
                <a:cubicBezTo>
                  <a:pt x="8" y="103"/>
                  <a:pt x="10" y="105"/>
                  <a:pt x="10" y="107"/>
                </a:cubicBezTo>
                <a:cubicBezTo>
                  <a:pt x="9" y="108"/>
                  <a:pt x="13" y="107"/>
                  <a:pt x="14" y="108"/>
                </a:cubicBezTo>
                <a:cubicBezTo>
                  <a:pt x="16" y="108"/>
                  <a:pt x="15" y="107"/>
                  <a:pt x="15" y="105"/>
                </a:cubicBezTo>
                <a:cubicBezTo>
                  <a:pt x="15" y="100"/>
                  <a:pt x="23" y="104"/>
                  <a:pt x="24" y="101"/>
                </a:cubicBezTo>
                <a:cubicBezTo>
                  <a:pt x="25" y="98"/>
                  <a:pt x="26" y="95"/>
                  <a:pt x="27" y="92"/>
                </a:cubicBezTo>
                <a:cubicBezTo>
                  <a:pt x="27" y="90"/>
                  <a:pt x="27" y="88"/>
                  <a:pt x="26" y="87"/>
                </a:cubicBezTo>
                <a:cubicBezTo>
                  <a:pt x="25" y="85"/>
                  <a:pt x="26" y="85"/>
                  <a:pt x="28" y="84"/>
                </a:cubicBezTo>
                <a:cubicBezTo>
                  <a:pt x="29" y="84"/>
                  <a:pt x="32" y="83"/>
                  <a:pt x="32" y="82"/>
                </a:cubicBezTo>
                <a:cubicBezTo>
                  <a:pt x="32" y="82"/>
                  <a:pt x="32" y="81"/>
                  <a:pt x="32" y="81"/>
                </a:cubicBezTo>
                <a:cubicBezTo>
                  <a:pt x="33" y="81"/>
                  <a:pt x="35" y="81"/>
                  <a:pt x="35" y="80"/>
                </a:cubicBezTo>
                <a:cubicBezTo>
                  <a:pt x="35" y="79"/>
                  <a:pt x="34" y="79"/>
                  <a:pt x="34" y="78"/>
                </a:cubicBezTo>
                <a:cubicBezTo>
                  <a:pt x="35" y="78"/>
                  <a:pt x="36" y="77"/>
                  <a:pt x="36" y="77"/>
                </a:cubicBezTo>
                <a:cubicBezTo>
                  <a:pt x="38" y="75"/>
                  <a:pt x="37" y="74"/>
                  <a:pt x="35" y="73"/>
                </a:cubicBezTo>
                <a:cubicBezTo>
                  <a:pt x="33" y="71"/>
                  <a:pt x="29" y="70"/>
                  <a:pt x="29" y="66"/>
                </a:cubicBezTo>
                <a:cubicBezTo>
                  <a:pt x="29" y="64"/>
                  <a:pt x="29" y="62"/>
                  <a:pt x="30" y="60"/>
                </a:cubicBezTo>
                <a:cubicBezTo>
                  <a:pt x="31" y="58"/>
                  <a:pt x="31" y="58"/>
                  <a:pt x="30" y="56"/>
                </a:cubicBezTo>
                <a:cubicBezTo>
                  <a:pt x="29" y="56"/>
                  <a:pt x="33" y="53"/>
                  <a:pt x="33" y="53"/>
                </a:cubicBezTo>
                <a:cubicBezTo>
                  <a:pt x="35" y="51"/>
                  <a:pt x="36" y="49"/>
                  <a:pt x="39" y="48"/>
                </a:cubicBezTo>
                <a:cubicBezTo>
                  <a:pt x="42" y="47"/>
                  <a:pt x="47" y="44"/>
                  <a:pt x="49" y="41"/>
                </a:cubicBezTo>
                <a:cubicBezTo>
                  <a:pt x="51" y="38"/>
                  <a:pt x="46" y="36"/>
                  <a:pt x="50" y="35"/>
                </a:cubicBezTo>
                <a:cubicBezTo>
                  <a:pt x="52" y="34"/>
                  <a:pt x="51" y="34"/>
                  <a:pt x="50" y="32"/>
                </a:cubicBezTo>
                <a:cubicBezTo>
                  <a:pt x="50" y="31"/>
                  <a:pt x="53" y="30"/>
                  <a:pt x="54" y="30"/>
                </a:cubicBezTo>
                <a:cubicBezTo>
                  <a:pt x="56" y="28"/>
                  <a:pt x="57" y="27"/>
                  <a:pt x="58" y="29"/>
                </a:cubicBezTo>
                <a:cubicBezTo>
                  <a:pt x="59" y="29"/>
                  <a:pt x="60" y="28"/>
                  <a:pt x="60" y="28"/>
                </a:cubicBezTo>
                <a:cubicBezTo>
                  <a:pt x="61" y="28"/>
                  <a:pt x="62" y="28"/>
                  <a:pt x="63" y="28"/>
                </a:cubicBezTo>
                <a:cubicBezTo>
                  <a:pt x="63" y="27"/>
                  <a:pt x="62" y="27"/>
                  <a:pt x="61" y="25"/>
                </a:cubicBezTo>
                <a:cubicBezTo>
                  <a:pt x="60" y="24"/>
                  <a:pt x="61" y="26"/>
                  <a:pt x="61" y="2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22" name="Freeform 718">
            <a:extLst>
              <a:ext uri="{FF2B5EF4-FFF2-40B4-BE49-F238E27FC236}">
                <a16:creationId xmlns:a16="http://schemas.microsoft.com/office/drawing/2014/main" id="{EE680B6F-4B70-B345-B654-57474590C06D}"/>
              </a:ext>
            </a:extLst>
          </p:cNvPr>
          <p:cNvSpPr>
            <a:spLocks/>
          </p:cNvSpPr>
          <p:nvPr/>
        </p:nvSpPr>
        <p:spPr bwMode="auto">
          <a:xfrm>
            <a:off x="6391330" y="2687598"/>
            <a:ext cx="278846" cy="436031"/>
          </a:xfrm>
          <a:custGeom>
            <a:avLst/>
            <a:gdLst>
              <a:gd name="T0" fmla="*/ 53 w 54"/>
              <a:gd name="T1" fmla="*/ 59 h 84"/>
              <a:gd name="T2" fmla="*/ 47 w 54"/>
              <a:gd name="T3" fmla="*/ 55 h 84"/>
              <a:gd name="T4" fmla="*/ 49 w 54"/>
              <a:gd name="T5" fmla="*/ 51 h 84"/>
              <a:gd name="T6" fmla="*/ 44 w 54"/>
              <a:gd name="T7" fmla="*/ 44 h 84"/>
              <a:gd name="T8" fmla="*/ 46 w 54"/>
              <a:gd name="T9" fmla="*/ 43 h 84"/>
              <a:gd name="T10" fmla="*/ 44 w 54"/>
              <a:gd name="T11" fmla="*/ 38 h 84"/>
              <a:gd name="T12" fmla="*/ 45 w 54"/>
              <a:gd name="T13" fmla="*/ 36 h 84"/>
              <a:gd name="T14" fmla="*/ 44 w 54"/>
              <a:gd name="T15" fmla="*/ 32 h 84"/>
              <a:gd name="T16" fmla="*/ 42 w 54"/>
              <a:gd name="T17" fmla="*/ 26 h 84"/>
              <a:gd name="T18" fmla="*/ 45 w 54"/>
              <a:gd name="T19" fmla="*/ 23 h 84"/>
              <a:gd name="T20" fmla="*/ 44 w 54"/>
              <a:gd name="T21" fmla="*/ 19 h 84"/>
              <a:gd name="T22" fmla="*/ 38 w 54"/>
              <a:gd name="T23" fmla="*/ 13 h 84"/>
              <a:gd name="T24" fmla="*/ 40 w 54"/>
              <a:gd name="T25" fmla="*/ 12 h 84"/>
              <a:gd name="T26" fmla="*/ 39 w 54"/>
              <a:gd name="T27" fmla="*/ 10 h 84"/>
              <a:gd name="T28" fmla="*/ 41 w 54"/>
              <a:gd name="T29" fmla="*/ 3 h 84"/>
              <a:gd name="T30" fmla="*/ 37 w 54"/>
              <a:gd name="T31" fmla="*/ 1 h 84"/>
              <a:gd name="T32" fmla="*/ 34 w 54"/>
              <a:gd name="T33" fmla="*/ 0 h 84"/>
              <a:gd name="T34" fmla="*/ 29 w 54"/>
              <a:gd name="T35" fmla="*/ 1 h 84"/>
              <a:gd name="T36" fmla="*/ 25 w 54"/>
              <a:gd name="T37" fmla="*/ 5 h 84"/>
              <a:gd name="T38" fmla="*/ 24 w 54"/>
              <a:gd name="T39" fmla="*/ 10 h 84"/>
              <a:gd name="T40" fmla="*/ 21 w 54"/>
              <a:gd name="T41" fmla="*/ 13 h 84"/>
              <a:gd name="T42" fmla="*/ 17 w 54"/>
              <a:gd name="T43" fmla="*/ 11 h 84"/>
              <a:gd name="T44" fmla="*/ 14 w 54"/>
              <a:gd name="T45" fmla="*/ 12 h 84"/>
              <a:gd name="T46" fmla="*/ 7 w 54"/>
              <a:gd name="T47" fmla="*/ 10 h 84"/>
              <a:gd name="T48" fmla="*/ 4 w 54"/>
              <a:gd name="T49" fmla="*/ 7 h 84"/>
              <a:gd name="T50" fmla="*/ 0 w 54"/>
              <a:gd name="T51" fmla="*/ 9 h 84"/>
              <a:gd name="T52" fmla="*/ 8 w 54"/>
              <a:gd name="T53" fmla="*/ 14 h 84"/>
              <a:gd name="T54" fmla="*/ 12 w 54"/>
              <a:gd name="T55" fmla="*/ 16 h 84"/>
              <a:gd name="T56" fmla="*/ 14 w 54"/>
              <a:gd name="T57" fmla="*/ 19 h 84"/>
              <a:gd name="T58" fmla="*/ 14 w 54"/>
              <a:gd name="T59" fmla="*/ 21 h 84"/>
              <a:gd name="T60" fmla="*/ 15 w 54"/>
              <a:gd name="T61" fmla="*/ 24 h 84"/>
              <a:gd name="T62" fmla="*/ 15 w 54"/>
              <a:gd name="T63" fmla="*/ 27 h 84"/>
              <a:gd name="T64" fmla="*/ 16 w 54"/>
              <a:gd name="T65" fmla="*/ 29 h 84"/>
              <a:gd name="T66" fmla="*/ 15 w 54"/>
              <a:gd name="T67" fmla="*/ 33 h 84"/>
              <a:gd name="T68" fmla="*/ 17 w 54"/>
              <a:gd name="T69" fmla="*/ 36 h 84"/>
              <a:gd name="T70" fmla="*/ 21 w 54"/>
              <a:gd name="T71" fmla="*/ 38 h 84"/>
              <a:gd name="T72" fmla="*/ 22 w 54"/>
              <a:gd name="T73" fmla="*/ 41 h 84"/>
              <a:gd name="T74" fmla="*/ 23 w 54"/>
              <a:gd name="T75" fmla="*/ 44 h 84"/>
              <a:gd name="T76" fmla="*/ 20 w 54"/>
              <a:gd name="T77" fmla="*/ 44 h 84"/>
              <a:gd name="T78" fmla="*/ 16 w 54"/>
              <a:gd name="T79" fmla="*/ 49 h 84"/>
              <a:gd name="T80" fmla="*/ 13 w 54"/>
              <a:gd name="T81" fmla="*/ 51 h 84"/>
              <a:gd name="T82" fmla="*/ 10 w 54"/>
              <a:gd name="T83" fmla="*/ 54 h 84"/>
              <a:gd name="T84" fmla="*/ 4 w 54"/>
              <a:gd name="T85" fmla="*/ 57 h 84"/>
              <a:gd name="T86" fmla="*/ 2 w 54"/>
              <a:gd name="T87" fmla="*/ 62 h 84"/>
              <a:gd name="T88" fmla="*/ 4 w 54"/>
              <a:gd name="T89" fmla="*/ 67 h 84"/>
              <a:gd name="T90" fmla="*/ 4 w 54"/>
              <a:gd name="T91" fmla="*/ 73 h 84"/>
              <a:gd name="T92" fmla="*/ 4 w 54"/>
              <a:gd name="T93" fmla="*/ 78 h 84"/>
              <a:gd name="T94" fmla="*/ 7 w 54"/>
              <a:gd name="T95" fmla="*/ 80 h 84"/>
              <a:gd name="T96" fmla="*/ 5 w 54"/>
              <a:gd name="T97" fmla="*/ 81 h 84"/>
              <a:gd name="T98" fmla="*/ 8 w 54"/>
              <a:gd name="T99" fmla="*/ 79 h 84"/>
              <a:gd name="T100" fmla="*/ 8 w 54"/>
              <a:gd name="T101" fmla="*/ 83 h 84"/>
              <a:gd name="T102" fmla="*/ 11 w 54"/>
              <a:gd name="T103" fmla="*/ 80 h 84"/>
              <a:gd name="T104" fmla="*/ 11 w 54"/>
              <a:gd name="T105" fmla="*/ 83 h 84"/>
              <a:gd name="T106" fmla="*/ 23 w 54"/>
              <a:gd name="T107" fmla="*/ 80 h 84"/>
              <a:gd name="T108" fmla="*/ 36 w 54"/>
              <a:gd name="T109" fmla="*/ 78 h 84"/>
              <a:gd name="T110" fmla="*/ 46 w 54"/>
              <a:gd name="T111" fmla="*/ 68 h 84"/>
              <a:gd name="T112" fmla="*/ 53 w 54"/>
              <a:gd name="T113" fmla="*/ 59 h 84"/>
              <a:gd name="T114" fmla="*/ 53 w 54"/>
              <a:gd name="T115" fmla="*/ 59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4" h="84">
                <a:moveTo>
                  <a:pt x="53" y="59"/>
                </a:moveTo>
                <a:cubicBezTo>
                  <a:pt x="52" y="57"/>
                  <a:pt x="49" y="56"/>
                  <a:pt x="47" y="55"/>
                </a:cubicBezTo>
                <a:cubicBezTo>
                  <a:pt x="44" y="53"/>
                  <a:pt x="48" y="53"/>
                  <a:pt x="49" y="51"/>
                </a:cubicBezTo>
                <a:cubicBezTo>
                  <a:pt x="49" y="51"/>
                  <a:pt x="45" y="45"/>
                  <a:pt x="44" y="44"/>
                </a:cubicBezTo>
                <a:cubicBezTo>
                  <a:pt x="44" y="44"/>
                  <a:pt x="46" y="43"/>
                  <a:pt x="46" y="43"/>
                </a:cubicBezTo>
                <a:cubicBezTo>
                  <a:pt x="46" y="42"/>
                  <a:pt x="44" y="39"/>
                  <a:pt x="44" y="38"/>
                </a:cubicBezTo>
                <a:cubicBezTo>
                  <a:pt x="44" y="37"/>
                  <a:pt x="45" y="37"/>
                  <a:pt x="45" y="36"/>
                </a:cubicBezTo>
                <a:cubicBezTo>
                  <a:pt x="46" y="35"/>
                  <a:pt x="44" y="33"/>
                  <a:pt x="44" y="32"/>
                </a:cubicBezTo>
                <a:cubicBezTo>
                  <a:pt x="42" y="30"/>
                  <a:pt x="40" y="28"/>
                  <a:pt x="42" y="26"/>
                </a:cubicBezTo>
                <a:cubicBezTo>
                  <a:pt x="43" y="25"/>
                  <a:pt x="45" y="24"/>
                  <a:pt x="45" y="23"/>
                </a:cubicBezTo>
                <a:cubicBezTo>
                  <a:pt x="46" y="21"/>
                  <a:pt x="44" y="20"/>
                  <a:pt x="44" y="19"/>
                </a:cubicBezTo>
                <a:cubicBezTo>
                  <a:pt x="43" y="18"/>
                  <a:pt x="36" y="15"/>
                  <a:pt x="38" y="13"/>
                </a:cubicBezTo>
                <a:cubicBezTo>
                  <a:pt x="38" y="13"/>
                  <a:pt x="40" y="12"/>
                  <a:pt x="40" y="12"/>
                </a:cubicBezTo>
                <a:cubicBezTo>
                  <a:pt x="40" y="12"/>
                  <a:pt x="37" y="10"/>
                  <a:pt x="39" y="10"/>
                </a:cubicBezTo>
                <a:cubicBezTo>
                  <a:pt x="42" y="10"/>
                  <a:pt x="44" y="5"/>
                  <a:pt x="41" y="3"/>
                </a:cubicBezTo>
                <a:cubicBezTo>
                  <a:pt x="40" y="2"/>
                  <a:pt x="38" y="2"/>
                  <a:pt x="37" y="1"/>
                </a:cubicBezTo>
                <a:cubicBezTo>
                  <a:pt x="36" y="0"/>
                  <a:pt x="35" y="0"/>
                  <a:pt x="34" y="0"/>
                </a:cubicBezTo>
                <a:cubicBezTo>
                  <a:pt x="32" y="1"/>
                  <a:pt x="31" y="0"/>
                  <a:pt x="29" y="1"/>
                </a:cubicBezTo>
                <a:cubicBezTo>
                  <a:pt x="28" y="2"/>
                  <a:pt x="26" y="4"/>
                  <a:pt x="25" y="5"/>
                </a:cubicBezTo>
                <a:cubicBezTo>
                  <a:pt x="25" y="6"/>
                  <a:pt x="25" y="10"/>
                  <a:pt x="24" y="10"/>
                </a:cubicBezTo>
                <a:cubicBezTo>
                  <a:pt x="23" y="11"/>
                  <a:pt x="22" y="12"/>
                  <a:pt x="21" y="13"/>
                </a:cubicBezTo>
                <a:cubicBezTo>
                  <a:pt x="20" y="13"/>
                  <a:pt x="18" y="11"/>
                  <a:pt x="17" y="11"/>
                </a:cubicBezTo>
                <a:cubicBezTo>
                  <a:pt x="16" y="11"/>
                  <a:pt x="15" y="12"/>
                  <a:pt x="14" y="12"/>
                </a:cubicBezTo>
                <a:cubicBezTo>
                  <a:pt x="11" y="13"/>
                  <a:pt x="9" y="12"/>
                  <a:pt x="7" y="10"/>
                </a:cubicBezTo>
                <a:cubicBezTo>
                  <a:pt x="7" y="9"/>
                  <a:pt x="5" y="7"/>
                  <a:pt x="4" y="7"/>
                </a:cubicBezTo>
                <a:cubicBezTo>
                  <a:pt x="3" y="7"/>
                  <a:pt x="1" y="9"/>
                  <a:pt x="0" y="9"/>
                </a:cubicBezTo>
                <a:cubicBezTo>
                  <a:pt x="2" y="11"/>
                  <a:pt x="5" y="13"/>
                  <a:pt x="8" y="14"/>
                </a:cubicBezTo>
                <a:cubicBezTo>
                  <a:pt x="9" y="14"/>
                  <a:pt x="11" y="15"/>
                  <a:pt x="12" y="16"/>
                </a:cubicBezTo>
                <a:cubicBezTo>
                  <a:pt x="13" y="17"/>
                  <a:pt x="13" y="18"/>
                  <a:pt x="14" y="19"/>
                </a:cubicBezTo>
                <a:cubicBezTo>
                  <a:pt x="14" y="20"/>
                  <a:pt x="13" y="20"/>
                  <a:pt x="14" y="21"/>
                </a:cubicBezTo>
                <a:cubicBezTo>
                  <a:pt x="14" y="22"/>
                  <a:pt x="16" y="23"/>
                  <a:pt x="15" y="24"/>
                </a:cubicBezTo>
                <a:cubicBezTo>
                  <a:pt x="15" y="25"/>
                  <a:pt x="14" y="26"/>
                  <a:pt x="15" y="27"/>
                </a:cubicBezTo>
                <a:cubicBezTo>
                  <a:pt x="15" y="27"/>
                  <a:pt x="16" y="29"/>
                  <a:pt x="16" y="29"/>
                </a:cubicBezTo>
                <a:cubicBezTo>
                  <a:pt x="15" y="30"/>
                  <a:pt x="15" y="32"/>
                  <a:pt x="15" y="33"/>
                </a:cubicBezTo>
                <a:cubicBezTo>
                  <a:pt x="15" y="33"/>
                  <a:pt x="17" y="36"/>
                  <a:pt x="17" y="36"/>
                </a:cubicBezTo>
                <a:cubicBezTo>
                  <a:pt x="18" y="37"/>
                  <a:pt x="20" y="38"/>
                  <a:pt x="21" y="38"/>
                </a:cubicBezTo>
                <a:cubicBezTo>
                  <a:pt x="22" y="39"/>
                  <a:pt x="22" y="40"/>
                  <a:pt x="22" y="41"/>
                </a:cubicBezTo>
                <a:cubicBezTo>
                  <a:pt x="22" y="42"/>
                  <a:pt x="23" y="43"/>
                  <a:pt x="23" y="44"/>
                </a:cubicBezTo>
                <a:cubicBezTo>
                  <a:pt x="23" y="45"/>
                  <a:pt x="21" y="44"/>
                  <a:pt x="20" y="44"/>
                </a:cubicBezTo>
                <a:cubicBezTo>
                  <a:pt x="19" y="44"/>
                  <a:pt x="16" y="48"/>
                  <a:pt x="16" y="49"/>
                </a:cubicBezTo>
                <a:cubicBezTo>
                  <a:pt x="15" y="50"/>
                  <a:pt x="14" y="50"/>
                  <a:pt x="13" y="51"/>
                </a:cubicBezTo>
                <a:cubicBezTo>
                  <a:pt x="12" y="52"/>
                  <a:pt x="11" y="53"/>
                  <a:pt x="10" y="54"/>
                </a:cubicBezTo>
                <a:cubicBezTo>
                  <a:pt x="9" y="54"/>
                  <a:pt x="4" y="58"/>
                  <a:pt x="4" y="57"/>
                </a:cubicBezTo>
                <a:cubicBezTo>
                  <a:pt x="4" y="59"/>
                  <a:pt x="2" y="60"/>
                  <a:pt x="2" y="62"/>
                </a:cubicBezTo>
                <a:cubicBezTo>
                  <a:pt x="3" y="64"/>
                  <a:pt x="2" y="67"/>
                  <a:pt x="4" y="67"/>
                </a:cubicBezTo>
                <a:cubicBezTo>
                  <a:pt x="5" y="67"/>
                  <a:pt x="4" y="72"/>
                  <a:pt x="4" y="73"/>
                </a:cubicBezTo>
                <a:cubicBezTo>
                  <a:pt x="4" y="75"/>
                  <a:pt x="2" y="77"/>
                  <a:pt x="4" y="78"/>
                </a:cubicBezTo>
                <a:cubicBezTo>
                  <a:pt x="4" y="78"/>
                  <a:pt x="8" y="79"/>
                  <a:pt x="7" y="80"/>
                </a:cubicBezTo>
                <a:cubicBezTo>
                  <a:pt x="7" y="80"/>
                  <a:pt x="5" y="81"/>
                  <a:pt x="5" y="81"/>
                </a:cubicBezTo>
                <a:cubicBezTo>
                  <a:pt x="7" y="81"/>
                  <a:pt x="7" y="79"/>
                  <a:pt x="8" y="79"/>
                </a:cubicBezTo>
                <a:cubicBezTo>
                  <a:pt x="10" y="78"/>
                  <a:pt x="8" y="83"/>
                  <a:pt x="8" y="83"/>
                </a:cubicBezTo>
                <a:cubicBezTo>
                  <a:pt x="8" y="83"/>
                  <a:pt x="11" y="80"/>
                  <a:pt x="11" y="80"/>
                </a:cubicBezTo>
                <a:cubicBezTo>
                  <a:pt x="12" y="79"/>
                  <a:pt x="11" y="83"/>
                  <a:pt x="11" y="83"/>
                </a:cubicBezTo>
                <a:cubicBezTo>
                  <a:pt x="14" y="84"/>
                  <a:pt x="20" y="81"/>
                  <a:pt x="23" y="80"/>
                </a:cubicBezTo>
                <a:cubicBezTo>
                  <a:pt x="27" y="79"/>
                  <a:pt x="31" y="79"/>
                  <a:pt x="36" y="78"/>
                </a:cubicBezTo>
                <a:cubicBezTo>
                  <a:pt x="39" y="74"/>
                  <a:pt x="43" y="71"/>
                  <a:pt x="46" y="68"/>
                </a:cubicBezTo>
                <a:cubicBezTo>
                  <a:pt x="48" y="66"/>
                  <a:pt x="54" y="62"/>
                  <a:pt x="53" y="59"/>
                </a:cubicBezTo>
                <a:cubicBezTo>
                  <a:pt x="52" y="57"/>
                  <a:pt x="54" y="62"/>
                  <a:pt x="53" y="5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23" name="Freeform 719">
            <a:extLst>
              <a:ext uri="{FF2B5EF4-FFF2-40B4-BE49-F238E27FC236}">
                <a16:creationId xmlns:a16="http://schemas.microsoft.com/office/drawing/2014/main" id="{AD7708F4-73CD-D04E-A7BA-EF9314AFADF8}"/>
              </a:ext>
            </a:extLst>
          </p:cNvPr>
          <p:cNvSpPr>
            <a:spLocks/>
          </p:cNvSpPr>
          <p:nvPr/>
        </p:nvSpPr>
        <p:spPr bwMode="auto">
          <a:xfrm>
            <a:off x="5992474" y="2636403"/>
            <a:ext cx="661818" cy="554307"/>
          </a:xfrm>
          <a:custGeom>
            <a:avLst/>
            <a:gdLst>
              <a:gd name="T0" fmla="*/ 38 w 128"/>
              <a:gd name="T1" fmla="*/ 87 h 107"/>
              <a:gd name="T2" fmla="*/ 38 w 128"/>
              <a:gd name="T3" fmla="*/ 63 h 107"/>
              <a:gd name="T4" fmla="*/ 47 w 128"/>
              <a:gd name="T5" fmla="*/ 52 h 107"/>
              <a:gd name="T6" fmla="*/ 56 w 128"/>
              <a:gd name="T7" fmla="*/ 34 h 107"/>
              <a:gd name="T8" fmla="*/ 72 w 128"/>
              <a:gd name="T9" fmla="*/ 25 h 107"/>
              <a:gd name="T10" fmla="*/ 86 w 128"/>
              <a:gd name="T11" fmla="*/ 22 h 107"/>
              <a:gd name="T12" fmla="*/ 102 w 128"/>
              <a:gd name="T13" fmla="*/ 20 h 107"/>
              <a:gd name="T14" fmla="*/ 112 w 128"/>
              <a:gd name="T15" fmla="*/ 10 h 107"/>
              <a:gd name="T16" fmla="*/ 120 w 128"/>
              <a:gd name="T17" fmla="*/ 13 h 107"/>
              <a:gd name="T18" fmla="*/ 127 w 128"/>
              <a:gd name="T19" fmla="*/ 6 h 107"/>
              <a:gd name="T20" fmla="*/ 114 w 128"/>
              <a:gd name="T21" fmla="*/ 5 h 107"/>
              <a:gd name="T22" fmla="*/ 116 w 128"/>
              <a:gd name="T23" fmla="*/ 2 h 107"/>
              <a:gd name="T24" fmla="*/ 106 w 128"/>
              <a:gd name="T25" fmla="*/ 3 h 107"/>
              <a:gd name="T26" fmla="*/ 100 w 128"/>
              <a:gd name="T27" fmla="*/ 1 h 107"/>
              <a:gd name="T28" fmla="*/ 95 w 128"/>
              <a:gd name="T29" fmla="*/ 3 h 107"/>
              <a:gd name="T30" fmla="*/ 91 w 128"/>
              <a:gd name="T31" fmla="*/ 6 h 107"/>
              <a:gd name="T32" fmla="*/ 90 w 128"/>
              <a:gd name="T33" fmla="*/ 11 h 107"/>
              <a:gd name="T34" fmla="*/ 84 w 128"/>
              <a:gd name="T35" fmla="*/ 10 h 107"/>
              <a:gd name="T36" fmla="*/ 80 w 128"/>
              <a:gd name="T37" fmla="*/ 13 h 107"/>
              <a:gd name="T38" fmla="*/ 76 w 128"/>
              <a:gd name="T39" fmla="*/ 15 h 107"/>
              <a:gd name="T40" fmla="*/ 72 w 128"/>
              <a:gd name="T41" fmla="*/ 16 h 107"/>
              <a:gd name="T42" fmla="*/ 68 w 128"/>
              <a:gd name="T43" fmla="*/ 10 h 107"/>
              <a:gd name="T44" fmla="*/ 67 w 128"/>
              <a:gd name="T45" fmla="*/ 14 h 107"/>
              <a:gd name="T46" fmla="*/ 65 w 128"/>
              <a:gd name="T47" fmla="*/ 14 h 107"/>
              <a:gd name="T48" fmla="*/ 62 w 128"/>
              <a:gd name="T49" fmla="*/ 18 h 107"/>
              <a:gd name="T50" fmla="*/ 61 w 128"/>
              <a:gd name="T51" fmla="*/ 21 h 107"/>
              <a:gd name="T52" fmla="*/ 57 w 128"/>
              <a:gd name="T53" fmla="*/ 20 h 107"/>
              <a:gd name="T54" fmla="*/ 54 w 128"/>
              <a:gd name="T55" fmla="*/ 20 h 107"/>
              <a:gd name="T56" fmla="*/ 51 w 128"/>
              <a:gd name="T57" fmla="*/ 22 h 107"/>
              <a:gd name="T58" fmla="*/ 49 w 128"/>
              <a:gd name="T59" fmla="*/ 23 h 107"/>
              <a:gd name="T60" fmla="*/ 54 w 128"/>
              <a:gd name="T61" fmla="*/ 25 h 107"/>
              <a:gd name="T62" fmla="*/ 56 w 128"/>
              <a:gd name="T63" fmla="*/ 25 h 107"/>
              <a:gd name="T64" fmla="*/ 57 w 128"/>
              <a:gd name="T65" fmla="*/ 28 h 107"/>
              <a:gd name="T66" fmla="*/ 49 w 128"/>
              <a:gd name="T67" fmla="*/ 31 h 107"/>
              <a:gd name="T68" fmla="*/ 53 w 128"/>
              <a:gd name="T69" fmla="*/ 33 h 107"/>
              <a:gd name="T70" fmla="*/ 49 w 128"/>
              <a:gd name="T71" fmla="*/ 35 h 107"/>
              <a:gd name="T72" fmla="*/ 43 w 128"/>
              <a:gd name="T73" fmla="*/ 40 h 107"/>
              <a:gd name="T74" fmla="*/ 42 w 128"/>
              <a:gd name="T75" fmla="*/ 43 h 107"/>
              <a:gd name="T76" fmla="*/ 39 w 128"/>
              <a:gd name="T77" fmla="*/ 45 h 107"/>
              <a:gd name="T78" fmla="*/ 39 w 128"/>
              <a:gd name="T79" fmla="*/ 49 h 107"/>
              <a:gd name="T80" fmla="*/ 39 w 128"/>
              <a:gd name="T81" fmla="*/ 52 h 107"/>
              <a:gd name="T82" fmla="*/ 35 w 128"/>
              <a:gd name="T83" fmla="*/ 56 h 107"/>
              <a:gd name="T84" fmla="*/ 27 w 128"/>
              <a:gd name="T85" fmla="*/ 62 h 107"/>
              <a:gd name="T86" fmla="*/ 31 w 128"/>
              <a:gd name="T87" fmla="*/ 64 h 107"/>
              <a:gd name="T88" fmla="*/ 28 w 128"/>
              <a:gd name="T89" fmla="*/ 66 h 107"/>
              <a:gd name="T90" fmla="*/ 19 w 128"/>
              <a:gd name="T91" fmla="*/ 68 h 107"/>
              <a:gd name="T92" fmla="*/ 16 w 128"/>
              <a:gd name="T93" fmla="*/ 72 h 107"/>
              <a:gd name="T94" fmla="*/ 10 w 128"/>
              <a:gd name="T95" fmla="*/ 73 h 107"/>
              <a:gd name="T96" fmla="*/ 10 w 128"/>
              <a:gd name="T97" fmla="*/ 74 h 107"/>
              <a:gd name="T98" fmla="*/ 5 w 128"/>
              <a:gd name="T99" fmla="*/ 75 h 107"/>
              <a:gd name="T100" fmla="*/ 4 w 128"/>
              <a:gd name="T101" fmla="*/ 81 h 107"/>
              <a:gd name="T102" fmla="*/ 1 w 128"/>
              <a:gd name="T103" fmla="*/ 86 h 107"/>
              <a:gd name="T104" fmla="*/ 6 w 128"/>
              <a:gd name="T105" fmla="*/ 92 h 107"/>
              <a:gd name="T106" fmla="*/ 7 w 128"/>
              <a:gd name="T107" fmla="*/ 94 h 107"/>
              <a:gd name="T108" fmla="*/ 3 w 128"/>
              <a:gd name="T109" fmla="*/ 93 h 107"/>
              <a:gd name="T110" fmla="*/ 5 w 128"/>
              <a:gd name="T111" fmla="*/ 97 h 107"/>
              <a:gd name="T112" fmla="*/ 5 w 128"/>
              <a:gd name="T113" fmla="*/ 103 h 107"/>
              <a:gd name="T114" fmla="*/ 27 w 128"/>
              <a:gd name="T115" fmla="*/ 99 h 107"/>
              <a:gd name="T116" fmla="*/ 34 w 128"/>
              <a:gd name="T117" fmla="*/ 101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28" h="107">
                <a:moveTo>
                  <a:pt x="34" y="101"/>
                </a:moveTo>
                <a:cubicBezTo>
                  <a:pt x="34" y="101"/>
                  <a:pt x="35" y="98"/>
                  <a:pt x="35" y="97"/>
                </a:cubicBezTo>
                <a:cubicBezTo>
                  <a:pt x="35" y="95"/>
                  <a:pt x="36" y="94"/>
                  <a:pt x="38" y="93"/>
                </a:cubicBezTo>
                <a:cubicBezTo>
                  <a:pt x="40" y="91"/>
                  <a:pt x="38" y="88"/>
                  <a:pt x="38" y="87"/>
                </a:cubicBezTo>
                <a:cubicBezTo>
                  <a:pt x="38" y="84"/>
                  <a:pt x="42" y="84"/>
                  <a:pt x="39" y="82"/>
                </a:cubicBezTo>
                <a:cubicBezTo>
                  <a:pt x="37" y="80"/>
                  <a:pt x="36" y="80"/>
                  <a:pt x="37" y="77"/>
                </a:cubicBezTo>
                <a:cubicBezTo>
                  <a:pt x="38" y="75"/>
                  <a:pt x="37" y="73"/>
                  <a:pt x="37" y="71"/>
                </a:cubicBezTo>
                <a:cubicBezTo>
                  <a:pt x="36" y="68"/>
                  <a:pt x="35" y="65"/>
                  <a:pt x="38" y="63"/>
                </a:cubicBezTo>
                <a:cubicBezTo>
                  <a:pt x="39" y="62"/>
                  <a:pt x="41" y="62"/>
                  <a:pt x="42" y="61"/>
                </a:cubicBezTo>
                <a:cubicBezTo>
                  <a:pt x="43" y="61"/>
                  <a:pt x="44" y="62"/>
                  <a:pt x="45" y="61"/>
                </a:cubicBezTo>
                <a:cubicBezTo>
                  <a:pt x="46" y="59"/>
                  <a:pt x="45" y="58"/>
                  <a:pt x="44" y="57"/>
                </a:cubicBezTo>
                <a:cubicBezTo>
                  <a:pt x="44" y="55"/>
                  <a:pt x="46" y="54"/>
                  <a:pt x="47" y="52"/>
                </a:cubicBezTo>
                <a:cubicBezTo>
                  <a:pt x="47" y="51"/>
                  <a:pt x="48" y="48"/>
                  <a:pt x="48" y="46"/>
                </a:cubicBezTo>
                <a:cubicBezTo>
                  <a:pt x="48" y="44"/>
                  <a:pt x="52" y="44"/>
                  <a:pt x="51" y="43"/>
                </a:cubicBezTo>
                <a:cubicBezTo>
                  <a:pt x="51" y="41"/>
                  <a:pt x="53" y="40"/>
                  <a:pt x="54" y="38"/>
                </a:cubicBezTo>
                <a:cubicBezTo>
                  <a:pt x="56" y="36"/>
                  <a:pt x="56" y="37"/>
                  <a:pt x="56" y="34"/>
                </a:cubicBezTo>
                <a:cubicBezTo>
                  <a:pt x="55" y="33"/>
                  <a:pt x="59" y="28"/>
                  <a:pt x="60" y="28"/>
                </a:cubicBezTo>
                <a:cubicBezTo>
                  <a:pt x="61" y="27"/>
                  <a:pt x="64" y="28"/>
                  <a:pt x="65" y="28"/>
                </a:cubicBezTo>
                <a:cubicBezTo>
                  <a:pt x="65" y="26"/>
                  <a:pt x="65" y="25"/>
                  <a:pt x="65" y="23"/>
                </a:cubicBezTo>
                <a:cubicBezTo>
                  <a:pt x="68" y="24"/>
                  <a:pt x="70" y="24"/>
                  <a:pt x="72" y="25"/>
                </a:cubicBezTo>
                <a:cubicBezTo>
                  <a:pt x="76" y="25"/>
                  <a:pt x="74" y="21"/>
                  <a:pt x="75" y="19"/>
                </a:cubicBezTo>
                <a:cubicBezTo>
                  <a:pt x="75" y="19"/>
                  <a:pt x="77" y="19"/>
                  <a:pt x="78" y="19"/>
                </a:cubicBezTo>
                <a:cubicBezTo>
                  <a:pt x="79" y="18"/>
                  <a:pt x="81" y="16"/>
                  <a:pt x="82" y="18"/>
                </a:cubicBezTo>
                <a:cubicBezTo>
                  <a:pt x="84" y="19"/>
                  <a:pt x="84" y="21"/>
                  <a:pt x="86" y="22"/>
                </a:cubicBezTo>
                <a:cubicBezTo>
                  <a:pt x="87" y="22"/>
                  <a:pt x="89" y="22"/>
                  <a:pt x="90" y="22"/>
                </a:cubicBezTo>
                <a:cubicBezTo>
                  <a:pt x="91" y="22"/>
                  <a:pt x="92" y="21"/>
                  <a:pt x="94" y="21"/>
                </a:cubicBezTo>
                <a:cubicBezTo>
                  <a:pt x="95" y="21"/>
                  <a:pt x="96" y="23"/>
                  <a:pt x="98" y="23"/>
                </a:cubicBezTo>
                <a:cubicBezTo>
                  <a:pt x="98" y="22"/>
                  <a:pt x="102" y="20"/>
                  <a:pt x="102" y="20"/>
                </a:cubicBezTo>
                <a:cubicBezTo>
                  <a:pt x="102" y="17"/>
                  <a:pt x="102" y="16"/>
                  <a:pt x="103" y="14"/>
                </a:cubicBezTo>
                <a:cubicBezTo>
                  <a:pt x="104" y="13"/>
                  <a:pt x="106" y="11"/>
                  <a:pt x="107" y="11"/>
                </a:cubicBezTo>
                <a:cubicBezTo>
                  <a:pt x="108" y="11"/>
                  <a:pt x="109" y="11"/>
                  <a:pt x="110" y="11"/>
                </a:cubicBezTo>
                <a:cubicBezTo>
                  <a:pt x="111" y="11"/>
                  <a:pt x="111" y="10"/>
                  <a:pt x="112" y="10"/>
                </a:cubicBezTo>
                <a:cubicBezTo>
                  <a:pt x="113" y="10"/>
                  <a:pt x="115" y="12"/>
                  <a:pt x="116" y="12"/>
                </a:cubicBezTo>
                <a:cubicBezTo>
                  <a:pt x="118" y="13"/>
                  <a:pt x="119" y="14"/>
                  <a:pt x="119" y="17"/>
                </a:cubicBezTo>
                <a:cubicBezTo>
                  <a:pt x="121" y="17"/>
                  <a:pt x="126" y="14"/>
                  <a:pt x="124" y="12"/>
                </a:cubicBezTo>
                <a:cubicBezTo>
                  <a:pt x="126" y="13"/>
                  <a:pt x="121" y="13"/>
                  <a:pt x="120" y="13"/>
                </a:cubicBezTo>
                <a:cubicBezTo>
                  <a:pt x="125" y="12"/>
                  <a:pt x="118" y="9"/>
                  <a:pt x="117" y="10"/>
                </a:cubicBezTo>
                <a:cubicBezTo>
                  <a:pt x="118" y="9"/>
                  <a:pt x="119" y="10"/>
                  <a:pt x="119" y="10"/>
                </a:cubicBezTo>
                <a:cubicBezTo>
                  <a:pt x="121" y="10"/>
                  <a:pt x="123" y="10"/>
                  <a:pt x="124" y="9"/>
                </a:cubicBezTo>
                <a:cubicBezTo>
                  <a:pt x="125" y="9"/>
                  <a:pt x="128" y="7"/>
                  <a:pt x="127" y="6"/>
                </a:cubicBezTo>
                <a:cubicBezTo>
                  <a:pt x="125" y="5"/>
                  <a:pt x="122" y="4"/>
                  <a:pt x="119" y="3"/>
                </a:cubicBezTo>
                <a:cubicBezTo>
                  <a:pt x="118" y="2"/>
                  <a:pt x="117" y="4"/>
                  <a:pt x="116" y="5"/>
                </a:cubicBezTo>
                <a:cubicBezTo>
                  <a:pt x="116" y="5"/>
                  <a:pt x="114" y="8"/>
                  <a:pt x="114" y="7"/>
                </a:cubicBezTo>
                <a:cubicBezTo>
                  <a:pt x="114" y="7"/>
                  <a:pt x="114" y="6"/>
                  <a:pt x="114" y="5"/>
                </a:cubicBezTo>
                <a:cubicBezTo>
                  <a:pt x="114" y="5"/>
                  <a:pt x="112" y="5"/>
                  <a:pt x="112" y="5"/>
                </a:cubicBezTo>
                <a:cubicBezTo>
                  <a:pt x="113" y="4"/>
                  <a:pt x="115" y="5"/>
                  <a:pt x="115" y="4"/>
                </a:cubicBezTo>
                <a:cubicBezTo>
                  <a:pt x="115" y="4"/>
                  <a:pt x="112" y="4"/>
                  <a:pt x="112" y="4"/>
                </a:cubicBezTo>
                <a:cubicBezTo>
                  <a:pt x="112" y="3"/>
                  <a:pt x="116" y="3"/>
                  <a:pt x="116" y="2"/>
                </a:cubicBezTo>
                <a:cubicBezTo>
                  <a:pt x="115" y="1"/>
                  <a:pt x="109" y="0"/>
                  <a:pt x="110" y="2"/>
                </a:cubicBezTo>
                <a:cubicBezTo>
                  <a:pt x="111" y="3"/>
                  <a:pt x="111" y="3"/>
                  <a:pt x="110" y="4"/>
                </a:cubicBezTo>
                <a:cubicBezTo>
                  <a:pt x="109" y="5"/>
                  <a:pt x="107" y="7"/>
                  <a:pt x="106" y="7"/>
                </a:cubicBezTo>
                <a:cubicBezTo>
                  <a:pt x="105" y="7"/>
                  <a:pt x="106" y="3"/>
                  <a:pt x="106" y="3"/>
                </a:cubicBezTo>
                <a:cubicBezTo>
                  <a:pt x="106" y="2"/>
                  <a:pt x="101" y="9"/>
                  <a:pt x="100" y="9"/>
                </a:cubicBezTo>
                <a:cubicBezTo>
                  <a:pt x="97" y="9"/>
                  <a:pt x="100" y="5"/>
                  <a:pt x="101" y="4"/>
                </a:cubicBezTo>
                <a:cubicBezTo>
                  <a:pt x="102" y="4"/>
                  <a:pt x="103" y="2"/>
                  <a:pt x="103" y="2"/>
                </a:cubicBezTo>
                <a:cubicBezTo>
                  <a:pt x="102" y="1"/>
                  <a:pt x="100" y="0"/>
                  <a:pt x="100" y="1"/>
                </a:cubicBezTo>
                <a:cubicBezTo>
                  <a:pt x="100" y="1"/>
                  <a:pt x="101" y="2"/>
                  <a:pt x="101" y="2"/>
                </a:cubicBezTo>
                <a:cubicBezTo>
                  <a:pt x="101" y="2"/>
                  <a:pt x="99" y="2"/>
                  <a:pt x="98" y="2"/>
                </a:cubicBezTo>
                <a:cubicBezTo>
                  <a:pt x="97" y="3"/>
                  <a:pt x="98" y="2"/>
                  <a:pt x="97" y="1"/>
                </a:cubicBezTo>
                <a:cubicBezTo>
                  <a:pt x="97" y="1"/>
                  <a:pt x="95" y="3"/>
                  <a:pt x="95" y="3"/>
                </a:cubicBezTo>
                <a:cubicBezTo>
                  <a:pt x="95" y="4"/>
                  <a:pt x="97" y="5"/>
                  <a:pt x="96" y="5"/>
                </a:cubicBezTo>
                <a:cubicBezTo>
                  <a:pt x="95" y="5"/>
                  <a:pt x="95" y="5"/>
                  <a:pt x="95" y="5"/>
                </a:cubicBezTo>
                <a:cubicBezTo>
                  <a:pt x="94" y="5"/>
                  <a:pt x="94" y="6"/>
                  <a:pt x="94" y="7"/>
                </a:cubicBezTo>
                <a:cubicBezTo>
                  <a:pt x="95" y="5"/>
                  <a:pt x="91" y="6"/>
                  <a:pt x="91" y="6"/>
                </a:cubicBezTo>
                <a:cubicBezTo>
                  <a:pt x="91" y="6"/>
                  <a:pt x="93" y="5"/>
                  <a:pt x="93" y="4"/>
                </a:cubicBezTo>
                <a:cubicBezTo>
                  <a:pt x="93" y="5"/>
                  <a:pt x="89" y="6"/>
                  <a:pt x="88" y="6"/>
                </a:cubicBezTo>
                <a:cubicBezTo>
                  <a:pt x="87" y="6"/>
                  <a:pt x="91" y="9"/>
                  <a:pt x="91" y="9"/>
                </a:cubicBezTo>
                <a:cubicBezTo>
                  <a:pt x="91" y="9"/>
                  <a:pt x="90" y="11"/>
                  <a:pt x="90" y="11"/>
                </a:cubicBezTo>
                <a:cubicBezTo>
                  <a:pt x="90" y="11"/>
                  <a:pt x="87" y="8"/>
                  <a:pt x="87" y="8"/>
                </a:cubicBezTo>
                <a:cubicBezTo>
                  <a:pt x="87" y="8"/>
                  <a:pt x="85" y="11"/>
                  <a:pt x="85" y="8"/>
                </a:cubicBezTo>
                <a:cubicBezTo>
                  <a:pt x="84" y="7"/>
                  <a:pt x="81" y="9"/>
                  <a:pt x="80" y="8"/>
                </a:cubicBezTo>
                <a:cubicBezTo>
                  <a:pt x="81" y="9"/>
                  <a:pt x="84" y="9"/>
                  <a:pt x="84" y="10"/>
                </a:cubicBezTo>
                <a:cubicBezTo>
                  <a:pt x="84" y="10"/>
                  <a:pt x="83" y="10"/>
                  <a:pt x="83" y="11"/>
                </a:cubicBezTo>
                <a:cubicBezTo>
                  <a:pt x="83" y="12"/>
                  <a:pt x="84" y="12"/>
                  <a:pt x="84" y="13"/>
                </a:cubicBezTo>
                <a:cubicBezTo>
                  <a:pt x="84" y="13"/>
                  <a:pt x="81" y="12"/>
                  <a:pt x="81" y="11"/>
                </a:cubicBezTo>
                <a:cubicBezTo>
                  <a:pt x="80" y="11"/>
                  <a:pt x="80" y="12"/>
                  <a:pt x="80" y="13"/>
                </a:cubicBezTo>
                <a:cubicBezTo>
                  <a:pt x="79" y="13"/>
                  <a:pt x="79" y="12"/>
                  <a:pt x="79" y="11"/>
                </a:cubicBezTo>
                <a:cubicBezTo>
                  <a:pt x="79" y="11"/>
                  <a:pt x="77" y="13"/>
                  <a:pt x="77" y="13"/>
                </a:cubicBezTo>
                <a:cubicBezTo>
                  <a:pt x="76" y="14"/>
                  <a:pt x="78" y="14"/>
                  <a:pt x="78" y="15"/>
                </a:cubicBezTo>
                <a:cubicBezTo>
                  <a:pt x="78" y="15"/>
                  <a:pt x="76" y="15"/>
                  <a:pt x="76" y="15"/>
                </a:cubicBezTo>
                <a:cubicBezTo>
                  <a:pt x="75" y="14"/>
                  <a:pt x="76" y="13"/>
                  <a:pt x="76" y="12"/>
                </a:cubicBezTo>
                <a:cubicBezTo>
                  <a:pt x="76" y="12"/>
                  <a:pt x="73" y="14"/>
                  <a:pt x="73" y="14"/>
                </a:cubicBezTo>
                <a:cubicBezTo>
                  <a:pt x="73" y="14"/>
                  <a:pt x="73" y="14"/>
                  <a:pt x="74" y="14"/>
                </a:cubicBezTo>
                <a:cubicBezTo>
                  <a:pt x="73" y="14"/>
                  <a:pt x="72" y="16"/>
                  <a:pt x="72" y="16"/>
                </a:cubicBezTo>
                <a:cubicBezTo>
                  <a:pt x="71" y="15"/>
                  <a:pt x="73" y="14"/>
                  <a:pt x="72" y="14"/>
                </a:cubicBezTo>
                <a:cubicBezTo>
                  <a:pt x="71" y="13"/>
                  <a:pt x="70" y="13"/>
                  <a:pt x="70" y="12"/>
                </a:cubicBezTo>
                <a:cubicBezTo>
                  <a:pt x="70" y="12"/>
                  <a:pt x="72" y="12"/>
                  <a:pt x="72" y="12"/>
                </a:cubicBezTo>
                <a:cubicBezTo>
                  <a:pt x="72" y="11"/>
                  <a:pt x="69" y="10"/>
                  <a:pt x="68" y="10"/>
                </a:cubicBezTo>
                <a:cubicBezTo>
                  <a:pt x="68" y="11"/>
                  <a:pt x="69" y="13"/>
                  <a:pt x="69" y="13"/>
                </a:cubicBezTo>
                <a:cubicBezTo>
                  <a:pt x="69" y="13"/>
                  <a:pt x="65" y="14"/>
                  <a:pt x="66" y="14"/>
                </a:cubicBezTo>
                <a:cubicBezTo>
                  <a:pt x="66" y="14"/>
                  <a:pt x="68" y="14"/>
                  <a:pt x="68" y="14"/>
                </a:cubicBezTo>
                <a:cubicBezTo>
                  <a:pt x="68" y="14"/>
                  <a:pt x="67" y="14"/>
                  <a:pt x="67" y="14"/>
                </a:cubicBezTo>
                <a:cubicBezTo>
                  <a:pt x="68" y="16"/>
                  <a:pt x="70" y="14"/>
                  <a:pt x="69" y="14"/>
                </a:cubicBezTo>
                <a:cubicBezTo>
                  <a:pt x="70" y="15"/>
                  <a:pt x="69" y="16"/>
                  <a:pt x="69" y="16"/>
                </a:cubicBezTo>
                <a:cubicBezTo>
                  <a:pt x="69" y="17"/>
                  <a:pt x="67" y="15"/>
                  <a:pt x="67" y="15"/>
                </a:cubicBezTo>
                <a:cubicBezTo>
                  <a:pt x="66" y="15"/>
                  <a:pt x="66" y="14"/>
                  <a:pt x="65" y="14"/>
                </a:cubicBezTo>
                <a:cubicBezTo>
                  <a:pt x="65" y="14"/>
                  <a:pt x="64" y="16"/>
                  <a:pt x="63" y="15"/>
                </a:cubicBezTo>
                <a:cubicBezTo>
                  <a:pt x="63" y="14"/>
                  <a:pt x="60" y="16"/>
                  <a:pt x="60" y="16"/>
                </a:cubicBezTo>
                <a:cubicBezTo>
                  <a:pt x="60" y="16"/>
                  <a:pt x="60" y="19"/>
                  <a:pt x="60" y="19"/>
                </a:cubicBezTo>
                <a:cubicBezTo>
                  <a:pt x="60" y="20"/>
                  <a:pt x="61" y="17"/>
                  <a:pt x="62" y="18"/>
                </a:cubicBezTo>
                <a:cubicBezTo>
                  <a:pt x="62" y="18"/>
                  <a:pt x="64" y="19"/>
                  <a:pt x="64" y="18"/>
                </a:cubicBezTo>
                <a:cubicBezTo>
                  <a:pt x="64" y="19"/>
                  <a:pt x="63" y="19"/>
                  <a:pt x="63" y="20"/>
                </a:cubicBezTo>
                <a:cubicBezTo>
                  <a:pt x="62" y="20"/>
                  <a:pt x="63" y="22"/>
                  <a:pt x="62" y="22"/>
                </a:cubicBezTo>
                <a:cubicBezTo>
                  <a:pt x="62" y="23"/>
                  <a:pt x="61" y="21"/>
                  <a:pt x="61" y="21"/>
                </a:cubicBezTo>
                <a:cubicBezTo>
                  <a:pt x="60" y="21"/>
                  <a:pt x="60" y="23"/>
                  <a:pt x="59" y="23"/>
                </a:cubicBezTo>
                <a:cubicBezTo>
                  <a:pt x="59" y="23"/>
                  <a:pt x="59" y="21"/>
                  <a:pt x="59" y="21"/>
                </a:cubicBezTo>
                <a:cubicBezTo>
                  <a:pt x="58" y="21"/>
                  <a:pt x="58" y="22"/>
                  <a:pt x="57" y="22"/>
                </a:cubicBezTo>
                <a:cubicBezTo>
                  <a:pt x="57" y="22"/>
                  <a:pt x="57" y="20"/>
                  <a:pt x="57" y="20"/>
                </a:cubicBezTo>
                <a:cubicBezTo>
                  <a:pt x="57" y="19"/>
                  <a:pt x="56" y="22"/>
                  <a:pt x="55" y="22"/>
                </a:cubicBezTo>
                <a:cubicBezTo>
                  <a:pt x="53" y="23"/>
                  <a:pt x="56" y="17"/>
                  <a:pt x="56" y="17"/>
                </a:cubicBezTo>
                <a:cubicBezTo>
                  <a:pt x="55" y="17"/>
                  <a:pt x="53" y="18"/>
                  <a:pt x="53" y="18"/>
                </a:cubicBezTo>
                <a:cubicBezTo>
                  <a:pt x="52" y="19"/>
                  <a:pt x="54" y="20"/>
                  <a:pt x="54" y="20"/>
                </a:cubicBezTo>
                <a:cubicBezTo>
                  <a:pt x="53" y="20"/>
                  <a:pt x="53" y="20"/>
                  <a:pt x="52" y="20"/>
                </a:cubicBezTo>
                <a:cubicBezTo>
                  <a:pt x="52" y="20"/>
                  <a:pt x="52" y="21"/>
                  <a:pt x="51" y="22"/>
                </a:cubicBezTo>
                <a:cubicBezTo>
                  <a:pt x="52" y="21"/>
                  <a:pt x="47" y="21"/>
                  <a:pt x="49" y="22"/>
                </a:cubicBezTo>
                <a:cubicBezTo>
                  <a:pt x="49" y="23"/>
                  <a:pt x="51" y="22"/>
                  <a:pt x="51" y="22"/>
                </a:cubicBezTo>
                <a:cubicBezTo>
                  <a:pt x="51" y="22"/>
                  <a:pt x="50" y="23"/>
                  <a:pt x="51" y="23"/>
                </a:cubicBezTo>
                <a:cubicBezTo>
                  <a:pt x="51" y="23"/>
                  <a:pt x="52" y="23"/>
                  <a:pt x="52" y="22"/>
                </a:cubicBezTo>
                <a:cubicBezTo>
                  <a:pt x="52" y="22"/>
                  <a:pt x="52" y="24"/>
                  <a:pt x="51" y="24"/>
                </a:cubicBezTo>
                <a:cubicBezTo>
                  <a:pt x="50" y="24"/>
                  <a:pt x="50" y="23"/>
                  <a:pt x="49" y="23"/>
                </a:cubicBezTo>
                <a:cubicBezTo>
                  <a:pt x="48" y="24"/>
                  <a:pt x="48" y="26"/>
                  <a:pt x="47" y="26"/>
                </a:cubicBezTo>
                <a:cubicBezTo>
                  <a:pt x="47" y="26"/>
                  <a:pt x="44" y="26"/>
                  <a:pt x="44" y="26"/>
                </a:cubicBezTo>
                <a:cubicBezTo>
                  <a:pt x="44" y="29"/>
                  <a:pt x="51" y="25"/>
                  <a:pt x="51" y="25"/>
                </a:cubicBezTo>
                <a:cubicBezTo>
                  <a:pt x="52" y="25"/>
                  <a:pt x="53" y="24"/>
                  <a:pt x="54" y="25"/>
                </a:cubicBezTo>
                <a:cubicBezTo>
                  <a:pt x="56" y="25"/>
                  <a:pt x="55" y="23"/>
                  <a:pt x="54" y="23"/>
                </a:cubicBezTo>
                <a:cubicBezTo>
                  <a:pt x="55" y="23"/>
                  <a:pt x="55" y="23"/>
                  <a:pt x="55" y="23"/>
                </a:cubicBezTo>
                <a:cubicBezTo>
                  <a:pt x="56" y="25"/>
                  <a:pt x="57" y="23"/>
                  <a:pt x="58" y="23"/>
                </a:cubicBezTo>
                <a:cubicBezTo>
                  <a:pt x="57" y="23"/>
                  <a:pt x="57" y="25"/>
                  <a:pt x="56" y="25"/>
                </a:cubicBezTo>
                <a:cubicBezTo>
                  <a:pt x="57" y="25"/>
                  <a:pt x="58" y="25"/>
                  <a:pt x="58" y="25"/>
                </a:cubicBezTo>
                <a:cubicBezTo>
                  <a:pt x="58" y="25"/>
                  <a:pt x="56" y="26"/>
                  <a:pt x="56" y="27"/>
                </a:cubicBezTo>
                <a:cubicBezTo>
                  <a:pt x="56" y="27"/>
                  <a:pt x="61" y="25"/>
                  <a:pt x="61" y="26"/>
                </a:cubicBezTo>
                <a:cubicBezTo>
                  <a:pt x="60" y="27"/>
                  <a:pt x="57" y="26"/>
                  <a:pt x="57" y="28"/>
                </a:cubicBezTo>
                <a:cubicBezTo>
                  <a:pt x="56" y="31"/>
                  <a:pt x="54" y="27"/>
                  <a:pt x="54" y="27"/>
                </a:cubicBezTo>
                <a:cubicBezTo>
                  <a:pt x="54" y="26"/>
                  <a:pt x="54" y="29"/>
                  <a:pt x="54" y="29"/>
                </a:cubicBezTo>
                <a:cubicBezTo>
                  <a:pt x="54" y="29"/>
                  <a:pt x="53" y="27"/>
                  <a:pt x="52" y="27"/>
                </a:cubicBezTo>
                <a:cubicBezTo>
                  <a:pt x="51" y="28"/>
                  <a:pt x="49" y="30"/>
                  <a:pt x="49" y="31"/>
                </a:cubicBezTo>
                <a:cubicBezTo>
                  <a:pt x="49" y="31"/>
                  <a:pt x="51" y="30"/>
                  <a:pt x="51" y="30"/>
                </a:cubicBezTo>
                <a:cubicBezTo>
                  <a:pt x="51" y="31"/>
                  <a:pt x="53" y="30"/>
                  <a:pt x="53" y="31"/>
                </a:cubicBezTo>
                <a:cubicBezTo>
                  <a:pt x="53" y="30"/>
                  <a:pt x="50" y="31"/>
                  <a:pt x="50" y="32"/>
                </a:cubicBezTo>
                <a:cubicBezTo>
                  <a:pt x="51" y="33"/>
                  <a:pt x="54" y="31"/>
                  <a:pt x="53" y="33"/>
                </a:cubicBezTo>
                <a:cubicBezTo>
                  <a:pt x="54" y="31"/>
                  <a:pt x="47" y="34"/>
                  <a:pt x="47" y="34"/>
                </a:cubicBezTo>
                <a:cubicBezTo>
                  <a:pt x="47" y="33"/>
                  <a:pt x="53" y="35"/>
                  <a:pt x="52" y="35"/>
                </a:cubicBezTo>
                <a:cubicBezTo>
                  <a:pt x="51" y="36"/>
                  <a:pt x="50" y="34"/>
                  <a:pt x="49" y="35"/>
                </a:cubicBezTo>
                <a:cubicBezTo>
                  <a:pt x="49" y="35"/>
                  <a:pt x="49" y="35"/>
                  <a:pt x="49" y="35"/>
                </a:cubicBezTo>
                <a:cubicBezTo>
                  <a:pt x="49" y="36"/>
                  <a:pt x="46" y="34"/>
                  <a:pt x="45" y="36"/>
                </a:cubicBezTo>
                <a:cubicBezTo>
                  <a:pt x="45" y="36"/>
                  <a:pt x="48" y="36"/>
                  <a:pt x="48" y="36"/>
                </a:cubicBezTo>
                <a:cubicBezTo>
                  <a:pt x="46" y="38"/>
                  <a:pt x="44" y="36"/>
                  <a:pt x="45" y="39"/>
                </a:cubicBezTo>
                <a:cubicBezTo>
                  <a:pt x="45" y="39"/>
                  <a:pt x="43" y="40"/>
                  <a:pt x="43" y="40"/>
                </a:cubicBezTo>
                <a:cubicBezTo>
                  <a:pt x="42" y="41"/>
                  <a:pt x="42" y="41"/>
                  <a:pt x="42" y="41"/>
                </a:cubicBezTo>
                <a:cubicBezTo>
                  <a:pt x="42" y="42"/>
                  <a:pt x="41" y="42"/>
                  <a:pt x="41" y="42"/>
                </a:cubicBezTo>
                <a:cubicBezTo>
                  <a:pt x="41" y="43"/>
                  <a:pt x="42" y="42"/>
                  <a:pt x="42" y="42"/>
                </a:cubicBezTo>
                <a:cubicBezTo>
                  <a:pt x="43" y="42"/>
                  <a:pt x="42" y="43"/>
                  <a:pt x="42" y="43"/>
                </a:cubicBezTo>
                <a:cubicBezTo>
                  <a:pt x="43" y="43"/>
                  <a:pt x="45" y="44"/>
                  <a:pt x="46" y="43"/>
                </a:cubicBezTo>
                <a:cubicBezTo>
                  <a:pt x="44" y="44"/>
                  <a:pt x="44" y="44"/>
                  <a:pt x="42" y="44"/>
                </a:cubicBezTo>
                <a:cubicBezTo>
                  <a:pt x="41" y="44"/>
                  <a:pt x="38" y="44"/>
                  <a:pt x="38" y="45"/>
                </a:cubicBezTo>
                <a:cubicBezTo>
                  <a:pt x="38" y="45"/>
                  <a:pt x="39" y="45"/>
                  <a:pt x="39" y="45"/>
                </a:cubicBezTo>
                <a:cubicBezTo>
                  <a:pt x="39" y="45"/>
                  <a:pt x="38" y="46"/>
                  <a:pt x="38" y="46"/>
                </a:cubicBezTo>
                <a:cubicBezTo>
                  <a:pt x="38" y="46"/>
                  <a:pt x="40" y="45"/>
                  <a:pt x="40" y="46"/>
                </a:cubicBezTo>
                <a:cubicBezTo>
                  <a:pt x="40" y="46"/>
                  <a:pt x="38" y="48"/>
                  <a:pt x="38" y="48"/>
                </a:cubicBezTo>
                <a:cubicBezTo>
                  <a:pt x="38" y="48"/>
                  <a:pt x="39" y="48"/>
                  <a:pt x="39" y="49"/>
                </a:cubicBezTo>
                <a:cubicBezTo>
                  <a:pt x="39" y="49"/>
                  <a:pt x="37" y="49"/>
                  <a:pt x="37" y="49"/>
                </a:cubicBezTo>
                <a:cubicBezTo>
                  <a:pt x="37" y="49"/>
                  <a:pt x="39" y="50"/>
                  <a:pt x="39" y="50"/>
                </a:cubicBezTo>
                <a:cubicBezTo>
                  <a:pt x="38" y="50"/>
                  <a:pt x="37" y="50"/>
                  <a:pt x="37" y="50"/>
                </a:cubicBezTo>
                <a:cubicBezTo>
                  <a:pt x="37" y="51"/>
                  <a:pt x="38" y="52"/>
                  <a:pt x="39" y="52"/>
                </a:cubicBezTo>
                <a:cubicBezTo>
                  <a:pt x="37" y="52"/>
                  <a:pt x="35" y="52"/>
                  <a:pt x="34" y="54"/>
                </a:cubicBezTo>
                <a:cubicBezTo>
                  <a:pt x="34" y="55"/>
                  <a:pt x="30" y="54"/>
                  <a:pt x="30" y="54"/>
                </a:cubicBezTo>
                <a:cubicBezTo>
                  <a:pt x="30" y="57"/>
                  <a:pt x="36" y="54"/>
                  <a:pt x="37" y="54"/>
                </a:cubicBezTo>
                <a:cubicBezTo>
                  <a:pt x="36" y="54"/>
                  <a:pt x="35" y="56"/>
                  <a:pt x="35" y="56"/>
                </a:cubicBezTo>
                <a:cubicBezTo>
                  <a:pt x="32" y="56"/>
                  <a:pt x="34" y="57"/>
                  <a:pt x="33" y="58"/>
                </a:cubicBezTo>
                <a:cubicBezTo>
                  <a:pt x="32" y="59"/>
                  <a:pt x="30" y="57"/>
                  <a:pt x="29" y="58"/>
                </a:cubicBezTo>
                <a:cubicBezTo>
                  <a:pt x="29" y="59"/>
                  <a:pt x="26" y="61"/>
                  <a:pt x="26" y="61"/>
                </a:cubicBezTo>
                <a:cubicBezTo>
                  <a:pt x="26" y="62"/>
                  <a:pt x="27" y="62"/>
                  <a:pt x="27" y="62"/>
                </a:cubicBezTo>
                <a:cubicBezTo>
                  <a:pt x="27" y="63"/>
                  <a:pt x="24" y="63"/>
                  <a:pt x="24" y="63"/>
                </a:cubicBezTo>
                <a:cubicBezTo>
                  <a:pt x="24" y="63"/>
                  <a:pt x="25" y="64"/>
                  <a:pt x="25" y="65"/>
                </a:cubicBezTo>
                <a:cubicBezTo>
                  <a:pt x="25" y="66"/>
                  <a:pt x="27" y="65"/>
                  <a:pt x="28" y="65"/>
                </a:cubicBezTo>
                <a:cubicBezTo>
                  <a:pt x="29" y="64"/>
                  <a:pt x="30" y="65"/>
                  <a:pt x="31" y="64"/>
                </a:cubicBezTo>
                <a:cubicBezTo>
                  <a:pt x="31" y="64"/>
                  <a:pt x="30" y="63"/>
                  <a:pt x="30" y="62"/>
                </a:cubicBezTo>
                <a:cubicBezTo>
                  <a:pt x="30" y="62"/>
                  <a:pt x="32" y="63"/>
                  <a:pt x="33" y="64"/>
                </a:cubicBezTo>
                <a:cubicBezTo>
                  <a:pt x="33" y="64"/>
                  <a:pt x="30" y="66"/>
                  <a:pt x="30" y="66"/>
                </a:cubicBezTo>
                <a:cubicBezTo>
                  <a:pt x="29" y="66"/>
                  <a:pt x="28" y="67"/>
                  <a:pt x="28" y="66"/>
                </a:cubicBezTo>
                <a:cubicBezTo>
                  <a:pt x="27" y="65"/>
                  <a:pt x="26" y="67"/>
                  <a:pt x="25" y="67"/>
                </a:cubicBezTo>
                <a:cubicBezTo>
                  <a:pt x="24" y="66"/>
                  <a:pt x="24" y="63"/>
                  <a:pt x="23" y="66"/>
                </a:cubicBezTo>
                <a:cubicBezTo>
                  <a:pt x="21" y="70"/>
                  <a:pt x="20" y="65"/>
                  <a:pt x="21" y="65"/>
                </a:cubicBezTo>
                <a:cubicBezTo>
                  <a:pt x="19" y="65"/>
                  <a:pt x="21" y="69"/>
                  <a:pt x="19" y="68"/>
                </a:cubicBezTo>
                <a:cubicBezTo>
                  <a:pt x="15" y="68"/>
                  <a:pt x="18" y="70"/>
                  <a:pt x="17" y="71"/>
                </a:cubicBezTo>
                <a:cubicBezTo>
                  <a:pt x="16" y="71"/>
                  <a:pt x="16" y="69"/>
                  <a:pt x="16" y="69"/>
                </a:cubicBezTo>
                <a:cubicBezTo>
                  <a:pt x="14" y="69"/>
                  <a:pt x="12" y="70"/>
                  <a:pt x="11" y="71"/>
                </a:cubicBezTo>
                <a:cubicBezTo>
                  <a:pt x="11" y="72"/>
                  <a:pt x="15" y="72"/>
                  <a:pt x="16" y="72"/>
                </a:cubicBezTo>
                <a:cubicBezTo>
                  <a:pt x="16" y="72"/>
                  <a:pt x="19" y="71"/>
                  <a:pt x="19" y="71"/>
                </a:cubicBezTo>
                <a:cubicBezTo>
                  <a:pt x="20" y="72"/>
                  <a:pt x="15" y="72"/>
                  <a:pt x="15" y="72"/>
                </a:cubicBezTo>
                <a:cubicBezTo>
                  <a:pt x="14" y="72"/>
                  <a:pt x="14" y="73"/>
                  <a:pt x="13" y="73"/>
                </a:cubicBezTo>
                <a:cubicBezTo>
                  <a:pt x="12" y="73"/>
                  <a:pt x="11" y="73"/>
                  <a:pt x="10" y="73"/>
                </a:cubicBezTo>
                <a:cubicBezTo>
                  <a:pt x="8" y="72"/>
                  <a:pt x="7" y="73"/>
                  <a:pt x="9" y="74"/>
                </a:cubicBezTo>
                <a:cubicBezTo>
                  <a:pt x="10" y="74"/>
                  <a:pt x="12" y="74"/>
                  <a:pt x="12" y="76"/>
                </a:cubicBezTo>
                <a:cubicBezTo>
                  <a:pt x="12" y="76"/>
                  <a:pt x="11" y="78"/>
                  <a:pt x="11" y="77"/>
                </a:cubicBezTo>
                <a:cubicBezTo>
                  <a:pt x="10" y="77"/>
                  <a:pt x="12" y="75"/>
                  <a:pt x="10" y="74"/>
                </a:cubicBezTo>
                <a:cubicBezTo>
                  <a:pt x="7" y="74"/>
                  <a:pt x="9" y="75"/>
                  <a:pt x="8" y="76"/>
                </a:cubicBezTo>
                <a:cubicBezTo>
                  <a:pt x="8" y="76"/>
                  <a:pt x="8" y="73"/>
                  <a:pt x="7" y="73"/>
                </a:cubicBezTo>
                <a:cubicBezTo>
                  <a:pt x="7" y="72"/>
                  <a:pt x="5" y="78"/>
                  <a:pt x="6" y="77"/>
                </a:cubicBezTo>
                <a:cubicBezTo>
                  <a:pt x="5" y="77"/>
                  <a:pt x="5" y="75"/>
                  <a:pt x="5" y="75"/>
                </a:cubicBezTo>
                <a:cubicBezTo>
                  <a:pt x="4" y="75"/>
                  <a:pt x="4" y="77"/>
                  <a:pt x="4" y="77"/>
                </a:cubicBezTo>
                <a:cubicBezTo>
                  <a:pt x="3" y="78"/>
                  <a:pt x="1" y="77"/>
                  <a:pt x="1" y="78"/>
                </a:cubicBezTo>
                <a:cubicBezTo>
                  <a:pt x="1" y="79"/>
                  <a:pt x="0" y="80"/>
                  <a:pt x="1" y="80"/>
                </a:cubicBezTo>
                <a:cubicBezTo>
                  <a:pt x="2" y="80"/>
                  <a:pt x="3" y="80"/>
                  <a:pt x="4" y="81"/>
                </a:cubicBezTo>
                <a:cubicBezTo>
                  <a:pt x="4" y="81"/>
                  <a:pt x="0" y="82"/>
                  <a:pt x="1" y="83"/>
                </a:cubicBezTo>
                <a:cubicBezTo>
                  <a:pt x="1" y="84"/>
                  <a:pt x="3" y="84"/>
                  <a:pt x="3" y="84"/>
                </a:cubicBezTo>
                <a:cubicBezTo>
                  <a:pt x="3" y="84"/>
                  <a:pt x="6" y="83"/>
                  <a:pt x="6" y="84"/>
                </a:cubicBezTo>
                <a:cubicBezTo>
                  <a:pt x="5" y="85"/>
                  <a:pt x="2" y="84"/>
                  <a:pt x="1" y="86"/>
                </a:cubicBezTo>
                <a:cubicBezTo>
                  <a:pt x="0" y="87"/>
                  <a:pt x="6" y="87"/>
                  <a:pt x="4" y="89"/>
                </a:cubicBezTo>
                <a:cubicBezTo>
                  <a:pt x="4" y="89"/>
                  <a:pt x="3" y="87"/>
                  <a:pt x="2" y="88"/>
                </a:cubicBezTo>
                <a:cubicBezTo>
                  <a:pt x="1" y="89"/>
                  <a:pt x="1" y="90"/>
                  <a:pt x="2" y="91"/>
                </a:cubicBezTo>
                <a:cubicBezTo>
                  <a:pt x="3" y="91"/>
                  <a:pt x="5" y="92"/>
                  <a:pt x="6" y="92"/>
                </a:cubicBezTo>
                <a:cubicBezTo>
                  <a:pt x="7" y="91"/>
                  <a:pt x="8" y="89"/>
                  <a:pt x="9" y="90"/>
                </a:cubicBezTo>
                <a:cubicBezTo>
                  <a:pt x="8" y="90"/>
                  <a:pt x="7" y="91"/>
                  <a:pt x="7" y="91"/>
                </a:cubicBezTo>
                <a:cubicBezTo>
                  <a:pt x="7" y="92"/>
                  <a:pt x="6" y="92"/>
                  <a:pt x="5" y="92"/>
                </a:cubicBezTo>
                <a:cubicBezTo>
                  <a:pt x="5" y="92"/>
                  <a:pt x="7" y="93"/>
                  <a:pt x="7" y="94"/>
                </a:cubicBezTo>
                <a:cubicBezTo>
                  <a:pt x="7" y="94"/>
                  <a:pt x="4" y="92"/>
                  <a:pt x="5" y="94"/>
                </a:cubicBezTo>
                <a:cubicBezTo>
                  <a:pt x="5" y="95"/>
                  <a:pt x="8" y="96"/>
                  <a:pt x="8" y="96"/>
                </a:cubicBezTo>
                <a:cubicBezTo>
                  <a:pt x="8" y="97"/>
                  <a:pt x="5" y="95"/>
                  <a:pt x="4" y="96"/>
                </a:cubicBezTo>
                <a:cubicBezTo>
                  <a:pt x="2" y="96"/>
                  <a:pt x="4" y="93"/>
                  <a:pt x="3" y="93"/>
                </a:cubicBezTo>
                <a:cubicBezTo>
                  <a:pt x="3" y="93"/>
                  <a:pt x="1" y="95"/>
                  <a:pt x="2" y="96"/>
                </a:cubicBezTo>
                <a:cubicBezTo>
                  <a:pt x="3" y="96"/>
                  <a:pt x="2" y="98"/>
                  <a:pt x="2" y="98"/>
                </a:cubicBezTo>
                <a:cubicBezTo>
                  <a:pt x="3" y="99"/>
                  <a:pt x="4" y="97"/>
                  <a:pt x="5" y="96"/>
                </a:cubicBezTo>
                <a:cubicBezTo>
                  <a:pt x="5" y="96"/>
                  <a:pt x="5" y="97"/>
                  <a:pt x="5" y="97"/>
                </a:cubicBezTo>
                <a:cubicBezTo>
                  <a:pt x="6" y="97"/>
                  <a:pt x="6" y="96"/>
                  <a:pt x="7" y="96"/>
                </a:cubicBezTo>
                <a:cubicBezTo>
                  <a:pt x="7" y="96"/>
                  <a:pt x="7" y="98"/>
                  <a:pt x="6" y="98"/>
                </a:cubicBezTo>
                <a:cubicBezTo>
                  <a:pt x="4" y="99"/>
                  <a:pt x="8" y="101"/>
                  <a:pt x="8" y="100"/>
                </a:cubicBezTo>
                <a:cubicBezTo>
                  <a:pt x="8" y="102"/>
                  <a:pt x="1" y="100"/>
                  <a:pt x="5" y="103"/>
                </a:cubicBezTo>
                <a:cubicBezTo>
                  <a:pt x="7" y="104"/>
                  <a:pt x="8" y="105"/>
                  <a:pt x="10" y="105"/>
                </a:cubicBezTo>
                <a:cubicBezTo>
                  <a:pt x="10" y="105"/>
                  <a:pt x="13" y="107"/>
                  <a:pt x="14" y="107"/>
                </a:cubicBezTo>
                <a:cubicBezTo>
                  <a:pt x="17" y="107"/>
                  <a:pt x="21" y="104"/>
                  <a:pt x="23" y="102"/>
                </a:cubicBezTo>
                <a:cubicBezTo>
                  <a:pt x="24" y="100"/>
                  <a:pt x="25" y="100"/>
                  <a:pt x="27" y="99"/>
                </a:cubicBezTo>
                <a:cubicBezTo>
                  <a:pt x="28" y="98"/>
                  <a:pt x="28" y="95"/>
                  <a:pt x="29" y="95"/>
                </a:cubicBezTo>
                <a:cubicBezTo>
                  <a:pt x="29" y="95"/>
                  <a:pt x="29" y="98"/>
                  <a:pt x="30" y="98"/>
                </a:cubicBezTo>
                <a:cubicBezTo>
                  <a:pt x="32" y="99"/>
                  <a:pt x="31" y="99"/>
                  <a:pt x="31" y="100"/>
                </a:cubicBezTo>
                <a:cubicBezTo>
                  <a:pt x="32" y="100"/>
                  <a:pt x="33" y="100"/>
                  <a:pt x="34" y="101"/>
                </a:cubicBezTo>
                <a:cubicBezTo>
                  <a:pt x="34" y="102"/>
                  <a:pt x="33" y="100"/>
                  <a:pt x="34" y="10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24" name="Freeform 720">
            <a:extLst>
              <a:ext uri="{FF2B5EF4-FFF2-40B4-BE49-F238E27FC236}">
                <a16:creationId xmlns:a16="http://schemas.microsoft.com/office/drawing/2014/main" id="{525698FD-F353-804F-909B-BF038E9E40B1}"/>
              </a:ext>
            </a:extLst>
          </p:cNvPr>
          <p:cNvSpPr>
            <a:spLocks noEditPoints="1"/>
          </p:cNvSpPr>
          <p:nvPr/>
        </p:nvSpPr>
        <p:spPr bwMode="auto">
          <a:xfrm>
            <a:off x="6555460" y="2304526"/>
            <a:ext cx="4191510" cy="1461673"/>
          </a:xfrm>
          <a:custGeom>
            <a:avLst/>
            <a:gdLst>
              <a:gd name="T0" fmla="*/ 785 w 810"/>
              <a:gd name="T1" fmla="*/ 109 h 282"/>
              <a:gd name="T2" fmla="*/ 725 w 810"/>
              <a:gd name="T3" fmla="*/ 77 h 282"/>
              <a:gd name="T4" fmla="*/ 665 w 810"/>
              <a:gd name="T5" fmla="*/ 80 h 282"/>
              <a:gd name="T6" fmla="*/ 607 w 810"/>
              <a:gd name="T7" fmla="*/ 65 h 282"/>
              <a:gd name="T8" fmla="*/ 578 w 810"/>
              <a:gd name="T9" fmla="*/ 56 h 282"/>
              <a:gd name="T10" fmla="*/ 555 w 810"/>
              <a:gd name="T11" fmla="*/ 61 h 282"/>
              <a:gd name="T12" fmla="*/ 521 w 810"/>
              <a:gd name="T13" fmla="*/ 59 h 282"/>
              <a:gd name="T14" fmla="*/ 495 w 810"/>
              <a:gd name="T15" fmla="*/ 44 h 282"/>
              <a:gd name="T16" fmla="*/ 469 w 810"/>
              <a:gd name="T17" fmla="*/ 49 h 282"/>
              <a:gd name="T18" fmla="*/ 423 w 810"/>
              <a:gd name="T19" fmla="*/ 43 h 282"/>
              <a:gd name="T20" fmla="*/ 383 w 810"/>
              <a:gd name="T21" fmla="*/ 50 h 282"/>
              <a:gd name="T22" fmla="*/ 423 w 810"/>
              <a:gd name="T23" fmla="*/ 17 h 282"/>
              <a:gd name="T24" fmla="*/ 378 w 810"/>
              <a:gd name="T25" fmla="*/ 7 h 282"/>
              <a:gd name="T26" fmla="*/ 355 w 810"/>
              <a:gd name="T27" fmla="*/ 17 h 282"/>
              <a:gd name="T28" fmla="*/ 320 w 810"/>
              <a:gd name="T29" fmla="*/ 22 h 282"/>
              <a:gd name="T30" fmla="*/ 297 w 810"/>
              <a:gd name="T31" fmla="*/ 32 h 282"/>
              <a:gd name="T32" fmla="*/ 269 w 810"/>
              <a:gd name="T33" fmla="*/ 49 h 282"/>
              <a:gd name="T34" fmla="*/ 247 w 810"/>
              <a:gd name="T35" fmla="*/ 58 h 282"/>
              <a:gd name="T36" fmla="*/ 242 w 810"/>
              <a:gd name="T37" fmla="*/ 50 h 282"/>
              <a:gd name="T38" fmla="*/ 259 w 810"/>
              <a:gd name="T39" fmla="*/ 97 h 282"/>
              <a:gd name="T40" fmla="*/ 227 w 810"/>
              <a:gd name="T41" fmla="*/ 107 h 282"/>
              <a:gd name="T42" fmla="*/ 231 w 810"/>
              <a:gd name="T43" fmla="*/ 88 h 282"/>
              <a:gd name="T44" fmla="*/ 206 w 810"/>
              <a:gd name="T45" fmla="*/ 60 h 282"/>
              <a:gd name="T46" fmla="*/ 191 w 810"/>
              <a:gd name="T47" fmla="*/ 83 h 282"/>
              <a:gd name="T48" fmla="*/ 131 w 810"/>
              <a:gd name="T49" fmla="*/ 90 h 282"/>
              <a:gd name="T50" fmla="*/ 92 w 810"/>
              <a:gd name="T51" fmla="*/ 100 h 282"/>
              <a:gd name="T52" fmla="*/ 84 w 810"/>
              <a:gd name="T53" fmla="*/ 107 h 282"/>
              <a:gd name="T54" fmla="*/ 53 w 810"/>
              <a:gd name="T55" fmla="*/ 120 h 282"/>
              <a:gd name="T56" fmla="*/ 31 w 810"/>
              <a:gd name="T57" fmla="*/ 102 h 282"/>
              <a:gd name="T58" fmla="*/ 29 w 810"/>
              <a:gd name="T59" fmla="*/ 84 h 282"/>
              <a:gd name="T60" fmla="*/ 5 w 810"/>
              <a:gd name="T61" fmla="*/ 88 h 282"/>
              <a:gd name="T62" fmla="*/ 7 w 810"/>
              <a:gd name="T63" fmla="*/ 152 h 282"/>
              <a:gd name="T64" fmla="*/ 16 w 810"/>
              <a:gd name="T65" fmla="*/ 187 h 282"/>
              <a:gd name="T66" fmla="*/ 40 w 810"/>
              <a:gd name="T67" fmla="*/ 223 h 282"/>
              <a:gd name="T68" fmla="*/ 53 w 810"/>
              <a:gd name="T69" fmla="*/ 244 h 282"/>
              <a:gd name="T70" fmla="*/ 82 w 810"/>
              <a:gd name="T71" fmla="*/ 272 h 282"/>
              <a:gd name="T72" fmla="*/ 109 w 810"/>
              <a:gd name="T73" fmla="*/ 250 h 282"/>
              <a:gd name="T74" fmla="*/ 108 w 810"/>
              <a:gd name="T75" fmla="*/ 222 h 282"/>
              <a:gd name="T76" fmla="*/ 160 w 810"/>
              <a:gd name="T77" fmla="*/ 223 h 282"/>
              <a:gd name="T78" fmla="*/ 196 w 810"/>
              <a:gd name="T79" fmla="*/ 196 h 282"/>
              <a:gd name="T80" fmla="*/ 252 w 810"/>
              <a:gd name="T81" fmla="*/ 204 h 282"/>
              <a:gd name="T82" fmla="*/ 331 w 810"/>
              <a:gd name="T83" fmla="*/ 226 h 282"/>
              <a:gd name="T84" fmla="*/ 415 w 810"/>
              <a:gd name="T85" fmla="*/ 231 h 282"/>
              <a:gd name="T86" fmla="*/ 483 w 810"/>
              <a:gd name="T87" fmla="*/ 207 h 282"/>
              <a:gd name="T88" fmla="*/ 521 w 810"/>
              <a:gd name="T89" fmla="*/ 258 h 282"/>
              <a:gd name="T90" fmla="*/ 558 w 810"/>
              <a:gd name="T91" fmla="*/ 226 h 282"/>
              <a:gd name="T92" fmla="*/ 543 w 810"/>
              <a:gd name="T93" fmla="*/ 199 h 282"/>
              <a:gd name="T94" fmla="*/ 591 w 810"/>
              <a:gd name="T95" fmla="*/ 162 h 282"/>
              <a:gd name="T96" fmla="*/ 627 w 810"/>
              <a:gd name="T97" fmla="*/ 165 h 282"/>
              <a:gd name="T98" fmla="*/ 657 w 810"/>
              <a:gd name="T99" fmla="*/ 153 h 282"/>
              <a:gd name="T100" fmla="*/ 669 w 810"/>
              <a:gd name="T101" fmla="*/ 154 h 282"/>
              <a:gd name="T102" fmla="*/ 649 w 810"/>
              <a:gd name="T103" fmla="*/ 210 h 282"/>
              <a:gd name="T104" fmla="*/ 667 w 810"/>
              <a:gd name="T105" fmla="*/ 171 h 282"/>
              <a:gd name="T106" fmla="*/ 710 w 810"/>
              <a:gd name="T107" fmla="*/ 156 h 282"/>
              <a:gd name="T108" fmla="*/ 738 w 810"/>
              <a:gd name="T109" fmla="*/ 121 h 282"/>
              <a:gd name="T110" fmla="*/ 765 w 810"/>
              <a:gd name="T111" fmla="*/ 116 h 282"/>
              <a:gd name="T112" fmla="*/ 802 w 810"/>
              <a:gd name="T113" fmla="*/ 115 h 282"/>
              <a:gd name="T114" fmla="*/ 388 w 810"/>
              <a:gd name="T115" fmla="*/ 212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10" h="282">
                <a:moveTo>
                  <a:pt x="808" y="111"/>
                </a:moveTo>
                <a:cubicBezTo>
                  <a:pt x="806" y="109"/>
                  <a:pt x="803" y="108"/>
                  <a:pt x="801" y="106"/>
                </a:cubicBezTo>
                <a:cubicBezTo>
                  <a:pt x="800" y="105"/>
                  <a:pt x="799" y="104"/>
                  <a:pt x="797" y="103"/>
                </a:cubicBezTo>
                <a:cubicBezTo>
                  <a:pt x="796" y="103"/>
                  <a:pt x="794" y="103"/>
                  <a:pt x="793" y="102"/>
                </a:cubicBezTo>
                <a:cubicBezTo>
                  <a:pt x="793" y="103"/>
                  <a:pt x="794" y="103"/>
                  <a:pt x="794" y="103"/>
                </a:cubicBezTo>
                <a:cubicBezTo>
                  <a:pt x="795" y="103"/>
                  <a:pt x="792" y="104"/>
                  <a:pt x="791" y="103"/>
                </a:cubicBezTo>
                <a:cubicBezTo>
                  <a:pt x="791" y="103"/>
                  <a:pt x="792" y="103"/>
                  <a:pt x="792" y="102"/>
                </a:cubicBezTo>
                <a:cubicBezTo>
                  <a:pt x="791" y="101"/>
                  <a:pt x="786" y="103"/>
                  <a:pt x="785" y="102"/>
                </a:cubicBezTo>
                <a:cubicBezTo>
                  <a:pt x="787" y="103"/>
                  <a:pt x="787" y="103"/>
                  <a:pt x="787" y="106"/>
                </a:cubicBezTo>
                <a:cubicBezTo>
                  <a:pt x="786" y="107"/>
                  <a:pt x="788" y="109"/>
                  <a:pt x="788" y="109"/>
                </a:cubicBezTo>
                <a:cubicBezTo>
                  <a:pt x="787" y="109"/>
                  <a:pt x="787" y="108"/>
                  <a:pt x="787" y="108"/>
                </a:cubicBezTo>
                <a:cubicBezTo>
                  <a:pt x="786" y="107"/>
                  <a:pt x="786" y="109"/>
                  <a:pt x="785" y="109"/>
                </a:cubicBezTo>
                <a:cubicBezTo>
                  <a:pt x="785" y="109"/>
                  <a:pt x="783" y="105"/>
                  <a:pt x="783" y="105"/>
                </a:cubicBezTo>
                <a:cubicBezTo>
                  <a:pt x="783" y="104"/>
                  <a:pt x="783" y="104"/>
                  <a:pt x="783" y="104"/>
                </a:cubicBezTo>
                <a:cubicBezTo>
                  <a:pt x="783" y="103"/>
                  <a:pt x="782" y="102"/>
                  <a:pt x="783" y="101"/>
                </a:cubicBezTo>
                <a:cubicBezTo>
                  <a:pt x="784" y="99"/>
                  <a:pt x="782" y="100"/>
                  <a:pt x="781" y="99"/>
                </a:cubicBezTo>
                <a:cubicBezTo>
                  <a:pt x="781" y="98"/>
                  <a:pt x="779" y="97"/>
                  <a:pt x="778" y="97"/>
                </a:cubicBezTo>
                <a:cubicBezTo>
                  <a:pt x="771" y="93"/>
                  <a:pt x="765" y="89"/>
                  <a:pt x="758" y="87"/>
                </a:cubicBezTo>
                <a:cubicBezTo>
                  <a:pt x="756" y="86"/>
                  <a:pt x="755" y="85"/>
                  <a:pt x="754" y="84"/>
                </a:cubicBezTo>
                <a:cubicBezTo>
                  <a:pt x="753" y="83"/>
                  <a:pt x="751" y="82"/>
                  <a:pt x="749" y="82"/>
                </a:cubicBezTo>
                <a:cubicBezTo>
                  <a:pt x="746" y="81"/>
                  <a:pt x="743" y="80"/>
                  <a:pt x="739" y="78"/>
                </a:cubicBezTo>
                <a:cubicBezTo>
                  <a:pt x="736" y="78"/>
                  <a:pt x="732" y="78"/>
                  <a:pt x="730" y="78"/>
                </a:cubicBezTo>
                <a:cubicBezTo>
                  <a:pt x="728" y="78"/>
                  <a:pt x="727" y="78"/>
                  <a:pt x="726" y="78"/>
                </a:cubicBezTo>
                <a:cubicBezTo>
                  <a:pt x="726" y="78"/>
                  <a:pt x="725" y="77"/>
                  <a:pt x="725" y="77"/>
                </a:cubicBezTo>
                <a:cubicBezTo>
                  <a:pt x="724" y="78"/>
                  <a:pt x="724" y="79"/>
                  <a:pt x="723" y="78"/>
                </a:cubicBezTo>
                <a:cubicBezTo>
                  <a:pt x="720" y="78"/>
                  <a:pt x="717" y="77"/>
                  <a:pt x="714" y="76"/>
                </a:cubicBezTo>
                <a:cubicBezTo>
                  <a:pt x="713" y="76"/>
                  <a:pt x="710" y="75"/>
                  <a:pt x="710" y="77"/>
                </a:cubicBezTo>
                <a:cubicBezTo>
                  <a:pt x="709" y="79"/>
                  <a:pt x="708" y="79"/>
                  <a:pt x="710" y="80"/>
                </a:cubicBezTo>
                <a:cubicBezTo>
                  <a:pt x="712" y="82"/>
                  <a:pt x="714" y="86"/>
                  <a:pt x="709" y="87"/>
                </a:cubicBezTo>
                <a:cubicBezTo>
                  <a:pt x="708" y="88"/>
                  <a:pt x="705" y="88"/>
                  <a:pt x="704" y="86"/>
                </a:cubicBezTo>
                <a:cubicBezTo>
                  <a:pt x="703" y="85"/>
                  <a:pt x="703" y="84"/>
                  <a:pt x="700" y="84"/>
                </a:cubicBezTo>
                <a:cubicBezTo>
                  <a:pt x="697" y="83"/>
                  <a:pt x="699" y="82"/>
                  <a:pt x="698" y="81"/>
                </a:cubicBezTo>
                <a:cubicBezTo>
                  <a:pt x="698" y="80"/>
                  <a:pt x="695" y="79"/>
                  <a:pt x="694" y="80"/>
                </a:cubicBezTo>
                <a:cubicBezTo>
                  <a:pt x="691" y="83"/>
                  <a:pt x="686" y="80"/>
                  <a:pt x="682" y="80"/>
                </a:cubicBezTo>
                <a:cubicBezTo>
                  <a:pt x="678" y="80"/>
                  <a:pt x="674" y="79"/>
                  <a:pt x="670" y="79"/>
                </a:cubicBezTo>
                <a:cubicBezTo>
                  <a:pt x="668" y="79"/>
                  <a:pt x="667" y="79"/>
                  <a:pt x="665" y="80"/>
                </a:cubicBezTo>
                <a:cubicBezTo>
                  <a:pt x="663" y="81"/>
                  <a:pt x="664" y="84"/>
                  <a:pt x="664" y="86"/>
                </a:cubicBezTo>
                <a:cubicBezTo>
                  <a:pt x="664" y="86"/>
                  <a:pt x="664" y="86"/>
                  <a:pt x="664" y="86"/>
                </a:cubicBezTo>
                <a:cubicBezTo>
                  <a:pt x="663" y="86"/>
                  <a:pt x="662" y="81"/>
                  <a:pt x="661" y="80"/>
                </a:cubicBezTo>
                <a:cubicBezTo>
                  <a:pt x="660" y="80"/>
                  <a:pt x="656" y="80"/>
                  <a:pt x="655" y="78"/>
                </a:cubicBezTo>
                <a:cubicBezTo>
                  <a:pt x="655" y="75"/>
                  <a:pt x="659" y="74"/>
                  <a:pt x="655" y="71"/>
                </a:cubicBezTo>
                <a:cubicBezTo>
                  <a:pt x="653" y="70"/>
                  <a:pt x="651" y="69"/>
                  <a:pt x="648" y="68"/>
                </a:cubicBezTo>
                <a:cubicBezTo>
                  <a:pt x="642" y="66"/>
                  <a:pt x="635" y="68"/>
                  <a:pt x="629" y="69"/>
                </a:cubicBezTo>
                <a:cubicBezTo>
                  <a:pt x="626" y="69"/>
                  <a:pt x="623" y="69"/>
                  <a:pt x="619" y="69"/>
                </a:cubicBezTo>
                <a:cubicBezTo>
                  <a:pt x="618" y="69"/>
                  <a:pt x="618" y="69"/>
                  <a:pt x="617" y="69"/>
                </a:cubicBezTo>
                <a:cubicBezTo>
                  <a:pt x="615" y="68"/>
                  <a:pt x="617" y="68"/>
                  <a:pt x="618" y="67"/>
                </a:cubicBezTo>
                <a:cubicBezTo>
                  <a:pt x="618" y="66"/>
                  <a:pt x="613" y="65"/>
                  <a:pt x="613" y="65"/>
                </a:cubicBezTo>
                <a:cubicBezTo>
                  <a:pt x="612" y="64"/>
                  <a:pt x="608" y="65"/>
                  <a:pt x="607" y="65"/>
                </a:cubicBezTo>
                <a:cubicBezTo>
                  <a:pt x="607" y="65"/>
                  <a:pt x="611" y="64"/>
                  <a:pt x="610" y="63"/>
                </a:cubicBezTo>
                <a:cubicBezTo>
                  <a:pt x="609" y="63"/>
                  <a:pt x="608" y="64"/>
                  <a:pt x="607" y="64"/>
                </a:cubicBezTo>
                <a:cubicBezTo>
                  <a:pt x="606" y="63"/>
                  <a:pt x="604" y="62"/>
                  <a:pt x="604" y="62"/>
                </a:cubicBezTo>
                <a:cubicBezTo>
                  <a:pt x="603" y="62"/>
                  <a:pt x="600" y="60"/>
                  <a:pt x="602" y="60"/>
                </a:cubicBezTo>
                <a:cubicBezTo>
                  <a:pt x="603" y="60"/>
                  <a:pt x="605" y="60"/>
                  <a:pt x="606" y="60"/>
                </a:cubicBezTo>
                <a:cubicBezTo>
                  <a:pt x="609" y="60"/>
                  <a:pt x="605" y="57"/>
                  <a:pt x="604" y="57"/>
                </a:cubicBezTo>
                <a:cubicBezTo>
                  <a:pt x="602" y="55"/>
                  <a:pt x="597" y="56"/>
                  <a:pt x="594" y="55"/>
                </a:cubicBezTo>
                <a:cubicBezTo>
                  <a:pt x="592" y="55"/>
                  <a:pt x="591" y="57"/>
                  <a:pt x="589" y="59"/>
                </a:cubicBezTo>
                <a:cubicBezTo>
                  <a:pt x="589" y="59"/>
                  <a:pt x="582" y="63"/>
                  <a:pt x="582" y="60"/>
                </a:cubicBezTo>
                <a:cubicBezTo>
                  <a:pt x="583" y="58"/>
                  <a:pt x="584" y="60"/>
                  <a:pt x="586" y="59"/>
                </a:cubicBezTo>
                <a:cubicBezTo>
                  <a:pt x="586" y="59"/>
                  <a:pt x="585" y="56"/>
                  <a:pt x="584" y="56"/>
                </a:cubicBezTo>
                <a:cubicBezTo>
                  <a:pt x="584" y="56"/>
                  <a:pt x="578" y="56"/>
                  <a:pt x="578" y="56"/>
                </a:cubicBezTo>
                <a:cubicBezTo>
                  <a:pt x="579" y="55"/>
                  <a:pt x="581" y="54"/>
                  <a:pt x="583" y="54"/>
                </a:cubicBezTo>
                <a:cubicBezTo>
                  <a:pt x="584" y="55"/>
                  <a:pt x="591" y="55"/>
                  <a:pt x="591" y="55"/>
                </a:cubicBezTo>
                <a:cubicBezTo>
                  <a:pt x="591" y="54"/>
                  <a:pt x="585" y="54"/>
                  <a:pt x="584" y="53"/>
                </a:cubicBezTo>
                <a:cubicBezTo>
                  <a:pt x="582" y="53"/>
                  <a:pt x="580" y="53"/>
                  <a:pt x="578" y="53"/>
                </a:cubicBezTo>
                <a:cubicBezTo>
                  <a:pt x="574" y="52"/>
                  <a:pt x="570" y="52"/>
                  <a:pt x="566" y="51"/>
                </a:cubicBezTo>
                <a:cubicBezTo>
                  <a:pt x="565" y="51"/>
                  <a:pt x="561" y="50"/>
                  <a:pt x="561" y="50"/>
                </a:cubicBezTo>
                <a:cubicBezTo>
                  <a:pt x="561" y="51"/>
                  <a:pt x="562" y="52"/>
                  <a:pt x="561" y="52"/>
                </a:cubicBezTo>
                <a:cubicBezTo>
                  <a:pt x="560" y="53"/>
                  <a:pt x="559" y="53"/>
                  <a:pt x="558" y="53"/>
                </a:cubicBezTo>
                <a:cubicBezTo>
                  <a:pt x="557" y="53"/>
                  <a:pt x="552" y="54"/>
                  <a:pt x="553" y="56"/>
                </a:cubicBezTo>
                <a:cubicBezTo>
                  <a:pt x="554" y="58"/>
                  <a:pt x="556" y="55"/>
                  <a:pt x="557" y="56"/>
                </a:cubicBezTo>
                <a:cubicBezTo>
                  <a:pt x="557" y="56"/>
                  <a:pt x="554" y="57"/>
                  <a:pt x="555" y="59"/>
                </a:cubicBezTo>
                <a:cubicBezTo>
                  <a:pt x="556" y="59"/>
                  <a:pt x="555" y="60"/>
                  <a:pt x="555" y="61"/>
                </a:cubicBezTo>
                <a:cubicBezTo>
                  <a:pt x="556" y="61"/>
                  <a:pt x="557" y="62"/>
                  <a:pt x="557" y="63"/>
                </a:cubicBezTo>
                <a:cubicBezTo>
                  <a:pt x="557" y="63"/>
                  <a:pt x="553" y="63"/>
                  <a:pt x="552" y="63"/>
                </a:cubicBezTo>
                <a:cubicBezTo>
                  <a:pt x="550" y="63"/>
                  <a:pt x="552" y="62"/>
                  <a:pt x="552" y="62"/>
                </a:cubicBezTo>
                <a:cubicBezTo>
                  <a:pt x="551" y="61"/>
                  <a:pt x="548" y="62"/>
                  <a:pt x="548" y="62"/>
                </a:cubicBezTo>
                <a:cubicBezTo>
                  <a:pt x="546" y="63"/>
                  <a:pt x="544" y="62"/>
                  <a:pt x="543" y="62"/>
                </a:cubicBezTo>
                <a:cubicBezTo>
                  <a:pt x="542" y="62"/>
                  <a:pt x="546" y="63"/>
                  <a:pt x="546" y="63"/>
                </a:cubicBezTo>
                <a:cubicBezTo>
                  <a:pt x="549" y="64"/>
                  <a:pt x="546" y="66"/>
                  <a:pt x="545" y="65"/>
                </a:cubicBezTo>
                <a:cubicBezTo>
                  <a:pt x="544" y="65"/>
                  <a:pt x="544" y="64"/>
                  <a:pt x="544" y="63"/>
                </a:cubicBezTo>
                <a:cubicBezTo>
                  <a:pt x="543" y="63"/>
                  <a:pt x="542" y="63"/>
                  <a:pt x="541" y="63"/>
                </a:cubicBezTo>
                <a:cubicBezTo>
                  <a:pt x="539" y="62"/>
                  <a:pt x="537" y="61"/>
                  <a:pt x="534" y="62"/>
                </a:cubicBezTo>
                <a:cubicBezTo>
                  <a:pt x="531" y="62"/>
                  <a:pt x="529" y="65"/>
                  <a:pt x="526" y="63"/>
                </a:cubicBezTo>
                <a:cubicBezTo>
                  <a:pt x="524" y="62"/>
                  <a:pt x="522" y="61"/>
                  <a:pt x="521" y="59"/>
                </a:cubicBezTo>
                <a:cubicBezTo>
                  <a:pt x="520" y="58"/>
                  <a:pt x="518" y="62"/>
                  <a:pt x="517" y="62"/>
                </a:cubicBezTo>
                <a:cubicBezTo>
                  <a:pt x="516" y="64"/>
                  <a:pt x="515" y="70"/>
                  <a:pt x="512" y="69"/>
                </a:cubicBezTo>
                <a:cubicBezTo>
                  <a:pt x="510" y="68"/>
                  <a:pt x="508" y="68"/>
                  <a:pt x="506" y="66"/>
                </a:cubicBezTo>
                <a:cubicBezTo>
                  <a:pt x="505" y="65"/>
                  <a:pt x="503" y="63"/>
                  <a:pt x="502" y="62"/>
                </a:cubicBezTo>
                <a:cubicBezTo>
                  <a:pt x="501" y="60"/>
                  <a:pt x="499" y="59"/>
                  <a:pt x="498" y="58"/>
                </a:cubicBezTo>
                <a:cubicBezTo>
                  <a:pt x="496" y="56"/>
                  <a:pt x="500" y="57"/>
                  <a:pt x="501" y="57"/>
                </a:cubicBezTo>
                <a:cubicBezTo>
                  <a:pt x="502" y="57"/>
                  <a:pt x="504" y="56"/>
                  <a:pt x="504" y="55"/>
                </a:cubicBezTo>
                <a:cubicBezTo>
                  <a:pt x="504" y="55"/>
                  <a:pt x="499" y="52"/>
                  <a:pt x="499" y="52"/>
                </a:cubicBezTo>
                <a:cubicBezTo>
                  <a:pt x="499" y="52"/>
                  <a:pt x="502" y="52"/>
                  <a:pt x="502" y="51"/>
                </a:cubicBezTo>
                <a:cubicBezTo>
                  <a:pt x="501" y="50"/>
                  <a:pt x="499" y="50"/>
                  <a:pt x="499" y="50"/>
                </a:cubicBezTo>
                <a:cubicBezTo>
                  <a:pt x="499" y="48"/>
                  <a:pt x="504" y="47"/>
                  <a:pt x="499" y="46"/>
                </a:cubicBezTo>
                <a:cubicBezTo>
                  <a:pt x="498" y="46"/>
                  <a:pt x="497" y="44"/>
                  <a:pt x="495" y="44"/>
                </a:cubicBezTo>
                <a:cubicBezTo>
                  <a:pt x="494" y="44"/>
                  <a:pt x="492" y="43"/>
                  <a:pt x="491" y="44"/>
                </a:cubicBezTo>
                <a:cubicBezTo>
                  <a:pt x="490" y="44"/>
                  <a:pt x="490" y="45"/>
                  <a:pt x="489" y="45"/>
                </a:cubicBezTo>
                <a:cubicBezTo>
                  <a:pt x="488" y="44"/>
                  <a:pt x="488" y="44"/>
                  <a:pt x="487" y="44"/>
                </a:cubicBezTo>
                <a:cubicBezTo>
                  <a:pt x="486" y="44"/>
                  <a:pt x="484" y="44"/>
                  <a:pt x="483" y="43"/>
                </a:cubicBezTo>
                <a:cubicBezTo>
                  <a:pt x="482" y="43"/>
                  <a:pt x="481" y="43"/>
                  <a:pt x="480" y="41"/>
                </a:cubicBezTo>
                <a:cubicBezTo>
                  <a:pt x="479" y="41"/>
                  <a:pt x="480" y="40"/>
                  <a:pt x="478" y="41"/>
                </a:cubicBezTo>
                <a:cubicBezTo>
                  <a:pt x="478" y="41"/>
                  <a:pt x="477" y="42"/>
                  <a:pt x="476" y="42"/>
                </a:cubicBezTo>
                <a:cubicBezTo>
                  <a:pt x="475" y="42"/>
                  <a:pt x="475" y="41"/>
                  <a:pt x="474" y="42"/>
                </a:cubicBezTo>
                <a:cubicBezTo>
                  <a:pt x="474" y="43"/>
                  <a:pt x="473" y="44"/>
                  <a:pt x="473" y="45"/>
                </a:cubicBezTo>
                <a:cubicBezTo>
                  <a:pt x="473" y="46"/>
                  <a:pt x="475" y="46"/>
                  <a:pt x="474" y="47"/>
                </a:cubicBezTo>
                <a:cubicBezTo>
                  <a:pt x="473" y="48"/>
                  <a:pt x="474" y="48"/>
                  <a:pt x="473" y="48"/>
                </a:cubicBezTo>
                <a:cubicBezTo>
                  <a:pt x="472" y="48"/>
                  <a:pt x="470" y="48"/>
                  <a:pt x="469" y="49"/>
                </a:cubicBezTo>
                <a:cubicBezTo>
                  <a:pt x="470" y="48"/>
                  <a:pt x="473" y="50"/>
                  <a:pt x="473" y="50"/>
                </a:cubicBezTo>
                <a:cubicBezTo>
                  <a:pt x="472" y="51"/>
                  <a:pt x="469" y="49"/>
                  <a:pt x="467" y="49"/>
                </a:cubicBezTo>
                <a:cubicBezTo>
                  <a:pt x="465" y="49"/>
                  <a:pt x="462" y="49"/>
                  <a:pt x="459" y="49"/>
                </a:cubicBezTo>
                <a:cubicBezTo>
                  <a:pt x="458" y="49"/>
                  <a:pt x="458" y="48"/>
                  <a:pt x="457" y="48"/>
                </a:cubicBezTo>
                <a:cubicBezTo>
                  <a:pt x="456" y="47"/>
                  <a:pt x="453" y="48"/>
                  <a:pt x="452" y="48"/>
                </a:cubicBezTo>
                <a:cubicBezTo>
                  <a:pt x="451" y="47"/>
                  <a:pt x="449" y="47"/>
                  <a:pt x="448" y="46"/>
                </a:cubicBezTo>
                <a:cubicBezTo>
                  <a:pt x="448" y="45"/>
                  <a:pt x="450" y="45"/>
                  <a:pt x="450" y="44"/>
                </a:cubicBezTo>
                <a:cubicBezTo>
                  <a:pt x="451" y="43"/>
                  <a:pt x="442" y="43"/>
                  <a:pt x="441" y="43"/>
                </a:cubicBezTo>
                <a:cubicBezTo>
                  <a:pt x="436" y="42"/>
                  <a:pt x="432" y="43"/>
                  <a:pt x="427" y="43"/>
                </a:cubicBezTo>
                <a:cubicBezTo>
                  <a:pt x="424" y="43"/>
                  <a:pt x="425" y="43"/>
                  <a:pt x="426" y="45"/>
                </a:cubicBezTo>
                <a:cubicBezTo>
                  <a:pt x="426" y="46"/>
                  <a:pt x="424" y="45"/>
                  <a:pt x="424" y="45"/>
                </a:cubicBezTo>
                <a:cubicBezTo>
                  <a:pt x="422" y="45"/>
                  <a:pt x="423" y="44"/>
                  <a:pt x="423" y="43"/>
                </a:cubicBezTo>
                <a:cubicBezTo>
                  <a:pt x="423" y="41"/>
                  <a:pt x="422" y="38"/>
                  <a:pt x="420" y="40"/>
                </a:cubicBezTo>
                <a:cubicBezTo>
                  <a:pt x="420" y="42"/>
                  <a:pt x="416" y="42"/>
                  <a:pt x="414" y="41"/>
                </a:cubicBezTo>
                <a:cubicBezTo>
                  <a:pt x="413" y="40"/>
                  <a:pt x="415" y="38"/>
                  <a:pt x="411" y="39"/>
                </a:cubicBezTo>
                <a:cubicBezTo>
                  <a:pt x="410" y="39"/>
                  <a:pt x="409" y="39"/>
                  <a:pt x="408" y="39"/>
                </a:cubicBezTo>
                <a:cubicBezTo>
                  <a:pt x="407" y="38"/>
                  <a:pt x="406" y="39"/>
                  <a:pt x="404" y="40"/>
                </a:cubicBezTo>
                <a:cubicBezTo>
                  <a:pt x="402" y="42"/>
                  <a:pt x="407" y="41"/>
                  <a:pt x="407" y="42"/>
                </a:cubicBezTo>
                <a:cubicBezTo>
                  <a:pt x="407" y="44"/>
                  <a:pt x="403" y="43"/>
                  <a:pt x="402" y="44"/>
                </a:cubicBezTo>
                <a:cubicBezTo>
                  <a:pt x="401" y="45"/>
                  <a:pt x="399" y="45"/>
                  <a:pt x="397" y="46"/>
                </a:cubicBezTo>
                <a:cubicBezTo>
                  <a:pt x="395" y="47"/>
                  <a:pt x="393" y="47"/>
                  <a:pt x="390" y="47"/>
                </a:cubicBezTo>
                <a:cubicBezTo>
                  <a:pt x="388" y="47"/>
                  <a:pt x="388" y="47"/>
                  <a:pt x="387" y="49"/>
                </a:cubicBezTo>
                <a:cubicBezTo>
                  <a:pt x="386" y="50"/>
                  <a:pt x="382" y="51"/>
                  <a:pt x="381" y="51"/>
                </a:cubicBezTo>
                <a:cubicBezTo>
                  <a:pt x="381" y="50"/>
                  <a:pt x="383" y="50"/>
                  <a:pt x="383" y="50"/>
                </a:cubicBezTo>
                <a:cubicBezTo>
                  <a:pt x="385" y="49"/>
                  <a:pt x="385" y="47"/>
                  <a:pt x="386" y="46"/>
                </a:cubicBezTo>
                <a:cubicBezTo>
                  <a:pt x="387" y="44"/>
                  <a:pt x="388" y="46"/>
                  <a:pt x="389" y="45"/>
                </a:cubicBezTo>
                <a:cubicBezTo>
                  <a:pt x="390" y="45"/>
                  <a:pt x="390" y="44"/>
                  <a:pt x="391" y="44"/>
                </a:cubicBezTo>
                <a:cubicBezTo>
                  <a:pt x="394" y="42"/>
                  <a:pt x="398" y="41"/>
                  <a:pt x="401" y="39"/>
                </a:cubicBezTo>
                <a:cubicBezTo>
                  <a:pt x="403" y="38"/>
                  <a:pt x="405" y="37"/>
                  <a:pt x="407" y="36"/>
                </a:cubicBezTo>
                <a:cubicBezTo>
                  <a:pt x="411" y="33"/>
                  <a:pt x="416" y="31"/>
                  <a:pt x="420" y="29"/>
                </a:cubicBezTo>
                <a:cubicBezTo>
                  <a:pt x="423" y="28"/>
                  <a:pt x="426" y="26"/>
                  <a:pt x="423" y="23"/>
                </a:cubicBezTo>
                <a:cubicBezTo>
                  <a:pt x="422" y="22"/>
                  <a:pt x="422" y="24"/>
                  <a:pt x="421" y="23"/>
                </a:cubicBezTo>
                <a:cubicBezTo>
                  <a:pt x="420" y="22"/>
                  <a:pt x="419" y="22"/>
                  <a:pt x="418" y="21"/>
                </a:cubicBezTo>
                <a:cubicBezTo>
                  <a:pt x="418" y="20"/>
                  <a:pt x="423" y="22"/>
                  <a:pt x="423" y="22"/>
                </a:cubicBezTo>
                <a:cubicBezTo>
                  <a:pt x="424" y="22"/>
                  <a:pt x="427" y="22"/>
                  <a:pt x="425" y="20"/>
                </a:cubicBezTo>
                <a:cubicBezTo>
                  <a:pt x="424" y="19"/>
                  <a:pt x="424" y="18"/>
                  <a:pt x="423" y="17"/>
                </a:cubicBezTo>
                <a:cubicBezTo>
                  <a:pt x="422" y="15"/>
                  <a:pt x="421" y="19"/>
                  <a:pt x="420" y="19"/>
                </a:cubicBezTo>
                <a:cubicBezTo>
                  <a:pt x="420" y="18"/>
                  <a:pt x="420" y="17"/>
                  <a:pt x="420" y="17"/>
                </a:cubicBezTo>
                <a:cubicBezTo>
                  <a:pt x="420" y="16"/>
                  <a:pt x="420" y="16"/>
                  <a:pt x="419" y="15"/>
                </a:cubicBezTo>
                <a:cubicBezTo>
                  <a:pt x="419" y="14"/>
                  <a:pt x="417" y="13"/>
                  <a:pt x="416" y="13"/>
                </a:cubicBezTo>
                <a:cubicBezTo>
                  <a:pt x="414" y="12"/>
                  <a:pt x="413" y="12"/>
                  <a:pt x="411" y="11"/>
                </a:cubicBezTo>
                <a:cubicBezTo>
                  <a:pt x="409" y="11"/>
                  <a:pt x="409" y="11"/>
                  <a:pt x="406" y="12"/>
                </a:cubicBezTo>
                <a:cubicBezTo>
                  <a:pt x="404" y="12"/>
                  <a:pt x="397" y="9"/>
                  <a:pt x="396" y="12"/>
                </a:cubicBezTo>
                <a:cubicBezTo>
                  <a:pt x="395" y="13"/>
                  <a:pt x="389" y="14"/>
                  <a:pt x="388" y="13"/>
                </a:cubicBezTo>
                <a:cubicBezTo>
                  <a:pt x="388" y="13"/>
                  <a:pt x="394" y="9"/>
                  <a:pt x="392" y="8"/>
                </a:cubicBezTo>
                <a:cubicBezTo>
                  <a:pt x="392" y="8"/>
                  <a:pt x="385" y="9"/>
                  <a:pt x="384" y="8"/>
                </a:cubicBezTo>
                <a:cubicBezTo>
                  <a:pt x="384" y="7"/>
                  <a:pt x="386" y="7"/>
                  <a:pt x="386" y="7"/>
                </a:cubicBezTo>
                <a:cubicBezTo>
                  <a:pt x="386" y="6"/>
                  <a:pt x="378" y="7"/>
                  <a:pt x="378" y="7"/>
                </a:cubicBezTo>
                <a:cubicBezTo>
                  <a:pt x="379" y="5"/>
                  <a:pt x="383" y="6"/>
                  <a:pt x="384" y="5"/>
                </a:cubicBezTo>
                <a:cubicBezTo>
                  <a:pt x="385" y="4"/>
                  <a:pt x="387" y="5"/>
                  <a:pt x="386" y="4"/>
                </a:cubicBezTo>
                <a:cubicBezTo>
                  <a:pt x="386" y="3"/>
                  <a:pt x="386" y="2"/>
                  <a:pt x="385" y="2"/>
                </a:cubicBezTo>
                <a:cubicBezTo>
                  <a:pt x="382" y="2"/>
                  <a:pt x="381" y="1"/>
                  <a:pt x="378" y="1"/>
                </a:cubicBezTo>
                <a:cubicBezTo>
                  <a:pt x="376" y="0"/>
                  <a:pt x="374" y="1"/>
                  <a:pt x="372" y="2"/>
                </a:cubicBezTo>
                <a:cubicBezTo>
                  <a:pt x="368" y="3"/>
                  <a:pt x="364" y="6"/>
                  <a:pt x="362" y="8"/>
                </a:cubicBezTo>
                <a:cubicBezTo>
                  <a:pt x="361" y="9"/>
                  <a:pt x="361" y="9"/>
                  <a:pt x="362" y="10"/>
                </a:cubicBezTo>
                <a:cubicBezTo>
                  <a:pt x="363" y="10"/>
                  <a:pt x="362" y="11"/>
                  <a:pt x="362" y="12"/>
                </a:cubicBezTo>
                <a:cubicBezTo>
                  <a:pt x="362" y="14"/>
                  <a:pt x="366" y="13"/>
                  <a:pt x="366" y="14"/>
                </a:cubicBezTo>
                <a:cubicBezTo>
                  <a:pt x="366" y="13"/>
                  <a:pt x="361" y="14"/>
                  <a:pt x="360" y="14"/>
                </a:cubicBezTo>
                <a:cubicBezTo>
                  <a:pt x="359" y="14"/>
                  <a:pt x="353" y="13"/>
                  <a:pt x="352" y="14"/>
                </a:cubicBezTo>
                <a:cubicBezTo>
                  <a:pt x="352" y="13"/>
                  <a:pt x="355" y="17"/>
                  <a:pt x="355" y="17"/>
                </a:cubicBezTo>
                <a:cubicBezTo>
                  <a:pt x="356" y="18"/>
                  <a:pt x="351" y="16"/>
                  <a:pt x="350" y="16"/>
                </a:cubicBezTo>
                <a:cubicBezTo>
                  <a:pt x="349" y="16"/>
                  <a:pt x="347" y="17"/>
                  <a:pt x="345" y="18"/>
                </a:cubicBezTo>
                <a:cubicBezTo>
                  <a:pt x="345" y="18"/>
                  <a:pt x="345" y="18"/>
                  <a:pt x="344" y="18"/>
                </a:cubicBezTo>
                <a:cubicBezTo>
                  <a:pt x="342" y="18"/>
                  <a:pt x="344" y="18"/>
                  <a:pt x="343" y="17"/>
                </a:cubicBezTo>
                <a:cubicBezTo>
                  <a:pt x="343" y="18"/>
                  <a:pt x="338" y="20"/>
                  <a:pt x="338" y="20"/>
                </a:cubicBezTo>
                <a:cubicBezTo>
                  <a:pt x="338" y="19"/>
                  <a:pt x="340" y="18"/>
                  <a:pt x="340" y="18"/>
                </a:cubicBezTo>
                <a:cubicBezTo>
                  <a:pt x="340" y="17"/>
                  <a:pt x="335" y="18"/>
                  <a:pt x="334" y="17"/>
                </a:cubicBezTo>
                <a:cubicBezTo>
                  <a:pt x="334" y="17"/>
                  <a:pt x="336" y="16"/>
                  <a:pt x="336" y="16"/>
                </a:cubicBezTo>
                <a:cubicBezTo>
                  <a:pt x="335" y="17"/>
                  <a:pt x="330" y="18"/>
                  <a:pt x="328" y="18"/>
                </a:cubicBezTo>
                <a:cubicBezTo>
                  <a:pt x="323" y="19"/>
                  <a:pt x="329" y="19"/>
                  <a:pt x="330" y="20"/>
                </a:cubicBezTo>
                <a:cubicBezTo>
                  <a:pt x="329" y="19"/>
                  <a:pt x="324" y="21"/>
                  <a:pt x="323" y="21"/>
                </a:cubicBezTo>
                <a:cubicBezTo>
                  <a:pt x="322" y="21"/>
                  <a:pt x="321" y="21"/>
                  <a:pt x="320" y="22"/>
                </a:cubicBezTo>
                <a:cubicBezTo>
                  <a:pt x="319" y="23"/>
                  <a:pt x="317" y="22"/>
                  <a:pt x="315" y="22"/>
                </a:cubicBezTo>
                <a:cubicBezTo>
                  <a:pt x="314" y="22"/>
                  <a:pt x="313" y="24"/>
                  <a:pt x="311" y="24"/>
                </a:cubicBezTo>
                <a:cubicBezTo>
                  <a:pt x="309" y="25"/>
                  <a:pt x="308" y="24"/>
                  <a:pt x="307" y="25"/>
                </a:cubicBezTo>
                <a:cubicBezTo>
                  <a:pt x="306" y="26"/>
                  <a:pt x="305" y="27"/>
                  <a:pt x="304" y="27"/>
                </a:cubicBezTo>
                <a:cubicBezTo>
                  <a:pt x="302" y="27"/>
                  <a:pt x="300" y="27"/>
                  <a:pt x="299" y="27"/>
                </a:cubicBezTo>
                <a:cubicBezTo>
                  <a:pt x="299" y="27"/>
                  <a:pt x="302" y="29"/>
                  <a:pt x="302" y="29"/>
                </a:cubicBezTo>
                <a:cubicBezTo>
                  <a:pt x="301" y="30"/>
                  <a:pt x="295" y="30"/>
                  <a:pt x="295" y="30"/>
                </a:cubicBezTo>
                <a:cubicBezTo>
                  <a:pt x="295" y="30"/>
                  <a:pt x="299" y="30"/>
                  <a:pt x="299" y="30"/>
                </a:cubicBezTo>
                <a:cubicBezTo>
                  <a:pt x="299" y="30"/>
                  <a:pt x="297" y="30"/>
                  <a:pt x="296" y="30"/>
                </a:cubicBezTo>
                <a:cubicBezTo>
                  <a:pt x="297" y="30"/>
                  <a:pt x="299" y="31"/>
                  <a:pt x="299" y="31"/>
                </a:cubicBezTo>
                <a:cubicBezTo>
                  <a:pt x="298" y="31"/>
                  <a:pt x="298" y="31"/>
                  <a:pt x="297" y="31"/>
                </a:cubicBezTo>
                <a:cubicBezTo>
                  <a:pt x="298" y="31"/>
                  <a:pt x="297" y="32"/>
                  <a:pt x="297" y="32"/>
                </a:cubicBezTo>
                <a:cubicBezTo>
                  <a:pt x="297" y="33"/>
                  <a:pt x="294" y="32"/>
                  <a:pt x="294" y="32"/>
                </a:cubicBezTo>
                <a:cubicBezTo>
                  <a:pt x="294" y="33"/>
                  <a:pt x="296" y="33"/>
                  <a:pt x="296" y="34"/>
                </a:cubicBezTo>
                <a:cubicBezTo>
                  <a:pt x="297" y="34"/>
                  <a:pt x="295" y="34"/>
                  <a:pt x="295" y="34"/>
                </a:cubicBezTo>
                <a:cubicBezTo>
                  <a:pt x="295" y="36"/>
                  <a:pt x="299" y="34"/>
                  <a:pt x="298" y="36"/>
                </a:cubicBezTo>
                <a:cubicBezTo>
                  <a:pt x="296" y="38"/>
                  <a:pt x="301" y="39"/>
                  <a:pt x="298" y="40"/>
                </a:cubicBezTo>
                <a:cubicBezTo>
                  <a:pt x="296" y="40"/>
                  <a:pt x="294" y="40"/>
                  <a:pt x="292" y="40"/>
                </a:cubicBezTo>
                <a:cubicBezTo>
                  <a:pt x="291" y="41"/>
                  <a:pt x="291" y="42"/>
                  <a:pt x="289" y="41"/>
                </a:cubicBezTo>
                <a:cubicBezTo>
                  <a:pt x="288" y="41"/>
                  <a:pt x="287" y="41"/>
                  <a:pt x="286" y="41"/>
                </a:cubicBezTo>
                <a:cubicBezTo>
                  <a:pt x="282" y="42"/>
                  <a:pt x="278" y="42"/>
                  <a:pt x="274" y="42"/>
                </a:cubicBezTo>
                <a:cubicBezTo>
                  <a:pt x="272" y="42"/>
                  <a:pt x="270" y="42"/>
                  <a:pt x="269" y="43"/>
                </a:cubicBezTo>
                <a:cubicBezTo>
                  <a:pt x="268" y="44"/>
                  <a:pt x="267" y="45"/>
                  <a:pt x="267" y="46"/>
                </a:cubicBezTo>
                <a:cubicBezTo>
                  <a:pt x="267" y="47"/>
                  <a:pt x="269" y="48"/>
                  <a:pt x="269" y="49"/>
                </a:cubicBezTo>
                <a:cubicBezTo>
                  <a:pt x="268" y="51"/>
                  <a:pt x="268" y="52"/>
                  <a:pt x="269" y="53"/>
                </a:cubicBezTo>
                <a:cubicBezTo>
                  <a:pt x="271" y="55"/>
                  <a:pt x="274" y="54"/>
                  <a:pt x="276" y="56"/>
                </a:cubicBezTo>
                <a:cubicBezTo>
                  <a:pt x="276" y="56"/>
                  <a:pt x="278" y="60"/>
                  <a:pt x="278" y="60"/>
                </a:cubicBezTo>
                <a:cubicBezTo>
                  <a:pt x="274" y="60"/>
                  <a:pt x="273" y="60"/>
                  <a:pt x="270" y="58"/>
                </a:cubicBezTo>
                <a:cubicBezTo>
                  <a:pt x="267" y="56"/>
                  <a:pt x="262" y="54"/>
                  <a:pt x="258" y="54"/>
                </a:cubicBezTo>
                <a:cubicBezTo>
                  <a:pt x="256" y="54"/>
                  <a:pt x="257" y="53"/>
                  <a:pt x="255" y="52"/>
                </a:cubicBezTo>
                <a:cubicBezTo>
                  <a:pt x="254" y="52"/>
                  <a:pt x="250" y="52"/>
                  <a:pt x="250" y="54"/>
                </a:cubicBezTo>
                <a:cubicBezTo>
                  <a:pt x="250" y="55"/>
                  <a:pt x="254" y="55"/>
                  <a:pt x="254" y="55"/>
                </a:cubicBezTo>
                <a:cubicBezTo>
                  <a:pt x="254" y="55"/>
                  <a:pt x="251" y="56"/>
                  <a:pt x="252" y="56"/>
                </a:cubicBezTo>
                <a:cubicBezTo>
                  <a:pt x="254" y="57"/>
                  <a:pt x="255" y="56"/>
                  <a:pt x="256" y="58"/>
                </a:cubicBezTo>
                <a:cubicBezTo>
                  <a:pt x="256" y="60"/>
                  <a:pt x="253" y="59"/>
                  <a:pt x="252" y="59"/>
                </a:cubicBezTo>
                <a:cubicBezTo>
                  <a:pt x="250" y="58"/>
                  <a:pt x="249" y="57"/>
                  <a:pt x="247" y="58"/>
                </a:cubicBezTo>
                <a:cubicBezTo>
                  <a:pt x="245" y="58"/>
                  <a:pt x="246" y="61"/>
                  <a:pt x="247" y="62"/>
                </a:cubicBezTo>
                <a:cubicBezTo>
                  <a:pt x="248" y="63"/>
                  <a:pt x="250" y="63"/>
                  <a:pt x="251" y="63"/>
                </a:cubicBezTo>
                <a:cubicBezTo>
                  <a:pt x="253" y="64"/>
                  <a:pt x="255" y="64"/>
                  <a:pt x="256" y="65"/>
                </a:cubicBezTo>
                <a:cubicBezTo>
                  <a:pt x="257" y="66"/>
                  <a:pt x="257" y="67"/>
                  <a:pt x="257" y="67"/>
                </a:cubicBezTo>
                <a:cubicBezTo>
                  <a:pt x="258" y="67"/>
                  <a:pt x="259" y="67"/>
                  <a:pt x="260" y="67"/>
                </a:cubicBezTo>
                <a:cubicBezTo>
                  <a:pt x="260" y="67"/>
                  <a:pt x="257" y="68"/>
                  <a:pt x="257" y="68"/>
                </a:cubicBezTo>
                <a:cubicBezTo>
                  <a:pt x="255" y="68"/>
                  <a:pt x="255" y="67"/>
                  <a:pt x="254" y="66"/>
                </a:cubicBezTo>
                <a:cubicBezTo>
                  <a:pt x="252" y="65"/>
                  <a:pt x="249" y="65"/>
                  <a:pt x="246" y="65"/>
                </a:cubicBezTo>
                <a:cubicBezTo>
                  <a:pt x="245" y="65"/>
                  <a:pt x="240" y="64"/>
                  <a:pt x="242" y="62"/>
                </a:cubicBezTo>
                <a:cubicBezTo>
                  <a:pt x="243" y="62"/>
                  <a:pt x="242" y="61"/>
                  <a:pt x="242" y="60"/>
                </a:cubicBezTo>
                <a:cubicBezTo>
                  <a:pt x="241" y="59"/>
                  <a:pt x="242" y="58"/>
                  <a:pt x="242" y="57"/>
                </a:cubicBezTo>
                <a:cubicBezTo>
                  <a:pt x="243" y="55"/>
                  <a:pt x="244" y="51"/>
                  <a:pt x="242" y="50"/>
                </a:cubicBezTo>
                <a:cubicBezTo>
                  <a:pt x="238" y="49"/>
                  <a:pt x="241" y="54"/>
                  <a:pt x="240" y="56"/>
                </a:cubicBezTo>
                <a:cubicBezTo>
                  <a:pt x="238" y="58"/>
                  <a:pt x="235" y="59"/>
                  <a:pt x="233" y="61"/>
                </a:cubicBezTo>
                <a:cubicBezTo>
                  <a:pt x="230" y="64"/>
                  <a:pt x="231" y="63"/>
                  <a:pt x="233" y="65"/>
                </a:cubicBezTo>
                <a:cubicBezTo>
                  <a:pt x="234" y="66"/>
                  <a:pt x="237" y="69"/>
                  <a:pt x="237" y="71"/>
                </a:cubicBezTo>
                <a:cubicBezTo>
                  <a:pt x="237" y="71"/>
                  <a:pt x="236" y="73"/>
                  <a:pt x="235" y="73"/>
                </a:cubicBezTo>
                <a:cubicBezTo>
                  <a:pt x="234" y="75"/>
                  <a:pt x="233" y="77"/>
                  <a:pt x="233" y="79"/>
                </a:cubicBezTo>
                <a:cubicBezTo>
                  <a:pt x="233" y="79"/>
                  <a:pt x="234" y="84"/>
                  <a:pt x="235" y="84"/>
                </a:cubicBezTo>
                <a:cubicBezTo>
                  <a:pt x="237" y="84"/>
                  <a:pt x="239" y="84"/>
                  <a:pt x="241" y="83"/>
                </a:cubicBezTo>
                <a:cubicBezTo>
                  <a:pt x="243" y="82"/>
                  <a:pt x="246" y="83"/>
                  <a:pt x="248" y="84"/>
                </a:cubicBezTo>
                <a:cubicBezTo>
                  <a:pt x="251" y="84"/>
                  <a:pt x="253" y="86"/>
                  <a:pt x="254" y="89"/>
                </a:cubicBezTo>
                <a:cubicBezTo>
                  <a:pt x="255" y="91"/>
                  <a:pt x="251" y="94"/>
                  <a:pt x="253" y="95"/>
                </a:cubicBezTo>
                <a:cubicBezTo>
                  <a:pt x="253" y="95"/>
                  <a:pt x="259" y="97"/>
                  <a:pt x="259" y="97"/>
                </a:cubicBezTo>
                <a:cubicBezTo>
                  <a:pt x="259" y="98"/>
                  <a:pt x="252" y="96"/>
                  <a:pt x="251" y="96"/>
                </a:cubicBezTo>
                <a:cubicBezTo>
                  <a:pt x="251" y="96"/>
                  <a:pt x="250" y="93"/>
                  <a:pt x="250" y="93"/>
                </a:cubicBezTo>
                <a:cubicBezTo>
                  <a:pt x="251" y="91"/>
                  <a:pt x="252" y="90"/>
                  <a:pt x="250" y="89"/>
                </a:cubicBezTo>
                <a:cubicBezTo>
                  <a:pt x="248" y="88"/>
                  <a:pt x="249" y="86"/>
                  <a:pt x="247" y="85"/>
                </a:cubicBezTo>
                <a:cubicBezTo>
                  <a:pt x="245" y="85"/>
                  <a:pt x="243" y="86"/>
                  <a:pt x="241" y="86"/>
                </a:cubicBezTo>
                <a:cubicBezTo>
                  <a:pt x="241" y="86"/>
                  <a:pt x="237" y="87"/>
                  <a:pt x="237" y="88"/>
                </a:cubicBezTo>
                <a:cubicBezTo>
                  <a:pt x="238" y="88"/>
                  <a:pt x="239" y="88"/>
                  <a:pt x="238" y="88"/>
                </a:cubicBezTo>
                <a:cubicBezTo>
                  <a:pt x="238" y="89"/>
                  <a:pt x="236" y="90"/>
                  <a:pt x="237" y="91"/>
                </a:cubicBezTo>
                <a:cubicBezTo>
                  <a:pt x="241" y="93"/>
                  <a:pt x="238" y="96"/>
                  <a:pt x="236" y="98"/>
                </a:cubicBezTo>
                <a:cubicBezTo>
                  <a:pt x="235" y="99"/>
                  <a:pt x="234" y="101"/>
                  <a:pt x="234" y="102"/>
                </a:cubicBezTo>
                <a:cubicBezTo>
                  <a:pt x="233" y="103"/>
                  <a:pt x="231" y="104"/>
                  <a:pt x="229" y="104"/>
                </a:cubicBezTo>
                <a:cubicBezTo>
                  <a:pt x="228" y="105"/>
                  <a:pt x="227" y="105"/>
                  <a:pt x="227" y="107"/>
                </a:cubicBezTo>
                <a:cubicBezTo>
                  <a:pt x="226" y="109"/>
                  <a:pt x="224" y="108"/>
                  <a:pt x="223" y="108"/>
                </a:cubicBezTo>
                <a:cubicBezTo>
                  <a:pt x="220" y="107"/>
                  <a:pt x="218" y="108"/>
                  <a:pt x="216" y="107"/>
                </a:cubicBezTo>
                <a:cubicBezTo>
                  <a:pt x="215" y="107"/>
                  <a:pt x="214" y="106"/>
                  <a:pt x="213" y="106"/>
                </a:cubicBezTo>
                <a:cubicBezTo>
                  <a:pt x="211" y="106"/>
                  <a:pt x="211" y="105"/>
                  <a:pt x="210" y="104"/>
                </a:cubicBezTo>
                <a:cubicBezTo>
                  <a:pt x="210" y="104"/>
                  <a:pt x="212" y="103"/>
                  <a:pt x="212" y="104"/>
                </a:cubicBezTo>
                <a:cubicBezTo>
                  <a:pt x="213" y="106"/>
                  <a:pt x="215" y="106"/>
                  <a:pt x="215" y="105"/>
                </a:cubicBezTo>
                <a:cubicBezTo>
                  <a:pt x="216" y="104"/>
                  <a:pt x="221" y="107"/>
                  <a:pt x="223" y="105"/>
                </a:cubicBezTo>
                <a:cubicBezTo>
                  <a:pt x="223" y="104"/>
                  <a:pt x="221" y="103"/>
                  <a:pt x="223" y="103"/>
                </a:cubicBezTo>
                <a:cubicBezTo>
                  <a:pt x="224" y="102"/>
                  <a:pt x="226" y="101"/>
                  <a:pt x="227" y="100"/>
                </a:cubicBezTo>
                <a:cubicBezTo>
                  <a:pt x="228" y="98"/>
                  <a:pt x="227" y="98"/>
                  <a:pt x="230" y="97"/>
                </a:cubicBezTo>
                <a:cubicBezTo>
                  <a:pt x="233" y="95"/>
                  <a:pt x="229" y="93"/>
                  <a:pt x="231" y="91"/>
                </a:cubicBezTo>
                <a:cubicBezTo>
                  <a:pt x="233" y="90"/>
                  <a:pt x="233" y="89"/>
                  <a:pt x="231" y="88"/>
                </a:cubicBezTo>
                <a:cubicBezTo>
                  <a:pt x="230" y="88"/>
                  <a:pt x="229" y="87"/>
                  <a:pt x="228" y="86"/>
                </a:cubicBezTo>
                <a:cubicBezTo>
                  <a:pt x="227" y="84"/>
                  <a:pt x="228" y="81"/>
                  <a:pt x="228" y="79"/>
                </a:cubicBezTo>
                <a:cubicBezTo>
                  <a:pt x="228" y="77"/>
                  <a:pt x="227" y="75"/>
                  <a:pt x="228" y="73"/>
                </a:cubicBezTo>
                <a:cubicBezTo>
                  <a:pt x="228" y="71"/>
                  <a:pt x="230" y="71"/>
                  <a:pt x="230" y="69"/>
                </a:cubicBezTo>
                <a:cubicBezTo>
                  <a:pt x="229" y="67"/>
                  <a:pt x="227" y="66"/>
                  <a:pt x="226" y="65"/>
                </a:cubicBezTo>
                <a:cubicBezTo>
                  <a:pt x="225" y="64"/>
                  <a:pt x="224" y="63"/>
                  <a:pt x="225" y="62"/>
                </a:cubicBezTo>
                <a:cubicBezTo>
                  <a:pt x="227" y="61"/>
                  <a:pt x="227" y="59"/>
                  <a:pt x="228" y="57"/>
                </a:cubicBezTo>
                <a:cubicBezTo>
                  <a:pt x="229" y="56"/>
                  <a:pt x="230" y="53"/>
                  <a:pt x="229" y="52"/>
                </a:cubicBezTo>
                <a:cubicBezTo>
                  <a:pt x="229" y="51"/>
                  <a:pt x="225" y="50"/>
                  <a:pt x="223" y="49"/>
                </a:cubicBezTo>
                <a:cubicBezTo>
                  <a:pt x="221" y="49"/>
                  <a:pt x="219" y="49"/>
                  <a:pt x="217" y="49"/>
                </a:cubicBezTo>
                <a:cubicBezTo>
                  <a:pt x="216" y="49"/>
                  <a:pt x="213" y="48"/>
                  <a:pt x="212" y="49"/>
                </a:cubicBezTo>
                <a:cubicBezTo>
                  <a:pt x="209" y="51"/>
                  <a:pt x="209" y="58"/>
                  <a:pt x="206" y="60"/>
                </a:cubicBezTo>
                <a:cubicBezTo>
                  <a:pt x="204" y="63"/>
                  <a:pt x="198" y="64"/>
                  <a:pt x="198" y="68"/>
                </a:cubicBezTo>
                <a:cubicBezTo>
                  <a:pt x="198" y="69"/>
                  <a:pt x="201" y="68"/>
                  <a:pt x="201" y="68"/>
                </a:cubicBezTo>
                <a:cubicBezTo>
                  <a:pt x="202" y="69"/>
                  <a:pt x="201" y="73"/>
                  <a:pt x="201" y="73"/>
                </a:cubicBezTo>
                <a:cubicBezTo>
                  <a:pt x="200" y="75"/>
                  <a:pt x="202" y="76"/>
                  <a:pt x="199" y="76"/>
                </a:cubicBezTo>
                <a:cubicBezTo>
                  <a:pt x="199" y="77"/>
                  <a:pt x="198" y="77"/>
                  <a:pt x="198" y="78"/>
                </a:cubicBezTo>
                <a:cubicBezTo>
                  <a:pt x="199" y="79"/>
                  <a:pt x="200" y="79"/>
                  <a:pt x="201" y="79"/>
                </a:cubicBezTo>
                <a:cubicBezTo>
                  <a:pt x="202" y="79"/>
                  <a:pt x="206" y="79"/>
                  <a:pt x="206" y="80"/>
                </a:cubicBezTo>
                <a:cubicBezTo>
                  <a:pt x="206" y="82"/>
                  <a:pt x="206" y="84"/>
                  <a:pt x="208" y="85"/>
                </a:cubicBezTo>
                <a:cubicBezTo>
                  <a:pt x="210" y="86"/>
                  <a:pt x="212" y="85"/>
                  <a:pt x="210" y="87"/>
                </a:cubicBezTo>
                <a:cubicBezTo>
                  <a:pt x="209" y="88"/>
                  <a:pt x="209" y="90"/>
                  <a:pt x="208" y="91"/>
                </a:cubicBezTo>
                <a:cubicBezTo>
                  <a:pt x="207" y="93"/>
                  <a:pt x="202" y="88"/>
                  <a:pt x="201" y="87"/>
                </a:cubicBezTo>
                <a:cubicBezTo>
                  <a:pt x="198" y="85"/>
                  <a:pt x="194" y="84"/>
                  <a:pt x="191" y="83"/>
                </a:cubicBezTo>
                <a:cubicBezTo>
                  <a:pt x="189" y="82"/>
                  <a:pt x="188" y="81"/>
                  <a:pt x="186" y="80"/>
                </a:cubicBezTo>
                <a:cubicBezTo>
                  <a:pt x="185" y="80"/>
                  <a:pt x="183" y="79"/>
                  <a:pt x="182" y="79"/>
                </a:cubicBezTo>
                <a:cubicBezTo>
                  <a:pt x="179" y="79"/>
                  <a:pt x="176" y="78"/>
                  <a:pt x="173" y="78"/>
                </a:cubicBezTo>
                <a:cubicBezTo>
                  <a:pt x="169" y="78"/>
                  <a:pt x="165" y="78"/>
                  <a:pt x="168" y="83"/>
                </a:cubicBezTo>
                <a:cubicBezTo>
                  <a:pt x="170" y="84"/>
                  <a:pt x="169" y="86"/>
                  <a:pt x="167" y="87"/>
                </a:cubicBezTo>
                <a:cubicBezTo>
                  <a:pt x="166" y="88"/>
                  <a:pt x="163" y="86"/>
                  <a:pt x="164" y="89"/>
                </a:cubicBezTo>
                <a:cubicBezTo>
                  <a:pt x="165" y="90"/>
                  <a:pt x="157" y="90"/>
                  <a:pt x="161" y="87"/>
                </a:cubicBezTo>
                <a:cubicBezTo>
                  <a:pt x="162" y="86"/>
                  <a:pt x="159" y="84"/>
                  <a:pt x="158" y="85"/>
                </a:cubicBezTo>
                <a:cubicBezTo>
                  <a:pt x="156" y="85"/>
                  <a:pt x="154" y="86"/>
                  <a:pt x="153" y="87"/>
                </a:cubicBezTo>
                <a:cubicBezTo>
                  <a:pt x="150" y="89"/>
                  <a:pt x="147" y="87"/>
                  <a:pt x="144" y="88"/>
                </a:cubicBezTo>
                <a:cubicBezTo>
                  <a:pt x="141" y="89"/>
                  <a:pt x="139" y="91"/>
                  <a:pt x="137" y="91"/>
                </a:cubicBezTo>
                <a:cubicBezTo>
                  <a:pt x="136" y="91"/>
                  <a:pt x="130" y="91"/>
                  <a:pt x="131" y="90"/>
                </a:cubicBezTo>
                <a:cubicBezTo>
                  <a:pt x="133" y="90"/>
                  <a:pt x="133" y="90"/>
                  <a:pt x="133" y="89"/>
                </a:cubicBezTo>
                <a:cubicBezTo>
                  <a:pt x="133" y="86"/>
                  <a:pt x="135" y="87"/>
                  <a:pt x="135" y="85"/>
                </a:cubicBezTo>
                <a:cubicBezTo>
                  <a:pt x="136" y="84"/>
                  <a:pt x="129" y="86"/>
                  <a:pt x="129" y="86"/>
                </a:cubicBezTo>
                <a:cubicBezTo>
                  <a:pt x="128" y="86"/>
                  <a:pt x="127" y="86"/>
                  <a:pt x="127" y="87"/>
                </a:cubicBezTo>
                <a:cubicBezTo>
                  <a:pt x="127" y="88"/>
                  <a:pt x="127" y="89"/>
                  <a:pt x="127" y="90"/>
                </a:cubicBezTo>
                <a:cubicBezTo>
                  <a:pt x="126" y="90"/>
                  <a:pt x="124" y="89"/>
                  <a:pt x="123" y="89"/>
                </a:cubicBezTo>
                <a:cubicBezTo>
                  <a:pt x="121" y="89"/>
                  <a:pt x="118" y="90"/>
                  <a:pt x="116" y="91"/>
                </a:cubicBezTo>
                <a:cubicBezTo>
                  <a:pt x="113" y="92"/>
                  <a:pt x="110" y="94"/>
                  <a:pt x="107" y="95"/>
                </a:cubicBezTo>
                <a:cubicBezTo>
                  <a:pt x="105" y="95"/>
                  <a:pt x="104" y="96"/>
                  <a:pt x="103" y="98"/>
                </a:cubicBezTo>
                <a:cubicBezTo>
                  <a:pt x="103" y="99"/>
                  <a:pt x="103" y="102"/>
                  <a:pt x="101" y="102"/>
                </a:cubicBezTo>
                <a:cubicBezTo>
                  <a:pt x="99" y="102"/>
                  <a:pt x="97" y="103"/>
                  <a:pt x="95" y="103"/>
                </a:cubicBezTo>
                <a:cubicBezTo>
                  <a:pt x="94" y="103"/>
                  <a:pt x="93" y="101"/>
                  <a:pt x="92" y="100"/>
                </a:cubicBezTo>
                <a:cubicBezTo>
                  <a:pt x="90" y="98"/>
                  <a:pt x="87" y="99"/>
                  <a:pt x="89" y="96"/>
                </a:cubicBezTo>
                <a:cubicBezTo>
                  <a:pt x="90" y="94"/>
                  <a:pt x="93" y="95"/>
                  <a:pt x="94" y="94"/>
                </a:cubicBezTo>
                <a:cubicBezTo>
                  <a:pt x="96" y="94"/>
                  <a:pt x="98" y="95"/>
                  <a:pt x="97" y="93"/>
                </a:cubicBezTo>
                <a:cubicBezTo>
                  <a:pt x="96" y="92"/>
                  <a:pt x="95" y="90"/>
                  <a:pt x="94" y="89"/>
                </a:cubicBezTo>
                <a:cubicBezTo>
                  <a:pt x="92" y="87"/>
                  <a:pt x="89" y="88"/>
                  <a:pt x="87" y="88"/>
                </a:cubicBezTo>
                <a:cubicBezTo>
                  <a:pt x="86" y="88"/>
                  <a:pt x="80" y="87"/>
                  <a:pt x="80" y="87"/>
                </a:cubicBezTo>
                <a:cubicBezTo>
                  <a:pt x="80" y="87"/>
                  <a:pt x="83" y="88"/>
                  <a:pt x="83" y="88"/>
                </a:cubicBezTo>
                <a:cubicBezTo>
                  <a:pt x="84" y="89"/>
                  <a:pt x="84" y="90"/>
                  <a:pt x="84" y="91"/>
                </a:cubicBezTo>
                <a:cubicBezTo>
                  <a:pt x="84" y="92"/>
                  <a:pt x="84" y="94"/>
                  <a:pt x="84" y="95"/>
                </a:cubicBezTo>
                <a:cubicBezTo>
                  <a:pt x="83" y="96"/>
                  <a:pt x="82" y="97"/>
                  <a:pt x="82" y="98"/>
                </a:cubicBezTo>
                <a:cubicBezTo>
                  <a:pt x="83" y="100"/>
                  <a:pt x="87" y="100"/>
                  <a:pt x="86" y="103"/>
                </a:cubicBezTo>
                <a:cubicBezTo>
                  <a:pt x="85" y="104"/>
                  <a:pt x="84" y="106"/>
                  <a:pt x="84" y="107"/>
                </a:cubicBezTo>
                <a:cubicBezTo>
                  <a:pt x="84" y="107"/>
                  <a:pt x="84" y="111"/>
                  <a:pt x="84" y="111"/>
                </a:cubicBezTo>
                <a:cubicBezTo>
                  <a:pt x="84" y="111"/>
                  <a:pt x="83" y="108"/>
                  <a:pt x="83" y="108"/>
                </a:cubicBezTo>
                <a:cubicBezTo>
                  <a:pt x="82" y="108"/>
                  <a:pt x="81" y="110"/>
                  <a:pt x="80" y="109"/>
                </a:cubicBezTo>
                <a:cubicBezTo>
                  <a:pt x="80" y="109"/>
                  <a:pt x="82" y="108"/>
                  <a:pt x="82" y="107"/>
                </a:cubicBezTo>
                <a:cubicBezTo>
                  <a:pt x="81" y="106"/>
                  <a:pt x="79" y="106"/>
                  <a:pt x="78" y="106"/>
                </a:cubicBezTo>
                <a:cubicBezTo>
                  <a:pt x="77" y="106"/>
                  <a:pt x="76" y="105"/>
                  <a:pt x="75" y="106"/>
                </a:cubicBezTo>
                <a:cubicBezTo>
                  <a:pt x="73" y="106"/>
                  <a:pt x="72" y="108"/>
                  <a:pt x="70" y="108"/>
                </a:cubicBezTo>
                <a:cubicBezTo>
                  <a:pt x="68" y="110"/>
                  <a:pt x="67" y="110"/>
                  <a:pt x="65" y="112"/>
                </a:cubicBezTo>
                <a:cubicBezTo>
                  <a:pt x="63" y="114"/>
                  <a:pt x="61" y="114"/>
                  <a:pt x="64" y="116"/>
                </a:cubicBezTo>
                <a:cubicBezTo>
                  <a:pt x="65" y="117"/>
                  <a:pt x="67" y="120"/>
                  <a:pt x="66" y="121"/>
                </a:cubicBezTo>
                <a:cubicBezTo>
                  <a:pt x="65" y="122"/>
                  <a:pt x="59" y="120"/>
                  <a:pt x="58" y="120"/>
                </a:cubicBezTo>
                <a:cubicBezTo>
                  <a:pt x="57" y="119"/>
                  <a:pt x="54" y="120"/>
                  <a:pt x="53" y="120"/>
                </a:cubicBezTo>
                <a:cubicBezTo>
                  <a:pt x="54" y="119"/>
                  <a:pt x="49" y="115"/>
                  <a:pt x="48" y="117"/>
                </a:cubicBezTo>
                <a:cubicBezTo>
                  <a:pt x="43" y="121"/>
                  <a:pt x="54" y="122"/>
                  <a:pt x="54" y="124"/>
                </a:cubicBezTo>
                <a:cubicBezTo>
                  <a:pt x="53" y="128"/>
                  <a:pt x="50" y="126"/>
                  <a:pt x="47" y="126"/>
                </a:cubicBezTo>
                <a:cubicBezTo>
                  <a:pt x="44" y="125"/>
                  <a:pt x="43" y="123"/>
                  <a:pt x="40" y="122"/>
                </a:cubicBezTo>
                <a:cubicBezTo>
                  <a:pt x="38" y="121"/>
                  <a:pt x="38" y="120"/>
                  <a:pt x="37" y="118"/>
                </a:cubicBezTo>
                <a:cubicBezTo>
                  <a:pt x="37" y="116"/>
                  <a:pt x="36" y="116"/>
                  <a:pt x="35" y="115"/>
                </a:cubicBezTo>
                <a:cubicBezTo>
                  <a:pt x="35" y="114"/>
                  <a:pt x="38" y="112"/>
                  <a:pt x="38" y="112"/>
                </a:cubicBezTo>
                <a:cubicBezTo>
                  <a:pt x="39" y="109"/>
                  <a:pt x="34" y="107"/>
                  <a:pt x="32" y="107"/>
                </a:cubicBezTo>
                <a:cubicBezTo>
                  <a:pt x="30" y="106"/>
                  <a:pt x="30" y="104"/>
                  <a:pt x="28" y="104"/>
                </a:cubicBezTo>
                <a:cubicBezTo>
                  <a:pt x="29" y="103"/>
                  <a:pt x="24" y="99"/>
                  <a:pt x="24" y="99"/>
                </a:cubicBezTo>
                <a:cubicBezTo>
                  <a:pt x="26" y="98"/>
                  <a:pt x="28" y="101"/>
                  <a:pt x="29" y="102"/>
                </a:cubicBezTo>
                <a:cubicBezTo>
                  <a:pt x="30" y="103"/>
                  <a:pt x="31" y="103"/>
                  <a:pt x="31" y="102"/>
                </a:cubicBezTo>
                <a:cubicBezTo>
                  <a:pt x="32" y="102"/>
                  <a:pt x="33" y="103"/>
                  <a:pt x="33" y="103"/>
                </a:cubicBezTo>
                <a:cubicBezTo>
                  <a:pt x="36" y="104"/>
                  <a:pt x="38" y="105"/>
                  <a:pt x="41" y="105"/>
                </a:cubicBezTo>
                <a:cubicBezTo>
                  <a:pt x="43" y="106"/>
                  <a:pt x="46" y="106"/>
                  <a:pt x="49" y="107"/>
                </a:cubicBezTo>
                <a:cubicBezTo>
                  <a:pt x="54" y="109"/>
                  <a:pt x="58" y="109"/>
                  <a:pt x="63" y="106"/>
                </a:cubicBezTo>
                <a:cubicBezTo>
                  <a:pt x="65" y="105"/>
                  <a:pt x="66" y="104"/>
                  <a:pt x="68" y="103"/>
                </a:cubicBezTo>
                <a:cubicBezTo>
                  <a:pt x="71" y="101"/>
                  <a:pt x="69" y="100"/>
                  <a:pt x="69" y="97"/>
                </a:cubicBezTo>
                <a:cubicBezTo>
                  <a:pt x="69" y="94"/>
                  <a:pt x="62" y="93"/>
                  <a:pt x="60" y="91"/>
                </a:cubicBezTo>
                <a:cubicBezTo>
                  <a:pt x="57" y="89"/>
                  <a:pt x="53" y="87"/>
                  <a:pt x="50" y="86"/>
                </a:cubicBezTo>
                <a:cubicBezTo>
                  <a:pt x="47" y="84"/>
                  <a:pt x="43" y="82"/>
                  <a:pt x="40" y="82"/>
                </a:cubicBezTo>
                <a:cubicBezTo>
                  <a:pt x="39" y="81"/>
                  <a:pt x="39" y="82"/>
                  <a:pt x="38" y="82"/>
                </a:cubicBezTo>
                <a:cubicBezTo>
                  <a:pt x="37" y="82"/>
                  <a:pt x="36" y="81"/>
                  <a:pt x="35" y="81"/>
                </a:cubicBezTo>
                <a:cubicBezTo>
                  <a:pt x="33" y="80"/>
                  <a:pt x="31" y="84"/>
                  <a:pt x="29" y="84"/>
                </a:cubicBezTo>
                <a:cubicBezTo>
                  <a:pt x="29" y="83"/>
                  <a:pt x="33" y="80"/>
                  <a:pt x="29" y="80"/>
                </a:cubicBezTo>
                <a:cubicBezTo>
                  <a:pt x="28" y="80"/>
                  <a:pt x="24" y="78"/>
                  <a:pt x="24" y="78"/>
                </a:cubicBezTo>
                <a:cubicBezTo>
                  <a:pt x="25" y="77"/>
                  <a:pt x="29" y="80"/>
                  <a:pt x="29" y="78"/>
                </a:cubicBezTo>
                <a:cubicBezTo>
                  <a:pt x="29" y="77"/>
                  <a:pt x="25" y="75"/>
                  <a:pt x="24" y="75"/>
                </a:cubicBezTo>
                <a:cubicBezTo>
                  <a:pt x="23" y="76"/>
                  <a:pt x="20" y="78"/>
                  <a:pt x="20" y="78"/>
                </a:cubicBezTo>
                <a:cubicBezTo>
                  <a:pt x="20" y="77"/>
                  <a:pt x="20" y="77"/>
                  <a:pt x="19" y="76"/>
                </a:cubicBezTo>
                <a:cubicBezTo>
                  <a:pt x="17" y="76"/>
                  <a:pt x="17" y="77"/>
                  <a:pt x="16" y="78"/>
                </a:cubicBezTo>
                <a:cubicBezTo>
                  <a:pt x="16" y="78"/>
                  <a:pt x="16" y="78"/>
                  <a:pt x="16" y="77"/>
                </a:cubicBezTo>
                <a:cubicBezTo>
                  <a:pt x="15" y="78"/>
                  <a:pt x="14" y="80"/>
                  <a:pt x="13" y="80"/>
                </a:cubicBezTo>
                <a:cubicBezTo>
                  <a:pt x="12" y="81"/>
                  <a:pt x="10" y="81"/>
                  <a:pt x="10" y="81"/>
                </a:cubicBezTo>
                <a:cubicBezTo>
                  <a:pt x="9" y="83"/>
                  <a:pt x="5" y="83"/>
                  <a:pt x="6" y="85"/>
                </a:cubicBezTo>
                <a:cubicBezTo>
                  <a:pt x="9" y="87"/>
                  <a:pt x="5" y="85"/>
                  <a:pt x="5" y="88"/>
                </a:cubicBezTo>
                <a:cubicBezTo>
                  <a:pt x="5" y="90"/>
                  <a:pt x="9" y="91"/>
                  <a:pt x="10" y="92"/>
                </a:cubicBezTo>
                <a:cubicBezTo>
                  <a:pt x="12" y="93"/>
                  <a:pt x="14" y="95"/>
                  <a:pt x="13" y="97"/>
                </a:cubicBezTo>
                <a:cubicBezTo>
                  <a:pt x="12" y="99"/>
                  <a:pt x="9" y="100"/>
                  <a:pt x="9" y="102"/>
                </a:cubicBezTo>
                <a:cubicBezTo>
                  <a:pt x="10" y="104"/>
                  <a:pt x="12" y="106"/>
                  <a:pt x="13" y="108"/>
                </a:cubicBezTo>
                <a:cubicBezTo>
                  <a:pt x="14" y="110"/>
                  <a:pt x="12" y="110"/>
                  <a:pt x="12" y="112"/>
                </a:cubicBezTo>
                <a:cubicBezTo>
                  <a:pt x="12" y="114"/>
                  <a:pt x="15" y="116"/>
                  <a:pt x="13" y="117"/>
                </a:cubicBezTo>
                <a:cubicBezTo>
                  <a:pt x="11" y="118"/>
                  <a:pt x="14" y="121"/>
                  <a:pt x="14" y="122"/>
                </a:cubicBezTo>
                <a:cubicBezTo>
                  <a:pt x="16" y="124"/>
                  <a:pt x="18" y="124"/>
                  <a:pt x="15" y="126"/>
                </a:cubicBezTo>
                <a:cubicBezTo>
                  <a:pt x="13" y="128"/>
                  <a:pt x="14" y="128"/>
                  <a:pt x="15" y="129"/>
                </a:cubicBezTo>
                <a:cubicBezTo>
                  <a:pt x="20" y="132"/>
                  <a:pt x="23" y="134"/>
                  <a:pt x="18" y="138"/>
                </a:cubicBezTo>
                <a:cubicBezTo>
                  <a:pt x="13" y="143"/>
                  <a:pt x="8" y="147"/>
                  <a:pt x="4" y="152"/>
                </a:cubicBezTo>
                <a:cubicBezTo>
                  <a:pt x="6" y="152"/>
                  <a:pt x="6" y="151"/>
                  <a:pt x="7" y="152"/>
                </a:cubicBezTo>
                <a:cubicBezTo>
                  <a:pt x="8" y="154"/>
                  <a:pt x="10" y="154"/>
                  <a:pt x="11" y="155"/>
                </a:cubicBezTo>
                <a:cubicBezTo>
                  <a:pt x="17" y="157"/>
                  <a:pt x="9" y="157"/>
                  <a:pt x="7" y="157"/>
                </a:cubicBezTo>
                <a:cubicBezTo>
                  <a:pt x="5" y="157"/>
                  <a:pt x="4" y="158"/>
                  <a:pt x="4" y="160"/>
                </a:cubicBezTo>
                <a:cubicBezTo>
                  <a:pt x="4" y="162"/>
                  <a:pt x="2" y="163"/>
                  <a:pt x="1" y="165"/>
                </a:cubicBezTo>
                <a:cubicBezTo>
                  <a:pt x="0" y="166"/>
                  <a:pt x="1" y="168"/>
                  <a:pt x="2" y="170"/>
                </a:cubicBezTo>
                <a:cubicBezTo>
                  <a:pt x="2" y="172"/>
                  <a:pt x="0" y="174"/>
                  <a:pt x="1" y="175"/>
                </a:cubicBezTo>
                <a:cubicBezTo>
                  <a:pt x="3" y="176"/>
                  <a:pt x="3" y="176"/>
                  <a:pt x="3" y="178"/>
                </a:cubicBezTo>
                <a:cubicBezTo>
                  <a:pt x="2" y="180"/>
                  <a:pt x="4" y="181"/>
                  <a:pt x="4" y="183"/>
                </a:cubicBezTo>
                <a:cubicBezTo>
                  <a:pt x="4" y="184"/>
                  <a:pt x="7" y="186"/>
                  <a:pt x="8" y="186"/>
                </a:cubicBezTo>
                <a:cubicBezTo>
                  <a:pt x="8" y="186"/>
                  <a:pt x="9" y="185"/>
                  <a:pt x="10" y="185"/>
                </a:cubicBezTo>
                <a:cubicBezTo>
                  <a:pt x="11" y="185"/>
                  <a:pt x="11" y="187"/>
                  <a:pt x="12" y="187"/>
                </a:cubicBezTo>
                <a:cubicBezTo>
                  <a:pt x="14" y="186"/>
                  <a:pt x="14" y="185"/>
                  <a:pt x="16" y="187"/>
                </a:cubicBezTo>
                <a:cubicBezTo>
                  <a:pt x="18" y="188"/>
                  <a:pt x="18" y="188"/>
                  <a:pt x="18" y="190"/>
                </a:cubicBezTo>
                <a:cubicBezTo>
                  <a:pt x="17" y="195"/>
                  <a:pt x="21" y="199"/>
                  <a:pt x="24" y="201"/>
                </a:cubicBezTo>
                <a:cubicBezTo>
                  <a:pt x="26" y="202"/>
                  <a:pt x="27" y="203"/>
                  <a:pt x="25" y="204"/>
                </a:cubicBezTo>
                <a:cubicBezTo>
                  <a:pt x="24" y="206"/>
                  <a:pt x="23" y="205"/>
                  <a:pt x="21" y="205"/>
                </a:cubicBezTo>
                <a:cubicBezTo>
                  <a:pt x="19" y="205"/>
                  <a:pt x="22" y="214"/>
                  <a:pt x="24" y="213"/>
                </a:cubicBezTo>
                <a:cubicBezTo>
                  <a:pt x="25" y="212"/>
                  <a:pt x="26" y="209"/>
                  <a:pt x="27" y="210"/>
                </a:cubicBezTo>
                <a:cubicBezTo>
                  <a:pt x="28" y="210"/>
                  <a:pt x="29" y="211"/>
                  <a:pt x="31" y="211"/>
                </a:cubicBezTo>
                <a:cubicBezTo>
                  <a:pt x="33" y="211"/>
                  <a:pt x="35" y="212"/>
                  <a:pt x="35" y="214"/>
                </a:cubicBezTo>
                <a:cubicBezTo>
                  <a:pt x="35" y="215"/>
                  <a:pt x="34" y="215"/>
                  <a:pt x="34" y="215"/>
                </a:cubicBezTo>
                <a:cubicBezTo>
                  <a:pt x="33" y="216"/>
                  <a:pt x="34" y="218"/>
                  <a:pt x="35" y="218"/>
                </a:cubicBezTo>
                <a:cubicBezTo>
                  <a:pt x="36" y="219"/>
                  <a:pt x="38" y="218"/>
                  <a:pt x="39" y="219"/>
                </a:cubicBezTo>
                <a:cubicBezTo>
                  <a:pt x="40" y="220"/>
                  <a:pt x="40" y="222"/>
                  <a:pt x="40" y="223"/>
                </a:cubicBezTo>
                <a:cubicBezTo>
                  <a:pt x="40" y="224"/>
                  <a:pt x="43" y="223"/>
                  <a:pt x="44" y="223"/>
                </a:cubicBezTo>
                <a:cubicBezTo>
                  <a:pt x="45" y="224"/>
                  <a:pt x="47" y="227"/>
                  <a:pt x="48" y="225"/>
                </a:cubicBezTo>
                <a:cubicBezTo>
                  <a:pt x="49" y="223"/>
                  <a:pt x="50" y="224"/>
                  <a:pt x="51" y="225"/>
                </a:cubicBezTo>
                <a:cubicBezTo>
                  <a:pt x="53" y="227"/>
                  <a:pt x="53" y="226"/>
                  <a:pt x="55" y="226"/>
                </a:cubicBezTo>
                <a:cubicBezTo>
                  <a:pt x="56" y="226"/>
                  <a:pt x="57" y="229"/>
                  <a:pt x="58" y="228"/>
                </a:cubicBezTo>
                <a:cubicBezTo>
                  <a:pt x="60" y="227"/>
                  <a:pt x="62" y="229"/>
                  <a:pt x="63" y="230"/>
                </a:cubicBezTo>
                <a:cubicBezTo>
                  <a:pt x="65" y="231"/>
                  <a:pt x="62" y="232"/>
                  <a:pt x="62" y="232"/>
                </a:cubicBezTo>
                <a:cubicBezTo>
                  <a:pt x="60" y="233"/>
                  <a:pt x="63" y="234"/>
                  <a:pt x="63" y="234"/>
                </a:cubicBezTo>
                <a:cubicBezTo>
                  <a:pt x="63" y="234"/>
                  <a:pt x="60" y="234"/>
                  <a:pt x="61" y="236"/>
                </a:cubicBezTo>
                <a:cubicBezTo>
                  <a:pt x="63" y="237"/>
                  <a:pt x="62" y="238"/>
                  <a:pt x="61" y="239"/>
                </a:cubicBezTo>
                <a:cubicBezTo>
                  <a:pt x="61" y="240"/>
                  <a:pt x="58" y="240"/>
                  <a:pt x="57" y="240"/>
                </a:cubicBezTo>
                <a:cubicBezTo>
                  <a:pt x="55" y="240"/>
                  <a:pt x="54" y="242"/>
                  <a:pt x="53" y="244"/>
                </a:cubicBezTo>
                <a:cubicBezTo>
                  <a:pt x="54" y="244"/>
                  <a:pt x="58" y="244"/>
                  <a:pt x="58" y="245"/>
                </a:cubicBezTo>
                <a:cubicBezTo>
                  <a:pt x="58" y="246"/>
                  <a:pt x="53" y="247"/>
                  <a:pt x="53" y="248"/>
                </a:cubicBezTo>
                <a:cubicBezTo>
                  <a:pt x="53" y="249"/>
                  <a:pt x="55" y="249"/>
                  <a:pt x="55" y="251"/>
                </a:cubicBezTo>
                <a:cubicBezTo>
                  <a:pt x="55" y="251"/>
                  <a:pt x="52" y="252"/>
                  <a:pt x="52" y="252"/>
                </a:cubicBezTo>
                <a:cubicBezTo>
                  <a:pt x="51" y="253"/>
                  <a:pt x="51" y="254"/>
                  <a:pt x="50" y="255"/>
                </a:cubicBezTo>
                <a:cubicBezTo>
                  <a:pt x="50" y="256"/>
                  <a:pt x="48" y="255"/>
                  <a:pt x="48" y="257"/>
                </a:cubicBezTo>
                <a:cubicBezTo>
                  <a:pt x="47" y="258"/>
                  <a:pt x="49" y="260"/>
                  <a:pt x="51" y="260"/>
                </a:cubicBezTo>
                <a:cubicBezTo>
                  <a:pt x="53" y="261"/>
                  <a:pt x="55" y="262"/>
                  <a:pt x="58" y="264"/>
                </a:cubicBezTo>
                <a:cubicBezTo>
                  <a:pt x="59" y="265"/>
                  <a:pt x="60" y="266"/>
                  <a:pt x="61" y="266"/>
                </a:cubicBezTo>
                <a:cubicBezTo>
                  <a:pt x="62" y="268"/>
                  <a:pt x="62" y="267"/>
                  <a:pt x="64" y="266"/>
                </a:cubicBezTo>
                <a:cubicBezTo>
                  <a:pt x="67" y="266"/>
                  <a:pt x="70" y="269"/>
                  <a:pt x="73" y="269"/>
                </a:cubicBezTo>
                <a:cubicBezTo>
                  <a:pt x="76" y="269"/>
                  <a:pt x="79" y="271"/>
                  <a:pt x="82" y="272"/>
                </a:cubicBezTo>
                <a:cubicBezTo>
                  <a:pt x="85" y="273"/>
                  <a:pt x="87" y="272"/>
                  <a:pt x="90" y="272"/>
                </a:cubicBezTo>
                <a:cubicBezTo>
                  <a:pt x="91" y="273"/>
                  <a:pt x="92" y="274"/>
                  <a:pt x="92" y="275"/>
                </a:cubicBezTo>
                <a:cubicBezTo>
                  <a:pt x="92" y="276"/>
                  <a:pt x="93" y="276"/>
                  <a:pt x="94" y="276"/>
                </a:cubicBezTo>
                <a:cubicBezTo>
                  <a:pt x="97" y="277"/>
                  <a:pt x="99" y="282"/>
                  <a:pt x="103" y="280"/>
                </a:cubicBezTo>
                <a:cubicBezTo>
                  <a:pt x="104" y="279"/>
                  <a:pt x="106" y="278"/>
                  <a:pt x="105" y="277"/>
                </a:cubicBezTo>
                <a:cubicBezTo>
                  <a:pt x="104" y="276"/>
                  <a:pt x="103" y="275"/>
                  <a:pt x="102" y="274"/>
                </a:cubicBezTo>
                <a:cubicBezTo>
                  <a:pt x="100" y="272"/>
                  <a:pt x="99" y="270"/>
                  <a:pt x="100" y="267"/>
                </a:cubicBezTo>
                <a:cubicBezTo>
                  <a:pt x="100" y="265"/>
                  <a:pt x="99" y="263"/>
                  <a:pt x="97" y="262"/>
                </a:cubicBezTo>
                <a:cubicBezTo>
                  <a:pt x="95" y="261"/>
                  <a:pt x="98" y="259"/>
                  <a:pt x="99" y="258"/>
                </a:cubicBezTo>
                <a:cubicBezTo>
                  <a:pt x="100" y="256"/>
                  <a:pt x="100" y="254"/>
                  <a:pt x="103" y="254"/>
                </a:cubicBezTo>
                <a:cubicBezTo>
                  <a:pt x="104" y="254"/>
                  <a:pt x="105" y="253"/>
                  <a:pt x="106" y="252"/>
                </a:cubicBezTo>
                <a:cubicBezTo>
                  <a:pt x="107" y="251"/>
                  <a:pt x="108" y="251"/>
                  <a:pt x="109" y="250"/>
                </a:cubicBezTo>
                <a:cubicBezTo>
                  <a:pt x="108" y="250"/>
                  <a:pt x="106" y="249"/>
                  <a:pt x="106" y="248"/>
                </a:cubicBezTo>
                <a:cubicBezTo>
                  <a:pt x="106" y="247"/>
                  <a:pt x="108" y="248"/>
                  <a:pt x="108" y="248"/>
                </a:cubicBezTo>
                <a:cubicBezTo>
                  <a:pt x="108" y="247"/>
                  <a:pt x="106" y="244"/>
                  <a:pt x="105" y="243"/>
                </a:cubicBezTo>
                <a:cubicBezTo>
                  <a:pt x="104" y="241"/>
                  <a:pt x="103" y="241"/>
                  <a:pt x="101" y="241"/>
                </a:cubicBezTo>
                <a:cubicBezTo>
                  <a:pt x="98" y="241"/>
                  <a:pt x="100" y="239"/>
                  <a:pt x="98" y="238"/>
                </a:cubicBezTo>
                <a:cubicBezTo>
                  <a:pt x="97" y="237"/>
                  <a:pt x="94" y="237"/>
                  <a:pt x="96" y="235"/>
                </a:cubicBezTo>
                <a:cubicBezTo>
                  <a:pt x="97" y="233"/>
                  <a:pt x="99" y="232"/>
                  <a:pt x="97" y="231"/>
                </a:cubicBezTo>
                <a:cubicBezTo>
                  <a:pt x="96" y="229"/>
                  <a:pt x="98" y="228"/>
                  <a:pt x="99" y="227"/>
                </a:cubicBezTo>
                <a:cubicBezTo>
                  <a:pt x="99" y="226"/>
                  <a:pt x="101" y="223"/>
                  <a:pt x="101" y="224"/>
                </a:cubicBezTo>
                <a:cubicBezTo>
                  <a:pt x="102" y="225"/>
                  <a:pt x="103" y="227"/>
                  <a:pt x="104" y="228"/>
                </a:cubicBezTo>
                <a:cubicBezTo>
                  <a:pt x="106" y="228"/>
                  <a:pt x="107" y="227"/>
                  <a:pt x="107" y="226"/>
                </a:cubicBezTo>
                <a:cubicBezTo>
                  <a:pt x="106" y="224"/>
                  <a:pt x="106" y="223"/>
                  <a:pt x="108" y="222"/>
                </a:cubicBezTo>
                <a:cubicBezTo>
                  <a:pt x="110" y="221"/>
                  <a:pt x="110" y="219"/>
                  <a:pt x="112" y="219"/>
                </a:cubicBezTo>
                <a:cubicBezTo>
                  <a:pt x="114" y="218"/>
                  <a:pt x="116" y="215"/>
                  <a:pt x="118" y="216"/>
                </a:cubicBezTo>
                <a:cubicBezTo>
                  <a:pt x="120" y="216"/>
                  <a:pt x="120" y="218"/>
                  <a:pt x="122" y="216"/>
                </a:cubicBezTo>
                <a:cubicBezTo>
                  <a:pt x="124" y="215"/>
                  <a:pt x="124" y="216"/>
                  <a:pt x="126" y="217"/>
                </a:cubicBezTo>
                <a:cubicBezTo>
                  <a:pt x="128" y="217"/>
                  <a:pt x="130" y="217"/>
                  <a:pt x="132" y="218"/>
                </a:cubicBezTo>
                <a:cubicBezTo>
                  <a:pt x="134" y="219"/>
                  <a:pt x="134" y="221"/>
                  <a:pt x="136" y="223"/>
                </a:cubicBezTo>
                <a:cubicBezTo>
                  <a:pt x="136" y="223"/>
                  <a:pt x="136" y="220"/>
                  <a:pt x="138" y="221"/>
                </a:cubicBezTo>
                <a:cubicBezTo>
                  <a:pt x="139" y="221"/>
                  <a:pt x="140" y="223"/>
                  <a:pt x="142" y="223"/>
                </a:cubicBezTo>
                <a:cubicBezTo>
                  <a:pt x="143" y="224"/>
                  <a:pt x="144" y="222"/>
                  <a:pt x="145" y="221"/>
                </a:cubicBezTo>
                <a:cubicBezTo>
                  <a:pt x="147" y="219"/>
                  <a:pt x="148" y="221"/>
                  <a:pt x="150" y="221"/>
                </a:cubicBezTo>
                <a:cubicBezTo>
                  <a:pt x="152" y="221"/>
                  <a:pt x="153" y="219"/>
                  <a:pt x="155" y="220"/>
                </a:cubicBezTo>
                <a:cubicBezTo>
                  <a:pt x="157" y="221"/>
                  <a:pt x="158" y="222"/>
                  <a:pt x="160" y="223"/>
                </a:cubicBezTo>
                <a:cubicBezTo>
                  <a:pt x="162" y="224"/>
                  <a:pt x="161" y="223"/>
                  <a:pt x="163" y="222"/>
                </a:cubicBezTo>
                <a:cubicBezTo>
                  <a:pt x="164" y="221"/>
                  <a:pt x="168" y="222"/>
                  <a:pt x="169" y="222"/>
                </a:cubicBezTo>
                <a:cubicBezTo>
                  <a:pt x="170" y="222"/>
                  <a:pt x="172" y="220"/>
                  <a:pt x="172" y="219"/>
                </a:cubicBezTo>
                <a:cubicBezTo>
                  <a:pt x="172" y="217"/>
                  <a:pt x="169" y="217"/>
                  <a:pt x="168" y="216"/>
                </a:cubicBezTo>
                <a:cubicBezTo>
                  <a:pt x="161" y="213"/>
                  <a:pt x="171" y="214"/>
                  <a:pt x="169" y="210"/>
                </a:cubicBezTo>
                <a:cubicBezTo>
                  <a:pt x="168" y="209"/>
                  <a:pt x="166" y="209"/>
                  <a:pt x="169" y="208"/>
                </a:cubicBezTo>
                <a:cubicBezTo>
                  <a:pt x="170" y="207"/>
                  <a:pt x="172" y="208"/>
                  <a:pt x="173" y="207"/>
                </a:cubicBezTo>
                <a:cubicBezTo>
                  <a:pt x="177" y="207"/>
                  <a:pt x="166" y="202"/>
                  <a:pt x="171" y="200"/>
                </a:cubicBezTo>
                <a:cubicBezTo>
                  <a:pt x="172" y="200"/>
                  <a:pt x="174" y="200"/>
                  <a:pt x="175" y="200"/>
                </a:cubicBezTo>
                <a:cubicBezTo>
                  <a:pt x="178" y="200"/>
                  <a:pt x="180" y="200"/>
                  <a:pt x="183" y="199"/>
                </a:cubicBezTo>
                <a:cubicBezTo>
                  <a:pt x="185" y="198"/>
                  <a:pt x="187" y="198"/>
                  <a:pt x="189" y="198"/>
                </a:cubicBezTo>
                <a:cubicBezTo>
                  <a:pt x="191" y="197"/>
                  <a:pt x="193" y="196"/>
                  <a:pt x="196" y="196"/>
                </a:cubicBezTo>
                <a:cubicBezTo>
                  <a:pt x="200" y="195"/>
                  <a:pt x="204" y="194"/>
                  <a:pt x="208" y="192"/>
                </a:cubicBezTo>
                <a:cubicBezTo>
                  <a:pt x="211" y="190"/>
                  <a:pt x="217" y="190"/>
                  <a:pt x="219" y="194"/>
                </a:cubicBezTo>
                <a:cubicBezTo>
                  <a:pt x="220" y="196"/>
                  <a:pt x="219" y="196"/>
                  <a:pt x="220" y="198"/>
                </a:cubicBezTo>
                <a:cubicBezTo>
                  <a:pt x="220" y="201"/>
                  <a:pt x="224" y="198"/>
                  <a:pt x="226" y="199"/>
                </a:cubicBezTo>
                <a:cubicBezTo>
                  <a:pt x="227" y="199"/>
                  <a:pt x="226" y="200"/>
                  <a:pt x="227" y="200"/>
                </a:cubicBezTo>
                <a:cubicBezTo>
                  <a:pt x="228" y="201"/>
                  <a:pt x="228" y="200"/>
                  <a:pt x="228" y="200"/>
                </a:cubicBezTo>
                <a:cubicBezTo>
                  <a:pt x="229" y="199"/>
                  <a:pt x="230" y="200"/>
                  <a:pt x="231" y="201"/>
                </a:cubicBezTo>
                <a:cubicBezTo>
                  <a:pt x="232" y="201"/>
                  <a:pt x="232" y="201"/>
                  <a:pt x="231" y="202"/>
                </a:cubicBezTo>
                <a:cubicBezTo>
                  <a:pt x="230" y="205"/>
                  <a:pt x="237" y="203"/>
                  <a:pt x="239" y="202"/>
                </a:cubicBezTo>
                <a:cubicBezTo>
                  <a:pt x="239" y="202"/>
                  <a:pt x="248" y="197"/>
                  <a:pt x="248" y="198"/>
                </a:cubicBezTo>
                <a:cubicBezTo>
                  <a:pt x="248" y="199"/>
                  <a:pt x="246" y="201"/>
                  <a:pt x="248" y="202"/>
                </a:cubicBezTo>
                <a:cubicBezTo>
                  <a:pt x="250" y="202"/>
                  <a:pt x="251" y="203"/>
                  <a:pt x="252" y="204"/>
                </a:cubicBezTo>
                <a:cubicBezTo>
                  <a:pt x="255" y="207"/>
                  <a:pt x="256" y="210"/>
                  <a:pt x="258" y="213"/>
                </a:cubicBezTo>
                <a:cubicBezTo>
                  <a:pt x="260" y="216"/>
                  <a:pt x="261" y="219"/>
                  <a:pt x="263" y="221"/>
                </a:cubicBezTo>
                <a:cubicBezTo>
                  <a:pt x="266" y="224"/>
                  <a:pt x="266" y="217"/>
                  <a:pt x="269" y="220"/>
                </a:cubicBezTo>
                <a:cubicBezTo>
                  <a:pt x="273" y="224"/>
                  <a:pt x="275" y="222"/>
                  <a:pt x="280" y="221"/>
                </a:cubicBezTo>
                <a:cubicBezTo>
                  <a:pt x="282" y="220"/>
                  <a:pt x="283" y="223"/>
                  <a:pt x="284" y="224"/>
                </a:cubicBezTo>
                <a:cubicBezTo>
                  <a:pt x="285" y="226"/>
                  <a:pt x="287" y="226"/>
                  <a:pt x="288" y="228"/>
                </a:cubicBezTo>
                <a:cubicBezTo>
                  <a:pt x="289" y="230"/>
                  <a:pt x="291" y="230"/>
                  <a:pt x="293" y="230"/>
                </a:cubicBezTo>
                <a:cubicBezTo>
                  <a:pt x="296" y="229"/>
                  <a:pt x="295" y="230"/>
                  <a:pt x="296" y="231"/>
                </a:cubicBezTo>
                <a:cubicBezTo>
                  <a:pt x="298" y="235"/>
                  <a:pt x="304" y="230"/>
                  <a:pt x="307" y="230"/>
                </a:cubicBezTo>
                <a:cubicBezTo>
                  <a:pt x="310" y="229"/>
                  <a:pt x="313" y="226"/>
                  <a:pt x="316" y="225"/>
                </a:cubicBezTo>
                <a:cubicBezTo>
                  <a:pt x="320" y="222"/>
                  <a:pt x="322" y="222"/>
                  <a:pt x="327" y="223"/>
                </a:cubicBezTo>
                <a:cubicBezTo>
                  <a:pt x="329" y="223"/>
                  <a:pt x="329" y="224"/>
                  <a:pt x="331" y="226"/>
                </a:cubicBezTo>
                <a:cubicBezTo>
                  <a:pt x="332" y="227"/>
                  <a:pt x="334" y="227"/>
                  <a:pt x="336" y="227"/>
                </a:cubicBezTo>
                <a:cubicBezTo>
                  <a:pt x="338" y="227"/>
                  <a:pt x="339" y="228"/>
                  <a:pt x="341" y="228"/>
                </a:cubicBezTo>
                <a:cubicBezTo>
                  <a:pt x="343" y="230"/>
                  <a:pt x="344" y="228"/>
                  <a:pt x="346" y="227"/>
                </a:cubicBezTo>
                <a:cubicBezTo>
                  <a:pt x="349" y="224"/>
                  <a:pt x="344" y="222"/>
                  <a:pt x="346" y="219"/>
                </a:cubicBezTo>
                <a:cubicBezTo>
                  <a:pt x="347" y="217"/>
                  <a:pt x="351" y="213"/>
                  <a:pt x="353" y="214"/>
                </a:cubicBezTo>
                <a:cubicBezTo>
                  <a:pt x="357" y="216"/>
                  <a:pt x="362" y="216"/>
                  <a:pt x="366" y="218"/>
                </a:cubicBezTo>
                <a:cubicBezTo>
                  <a:pt x="368" y="219"/>
                  <a:pt x="367" y="221"/>
                  <a:pt x="368" y="222"/>
                </a:cubicBezTo>
                <a:cubicBezTo>
                  <a:pt x="369" y="225"/>
                  <a:pt x="371" y="225"/>
                  <a:pt x="374" y="226"/>
                </a:cubicBezTo>
                <a:cubicBezTo>
                  <a:pt x="378" y="227"/>
                  <a:pt x="382" y="224"/>
                  <a:pt x="386" y="225"/>
                </a:cubicBezTo>
                <a:cubicBezTo>
                  <a:pt x="387" y="225"/>
                  <a:pt x="389" y="225"/>
                  <a:pt x="390" y="226"/>
                </a:cubicBezTo>
                <a:cubicBezTo>
                  <a:pt x="392" y="227"/>
                  <a:pt x="394" y="227"/>
                  <a:pt x="396" y="229"/>
                </a:cubicBezTo>
                <a:cubicBezTo>
                  <a:pt x="401" y="233"/>
                  <a:pt x="409" y="233"/>
                  <a:pt x="415" y="231"/>
                </a:cubicBezTo>
                <a:cubicBezTo>
                  <a:pt x="419" y="230"/>
                  <a:pt x="422" y="228"/>
                  <a:pt x="426" y="227"/>
                </a:cubicBezTo>
                <a:cubicBezTo>
                  <a:pt x="428" y="225"/>
                  <a:pt x="431" y="227"/>
                  <a:pt x="433" y="227"/>
                </a:cubicBezTo>
                <a:cubicBezTo>
                  <a:pt x="435" y="228"/>
                  <a:pt x="436" y="226"/>
                  <a:pt x="438" y="227"/>
                </a:cubicBezTo>
                <a:cubicBezTo>
                  <a:pt x="439" y="228"/>
                  <a:pt x="443" y="231"/>
                  <a:pt x="445" y="230"/>
                </a:cubicBezTo>
                <a:cubicBezTo>
                  <a:pt x="446" y="230"/>
                  <a:pt x="448" y="229"/>
                  <a:pt x="449" y="228"/>
                </a:cubicBezTo>
                <a:cubicBezTo>
                  <a:pt x="452" y="227"/>
                  <a:pt x="453" y="227"/>
                  <a:pt x="453" y="225"/>
                </a:cubicBezTo>
                <a:cubicBezTo>
                  <a:pt x="453" y="221"/>
                  <a:pt x="456" y="217"/>
                  <a:pt x="458" y="215"/>
                </a:cubicBezTo>
                <a:cubicBezTo>
                  <a:pt x="459" y="214"/>
                  <a:pt x="460" y="212"/>
                  <a:pt x="459" y="211"/>
                </a:cubicBezTo>
                <a:cubicBezTo>
                  <a:pt x="458" y="210"/>
                  <a:pt x="455" y="210"/>
                  <a:pt x="457" y="208"/>
                </a:cubicBezTo>
                <a:cubicBezTo>
                  <a:pt x="460" y="205"/>
                  <a:pt x="465" y="205"/>
                  <a:pt x="470" y="204"/>
                </a:cubicBezTo>
                <a:cubicBezTo>
                  <a:pt x="472" y="204"/>
                  <a:pt x="474" y="204"/>
                  <a:pt x="476" y="205"/>
                </a:cubicBezTo>
                <a:cubicBezTo>
                  <a:pt x="478" y="206"/>
                  <a:pt x="481" y="206"/>
                  <a:pt x="483" y="207"/>
                </a:cubicBezTo>
                <a:cubicBezTo>
                  <a:pt x="486" y="208"/>
                  <a:pt x="487" y="212"/>
                  <a:pt x="489" y="215"/>
                </a:cubicBezTo>
                <a:cubicBezTo>
                  <a:pt x="490" y="218"/>
                  <a:pt x="492" y="221"/>
                  <a:pt x="493" y="224"/>
                </a:cubicBezTo>
                <a:cubicBezTo>
                  <a:pt x="493" y="225"/>
                  <a:pt x="493" y="227"/>
                  <a:pt x="494" y="229"/>
                </a:cubicBezTo>
                <a:cubicBezTo>
                  <a:pt x="494" y="230"/>
                  <a:pt x="497" y="230"/>
                  <a:pt x="498" y="230"/>
                </a:cubicBezTo>
                <a:cubicBezTo>
                  <a:pt x="502" y="231"/>
                  <a:pt x="507" y="233"/>
                  <a:pt x="508" y="237"/>
                </a:cubicBezTo>
                <a:cubicBezTo>
                  <a:pt x="509" y="240"/>
                  <a:pt x="510" y="242"/>
                  <a:pt x="514" y="242"/>
                </a:cubicBezTo>
                <a:cubicBezTo>
                  <a:pt x="515" y="242"/>
                  <a:pt x="517" y="242"/>
                  <a:pt x="518" y="242"/>
                </a:cubicBezTo>
                <a:cubicBezTo>
                  <a:pt x="520" y="242"/>
                  <a:pt x="520" y="240"/>
                  <a:pt x="522" y="240"/>
                </a:cubicBezTo>
                <a:cubicBezTo>
                  <a:pt x="525" y="240"/>
                  <a:pt x="528" y="237"/>
                  <a:pt x="530" y="241"/>
                </a:cubicBezTo>
                <a:cubicBezTo>
                  <a:pt x="530" y="243"/>
                  <a:pt x="530" y="243"/>
                  <a:pt x="529" y="244"/>
                </a:cubicBezTo>
                <a:cubicBezTo>
                  <a:pt x="527" y="246"/>
                  <a:pt x="527" y="247"/>
                  <a:pt x="526" y="249"/>
                </a:cubicBezTo>
                <a:cubicBezTo>
                  <a:pt x="525" y="252"/>
                  <a:pt x="523" y="255"/>
                  <a:pt x="521" y="258"/>
                </a:cubicBezTo>
                <a:cubicBezTo>
                  <a:pt x="520" y="260"/>
                  <a:pt x="519" y="259"/>
                  <a:pt x="518" y="258"/>
                </a:cubicBezTo>
                <a:cubicBezTo>
                  <a:pt x="516" y="257"/>
                  <a:pt x="516" y="258"/>
                  <a:pt x="514" y="259"/>
                </a:cubicBezTo>
                <a:cubicBezTo>
                  <a:pt x="513" y="259"/>
                  <a:pt x="511" y="260"/>
                  <a:pt x="511" y="260"/>
                </a:cubicBezTo>
                <a:cubicBezTo>
                  <a:pt x="510" y="261"/>
                  <a:pt x="513" y="265"/>
                  <a:pt x="513" y="267"/>
                </a:cubicBezTo>
                <a:cubicBezTo>
                  <a:pt x="512" y="268"/>
                  <a:pt x="512" y="270"/>
                  <a:pt x="512" y="271"/>
                </a:cubicBezTo>
                <a:cubicBezTo>
                  <a:pt x="511" y="273"/>
                  <a:pt x="509" y="272"/>
                  <a:pt x="509" y="274"/>
                </a:cubicBezTo>
                <a:cubicBezTo>
                  <a:pt x="511" y="273"/>
                  <a:pt x="512" y="274"/>
                  <a:pt x="514" y="272"/>
                </a:cubicBezTo>
                <a:cubicBezTo>
                  <a:pt x="515" y="270"/>
                  <a:pt x="517" y="272"/>
                  <a:pt x="519" y="272"/>
                </a:cubicBezTo>
                <a:cubicBezTo>
                  <a:pt x="523" y="274"/>
                  <a:pt x="527" y="272"/>
                  <a:pt x="531" y="269"/>
                </a:cubicBezTo>
                <a:cubicBezTo>
                  <a:pt x="534" y="266"/>
                  <a:pt x="537" y="262"/>
                  <a:pt x="540" y="259"/>
                </a:cubicBezTo>
                <a:cubicBezTo>
                  <a:pt x="543" y="255"/>
                  <a:pt x="546" y="251"/>
                  <a:pt x="549" y="247"/>
                </a:cubicBezTo>
                <a:cubicBezTo>
                  <a:pt x="554" y="240"/>
                  <a:pt x="559" y="235"/>
                  <a:pt x="558" y="226"/>
                </a:cubicBezTo>
                <a:cubicBezTo>
                  <a:pt x="558" y="222"/>
                  <a:pt x="559" y="220"/>
                  <a:pt x="561" y="217"/>
                </a:cubicBezTo>
                <a:cubicBezTo>
                  <a:pt x="562" y="215"/>
                  <a:pt x="562" y="214"/>
                  <a:pt x="563" y="212"/>
                </a:cubicBezTo>
                <a:cubicBezTo>
                  <a:pt x="563" y="212"/>
                  <a:pt x="563" y="211"/>
                  <a:pt x="563" y="210"/>
                </a:cubicBezTo>
                <a:cubicBezTo>
                  <a:pt x="563" y="209"/>
                  <a:pt x="561" y="208"/>
                  <a:pt x="561" y="207"/>
                </a:cubicBezTo>
                <a:cubicBezTo>
                  <a:pt x="561" y="207"/>
                  <a:pt x="563" y="208"/>
                  <a:pt x="563" y="207"/>
                </a:cubicBezTo>
                <a:cubicBezTo>
                  <a:pt x="562" y="206"/>
                  <a:pt x="562" y="205"/>
                  <a:pt x="561" y="205"/>
                </a:cubicBezTo>
                <a:cubicBezTo>
                  <a:pt x="560" y="204"/>
                  <a:pt x="558" y="201"/>
                  <a:pt x="557" y="200"/>
                </a:cubicBezTo>
                <a:cubicBezTo>
                  <a:pt x="556" y="200"/>
                  <a:pt x="551" y="198"/>
                  <a:pt x="550" y="199"/>
                </a:cubicBezTo>
                <a:cubicBezTo>
                  <a:pt x="550" y="200"/>
                  <a:pt x="551" y="201"/>
                  <a:pt x="550" y="201"/>
                </a:cubicBezTo>
                <a:cubicBezTo>
                  <a:pt x="548" y="201"/>
                  <a:pt x="548" y="203"/>
                  <a:pt x="547" y="203"/>
                </a:cubicBezTo>
                <a:cubicBezTo>
                  <a:pt x="545" y="205"/>
                  <a:pt x="544" y="202"/>
                  <a:pt x="544" y="201"/>
                </a:cubicBezTo>
                <a:cubicBezTo>
                  <a:pt x="544" y="199"/>
                  <a:pt x="546" y="198"/>
                  <a:pt x="543" y="199"/>
                </a:cubicBezTo>
                <a:cubicBezTo>
                  <a:pt x="540" y="200"/>
                  <a:pt x="544" y="202"/>
                  <a:pt x="540" y="202"/>
                </a:cubicBezTo>
                <a:cubicBezTo>
                  <a:pt x="539" y="202"/>
                  <a:pt x="541" y="197"/>
                  <a:pt x="540" y="196"/>
                </a:cubicBezTo>
                <a:cubicBezTo>
                  <a:pt x="540" y="197"/>
                  <a:pt x="529" y="197"/>
                  <a:pt x="534" y="194"/>
                </a:cubicBezTo>
                <a:cubicBezTo>
                  <a:pt x="538" y="191"/>
                  <a:pt x="542" y="188"/>
                  <a:pt x="546" y="185"/>
                </a:cubicBezTo>
                <a:cubicBezTo>
                  <a:pt x="547" y="184"/>
                  <a:pt x="548" y="182"/>
                  <a:pt x="549" y="181"/>
                </a:cubicBezTo>
                <a:cubicBezTo>
                  <a:pt x="552" y="179"/>
                  <a:pt x="555" y="177"/>
                  <a:pt x="557" y="175"/>
                </a:cubicBezTo>
                <a:cubicBezTo>
                  <a:pt x="558" y="174"/>
                  <a:pt x="559" y="172"/>
                  <a:pt x="561" y="171"/>
                </a:cubicBezTo>
                <a:cubicBezTo>
                  <a:pt x="563" y="169"/>
                  <a:pt x="565" y="167"/>
                  <a:pt x="567" y="165"/>
                </a:cubicBezTo>
                <a:cubicBezTo>
                  <a:pt x="571" y="162"/>
                  <a:pt x="577" y="162"/>
                  <a:pt x="582" y="162"/>
                </a:cubicBezTo>
                <a:cubicBezTo>
                  <a:pt x="583" y="162"/>
                  <a:pt x="584" y="162"/>
                  <a:pt x="585" y="162"/>
                </a:cubicBezTo>
                <a:cubicBezTo>
                  <a:pt x="586" y="163"/>
                  <a:pt x="586" y="164"/>
                  <a:pt x="587" y="164"/>
                </a:cubicBezTo>
                <a:cubicBezTo>
                  <a:pt x="588" y="163"/>
                  <a:pt x="590" y="163"/>
                  <a:pt x="591" y="162"/>
                </a:cubicBezTo>
                <a:cubicBezTo>
                  <a:pt x="592" y="162"/>
                  <a:pt x="593" y="163"/>
                  <a:pt x="594" y="163"/>
                </a:cubicBezTo>
                <a:cubicBezTo>
                  <a:pt x="595" y="163"/>
                  <a:pt x="596" y="163"/>
                  <a:pt x="597" y="163"/>
                </a:cubicBezTo>
                <a:cubicBezTo>
                  <a:pt x="597" y="162"/>
                  <a:pt x="598" y="163"/>
                  <a:pt x="599" y="163"/>
                </a:cubicBezTo>
                <a:cubicBezTo>
                  <a:pt x="601" y="163"/>
                  <a:pt x="601" y="160"/>
                  <a:pt x="604" y="160"/>
                </a:cubicBezTo>
                <a:cubicBezTo>
                  <a:pt x="605" y="160"/>
                  <a:pt x="607" y="160"/>
                  <a:pt x="608" y="160"/>
                </a:cubicBezTo>
                <a:cubicBezTo>
                  <a:pt x="609" y="161"/>
                  <a:pt x="610" y="162"/>
                  <a:pt x="611" y="162"/>
                </a:cubicBezTo>
                <a:cubicBezTo>
                  <a:pt x="612" y="163"/>
                  <a:pt x="616" y="161"/>
                  <a:pt x="616" y="164"/>
                </a:cubicBezTo>
                <a:cubicBezTo>
                  <a:pt x="616" y="164"/>
                  <a:pt x="613" y="164"/>
                  <a:pt x="613" y="165"/>
                </a:cubicBezTo>
                <a:cubicBezTo>
                  <a:pt x="612" y="167"/>
                  <a:pt x="616" y="166"/>
                  <a:pt x="616" y="166"/>
                </a:cubicBezTo>
                <a:cubicBezTo>
                  <a:pt x="618" y="166"/>
                  <a:pt x="620" y="166"/>
                  <a:pt x="621" y="166"/>
                </a:cubicBezTo>
                <a:cubicBezTo>
                  <a:pt x="622" y="165"/>
                  <a:pt x="622" y="165"/>
                  <a:pt x="623" y="164"/>
                </a:cubicBezTo>
                <a:cubicBezTo>
                  <a:pt x="624" y="164"/>
                  <a:pt x="625" y="165"/>
                  <a:pt x="627" y="165"/>
                </a:cubicBezTo>
                <a:cubicBezTo>
                  <a:pt x="628" y="165"/>
                  <a:pt x="635" y="163"/>
                  <a:pt x="631" y="162"/>
                </a:cubicBezTo>
                <a:cubicBezTo>
                  <a:pt x="629" y="162"/>
                  <a:pt x="628" y="163"/>
                  <a:pt x="628" y="160"/>
                </a:cubicBezTo>
                <a:cubicBezTo>
                  <a:pt x="628" y="159"/>
                  <a:pt x="630" y="156"/>
                  <a:pt x="631" y="155"/>
                </a:cubicBezTo>
                <a:cubicBezTo>
                  <a:pt x="633" y="154"/>
                  <a:pt x="634" y="153"/>
                  <a:pt x="636" y="151"/>
                </a:cubicBezTo>
                <a:cubicBezTo>
                  <a:pt x="637" y="150"/>
                  <a:pt x="639" y="150"/>
                  <a:pt x="640" y="148"/>
                </a:cubicBezTo>
                <a:cubicBezTo>
                  <a:pt x="641" y="146"/>
                  <a:pt x="642" y="145"/>
                  <a:pt x="644" y="145"/>
                </a:cubicBezTo>
                <a:cubicBezTo>
                  <a:pt x="646" y="145"/>
                  <a:pt x="649" y="144"/>
                  <a:pt x="651" y="144"/>
                </a:cubicBezTo>
                <a:cubicBezTo>
                  <a:pt x="653" y="144"/>
                  <a:pt x="654" y="146"/>
                  <a:pt x="655" y="146"/>
                </a:cubicBezTo>
                <a:cubicBezTo>
                  <a:pt x="656" y="145"/>
                  <a:pt x="657" y="143"/>
                  <a:pt x="658" y="144"/>
                </a:cubicBezTo>
                <a:cubicBezTo>
                  <a:pt x="659" y="145"/>
                  <a:pt x="656" y="148"/>
                  <a:pt x="656" y="149"/>
                </a:cubicBezTo>
                <a:cubicBezTo>
                  <a:pt x="656" y="151"/>
                  <a:pt x="657" y="149"/>
                  <a:pt x="659" y="150"/>
                </a:cubicBezTo>
                <a:cubicBezTo>
                  <a:pt x="659" y="150"/>
                  <a:pt x="657" y="152"/>
                  <a:pt x="657" y="153"/>
                </a:cubicBezTo>
                <a:cubicBezTo>
                  <a:pt x="657" y="154"/>
                  <a:pt x="664" y="149"/>
                  <a:pt x="664" y="149"/>
                </a:cubicBezTo>
                <a:cubicBezTo>
                  <a:pt x="665" y="148"/>
                  <a:pt x="666" y="147"/>
                  <a:pt x="668" y="146"/>
                </a:cubicBezTo>
                <a:cubicBezTo>
                  <a:pt x="669" y="145"/>
                  <a:pt x="672" y="147"/>
                  <a:pt x="672" y="145"/>
                </a:cubicBezTo>
                <a:cubicBezTo>
                  <a:pt x="671" y="143"/>
                  <a:pt x="672" y="139"/>
                  <a:pt x="675" y="139"/>
                </a:cubicBezTo>
                <a:cubicBezTo>
                  <a:pt x="676" y="138"/>
                  <a:pt x="678" y="137"/>
                  <a:pt x="679" y="138"/>
                </a:cubicBezTo>
                <a:cubicBezTo>
                  <a:pt x="680" y="138"/>
                  <a:pt x="682" y="140"/>
                  <a:pt x="683" y="139"/>
                </a:cubicBezTo>
                <a:cubicBezTo>
                  <a:pt x="681" y="140"/>
                  <a:pt x="678" y="139"/>
                  <a:pt x="677" y="142"/>
                </a:cubicBezTo>
                <a:cubicBezTo>
                  <a:pt x="677" y="143"/>
                  <a:pt x="677" y="144"/>
                  <a:pt x="677" y="145"/>
                </a:cubicBezTo>
                <a:cubicBezTo>
                  <a:pt x="677" y="146"/>
                  <a:pt x="675" y="146"/>
                  <a:pt x="676" y="147"/>
                </a:cubicBezTo>
                <a:cubicBezTo>
                  <a:pt x="676" y="148"/>
                  <a:pt x="677" y="148"/>
                  <a:pt x="676" y="149"/>
                </a:cubicBezTo>
                <a:cubicBezTo>
                  <a:pt x="675" y="149"/>
                  <a:pt x="674" y="150"/>
                  <a:pt x="675" y="151"/>
                </a:cubicBezTo>
                <a:cubicBezTo>
                  <a:pt x="675" y="151"/>
                  <a:pt x="669" y="153"/>
                  <a:pt x="669" y="154"/>
                </a:cubicBezTo>
                <a:cubicBezTo>
                  <a:pt x="667" y="155"/>
                  <a:pt x="666" y="157"/>
                  <a:pt x="664" y="158"/>
                </a:cubicBezTo>
                <a:cubicBezTo>
                  <a:pt x="662" y="160"/>
                  <a:pt x="660" y="161"/>
                  <a:pt x="658" y="163"/>
                </a:cubicBezTo>
                <a:cubicBezTo>
                  <a:pt x="654" y="166"/>
                  <a:pt x="651" y="173"/>
                  <a:pt x="646" y="173"/>
                </a:cubicBezTo>
                <a:cubicBezTo>
                  <a:pt x="645" y="173"/>
                  <a:pt x="641" y="174"/>
                  <a:pt x="641" y="175"/>
                </a:cubicBezTo>
                <a:cubicBezTo>
                  <a:pt x="641" y="178"/>
                  <a:pt x="641" y="179"/>
                  <a:pt x="638" y="181"/>
                </a:cubicBezTo>
                <a:cubicBezTo>
                  <a:pt x="634" y="184"/>
                  <a:pt x="634" y="190"/>
                  <a:pt x="635" y="195"/>
                </a:cubicBezTo>
                <a:cubicBezTo>
                  <a:pt x="636" y="200"/>
                  <a:pt x="635" y="206"/>
                  <a:pt x="638" y="210"/>
                </a:cubicBezTo>
                <a:cubicBezTo>
                  <a:pt x="639" y="212"/>
                  <a:pt x="639" y="215"/>
                  <a:pt x="639" y="217"/>
                </a:cubicBezTo>
                <a:cubicBezTo>
                  <a:pt x="639" y="217"/>
                  <a:pt x="639" y="219"/>
                  <a:pt x="640" y="219"/>
                </a:cubicBezTo>
                <a:cubicBezTo>
                  <a:pt x="641" y="219"/>
                  <a:pt x="639" y="222"/>
                  <a:pt x="640" y="222"/>
                </a:cubicBezTo>
                <a:cubicBezTo>
                  <a:pt x="640" y="222"/>
                  <a:pt x="645" y="218"/>
                  <a:pt x="645" y="217"/>
                </a:cubicBezTo>
                <a:cubicBezTo>
                  <a:pt x="647" y="215"/>
                  <a:pt x="648" y="213"/>
                  <a:pt x="649" y="210"/>
                </a:cubicBezTo>
                <a:cubicBezTo>
                  <a:pt x="650" y="208"/>
                  <a:pt x="654" y="206"/>
                  <a:pt x="655" y="206"/>
                </a:cubicBezTo>
                <a:cubicBezTo>
                  <a:pt x="658" y="208"/>
                  <a:pt x="655" y="202"/>
                  <a:pt x="656" y="201"/>
                </a:cubicBezTo>
                <a:cubicBezTo>
                  <a:pt x="658" y="198"/>
                  <a:pt x="659" y="197"/>
                  <a:pt x="662" y="197"/>
                </a:cubicBezTo>
                <a:cubicBezTo>
                  <a:pt x="665" y="197"/>
                  <a:pt x="669" y="197"/>
                  <a:pt x="667" y="194"/>
                </a:cubicBezTo>
                <a:cubicBezTo>
                  <a:pt x="664" y="191"/>
                  <a:pt x="666" y="188"/>
                  <a:pt x="669" y="186"/>
                </a:cubicBezTo>
                <a:cubicBezTo>
                  <a:pt x="670" y="185"/>
                  <a:pt x="670" y="187"/>
                  <a:pt x="671" y="187"/>
                </a:cubicBezTo>
                <a:cubicBezTo>
                  <a:pt x="673" y="187"/>
                  <a:pt x="673" y="184"/>
                  <a:pt x="673" y="183"/>
                </a:cubicBezTo>
                <a:cubicBezTo>
                  <a:pt x="671" y="181"/>
                  <a:pt x="669" y="180"/>
                  <a:pt x="671" y="177"/>
                </a:cubicBezTo>
                <a:cubicBezTo>
                  <a:pt x="671" y="177"/>
                  <a:pt x="674" y="176"/>
                  <a:pt x="673" y="175"/>
                </a:cubicBezTo>
                <a:cubicBezTo>
                  <a:pt x="672" y="175"/>
                  <a:pt x="671" y="173"/>
                  <a:pt x="670" y="173"/>
                </a:cubicBezTo>
                <a:cubicBezTo>
                  <a:pt x="669" y="173"/>
                  <a:pt x="670" y="174"/>
                  <a:pt x="669" y="174"/>
                </a:cubicBezTo>
                <a:cubicBezTo>
                  <a:pt x="667" y="174"/>
                  <a:pt x="666" y="173"/>
                  <a:pt x="667" y="171"/>
                </a:cubicBezTo>
                <a:cubicBezTo>
                  <a:pt x="668" y="169"/>
                  <a:pt x="670" y="168"/>
                  <a:pt x="672" y="165"/>
                </a:cubicBezTo>
                <a:cubicBezTo>
                  <a:pt x="673" y="163"/>
                  <a:pt x="673" y="160"/>
                  <a:pt x="676" y="158"/>
                </a:cubicBezTo>
                <a:cubicBezTo>
                  <a:pt x="677" y="157"/>
                  <a:pt x="677" y="159"/>
                  <a:pt x="677" y="159"/>
                </a:cubicBezTo>
                <a:cubicBezTo>
                  <a:pt x="679" y="159"/>
                  <a:pt x="679" y="157"/>
                  <a:pt x="680" y="158"/>
                </a:cubicBezTo>
                <a:cubicBezTo>
                  <a:pt x="681" y="158"/>
                  <a:pt x="681" y="159"/>
                  <a:pt x="682" y="158"/>
                </a:cubicBezTo>
                <a:cubicBezTo>
                  <a:pt x="684" y="157"/>
                  <a:pt x="685" y="156"/>
                  <a:pt x="687" y="155"/>
                </a:cubicBezTo>
                <a:cubicBezTo>
                  <a:pt x="690" y="154"/>
                  <a:pt x="686" y="158"/>
                  <a:pt x="688" y="159"/>
                </a:cubicBezTo>
                <a:cubicBezTo>
                  <a:pt x="688" y="160"/>
                  <a:pt x="692" y="156"/>
                  <a:pt x="693" y="156"/>
                </a:cubicBezTo>
                <a:cubicBezTo>
                  <a:pt x="695" y="155"/>
                  <a:pt x="697" y="154"/>
                  <a:pt x="700" y="154"/>
                </a:cubicBezTo>
                <a:cubicBezTo>
                  <a:pt x="702" y="154"/>
                  <a:pt x="704" y="154"/>
                  <a:pt x="705" y="156"/>
                </a:cubicBezTo>
                <a:cubicBezTo>
                  <a:pt x="706" y="156"/>
                  <a:pt x="707" y="157"/>
                  <a:pt x="708" y="158"/>
                </a:cubicBezTo>
                <a:cubicBezTo>
                  <a:pt x="709" y="159"/>
                  <a:pt x="709" y="156"/>
                  <a:pt x="710" y="156"/>
                </a:cubicBezTo>
                <a:cubicBezTo>
                  <a:pt x="718" y="149"/>
                  <a:pt x="727" y="146"/>
                  <a:pt x="736" y="142"/>
                </a:cubicBezTo>
                <a:cubicBezTo>
                  <a:pt x="738" y="141"/>
                  <a:pt x="741" y="140"/>
                  <a:pt x="742" y="138"/>
                </a:cubicBezTo>
                <a:cubicBezTo>
                  <a:pt x="743" y="136"/>
                  <a:pt x="743" y="139"/>
                  <a:pt x="745" y="139"/>
                </a:cubicBezTo>
                <a:cubicBezTo>
                  <a:pt x="746" y="139"/>
                  <a:pt x="748" y="139"/>
                  <a:pt x="749" y="139"/>
                </a:cubicBezTo>
                <a:cubicBezTo>
                  <a:pt x="750" y="140"/>
                  <a:pt x="751" y="141"/>
                  <a:pt x="752" y="141"/>
                </a:cubicBezTo>
                <a:cubicBezTo>
                  <a:pt x="755" y="141"/>
                  <a:pt x="755" y="137"/>
                  <a:pt x="754" y="135"/>
                </a:cubicBezTo>
                <a:cubicBezTo>
                  <a:pt x="754" y="134"/>
                  <a:pt x="750" y="132"/>
                  <a:pt x="751" y="131"/>
                </a:cubicBezTo>
                <a:cubicBezTo>
                  <a:pt x="751" y="130"/>
                  <a:pt x="749" y="125"/>
                  <a:pt x="748" y="126"/>
                </a:cubicBezTo>
                <a:cubicBezTo>
                  <a:pt x="748" y="127"/>
                  <a:pt x="746" y="125"/>
                  <a:pt x="745" y="125"/>
                </a:cubicBezTo>
                <a:cubicBezTo>
                  <a:pt x="744" y="124"/>
                  <a:pt x="745" y="123"/>
                  <a:pt x="744" y="122"/>
                </a:cubicBezTo>
                <a:cubicBezTo>
                  <a:pt x="744" y="121"/>
                  <a:pt x="741" y="122"/>
                  <a:pt x="741" y="122"/>
                </a:cubicBezTo>
                <a:cubicBezTo>
                  <a:pt x="740" y="123"/>
                  <a:pt x="737" y="122"/>
                  <a:pt x="738" y="121"/>
                </a:cubicBezTo>
                <a:cubicBezTo>
                  <a:pt x="738" y="120"/>
                  <a:pt x="741" y="121"/>
                  <a:pt x="742" y="121"/>
                </a:cubicBezTo>
                <a:cubicBezTo>
                  <a:pt x="742" y="120"/>
                  <a:pt x="739" y="120"/>
                  <a:pt x="739" y="120"/>
                </a:cubicBezTo>
                <a:cubicBezTo>
                  <a:pt x="739" y="117"/>
                  <a:pt x="747" y="122"/>
                  <a:pt x="748" y="122"/>
                </a:cubicBezTo>
                <a:cubicBezTo>
                  <a:pt x="750" y="123"/>
                  <a:pt x="756" y="121"/>
                  <a:pt x="758" y="119"/>
                </a:cubicBezTo>
                <a:cubicBezTo>
                  <a:pt x="759" y="118"/>
                  <a:pt x="757" y="118"/>
                  <a:pt x="757" y="117"/>
                </a:cubicBezTo>
                <a:cubicBezTo>
                  <a:pt x="757" y="117"/>
                  <a:pt x="761" y="117"/>
                  <a:pt x="761" y="115"/>
                </a:cubicBezTo>
                <a:cubicBezTo>
                  <a:pt x="760" y="114"/>
                  <a:pt x="758" y="113"/>
                  <a:pt x="759" y="112"/>
                </a:cubicBezTo>
                <a:cubicBezTo>
                  <a:pt x="759" y="111"/>
                  <a:pt x="761" y="109"/>
                  <a:pt x="761" y="109"/>
                </a:cubicBezTo>
                <a:cubicBezTo>
                  <a:pt x="762" y="109"/>
                  <a:pt x="766" y="110"/>
                  <a:pt x="766" y="109"/>
                </a:cubicBezTo>
                <a:cubicBezTo>
                  <a:pt x="765" y="110"/>
                  <a:pt x="762" y="111"/>
                  <a:pt x="763" y="112"/>
                </a:cubicBezTo>
                <a:cubicBezTo>
                  <a:pt x="764" y="113"/>
                  <a:pt x="765" y="114"/>
                  <a:pt x="765" y="114"/>
                </a:cubicBezTo>
                <a:cubicBezTo>
                  <a:pt x="765" y="115"/>
                  <a:pt x="764" y="116"/>
                  <a:pt x="765" y="116"/>
                </a:cubicBezTo>
                <a:cubicBezTo>
                  <a:pt x="767" y="116"/>
                  <a:pt x="769" y="115"/>
                  <a:pt x="771" y="115"/>
                </a:cubicBezTo>
                <a:cubicBezTo>
                  <a:pt x="773" y="115"/>
                  <a:pt x="775" y="115"/>
                  <a:pt x="777" y="116"/>
                </a:cubicBezTo>
                <a:cubicBezTo>
                  <a:pt x="778" y="117"/>
                  <a:pt x="778" y="117"/>
                  <a:pt x="778" y="119"/>
                </a:cubicBezTo>
                <a:cubicBezTo>
                  <a:pt x="778" y="120"/>
                  <a:pt x="782" y="121"/>
                  <a:pt x="783" y="121"/>
                </a:cubicBezTo>
                <a:cubicBezTo>
                  <a:pt x="784" y="122"/>
                  <a:pt x="790" y="126"/>
                  <a:pt x="791" y="124"/>
                </a:cubicBezTo>
                <a:cubicBezTo>
                  <a:pt x="790" y="127"/>
                  <a:pt x="796" y="124"/>
                  <a:pt x="796" y="124"/>
                </a:cubicBezTo>
                <a:cubicBezTo>
                  <a:pt x="796" y="123"/>
                  <a:pt x="792" y="123"/>
                  <a:pt x="793" y="122"/>
                </a:cubicBezTo>
                <a:cubicBezTo>
                  <a:pt x="793" y="120"/>
                  <a:pt x="796" y="122"/>
                  <a:pt x="796" y="122"/>
                </a:cubicBezTo>
                <a:cubicBezTo>
                  <a:pt x="796" y="120"/>
                  <a:pt x="795" y="122"/>
                  <a:pt x="796" y="119"/>
                </a:cubicBezTo>
                <a:cubicBezTo>
                  <a:pt x="796" y="118"/>
                  <a:pt x="796" y="117"/>
                  <a:pt x="796" y="116"/>
                </a:cubicBezTo>
                <a:cubicBezTo>
                  <a:pt x="795" y="115"/>
                  <a:pt x="794" y="115"/>
                  <a:pt x="794" y="114"/>
                </a:cubicBezTo>
                <a:cubicBezTo>
                  <a:pt x="794" y="114"/>
                  <a:pt x="801" y="116"/>
                  <a:pt x="802" y="115"/>
                </a:cubicBezTo>
                <a:cubicBezTo>
                  <a:pt x="802" y="115"/>
                  <a:pt x="801" y="114"/>
                  <a:pt x="800" y="114"/>
                </a:cubicBezTo>
                <a:cubicBezTo>
                  <a:pt x="801" y="114"/>
                  <a:pt x="804" y="115"/>
                  <a:pt x="805" y="114"/>
                </a:cubicBezTo>
                <a:cubicBezTo>
                  <a:pt x="805" y="113"/>
                  <a:pt x="805" y="112"/>
                  <a:pt x="806" y="111"/>
                </a:cubicBezTo>
                <a:cubicBezTo>
                  <a:pt x="806" y="111"/>
                  <a:pt x="809" y="111"/>
                  <a:pt x="809" y="111"/>
                </a:cubicBezTo>
                <a:cubicBezTo>
                  <a:pt x="809" y="111"/>
                  <a:pt x="808" y="111"/>
                  <a:pt x="808" y="111"/>
                </a:cubicBezTo>
                <a:cubicBezTo>
                  <a:pt x="807" y="110"/>
                  <a:pt x="810" y="111"/>
                  <a:pt x="808" y="111"/>
                </a:cubicBezTo>
                <a:close/>
                <a:moveTo>
                  <a:pt x="405" y="192"/>
                </a:moveTo>
                <a:cubicBezTo>
                  <a:pt x="404" y="195"/>
                  <a:pt x="404" y="198"/>
                  <a:pt x="403" y="201"/>
                </a:cubicBezTo>
                <a:cubicBezTo>
                  <a:pt x="402" y="203"/>
                  <a:pt x="399" y="202"/>
                  <a:pt x="399" y="204"/>
                </a:cubicBezTo>
                <a:cubicBezTo>
                  <a:pt x="399" y="204"/>
                  <a:pt x="401" y="204"/>
                  <a:pt x="402" y="204"/>
                </a:cubicBezTo>
                <a:cubicBezTo>
                  <a:pt x="402" y="204"/>
                  <a:pt x="393" y="210"/>
                  <a:pt x="392" y="210"/>
                </a:cubicBezTo>
                <a:cubicBezTo>
                  <a:pt x="391" y="211"/>
                  <a:pt x="390" y="212"/>
                  <a:pt x="388" y="212"/>
                </a:cubicBezTo>
                <a:cubicBezTo>
                  <a:pt x="387" y="213"/>
                  <a:pt x="386" y="215"/>
                  <a:pt x="385" y="216"/>
                </a:cubicBezTo>
                <a:cubicBezTo>
                  <a:pt x="384" y="217"/>
                  <a:pt x="377" y="219"/>
                  <a:pt x="376" y="217"/>
                </a:cubicBezTo>
                <a:cubicBezTo>
                  <a:pt x="376" y="216"/>
                  <a:pt x="383" y="214"/>
                  <a:pt x="384" y="213"/>
                </a:cubicBezTo>
                <a:cubicBezTo>
                  <a:pt x="387" y="211"/>
                  <a:pt x="390" y="208"/>
                  <a:pt x="393" y="206"/>
                </a:cubicBezTo>
                <a:cubicBezTo>
                  <a:pt x="395" y="205"/>
                  <a:pt x="395" y="202"/>
                  <a:pt x="397" y="201"/>
                </a:cubicBezTo>
                <a:cubicBezTo>
                  <a:pt x="399" y="198"/>
                  <a:pt x="401" y="195"/>
                  <a:pt x="402" y="192"/>
                </a:cubicBezTo>
                <a:cubicBezTo>
                  <a:pt x="402" y="190"/>
                  <a:pt x="402" y="190"/>
                  <a:pt x="404" y="189"/>
                </a:cubicBezTo>
                <a:cubicBezTo>
                  <a:pt x="406" y="188"/>
                  <a:pt x="405" y="191"/>
                  <a:pt x="405" y="192"/>
                </a:cubicBezTo>
                <a:cubicBezTo>
                  <a:pt x="404" y="193"/>
                  <a:pt x="405" y="190"/>
                  <a:pt x="405" y="19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25" name="Freeform 721">
            <a:extLst>
              <a:ext uri="{FF2B5EF4-FFF2-40B4-BE49-F238E27FC236}">
                <a16:creationId xmlns:a16="http://schemas.microsoft.com/office/drawing/2014/main" id="{05EC795C-3748-D047-B7F0-E276D068CFB3}"/>
              </a:ext>
            </a:extLst>
          </p:cNvPr>
          <p:cNvSpPr>
            <a:spLocks/>
          </p:cNvSpPr>
          <p:nvPr/>
        </p:nvSpPr>
        <p:spPr bwMode="auto">
          <a:xfrm>
            <a:off x="9463926" y="3335465"/>
            <a:ext cx="77653" cy="165939"/>
          </a:xfrm>
          <a:custGeom>
            <a:avLst/>
            <a:gdLst>
              <a:gd name="T0" fmla="*/ 13 w 15"/>
              <a:gd name="T1" fmla="*/ 26 h 32"/>
              <a:gd name="T2" fmla="*/ 10 w 15"/>
              <a:gd name="T3" fmla="*/ 13 h 32"/>
              <a:gd name="T4" fmla="*/ 9 w 15"/>
              <a:gd name="T5" fmla="*/ 4 h 32"/>
              <a:gd name="T6" fmla="*/ 9 w 15"/>
              <a:gd name="T7" fmla="*/ 1 h 32"/>
              <a:gd name="T8" fmla="*/ 6 w 15"/>
              <a:gd name="T9" fmla="*/ 0 h 32"/>
              <a:gd name="T10" fmla="*/ 7 w 15"/>
              <a:gd name="T11" fmla="*/ 3 h 32"/>
              <a:gd name="T12" fmla="*/ 6 w 15"/>
              <a:gd name="T13" fmla="*/ 5 h 32"/>
              <a:gd name="T14" fmla="*/ 4 w 15"/>
              <a:gd name="T15" fmla="*/ 7 h 32"/>
              <a:gd name="T16" fmla="*/ 4 w 15"/>
              <a:gd name="T17" fmla="*/ 9 h 32"/>
              <a:gd name="T18" fmla="*/ 2 w 15"/>
              <a:gd name="T19" fmla="*/ 14 h 32"/>
              <a:gd name="T20" fmla="*/ 5 w 15"/>
              <a:gd name="T21" fmla="*/ 20 h 32"/>
              <a:gd name="T22" fmla="*/ 6 w 15"/>
              <a:gd name="T23" fmla="*/ 32 h 32"/>
              <a:gd name="T24" fmla="*/ 15 w 15"/>
              <a:gd name="T25" fmla="*/ 32 h 32"/>
              <a:gd name="T26" fmla="*/ 13 w 15"/>
              <a:gd name="T27" fmla="*/ 26 h 32"/>
              <a:gd name="T28" fmla="*/ 13 w 15"/>
              <a:gd name="T29" fmla="*/ 2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32">
                <a:moveTo>
                  <a:pt x="13" y="26"/>
                </a:moveTo>
                <a:cubicBezTo>
                  <a:pt x="13" y="22"/>
                  <a:pt x="9" y="17"/>
                  <a:pt x="10" y="13"/>
                </a:cubicBezTo>
                <a:cubicBezTo>
                  <a:pt x="11" y="10"/>
                  <a:pt x="10" y="7"/>
                  <a:pt x="9" y="4"/>
                </a:cubicBezTo>
                <a:cubicBezTo>
                  <a:pt x="9" y="3"/>
                  <a:pt x="9" y="2"/>
                  <a:pt x="9" y="1"/>
                </a:cubicBezTo>
                <a:cubicBezTo>
                  <a:pt x="9" y="0"/>
                  <a:pt x="6" y="0"/>
                  <a:pt x="6" y="0"/>
                </a:cubicBezTo>
                <a:cubicBezTo>
                  <a:pt x="6" y="1"/>
                  <a:pt x="7" y="2"/>
                  <a:pt x="7" y="3"/>
                </a:cubicBezTo>
                <a:cubicBezTo>
                  <a:pt x="8" y="4"/>
                  <a:pt x="7" y="5"/>
                  <a:pt x="6" y="5"/>
                </a:cubicBezTo>
                <a:cubicBezTo>
                  <a:pt x="5" y="6"/>
                  <a:pt x="4" y="5"/>
                  <a:pt x="4" y="7"/>
                </a:cubicBezTo>
                <a:cubicBezTo>
                  <a:pt x="4" y="8"/>
                  <a:pt x="4" y="8"/>
                  <a:pt x="4" y="9"/>
                </a:cubicBezTo>
                <a:cubicBezTo>
                  <a:pt x="3" y="11"/>
                  <a:pt x="3" y="13"/>
                  <a:pt x="2" y="14"/>
                </a:cubicBezTo>
                <a:cubicBezTo>
                  <a:pt x="0" y="15"/>
                  <a:pt x="4" y="18"/>
                  <a:pt x="5" y="20"/>
                </a:cubicBezTo>
                <a:cubicBezTo>
                  <a:pt x="6" y="22"/>
                  <a:pt x="4" y="32"/>
                  <a:pt x="6" y="32"/>
                </a:cubicBezTo>
                <a:cubicBezTo>
                  <a:pt x="9" y="32"/>
                  <a:pt x="12" y="32"/>
                  <a:pt x="15" y="32"/>
                </a:cubicBezTo>
                <a:cubicBezTo>
                  <a:pt x="15" y="30"/>
                  <a:pt x="14" y="28"/>
                  <a:pt x="13" y="26"/>
                </a:cubicBezTo>
                <a:cubicBezTo>
                  <a:pt x="13" y="24"/>
                  <a:pt x="13" y="27"/>
                  <a:pt x="13" y="2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26" name="Freeform 722">
            <a:extLst>
              <a:ext uri="{FF2B5EF4-FFF2-40B4-BE49-F238E27FC236}">
                <a16:creationId xmlns:a16="http://schemas.microsoft.com/office/drawing/2014/main" id="{51D123D1-B0FE-2847-B432-AC4098EC788D}"/>
              </a:ext>
            </a:extLst>
          </p:cNvPr>
          <p:cNvSpPr>
            <a:spLocks/>
          </p:cNvSpPr>
          <p:nvPr/>
        </p:nvSpPr>
        <p:spPr bwMode="auto">
          <a:xfrm>
            <a:off x="9479809" y="3496106"/>
            <a:ext cx="77653" cy="120040"/>
          </a:xfrm>
          <a:custGeom>
            <a:avLst/>
            <a:gdLst>
              <a:gd name="T0" fmla="*/ 12 w 15"/>
              <a:gd name="T1" fmla="*/ 1 h 23"/>
              <a:gd name="T2" fmla="*/ 7 w 15"/>
              <a:gd name="T3" fmla="*/ 1 h 23"/>
              <a:gd name="T4" fmla="*/ 2 w 15"/>
              <a:gd name="T5" fmla="*/ 2 h 23"/>
              <a:gd name="T6" fmla="*/ 1 w 15"/>
              <a:gd name="T7" fmla="*/ 7 h 23"/>
              <a:gd name="T8" fmla="*/ 2 w 15"/>
              <a:gd name="T9" fmla="*/ 11 h 23"/>
              <a:gd name="T10" fmla="*/ 1 w 15"/>
              <a:gd name="T11" fmla="*/ 23 h 23"/>
              <a:gd name="T12" fmla="*/ 4 w 15"/>
              <a:gd name="T13" fmla="*/ 20 h 23"/>
              <a:gd name="T14" fmla="*/ 7 w 15"/>
              <a:gd name="T15" fmla="*/ 20 h 23"/>
              <a:gd name="T16" fmla="*/ 9 w 15"/>
              <a:gd name="T17" fmla="*/ 23 h 23"/>
              <a:gd name="T18" fmla="*/ 9 w 15"/>
              <a:gd name="T19" fmla="*/ 20 h 23"/>
              <a:gd name="T20" fmla="*/ 6 w 15"/>
              <a:gd name="T21" fmla="*/ 16 h 23"/>
              <a:gd name="T22" fmla="*/ 4 w 15"/>
              <a:gd name="T23" fmla="*/ 7 h 23"/>
              <a:gd name="T24" fmla="*/ 9 w 15"/>
              <a:gd name="T25" fmla="*/ 3 h 23"/>
              <a:gd name="T26" fmla="*/ 15 w 15"/>
              <a:gd name="T27" fmla="*/ 6 h 23"/>
              <a:gd name="T28" fmla="*/ 12 w 15"/>
              <a:gd name="T29" fmla="*/ 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23">
                <a:moveTo>
                  <a:pt x="12" y="1"/>
                </a:moveTo>
                <a:cubicBezTo>
                  <a:pt x="11" y="1"/>
                  <a:pt x="9" y="1"/>
                  <a:pt x="7" y="1"/>
                </a:cubicBezTo>
                <a:cubicBezTo>
                  <a:pt x="5" y="1"/>
                  <a:pt x="3" y="0"/>
                  <a:pt x="2" y="2"/>
                </a:cubicBezTo>
                <a:cubicBezTo>
                  <a:pt x="2" y="4"/>
                  <a:pt x="1" y="5"/>
                  <a:pt x="1" y="7"/>
                </a:cubicBezTo>
                <a:cubicBezTo>
                  <a:pt x="1" y="8"/>
                  <a:pt x="2" y="9"/>
                  <a:pt x="2" y="11"/>
                </a:cubicBezTo>
                <a:cubicBezTo>
                  <a:pt x="2" y="12"/>
                  <a:pt x="0" y="23"/>
                  <a:pt x="1" y="23"/>
                </a:cubicBezTo>
                <a:cubicBezTo>
                  <a:pt x="3" y="22"/>
                  <a:pt x="1" y="19"/>
                  <a:pt x="4" y="20"/>
                </a:cubicBezTo>
                <a:cubicBezTo>
                  <a:pt x="5" y="20"/>
                  <a:pt x="7" y="19"/>
                  <a:pt x="7" y="20"/>
                </a:cubicBezTo>
                <a:cubicBezTo>
                  <a:pt x="8" y="20"/>
                  <a:pt x="8" y="23"/>
                  <a:pt x="9" y="23"/>
                </a:cubicBezTo>
                <a:cubicBezTo>
                  <a:pt x="9" y="23"/>
                  <a:pt x="9" y="20"/>
                  <a:pt x="9" y="20"/>
                </a:cubicBezTo>
                <a:cubicBezTo>
                  <a:pt x="9" y="18"/>
                  <a:pt x="7" y="17"/>
                  <a:pt x="6" y="16"/>
                </a:cubicBezTo>
                <a:cubicBezTo>
                  <a:pt x="5" y="14"/>
                  <a:pt x="2" y="9"/>
                  <a:pt x="4" y="7"/>
                </a:cubicBezTo>
                <a:cubicBezTo>
                  <a:pt x="7" y="5"/>
                  <a:pt x="6" y="4"/>
                  <a:pt x="9" y="3"/>
                </a:cubicBezTo>
                <a:cubicBezTo>
                  <a:pt x="11" y="2"/>
                  <a:pt x="14" y="4"/>
                  <a:pt x="15" y="6"/>
                </a:cubicBezTo>
                <a:cubicBezTo>
                  <a:pt x="14" y="4"/>
                  <a:pt x="13" y="2"/>
                  <a:pt x="12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27" name="Freeform 723">
            <a:extLst>
              <a:ext uri="{FF2B5EF4-FFF2-40B4-BE49-F238E27FC236}">
                <a16:creationId xmlns:a16="http://schemas.microsoft.com/office/drawing/2014/main" id="{89EE231B-E6BA-5542-8C59-8B2C0538EE1F}"/>
              </a:ext>
            </a:extLst>
          </p:cNvPr>
          <p:cNvSpPr>
            <a:spLocks/>
          </p:cNvSpPr>
          <p:nvPr/>
        </p:nvSpPr>
        <p:spPr bwMode="auto">
          <a:xfrm>
            <a:off x="9070366" y="3849169"/>
            <a:ext cx="109421" cy="130633"/>
          </a:xfrm>
          <a:custGeom>
            <a:avLst/>
            <a:gdLst>
              <a:gd name="T0" fmla="*/ 5 w 21"/>
              <a:gd name="T1" fmla="*/ 1 h 25"/>
              <a:gd name="T2" fmla="*/ 4 w 21"/>
              <a:gd name="T3" fmla="*/ 7 h 25"/>
              <a:gd name="T4" fmla="*/ 1 w 21"/>
              <a:gd name="T5" fmla="*/ 9 h 25"/>
              <a:gd name="T6" fmla="*/ 3 w 21"/>
              <a:gd name="T7" fmla="*/ 11 h 25"/>
              <a:gd name="T8" fmla="*/ 2 w 21"/>
              <a:gd name="T9" fmla="*/ 14 h 25"/>
              <a:gd name="T10" fmla="*/ 3 w 21"/>
              <a:gd name="T11" fmla="*/ 16 h 25"/>
              <a:gd name="T12" fmla="*/ 1 w 21"/>
              <a:gd name="T13" fmla="*/ 20 h 25"/>
              <a:gd name="T14" fmla="*/ 3 w 21"/>
              <a:gd name="T15" fmla="*/ 21 h 25"/>
              <a:gd name="T16" fmla="*/ 0 w 21"/>
              <a:gd name="T17" fmla="*/ 24 h 25"/>
              <a:gd name="T18" fmla="*/ 2 w 21"/>
              <a:gd name="T19" fmla="*/ 23 h 25"/>
              <a:gd name="T20" fmla="*/ 3 w 21"/>
              <a:gd name="T21" fmla="*/ 24 h 25"/>
              <a:gd name="T22" fmla="*/ 6 w 21"/>
              <a:gd name="T23" fmla="*/ 22 h 25"/>
              <a:gd name="T24" fmla="*/ 8 w 21"/>
              <a:gd name="T25" fmla="*/ 22 h 25"/>
              <a:gd name="T26" fmla="*/ 9 w 21"/>
              <a:gd name="T27" fmla="*/ 22 h 25"/>
              <a:gd name="T28" fmla="*/ 12 w 21"/>
              <a:gd name="T29" fmla="*/ 21 h 25"/>
              <a:gd name="T30" fmla="*/ 14 w 21"/>
              <a:gd name="T31" fmla="*/ 20 h 25"/>
              <a:gd name="T32" fmla="*/ 17 w 21"/>
              <a:gd name="T33" fmla="*/ 18 h 25"/>
              <a:gd name="T34" fmla="*/ 20 w 21"/>
              <a:gd name="T35" fmla="*/ 20 h 25"/>
              <a:gd name="T36" fmla="*/ 19 w 21"/>
              <a:gd name="T37" fmla="*/ 16 h 25"/>
              <a:gd name="T38" fmla="*/ 17 w 21"/>
              <a:gd name="T39" fmla="*/ 12 h 25"/>
              <a:gd name="T40" fmla="*/ 12 w 21"/>
              <a:gd name="T41" fmla="*/ 0 h 25"/>
              <a:gd name="T42" fmla="*/ 5 w 21"/>
              <a:gd name="T43" fmla="*/ 1 h 25"/>
              <a:gd name="T44" fmla="*/ 5 w 21"/>
              <a:gd name="T45" fmla="*/ 1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1" h="25">
                <a:moveTo>
                  <a:pt x="5" y="1"/>
                </a:moveTo>
                <a:cubicBezTo>
                  <a:pt x="3" y="2"/>
                  <a:pt x="2" y="6"/>
                  <a:pt x="4" y="7"/>
                </a:cubicBezTo>
                <a:cubicBezTo>
                  <a:pt x="7" y="10"/>
                  <a:pt x="2" y="9"/>
                  <a:pt x="1" y="9"/>
                </a:cubicBezTo>
                <a:cubicBezTo>
                  <a:pt x="1" y="9"/>
                  <a:pt x="3" y="11"/>
                  <a:pt x="3" y="11"/>
                </a:cubicBezTo>
                <a:cubicBezTo>
                  <a:pt x="3" y="13"/>
                  <a:pt x="3" y="13"/>
                  <a:pt x="2" y="14"/>
                </a:cubicBezTo>
                <a:cubicBezTo>
                  <a:pt x="2" y="14"/>
                  <a:pt x="3" y="15"/>
                  <a:pt x="3" y="16"/>
                </a:cubicBezTo>
                <a:cubicBezTo>
                  <a:pt x="2" y="17"/>
                  <a:pt x="1" y="20"/>
                  <a:pt x="1" y="20"/>
                </a:cubicBezTo>
                <a:cubicBezTo>
                  <a:pt x="1" y="20"/>
                  <a:pt x="3" y="20"/>
                  <a:pt x="3" y="21"/>
                </a:cubicBezTo>
                <a:cubicBezTo>
                  <a:pt x="3" y="21"/>
                  <a:pt x="0" y="23"/>
                  <a:pt x="0" y="24"/>
                </a:cubicBezTo>
                <a:cubicBezTo>
                  <a:pt x="0" y="24"/>
                  <a:pt x="1" y="23"/>
                  <a:pt x="2" y="23"/>
                </a:cubicBezTo>
                <a:cubicBezTo>
                  <a:pt x="2" y="23"/>
                  <a:pt x="2" y="25"/>
                  <a:pt x="3" y="24"/>
                </a:cubicBezTo>
                <a:cubicBezTo>
                  <a:pt x="3" y="23"/>
                  <a:pt x="5" y="22"/>
                  <a:pt x="6" y="22"/>
                </a:cubicBezTo>
                <a:cubicBezTo>
                  <a:pt x="7" y="21"/>
                  <a:pt x="6" y="25"/>
                  <a:pt x="8" y="22"/>
                </a:cubicBezTo>
                <a:cubicBezTo>
                  <a:pt x="9" y="20"/>
                  <a:pt x="8" y="21"/>
                  <a:pt x="9" y="22"/>
                </a:cubicBezTo>
                <a:cubicBezTo>
                  <a:pt x="9" y="22"/>
                  <a:pt x="12" y="21"/>
                  <a:pt x="12" y="21"/>
                </a:cubicBezTo>
                <a:cubicBezTo>
                  <a:pt x="14" y="21"/>
                  <a:pt x="13" y="20"/>
                  <a:pt x="14" y="20"/>
                </a:cubicBezTo>
                <a:cubicBezTo>
                  <a:pt x="16" y="20"/>
                  <a:pt x="16" y="19"/>
                  <a:pt x="17" y="18"/>
                </a:cubicBezTo>
                <a:cubicBezTo>
                  <a:pt x="18" y="16"/>
                  <a:pt x="19" y="19"/>
                  <a:pt x="20" y="20"/>
                </a:cubicBezTo>
                <a:cubicBezTo>
                  <a:pt x="21" y="20"/>
                  <a:pt x="19" y="16"/>
                  <a:pt x="19" y="16"/>
                </a:cubicBezTo>
                <a:cubicBezTo>
                  <a:pt x="18" y="15"/>
                  <a:pt x="17" y="14"/>
                  <a:pt x="17" y="12"/>
                </a:cubicBezTo>
                <a:cubicBezTo>
                  <a:pt x="17" y="7"/>
                  <a:pt x="14" y="4"/>
                  <a:pt x="12" y="0"/>
                </a:cubicBezTo>
                <a:cubicBezTo>
                  <a:pt x="10" y="2"/>
                  <a:pt x="8" y="1"/>
                  <a:pt x="5" y="1"/>
                </a:cubicBezTo>
                <a:cubicBezTo>
                  <a:pt x="5" y="2"/>
                  <a:pt x="6" y="1"/>
                  <a:pt x="5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28" name="Freeform 724">
            <a:extLst>
              <a:ext uri="{FF2B5EF4-FFF2-40B4-BE49-F238E27FC236}">
                <a16:creationId xmlns:a16="http://schemas.microsoft.com/office/drawing/2014/main" id="{C335996F-AFEA-DD48-8635-B23945BF8085}"/>
              </a:ext>
            </a:extLst>
          </p:cNvPr>
          <p:cNvSpPr>
            <a:spLocks/>
          </p:cNvSpPr>
          <p:nvPr/>
        </p:nvSpPr>
        <p:spPr bwMode="auto">
          <a:xfrm>
            <a:off x="9024481" y="3709708"/>
            <a:ext cx="165896" cy="160644"/>
          </a:xfrm>
          <a:custGeom>
            <a:avLst/>
            <a:gdLst>
              <a:gd name="T0" fmla="*/ 32 w 32"/>
              <a:gd name="T1" fmla="*/ 3 h 31"/>
              <a:gd name="T2" fmla="*/ 29 w 32"/>
              <a:gd name="T3" fmla="*/ 1 h 31"/>
              <a:gd name="T4" fmla="*/ 27 w 32"/>
              <a:gd name="T5" fmla="*/ 4 h 31"/>
              <a:gd name="T6" fmla="*/ 25 w 32"/>
              <a:gd name="T7" fmla="*/ 5 h 31"/>
              <a:gd name="T8" fmla="*/ 20 w 32"/>
              <a:gd name="T9" fmla="*/ 6 h 31"/>
              <a:gd name="T10" fmla="*/ 20 w 32"/>
              <a:gd name="T11" fmla="*/ 10 h 31"/>
              <a:gd name="T12" fmla="*/ 13 w 32"/>
              <a:gd name="T13" fmla="*/ 9 h 31"/>
              <a:gd name="T14" fmla="*/ 10 w 32"/>
              <a:gd name="T15" fmla="*/ 12 h 31"/>
              <a:gd name="T16" fmla="*/ 0 w 32"/>
              <a:gd name="T17" fmla="*/ 19 h 31"/>
              <a:gd name="T18" fmla="*/ 6 w 32"/>
              <a:gd name="T19" fmla="*/ 21 h 31"/>
              <a:gd name="T20" fmla="*/ 5 w 32"/>
              <a:gd name="T21" fmla="*/ 24 h 31"/>
              <a:gd name="T22" fmla="*/ 6 w 32"/>
              <a:gd name="T23" fmla="*/ 26 h 31"/>
              <a:gd name="T24" fmla="*/ 3 w 32"/>
              <a:gd name="T25" fmla="*/ 29 h 31"/>
              <a:gd name="T26" fmla="*/ 5 w 32"/>
              <a:gd name="T27" fmla="*/ 30 h 31"/>
              <a:gd name="T28" fmla="*/ 5 w 32"/>
              <a:gd name="T29" fmla="*/ 31 h 31"/>
              <a:gd name="T30" fmla="*/ 9 w 32"/>
              <a:gd name="T31" fmla="*/ 31 h 31"/>
              <a:gd name="T32" fmla="*/ 12 w 32"/>
              <a:gd name="T33" fmla="*/ 31 h 31"/>
              <a:gd name="T34" fmla="*/ 14 w 32"/>
              <a:gd name="T35" fmla="*/ 28 h 31"/>
              <a:gd name="T36" fmla="*/ 21 w 32"/>
              <a:gd name="T37" fmla="*/ 27 h 31"/>
              <a:gd name="T38" fmla="*/ 16 w 32"/>
              <a:gd name="T39" fmla="*/ 22 h 31"/>
              <a:gd name="T40" fmla="*/ 20 w 32"/>
              <a:gd name="T41" fmla="*/ 19 h 31"/>
              <a:gd name="T42" fmla="*/ 27 w 32"/>
              <a:gd name="T43" fmla="*/ 14 h 31"/>
              <a:gd name="T44" fmla="*/ 27 w 32"/>
              <a:gd name="T45" fmla="*/ 8 h 31"/>
              <a:gd name="T46" fmla="*/ 32 w 32"/>
              <a:gd name="T47" fmla="*/ 3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2" h="31">
                <a:moveTo>
                  <a:pt x="32" y="3"/>
                </a:moveTo>
                <a:cubicBezTo>
                  <a:pt x="31" y="2"/>
                  <a:pt x="30" y="0"/>
                  <a:pt x="29" y="1"/>
                </a:cubicBezTo>
                <a:cubicBezTo>
                  <a:pt x="28" y="1"/>
                  <a:pt x="28" y="3"/>
                  <a:pt x="27" y="4"/>
                </a:cubicBezTo>
                <a:cubicBezTo>
                  <a:pt x="27" y="4"/>
                  <a:pt x="26" y="3"/>
                  <a:pt x="25" y="5"/>
                </a:cubicBezTo>
                <a:cubicBezTo>
                  <a:pt x="24" y="6"/>
                  <a:pt x="22" y="6"/>
                  <a:pt x="20" y="6"/>
                </a:cubicBezTo>
                <a:cubicBezTo>
                  <a:pt x="18" y="7"/>
                  <a:pt x="22" y="9"/>
                  <a:pt x="20" y="10"/>
                </a:cubicBezTo>
                <a:cubicBezTo>
                  <a:pt x="17" y="11"/>
                  <a:pt x="16" y="9"/>
                  <a:pt x="13" y="9"/>
                </a:cubicBezTo>
                <a:cubicBezTo>
                  <a:pt x="12" y="8"/>
                  <a:pt x="10" y="11"/>
                  <a:pt x="10" y="12"/>
                </a:cubicBezTo>
                <a:cubicBezTo>
                  <a:pt x="7" y="15"/>
                  <a:pt x="1" y="15"/>
                  <a:pt x="0" y="19"/>
                </a:cubicBezTo>
                <a:cubicBezTo>
                  <a:pt x="0" y="19"/>
                  <a:pt x="6" y="21"/>
                  <a:pt x="6" y="21"/>
                </a:cubicBezTo>
                <a:cubicBezTo>
                  <a:pt x="6" y="22"/>
                  <a:pt x="5" y="24"/>
                  <a:pt x="5" y="24"/>
                </a:cubicBezTo>
                <a:cubicBezTo>
                  <a:pt x="5" y="26"/>
                  <a:pt x="6" y="25"/>
                  <a:pt x="6" y="26"/>
                </a:cubicBezTo>
                <a:cubicBezTo>
                  <a:pt x="6" y="25"/>
                  <a:pt x="2" y="28"/>
                  <a:pt x="3" y="29"/>
                </a:cubicBezTo>
                <a:cubicBezTo>
                  <a:pt x="3" y="29"/>
                  <a:pt x="5" y="30"/>
                  <a:pt x="5" y="30"/>
                </a:cubicBezTo>
                <a:cubicBezTo>
                  <a:pt x="6" y="30"/>
                  <a:pt x="5" y="30"/>
                  <a:pt x="5" y="31"/>
                </a:cubicBezTo>
                <a:cubicBezTo>
                  <a:pt x="5" y="30"/>
                  <a:pt x="9" y="30"/>
                  <a:pt x="9" y="31"/>
                </a:cubicBezTo>
                <a:cubicBezTo>
                  <a:pt x="10" y="31"/>
                  <a:pt x="11" y="31"/>
                  <a:pt x="12" y="31"/>
                </a:cubicBezTo>
                <a:cubicBezTo>
                  <a:pt x="12" y="31"/>
                  <a:pt x="13" y="29"/>
                  <a:pt x="14" y="28"/>
                </a:cubicBezTo>
                <a:cubicBezTo>
                  <a:pt x="17" y="28"/>
                  <a:pt x="19" y="29"/>
                  <a:pt x="21" y="27"/>
                </a:cubicBezTo>
                <a:cubicBezTo>
                  <a:pt x="21" y="25"/>
                  <a:pt x="16" y="23"/>
                  <a:pt x="16" y="22"/>
                </a:cubicBezTo>
                <a:cubicBezTo>
                  <a:pt x="17" y="21"/>
                  <a:pt x="18" y="20"/>
                  <a:pt x="20" y="19"/>
                </a:cubicBezTo>
                <a:cubicBezTo>
                  <a:pt x="22" y="17"/>
                  <a:pt x="24" y="15"/>
                  <a:pt x="27" y="14"/>
                </a:cubicBezTo>
                <a:cubicBezTo>
                  <a:pt x="29" y="12"/>
                  <a:pt x="26" y="9"/>
                  <a:pt x="27" y="8"/>
                </a:cubicBezTo>
                <a:cubicBezTo>
                  <a:pt x="29" y="6"/>
                  <a:pt x="30" y="4"/>
                  <a:pt x="32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29" name="Freeform 725">
            <a:extLst>
              <a:ext uri="{FF2B5EF4-FFF2-40B4-BE49-F238E27FC236}">
                <a16:creationId xmlns:a16="http://schemas.microsoft.com/office/drawing/2014/main" id="{8DCAFB7E-788E-1843-B34F-654403A12F22}"/>
              </a:ext>
            </a:extLst>
          </p:cNvPr>
          <p:cNvSpPr>
            <a:spLocks/>
          </p:cNvSpPr>
          <p:nvPr/>
        </p:nvSpPr>
        <p:spPr bwMode="auto">
          <a:xfrm>
            <a:off x="5593620" y="3300157"/>
            <a:ext cx="123540" cy="128866"/>
          </a:xfrm>
          <a:custGeom>
            <a:avLst/>
            <a:gdLst>
              <a:gd name="T0" fmla="*/ 21 w 24"/>
              <a:gd name="T1" fmla="*/ 8 h 25"/>
              <a:gd name="T2" fmla="*/ 18 w 24"/>
              <a:gd name="T3" fmla="*/ 5 h 25"/>
              <a:gd name="T4" fmla="*/ 15 w 24"/>
              <a:gd name="T5" fmla="*/ 6 h 25"/>
              <a:gd name="T6" fmla="*/ 16 w 24"/>
              <a:gd name="T7" fmla="*/ 1 h 25"/>
              <a:gd name="T8" fmla="*/ 10 w 24"/>
              <a:gd name="T9" fmla="*/ 1 h 25"/>
              <a:gd name="T10" fmla="*/ 10 w 24"/>
              <a:gd name="T11" fmla="*/ 2 h 25"/>
              <a:gd name="T12" fmla="*/ 9 w 24"/>
              <a:gd name="T13" fmla="*/ 3 h 25"/>
              <a:gd name="T14" fmla="*/ 11 w 24"/>
              <a:gd name="T15" fmla="*/ 4 h 25"/>
              <a:gd name="T16" fmla="*/ 9 w 24"/>
              <a:gd name="T17" fmla="*/ 5 h 25"/>
              <a:gd name="T18" fmla="*/ 2 w 24"/>
              <a:gd name="T19" fmla="*/ 6 h 25"/>
              <a:gd name="T20" fmla="*/ 3 w 24"/>
              <a:gd name="T21" fmla="*/ 7 h 25"/>
              <a:gd name="T22" fmla="*/ 2 w 24"/>
              <a:gd name="T23" fmla="*/ 8 h 25"/>
              <a:gd name="T24" fmla="*/ 2 w 24"/>
              <a:gd name="T25" fmla="*/ 8 h 25"/>
              <a:gd name="T26" fmla="*/ 1 w 24"/>
              <a:gd name="T27" fmla="*/ 8 h 25"/>
              <a:gd name="T28" fmla="*/ 3 w 24"/>
              <a:gd name="T29" fmla="*/ 10 h 25"/>
              <a:gd name="T30" fmla="*/ 6 w 24"/>
              <a:gd name="T31" fmla="*/ 13 h 25"/>
              <a:gd name="T32" fmla="*/ 5 w 24"/>
              <a:gd name="T33" fmla="*/ 17 h 25"/>
              <a:gd name="T34" fmla="*/ 1 w 24"/>
              <a:gd name="T35" fmla="*/ 20 h 25"/>
              <a:gd name="T36" fmla="*/ 3 w 24"/>
              <a:gd name="T37" fmla="*/ 20 h 25"/>
              <a:gd name="T38" fmla="*/ 0 w 24"/>
              <a:gd name="T39" fmla="*/ 22 h 25"/>
              <a:gd name="T40" fmla="*/ 3 w 24"/>
              <a:gd name="T41" fmla="*/ 21 h 25"/>
              <a:gd name="T42" fmla="*/ 2 w 24"/>
              <a:gd name="T43" fmla="*/ 24 h 25"/>
              <a:gd name="T44" fmla="*/ 4 w 24"/>
              <a:gd name="T45" fmla="*/ 23 h 25"/>
              <a:gd name="T46" fmla="*/ 4 w 24"/>
              <a:gd name="T47" fmla="*/ 25 h 25"/>
              <a:gd name="T48" fmla="*/ 8 w 24"/>
              <a:gd name="T49" fmla="*/ 24 h 25"/>
              <a:gd name="T50" fmla="*/ 17 w 24"/>
              <a:gd name="T51" fmla="*/ 20 h 25"/>
              <a:gd name="T52" fmla="*/ 22 w 24"/>
              <a:gd name="T53" fmla="*/ 16 h 25"/>
              <a:gd name="T54" fmla="*/ 21 w 24"/>
              <a:gd name="T55" fmla="*/ 8 h 25"/>
              <a:gd name="T56" fmla="*/ 21 w 24"/>
              <a:gd name="T57" fmla="*/ 8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4" h="25">
                <a:moveTo>
                  <a:pt x="21" y="8"/>
                </a:moveTo>
                <a:cubicBezTo>
                  <a:pt x="20" y="8"/>
                  <a:pt x="19" y="5"/>
                  <a:pt x="18" y="5"/>
                </a:cubicBezTo>
                <a:cubicBezTo>
                  <a:pt x="16" y="6"/>
                  <a:pt x="17" y="7"/>
                  <a:pt x="15" y="6"/>
                </a:cubicBezTo>
                <a:cubicBezTo>
                  <a:pt x="11" y="5"/>
                  <a:pt x="15" y="3"/>
                  <a:pt x="16" y="1"/>
                </a:cubicBezTo>
                <a:cubicBezTo>
                  <a:pt x="14" y="1"/>
                  <a:pt x="11" y="0"/>
                  <a:pt x="10" y="1"/>
                </a:cubicBezTo>
                <a:cubicBezTo>
                  <a:pt x="10" y="1"/>
                  <a:pt x="12" y="1"/>
                  <a:pt x="10" y="2"/>
                </a:cubicBezTo>
                <a:cubicBezTo>
                  <a:pt x="10" y="2"/>
                  <a:pt x="8" y="3"/>
                  <a:pt x="9" y="3"/>
                </a:cubicBezTo>
                <a:cubicBezTo>
                  <a:pt x="9" y="4"/>
                  <a:pt x="11" y="3"/>
                  <a:pt x="11" y="4"/>
                </a:cubicBezTo>
                <a:cubicBezTo>
                  <a:pt x="12" y="5"/>
                  <a:pt x="9" y="5"/>
                  <a:pt x="9" y="5"/>
                </a:cubicBezTo>
                <a:cubicBezTo>
                  <a:pt x="7" y="6"/>
                  <a:pt x="3" y="5"/>
                  <a:pt x="2" y="6"/>
                </a:cubicBezTo>
                <a:cubicBezTo>
                  <a:pt x="2" y="6"/>
                  <a:pt x="3" y="6"/>
                  <a:pt x="3" y="7"/>
                </a:cubicBezTo>
                <a:cubicBezTo>
                  <a:pt x="3" y="7"/>
                  <a:pt x="1" y="7"/>
                  <a:pt x="2" y="8"/>
                </a:cubicBezTo>
                <a:cubicBezTo>
                  <a:pt x="2" y="8"/>
                  <a:pt x="2" y="8"/>
                  <a:pt x="2" y="8"/>
                </a:cubicBezTo>
                <a:cubicBezTo>
                  <a:pt x="3" y="8"/>
                  <a:pt x="1" y="8"/>
                  <a:pt x="1" y="8"/>
                </a:cubicBezTo>
                <a:cubicBezTo>
                  <a:pt x="1" y="9"/>
                  <a:pt x="5" y="9"/>
                  <a:pt x="3" y="10"/>
                </a:cubicBezTo>
                <a:cubicBezTo>
                  <a:pt x="0" y="12"/>
                  <a:pt x="4" y="13"/>
                  <a:pt x="6" y="13"/>
                </a:cubicBezTo>
                <a:cubicBezTo>
                  <a:pt x="7" y="13"/>
                  <a:pt x="5" y="16"/>
                  <a:pt x="5" y="17"/>
                </a:cubicBezTo>
                <a:cubicBezTo>
                  <a:pt x="4" y="17"/>
                  <a:pt x="2" y="21"/>
                  <a:pt x="1" y="20"/>
                </a:cubicBezTo>
                <a:cubicBezTo>
                  <a:pt x="1" y="20"/>
                  <a:pt x="3" y="20"/>
                  <a:pt x="3" y="20"/>
                </a:cubicBezTo>
                <a:cubicBezTo>
                  <a:pt x="2" y="21"/>
                  <a:pt x="1" y="20"/>
                  <a:pt x="0" y="22"/>
                </a:cubicBezTo>
                <a:cubicBezTo>
                  <a:pt x="0" y="22"/>
                  <a:pt x="3" y="21"/>
                  <a:pt x="3" y="21"/>
                </a:cubicBezTo>
                <a:cubicBezTo>
                  <a:pt x="3" y="21"/>
                  <a:pt x="2" y="23"/>
                  <a:pt x="2" y="24"/>
                </a:cubicBezTo>
                <a:cubicBezTo>
                  <a:pt x="2" y="24"/>
                  <a:pt x="4" y="23"/>
                  <a:pt x="4" y="23"/>
                </a:cubicBezTo>
                <a:cubicBezTo>
                  <a:pt x="4" y="23"/>
                  <a:pt x="4" y="24"/>
                  <a:pt x="4" y="25"/>
                </a:cubicBezTo>
                <a:cubicBezTo>
                  <a:pt x="5" y="25"/>
                  <a:pt x="7" y="24"/>
                  <a:pt x="8" y="24"/>
                </a:cubicBezTo>
                <a:cubicBezTo>
                  <a:pt x="11" y="23"/>
                  <a:pt x="14" y="20"/>
                  <a:pt x="17" y="20"/>
                </a:cubicBezTo>
                <a:cubicBezTo>
                  <a:pt x="21" y="20"/>
                  <a:pt x="20" y="19"/>
                  <a:pt x="22" y="16"/>
                </a:cubicBezTo>
                <a:cubicBezTo>
                  <a:pt x="24" y="13"/>
                  <a:pt x="21" y="11"/>
                  <a:pt x="21" y="8"/>
                </a:cubicBezTo>
                <a:cubicBezTo>
                  <a:pt x="20" y="8"/>
                  <a:pt x="21" y="9"/>
                  <a:pt x="21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30" name="Freeform 726">
            <a:extLst>
              <a:ext uri="{FF2B5EF4-FFF2-40B4-BE49-F238E27FC236}">
                <a16:creationId xmlns:a16="http://schemas.microsoft.com/office/drawing/2014/main" id="{CB87BADB-46B8-FB45-B660-9737E7613EF5}"/>
              </a:ext>
            </a:extLst>
          </p:cNvPr>
          <p:cNvSpPr>
            <a:spLocks/>
          </p:cNvSpPr>
          <p:nvPr/>
        </p:nvSpPr>
        <p:spPr bwMode="auto">
          <a:xfrm>
            <a:off x="5655388" y="3294863"/>
            <a:ext cx="82948" cy="51193"/>
          </a:xfrm>
          <a:custGeom>
            <a:avLst/>
            <a:gdLst>
              <a:gd name="T0" fmla="*/ 1 w 16"/>
              <a:gd name="T1" fmla="*/ 6 h 10"/>
              <a:gd name="T2" fmla="*/ 4 w 16"/>
              <a:gd name="T3" fmla="*/ 8 h 10"/>
              <a:gd name="T4" fmla="*/ 5 w 16"/>
              <a:gd name="T5" fmla="*/ 7 h 10"/>
              <a:gd name="T6" fmla="*/ 8 w 16"/>
              <a:gd name="T7" fmla="*/ 8 h 10"/>
              <a:gd name="T8" fmla="*/ 11 w 16"/>
              <a:gd name="T9" fmla="*/ 4 h 10"/>
              <a:gd name="T10" fmla="*/ 11 w 16"/>
              <a:gd name="T11" fmla="*/ 2 h 10"/>
              <a:gd name="T12" fmla="*/ 7 w 16"/>
              <a:gd name="T13" fmla="*/ 1 h 10"/>
              <a:gd name="T14" fmla="*/ 4 w 16"/>
              <a:gd name="T15" fmla="*/ 2 h 10"/>
              <a:gd name="T16" fmla="*/ 1 w 16"/>
              <a:gd name="T17" fmla="*/ 6 h 10"/>
              <a:gd name="T18" fmla="*/ 1 w 16"/>
              <a:gd name="T19" fmla="*/ 6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" h="10">
                <a:moveTo>
                  <a:pt x="1" y="6"/>
                </a:moveTo>
                <a:cubicBezTo>
                  <a:pt x="0" y="7"/>
                  <a:pt x="3" y="8"/>
                  <a:pt x="4" y="8"/>
                </a:cubicBezTo>
                <a:cubicBezTo>
                  <a:pt x="4" y="8"/>
                  <a:pt x="5" y="7"/>
                  <a:pt x="5" y="7"/>
                </a:cubicBezTo>
                <a:cubicBezTo>
                  <a:pt x="6" y="6"/>
                  <a:pt x="7" y="7"/>
                  <a:pt x="8" y="8"/>
                </a:cubicBezTo>
                <a:cubicBezTo>
                  <a:pt x="10" y="10"/>
                  <a:pt x="16" y="5"/>
                  <a:pt x="11" y="4"/>
                </a:cubicBezTo>
                <a:cubicBezTo>
                  <a:pt x="12" y="4"/>
                  <a:pt x="11" y="2"/>
                  <a:pt x="11" y="2"/>
                </a:cubicBezTo>
                <a:cubicBezTo>
                  <a:pt x="10" y="0"/>
                  <a:pt x="9" y="0"/>
                  <a:pt x="7" y="1"/>
                </a:cubicBezTo>
                <a:cubicBezTo>
                  <a:pt x="6" y="1"/>
                  <a:pt x="4" y="1"/>
                  <a:pt x="4" y="2"/>
                </a:cubicBezTo>
                <a:cubicBezTo>
                  <a:pt x="3" y="3"/>
                  <a:pt x="1" y="4"/>
                  <a:pt x="1" y="6"/>
                </a:cubicBezTo>
                <a:cubicBezTo>
                  <a:pt x="1" y="6"/>
                  <a:pt x="1" y="5"/>
                  <a:pt x="1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31" name="Freeform 727">
            <a:extLst>
              <a:ext uri="{FF2B5EF4-FFF2-40B4-BE49-F238E27FC236}">
                <a16:creationId xmlns:a16="http://schemas.microsoft.com/office/drawing/2014/main" id="{A5D70826-58AF-AE40-A3DF-1676EDA7307A}"/>
              </a:ext>
            </a:extLst>
          </p:cNvPr>
          <p:cNvSpPr>
            <a:spLocks/>
          </p:cNvSpPr>
          <p:nvPr/>
        </p:nvSpPr>
        <p:spPr bwMode="auto">
          <a:xfrm>
            <a:off x="5625386" y="3683229"/>
            <a:ext cx="324731" cy="238317"/>
          </a:xfrm>
          <a:custGeom>
            <a:avLst/>
            <a:gdLst>
              <a:gd name="T0" fmla="*/ 58 w 63"/>
              <a:gd name="T1" fmla="*/ 8 h 46"/>
              <a:gd name="T2" fmla="*/ 52 w 63"/>
              <a:gd name="T3" fmla="*/ 6 h 46"/>
              <a:gd name="T4" fmla="*/ 49 w 63"/>
              <a:gd name="T5" fmla="*/ 6 h 46"/>
              <a:gd name="T6" fmla="*/ 45 w 63"/>
              <a:gd name="T7" fmla="*/ 6 h 46"/>
              <a:gd name="T8" fmla="*/ 40 w 63"/>
              <a:gd name="T9" fmla="*/ 4 h 46"/>
              <a:gd name="T10" fmla="*/ 38 w 63"/>
              <a:gd name="T11" fmla="*/ 2 h 46"/>
              <a:gd name="T12" fmla="*/ 35 w 63"/>
              <a:gd name="T13" fmla="*/ 2 h 46"/>
              <a:gd name="T14" fmla="*/ 31 w 63"/>
              <a:gd name="T15" fmla="*/ 2 h 46"/>
              <a:gd name="T16" fmla="*/ 27 w 63"/>
              <a:gd name="T17" fmla="*/ 2 h 46"/>
              <a:gd name="T18" fmla="*/ 17 w 63"/>
              <a:gd name="T19" fmla="*/ 1 h 46"/>
              <a:gd name="T20" fmla="*/ 8 w 63"/>
              <a:gd name="T21" fmla="*/ 0 h 46"/>
              <a:gd name="T22" fmla="*/ 2 w 63"/>
              <a:gd name="T23" fmla="*/ 3 h 46"/>
              <a:gd name="T24" fmla="*/ 2 w 63"/>
              <a:gd name="T25" fmla="*/ 6 h 46"/>
              <a:gd name="T26" fmla="*/ 2 w 63"/>
              <a:gd name="T27" fmla="*/ 11 h 46"/>
              <a:gd name="T28" fmla="*/ 5 w 63"/>
              <a:gd name="T29" fmla="*/ 10 h 46"/>
              <a:gd name="T30" fmla="*/ 7 w 63"/>
              <a:gd name="T31" fmla="*/ 12 h 46"/>
              <a:gd name="T32" fmla="*/ 12 w 63"/>
              <a:gd name="T33" fmla="*/ 11 h 46"/>
              <a:gd name="T34" fmla="*/ 14 w 63"/>
              <a:gd name="T35" fmla="*/ 14 h 46"/>
              <a:gd name="T36" fmla="*/ 13 w 63"/>
              <a:gd name="T37" fmla="*/ 20 h 46"/>
              <a:gd name="T38" fmla="*/ 12 w 63"/>
              <a:gd name="T39" fmla="*/ 25 h 46"/>
              <a:gd name="T40" fmla="*/ 12 w 63"/>
              <a:gd name="T41" fmla="*/ 28 h 46"/>
              <a:gd name="T42" fmla="*/ 10 w 63"/>
              <a:gd name="T43" fmla="*/ 33 h 46"/>
              <a:gd name="T44" fmla="*/ 10 w 63"/>
              <a:gd name="T45" fmla="*/ 38 h 46"/>
              <a:gd name="T46" fmla="*/ 17 w 63"/>
              <a:gd name="T47" fmla="*/ 44 h 46"/>
              <a:gd name="T48" fmla="*/ 20 w 63"/>
              <a:gd name="T49" fmla="*/ 45 h 46"/>
              <a:gd name="T50" fmla="*/ 21 w 63"/>
              <a:gd name="T51" fmla="*/ 43 h 46"/>
              <a:gd name="T52" fmla="*/ 24 w 63"/>
              <a:gd name="T53" fmla="*/ 42 h 46"/>
              <a:gd name="T54" fmla="*/ 36 w 63"/>
              <a:gd name="T55" fmla="*/ 41 h 46"/>
              <a:gd name="T56" fmla="*/ 39 w 63"/>
              <a:gd name="T57" fmla="*/ 38 h 46"/>
              <a:gd name="T58" fmla="*/ 43 w 63"/>
              <a:gd name="T59" fmla="*/ 35 h 46"/>
              <a:gd name="T60" fmla="*/ 47 w 63"/>
              <a:gd name="T61" fmla="*/ 30 h 46"/>
              <a:gd name="T62" fmla="*/ 45 w 63"/>
              <a:gd name="T63" fmla="*/ 26 h 46"/>
              <a:gd name="T64" fmla="*/ 48 w 63"/>
              <a:gd name="T65" fmla="*/ 21 h 46"/>
              <a:gd name="T66" fmla="*/ 50 w 63"/>
              <a:gd name="T67" fmla="*/ 19 h 46"/>
              <a:gd name="T68" fmla="*/ 51 w 63"/>
              <a:gd name="T69" fmla="*/ 17 h 46"/>
              <a:gd name="T70" fmla="*/ 60 w 63"/>
              <a:gd name="T71" fmla="*/ 13 h 46"/>
              <a:gd name="T72" fmla="*/ 63 w 63"/>
              <a:gd name="T73" fmla="*/ 9 h 46"/>
              <a:gd name="T74" fmla="*/ 58 w 63"/>
              <a:gd name="T75" fmla="*/ 8 h 46"/>
              <a:gd name="T76" fmla="*/ 58 w 63"/>
              <a:gd name="T77" fmla="*/ 8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3" h="46">
                <a:moveTo>
                  <a:pt x="58" y="8"/>
                </a:moveTo>
                <a:cubicBezTo>
                  <a:pt x="55" y="8"/>
                  <a:pt x="54" y="7"/>
                  <a:pt x="52" y="6"/>
                </a:cubicBezTo>
                <a:cubicBezTo>
                  <a:pt x="51" y="5"/>
                  <a:pt x="50" y="6"/>
                  <a:pt x="49" y="6"/>
                </a:cubicBezTo>
                <a:cubicBezTo>
                  <a:pt x="48" y="6"/>
                  <a:pt x="46" y="6"/>
                  <a:pt x="45" y="6"/>
                </a:cubicBezTo>
                <a:cubicBezTo>
                  <a:pt x="43" y="5"/>
                  <a:pt x="41" y="4"/>
                  <a:pt x="40" y="4"/>
                </a:cubicBezTo>
                <a:cubicBezTo>
                  <a:pt x="39" y="3"/>
                  <a:pt x="39" y="3"/>
                  <a:pt x="38" y="2"/>
                </a:cubicBezTo>
                <a:cubicBezTo>
                  <a:pt x="37" y="3"/>
                  <a:pt x="36" y="2"/>
                  <a:pt x="35" y="2"/>
                </a:cubicBezTo>
                <a:cubicBezTo>
                  <a:pt x="33" y="1"/>
                  <a:pt x="32" y="2"/>
                  <a:pt x="31" y="2"/>
                </a:cubicBezTo>
                <a:cubicBezTo>
                  <a:pt x="29" y="2"/>
                  <a:pt x="28" y="2"/>
                  <a:pt x="27" y="2"/>
                </a:cubicBezTo>
                <a:cubicBezTo>
                  <a:pt x="24" y="2"/>
                  <a:pt x="21" y="1"/>
                  <a:pt x="17" y="1"/>
                </a:cubicBezTo>
                <a:cubicBezTo>
                  <a:pt x="15" y="1"/>
                  <a:pt x="11" y="0"/>
                  <a:pt x="8" y="0"/>
                </a:cubicBezTo>
                <a:cubicBezTo>
                  <a:pt x="7" y="1"/>
                  <a:pt x="4" y="2"/>
                  <a:pt x="2" y="3"/>
                </a:cubicBezTo>
                <a:cubicBezTo>
                  <a:pt x="0" y="4"/>
                  <a:pt x="1" y="5"/>
                  <a:pt x="2" y="6"/>
                </a:cubicBezTo>
                <a:cubicBezTo>
                  <a:pt x="2" y="8"/>
                  <a:pt x="2" y="9"/>
                  <a:pt x="2" y="11"/>
                </a:cubicBezTo>
                <a:cubicBezTo>
                  <a:pt x="3" y="11"/>
                  <a:pt x="5" y="10"/>
                  <a:pt x="5" y="10"/>
                </a:cubicBezTo>
                <a:cubicBezTo>
                  <a:pt x="6" y="10"/>
                  <a:pt x="5" y="12"/>
                  <a:pt x="7" y="12"/>
                </a:cubicBezTo>
                <a:cubicBezTo>
                  <a:pt x="9" y="12"/>
                  <a:pt x="10" y="11"/>
                  <a:pt x="12" y="11"/>
                </a:cubicBezTo>
                <a:cubicBezTo>
                  <a:pt x="14" y="10"/>
                  <a:pt x="16" y="13"/>
                  <a:pt x="14" y="14"/>
                </a:cubicBezTo>
                <a:cubicBezTo>
                  <a:pt x="12" y="16"/>
                  <a:pt x="13" y="17"/>
                  <a:pt x="13" y="20"/>
                </a:cubicBezTo>
                <a:cubicBezTo>
                  <a:pt x="12" y="21"/>
                  <a:pt x="13" y="24"/>
                  <a:pt x="12" y="25"/>
                </a:cubicBezTo>
                <a:cubicBezTo>
                  <a:pt x="9" y="25"/>
                  <a:pt x="10" y="26"/>
                  <a:pt x="12" y="28"/>
                </a:cubicBezTo>
                <a:cubicBezTo>
                  <a:pt x="13" y="29"/>
                  <a:pt x="10" y="31"/>
                  <a:pt x="10" y="33"/>
                </a:cubicBezTo>
                <a:cubicBezTo>
                  <a:pt x="12" y="35"/>
                  <a:pt x="10" y="36"/>
                  <a:pt x="10" y="38"/>
                </a:cubicBezTo>
                <a:cubicBezTo>
                  <a:pt x="13" y="37"/>
                  <a:pt x="15" y="42"/>
                  <a:pt x="17" y="44"/>
                </a:cubicBezTo>
                <a:cubicBezTo>
                  <a:pt x="17" y="45"/>
                  <a:pt x="19" y="46"/>
                  <a:pt x="20" y="45"/>
                </a:cubicBezTo>
                <a:cubicBezTo>
                  <a:pt x="20" y="45"/>
                  <a:pt x="21" y="44"/>
                  <a:pt x="21" y="43"/>
                </a:cubicBezTo>
                <a:cubicBezTo>
                  <a:pt x="22" y="43"/>
                  <a:pt x="24" y="42"/>
                  <a:pt x="24" y="42"/>
                </a:cubicBezTo>
                <a:cubicBezTo>
                  <a:pt x="28" y="41"/>
                  <a:pt x="32" y="42"/>
                  <a:pt x="36" y="41"/>
                </a:cubicBezTo>
                <a:cubicBezTo>
                  <a:pt x="37" y="40"/>
                  <a:pt x="37" y="39"/>
                  <a:pt x="39" y="38"/>
                </a:cubicBezTo>
                <a:cubicBezTo>
                  <a:pt x="41" y="37"/>
                  <a:pt x="42" y="36"/>
                  <a:pt x="43" y="35"/>
                </a:cubicBezTo>
                <a:cubicBezTo>
                  <a:pt x="44" y="32"/>
                  <a:pt x="45" y="31"/>
                  <a:pt x="47" y="30"/>
                </a:cubicBezTo>
                <a:cubicBezTo>
                  <a:pt x="48" y="29"/>
                  <a:pt x="46" y="27"/>
                  <a:pt x="45" y="26"/>
                </a:cubicBezTo>
                <a:cubicBezTo>
                  <a:pt x="45" y="25"/>
                  <a:pt x="47" y="22"/>
                  <a:pt x="48" y="21"/>
                </a:cubicBezTo>
                <a:cubicBezTo>
                  <a:pt x="48" y="21"/>
                  <a:pt x="49" y="20"/>
                  <a:pt x="50" y="19"/>
                </a:cubicBezTo>
                <a:cubicBezTo>
                  <a:pt x="50" y="19"/>
                  <a:pt x="50" y="17"/>
                  <a:pt x="51" y="17"/>
                </a:cubicBezTo>
                <a:cubicBezTo>
                  <a:pt x="54" y="15"/>
                  <a:pt x="57" y="14"/>
                  <a:pt x="60" y="13"/>
                </a:cubicBezTo>
                <a:cubicBezTo>
                  <a:pt x="61" y="12"/>
                  <a:pt x="63" y="11"/>
                  <a:pt x="63" y="9"/>
                </a:cubicBezTo>
                <a:cubicBezTo>
                  <a:pt x="62" y="7"/>
                  <a:pt x="60" y="9"/>
                  <a:pt x="58" y="8"/>
                </a:cubicBezTo>
                <a:cubicBezTo>
                  <a:pt x="55" y="8"/>
                  <a:pt x="60" y="9"/>
                  <a:pt x="58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32" name="Freeform 728">
            <a:extLst>
              <a:ext uri="{FF2B5EF4-FFF2-40B4-BE49-F238E27FC236}">
                <a16:creationId xmlns:a16="http://schemas.microsoft.com/office/drawing/2014/main" id="{B5359450-A9BE-994B-9421-EE39C4199BD1}"/>
              </a:ext>
            </a:extLst>
          </p:cNvPr>
          <p:cNvSpPr>
            <a:spLocks/>
          </p:cNvSpPr>
          <p:nvPr/>
        </p:nvSpPr>
        <p:spPr bwMode="auto">
          <a:xfrm>
            <a:off x="5625386" y="3734424"/>
            <a:ext cx="82948" cy="157114"/>
          </a:xfrm>
          <a:custGeom>
            <a:avLst/>
            <a:gdLst>
              <a:gd name="T0" fmla="*/ 11 w 16"/>
              <a:gd name="T1" fmla="*/ 25 h 30"/>
              <a:gd name="T2" fmla="*/ 11 w 16"/>
              <a:gd name="T3" fmla="*/ 21 h 30"/>
              <a:gd name="T4" fmla="*/ 10 w 16"/>
              <a:gd name="T5" fmla="*/ 16 h 30"/>
              <a:gd name="T6" fmla="*/ 12 w 16"/>
              <a:gd name="T7" fmla="*/ 14 h 30"/>
              <a:gd name="T8" fmla="*/ 13 w 16"/>
              <a:gd name="T9" fmla="*/ 9 h 30"/>
              <a:gd name="T10" fmla="*/ 14 w 16"/>
              <a:gd name="T11" fmla="*/ 4 h 30"/>
              <a:gd name="T12" fmla="*/ 12 w 16"/>
              <a:gd name="T13" fmla="*/ 1 h 30"/>
              <a:gd name="T14" fmla="*/ 7 w 16"/>
              <a:gd name="T15" fmla="*/ 2 h 30"/>
              <a:gd name="T16" fmla="*/ 5 w 16"/>
              <a:gd name="T17" fmla="*/ 0 h 30"/>
              <a:gd name="T18" fmla="*/ 4 w 16"/>
              <a:gd name="T19" fmla="*/ 0 h 30"/>
              <a:gd name="T20" fmla="*/ 3 w 16"/>
              <a:gd name="T21" fmla="*/ 4 h 30"/>
              <a:gd name="T22" fmla="*/ 3 w 16"/>
              <a:gd name="T23" fmla="*/ 8 h 30"/>
              <a:gd name="T24" fmla="*/ 2 w 16"/>
              <a:gd name="T25" fmla="*/ 13 h 30"/>
              <a:gd name="T26" fmla="*/ 0 w 16"/>
              <a:gd name="T27" fmla="*/ 20 h 30"/>
              <a:gd name="T28" fmla="*/ 2 w 16"/>
              <a:gd name="T29" fmla="*/ 22 h 30"/>
              <a:gd name="T30" fmla="*/ 2 w 16"/>
              <a:gd name="T31" fmla="*/ 28 h 30"/>
              <a:gd name="T32" fmla="*/ 6 w 16"/>
              <a:gd name="T33" fmla="*/ 30 h 30"/>
              <a:gd name="T34" fmla="*/ 11 w 16"/>
              <a:gd name="T35" fmla="*/ 25 h 30"/>
              <a:gd name="T36" fmla="*/ 11 w 16"/>
              <a:gd name="T37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6" h="30">
                <a:moveTo>
                  <a:pt x="11" y="25"/>
                </a:moveTo>
                <a:cubicBezTo>
                  <a:pt x="12" y="23"/>
                  <a:pt x="10" y="22"/>
                  <a:pt x="11" y="21"/>
                </a:cubicBezTo>
                <a:cubicBezTo>
                  <a:pt x="12" y="18"/>
                  <a:pt x="12" y="18"/>
                  <a:pt x="10" y="16"/>
                </a:cubicBezTo>
                <a:cubicBezTo>
                  <a:pt x="9" y="14"/>
                  <a:pt x="11" y="15"/>
                  <a:pt x="12" y="14"/>
                </a:cubicBezTo>
                <a:cubicBezTo>
                  <a:pt x="13" y="13"/>
                  <a:pt x="13" y="10"/>
                  <a:pt x="13" y="9"/>
                </a:cubicBezTo>
                <a:cubicBezTo>
                  <a:pt x="13" y="6"/>
                  <a:pt x="12" y="6"/>
                  <a:pt x="14" y="4"/>
                </a:cubicBezTo>
                <a:cubicBezTo>
                  <a:pt x="16" y="3"/>
                  <a:pt x="14" y="0"/>
                  <a:pt x="12" y="1"/>
                </a:cubicBezTo>
                <a:cubicBezTo>
                  <a:pt x="10" y="1"/>
                  <a:pt x="9" y="2"/>
                  <a:pt x="7" y="2"/>
                </a:cubicBezTo>
                <a:cubicBezTo>
                  <a:pt x="5" y="2"/>
                  <a:pt x="6" y="0"/>
                  <a:pt x="5" y="0"/>
                </a:cubicBezTo>
                <a:cubicBezTo>
                  <a:pt x="6" y="0"/>
                  <a:pt x="3" y="0"/>
                  <a:pt x="4" y="0"/>
                </a:cubicBezTo>
                <a:cubicBezTo>
                  <a:pt x="2" y="1"/>
                  <a:pt x="3" y="2"/>
                  <a:pt x="3" y="4"/>
                </a:cubicBezTo>
                <a:cubicBezTo>
                  <a:pt x="3" y="5"/>
                  <a:pt x="3" y="7"/>
                  <a:pt x="3" y="8"/>
                </a:cubicBezTo>
                <a:cubicBezTo>
                  <a:pt x="2" y="10"/>
                  <a:pt x="2" y="12"/>
                  <a:pt x="2" y="13"/>
                </a:cubicBezTo>
                <a:cubicBezTo>
                  <a:pt x="1" y="16"/>
                  <a:pt x="0" y="17"/>
                  <a:pt x="0" y="20"/>
                </a:cubicBezTo>
                <a:cubicBezTo>
                  <a:pt x="1" y="21"/>
                  <a:pt x="2" y="20"/>
                  <a:pt x="2" y="22"/>
                </a:cubicBezTo>
                <a:cubicBezTo>
                  <a:pt x="3" y="23"/>
                  <a:pt x="2" y="26"/>
                  <a:pt x="2" y="28"/>
                </a:cubicBezTo>
                <a:cubicBezTo>
                  <a:pt x="2" y="30"/>
                  <a:pt x="4" y="30"/>
                  <a:pt x="6" y="30"/>
                </a:cubicBezTo>
                <a:cubicBezTo>
                  <a:pt x="10" y="30"/>
                  <a:pt x="9" y="27"/>
                  <a:pt x="11" y="25"/>
                </a:cubicBezTo>
                <a:cubicBezTo>
                  <a:pt x="12" y="23"/>
                  <a:pt x="10" y="26"/>
                  <a:pt x="11" y="2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33" name="Freeform 729">
            <a:extLst>
              <a:ext uri="{FF2B5EF4-FFF2-40B4-BE49-F238E27FC236}">
                <a16:creationId xmlns:a16="http://schemas.microsoft.com/office/drawing/2014/main" id="{8BD4DB98-15A7-4349-9820-52A1CF24B733}"/>
              </a:ext>
            </a:extLst>
          </p:cNvPr>
          <p:cNvSpPr>
            <a:spLocks/>
          </p:cNvSpPr>
          <p:nvPr/>
        </p:nvSpPr>
        <p:spPr bwMode="auto">
          <a:xfrm>
            <a:off x="6624289" y="5155493"/>
            <a:ext cx="273552" cy="457215"/>
          </a:xfrm>
          <a:custGeom>
            <a:avLst/>
            <a:gdLst>
              <a:gd name="T0" fmla="*/ 52 w 53"/>
              <a:gd name="T1" fmla="*/ 23 h 88"/>
              <a:gd name="T2" fmla="*/ 50 w 53"/>
              <a:gd name="T3" fmla="*/ 3 h 88"/>
              <a:gd name="T4" fmla="*/ 46 w 53"/>
              <a:gd name="T5" fmla="*/ 3 h 88"/>
              <a:gd name="T6" fmla="*/ 41 w 53"/>
              <a:gd name="T7" fmla="*/ 6 h 88"/>
              <a:gd name="T8" fmla="*/ 38 w 53"/>
              <a:gd name="T9" fmla="*/ 7 h 88"/>
              <a:gd name="T10" fmla="*/ 32 w 53"/>
              <a:gd name="T11" fmla="*/ 7 h 88"/>
              <a:gd name="T12" fmla="*/ 28 w 53"/>
              <a:gd name="T13" fmla="*/ 7 h 88"/>
              <a:gd name="T14" fmla="*/ 23 w 53"/>
              <a:gd name="T15" fmla="*/ 7 h 88"/>
              <a:gd name="T16" fmla="*/ 24 w 53"/>
              <a:gd name="T17" fmla="*/ 18 h 88"/>
              <a:gd name="T18" fmla="*/ 25 w 53"/>
              <a:gd name="T19" fmla="*/ 20 h 88"/>
              <a:gd name="T20" fmla="*/ 27 w 53"/>
              <a:gd name="T21" fmla="*/ 22 h 88"/>
              <a:gd name="T22" fmla="*/ 27 w 53"/>
              <a:gd name="T23" fmla="*/ 28 h 88"/>
              <a:gd name="T24" fmla="*/ 25 w 53"/>
              <a:gd name="T25" fmla="*/ 31 h 88"/>
              <a:gd name="T26" fmla="*/ 24 w 53"/>
              <a:gd name="T27" fmla="*/ 35 h 88"/>
              <a:gd name="T28" fmla="*/ 20 w 53"/>
              <a:gd name="T29" fmla="*/ 31 h 88"/>
              <a:gd name="T30" fmla="*/ 21 w 53"/>
              <a:gd name="T31" fmla="*/ 25 h 88"/>
              <a:gd name="T32" fmla="*/ 16 w 53"/>
              <a:gd name="T33" fmla="*/ 22 h 88"/>
              <a:gd name="T34" fmla="*/ 13 w 53"/>
              <a:gd name="T35" fmla="*/ 20 h 88"/>
              <a:gd name="T36" fmla="*/ 2 w 53"/>
              <a:gd name="T37" fmla="*/ 24 h 88"/>
              <a:gd name="T38" fmla="*/ 0 w 53"/>
              <a:gd name="T39" fmla="*/ 26 h 88"/>
              <a:gd name="T40" fmla="*/ 1 w 53"/>
              <a:gd name="T41" fmla="*/ 30 h 88"/>
              <a:gd name="T42" fmla="*/ 12 w 53"/>
              <a:gd name="T43" fmla="*/ 35 h 88"/>
              <a:gd name="T44" fmla="*/ 13 w 53"/>
              <a:gd name="T45" fmla="*/ 44 h 88"/>
              <a:gd name="T46" fmla="*/ 12 w 53"/>
              <a:gd name="T47" fmla="*/ 52 h 88"/>
              <a:gd name="T48" fmla="*/ 6 w 53"/>
              <a:gd name="T49" fmla="*/ 62 h 88"/>
              <a:gd name="T50" fmla="*/ 6 w 53"/>
              <a:gd name="T51" fmla="*/ 69 h 88"/>
              <a:gd name="T52" fmla="*/ 8 w 53"/>
              <a:gd name="T53" fmla="*/ 78 h 88"/>
              <a:gd name="T54" fmla="*/ 9 w 53"/>
              <a:gd name="T55" fmla="*/ 87 h 88"/>
              <a:gd name="T56" fmla="*/ 12 w 53"/>
              <a:gd name="T57" fmla="*/ 86 h 88"/>
              <a:gd name="T58" fmla="*/ 13 w 53"/>
              <a:gd name="T59" fmla="*/ 83 h 88"/>
              <a:gd name="T60" fmla="*/ 11 w 53"/>
              <a:gd name="T61" fmla="*/ 83 h 88"/>
              <a:gd name="T62" fmla="*/ 16 w 53"/>
              <a:gd name="T63" fmla="*/ 77 h 88"/>
              <a:gd name="T64" fmla="*/ 25 w 53"/>
              <a:gd name="T65" fmla="*/ 72 h 88"/>
              <a:gd name="T66" fmla="*/ 25 w 53"/>
              <a:gd name="T67" fmla="*/ 64 h 88"/>
              <a:gd name="T68" fmla="*/ 21 w 53"/>
              <a:gd name="T69" fmla="*/ 48 h 88"/>
              <a:gd name="T70" fmla="*/ 24 w 53"/>
              <a:gd name="T71" fmla="*/ 48 h 88"/>
              <a:gd name="T72" fmla="*/ 29 w 53"/>
              <a:gd name="T73" fmla="*/ 44 h 88"/>
              <a:gd name="T74" fmla="*/ 35 w 53"/>
              <a:gd name="T75" fmla="*/ 38 h 88"/>
              <a:gd name="T76" fmla="*/ 40 w 53"/>
              <a:gd name="T77" fmla="*/ 36 h 88"/>
              <a:gd name="T78" fmla="*/ 46 w 53"/>
              <a:gd name="T79" fmla="*/ 32 h 88"/>
              <a:gd name="T80" fmla="*/ 52 w 53"/>
              <a:gd name="T81" fmla="*/ 23 h 88"/>
              <a:gd name="T82" fmla="*/ 52 w 53"/>
              <a:gd name="T83" fmla="*/ 23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3" h="88">
                <a:moveTo>
                  <a:pt x="52" y="23"/>
                </a:moveTo>
                <a:cubicBezTo>
                  <a:pt x="49" y="17"/>
                  <a:pt x="50" y="9"/>
                  <a:pt x="50" y="3"/>
                </a:cubicBezTo>
                <a:cubicBezTo>
                  <a:pt x="50" y="0"/>
                  <a:pt x="48" y="2"/>
                  <a:pt x="46" y="3"/>
                </a:cubicBezTo>
                <a:cubicBezTo>
                  <a:pt x="45" y="4"/>
                  <a:pt x="43" y="6"/>
                  <a:pt x="41" y="6"/>
                </a:cubicBezTo>
                <a:cubicBezTo>
                  <a:pt x="40" y="6"/>
                  <a:pt x="38" y="5"/>
                  <a:pt x="38" y="7"/>
                </a:cubicBezTo>
                <a:cubicBezTo>
                  <a:pt x="36" y="10"/>
                  <a:pt x="34" y="7"/>
                  <a:pt x="32" y="7"/>
                </a:cubicBezTo>
                <a:cubicBezTo>
                  <a:pt x="30" y="7"/>
                  <a:pt x="30" y="9"/>
                  <a:pt x="28" y="7"/>
                </a:cubicBezTo>
                <a:cubicBezTo>
                  <a:pt x="27" y="7"/>
                  <a:pt x="24" y="7"/>
                  <a:pt x="23" y="7"/>
                </a:cubicBezTo>
                <a:cubicBezTo>
                  <a:pt x="20" y="7"/>
                  <a:pt x="21" y="16"/>
                  <a:pt x="24" y="18"/>
                </a:cubicBezTo>
                <a:cubicBezTo>
                  <a:pt x="24" y="18"/>
                  <a:pt x="24" y="20"/>
                  <a:pt x="25" y="20"/>
                </a:cubicBezTo>
                <a:cubicBezTo>
                  <a:pt x="25" y="21"/>
                  <a:pt x="26" y="21"/>
                  <a:pt x="27" y="22"/>
                </a:cubicBezTo>
                <a:cubicBezTo>
                  <a:pt x="27" y="24"/>
                  <a:pt x="27" y="27"/>
                  <a:pt x="27" y="28"/>
                </a:cubicBezTo>
                <a:cubicBezTo>
                  <a:pt x="27" y="30"/>
                  <a:pt x="28" y="31"/>
                  <a:pt x="25" y="31"/>
                </a:cubicBezTo>
                <a:cubicBezTo>
                  <a:pt x="24" y="31"/>
                  <a:pt x="24" y="34"/>
                  <a:pt x="24" y="35"/>
                </a:cubicBezTo>
                <a:cubicBezTo>
                  <a:pt x="23" y="34"/>
                  <a:pt x="21" y="32"/>
                  <a:pt x="20" y="31"/>
                </a:cubicBezTo>
                <a:cubicBezTo>
                  <a:pt x="19" y="29"/>
                  <a:pt x="21" y="27"/>
                  <a:pt x="21" y="25"/>
                </a:cubicBezTo>
                <a:cubicBezTo>
                  <a:pt x="22" y="20"/>
                  <a:pt x="19" y="24"/>
                  <a:pt x="16" y="22"/>
                </a:cubicBezTo>
                <a:cubicBezTo>
                  <a:pt x="15" y="21"/>
                  <a:pt x="15" y="19"/>
                  <a:pt x="13" y="20"/>
                </a:cubicBezTo>
                <a:cubicBezTo>
                  <a:pt x="9" y="22"/>
                  <a:pt x="6" y="23"/>
                  <a:pt x="2" y="24"/>
                </a:cubicBezTo>
                <a:cubicBezTo>
                  <a:pt x="1" y="25"/>
                  <a:pt x="0" y="25"/>
                  <a:pt x="0" y="26"/>
                </a:cubicBezTo>
                <a:cubicBezTo>
                  <a:pt x="0" y="27"/>
                  <a:pt x="1" y="29"/>
                  <a:pt x="1" y="30"/>
                </a:cubicBezTo>
                <a:cubicBezTo>
                  <a:pt x="4" y="30"/>
                  <a:pt x="12" y="32"/>
                  <a:pt x="12" y="35"/>
                </a:cubicBezTo>
                <a:cubicBezTo>
                  <a:pt x="13" y="38"/>
                  <a:pt x="13" y="41"/>
                  <a:pt x="13" y="44"/>
                </a:cubicBezTo>
                <a:cubicBezTo>
                  <a:pt x="12" y="46"/>
                  <a:pt x="14" y="49"/>
                  <a:pt x="12" y="52"/>
                </a:cubicBezTo>
                <a:cubicBezTo>
                  <a:pt x="10" y="55"/>
                  <a:pt x="8" y="59"/>
                  <a:pt x="6" y="62"/>
                </a:cubicBezTo>
                <a:cubicBezTo>
                  <a:pt x="4" y="64"/>
                  <a:pt x="6" y="68"/>
                  <a:pt x="6" y="69"/>
                </a:cubicBezTo>
                <a:cubicBezTo>
                  <a:pt x="8" y="73"/>
                  <a:pt x="8" y="75"/>
                  <a:pt x="8" y="78"/>
                </a:cubicBezTo>
                <a:cubicBezTo>
                  <a:pt x="8" y="81"/>
                  <a:pt x="8" y="84"/>
                  <a:pt x="9" y="87"/>
                </a:cubicBezTo>
                <a:cubicBezTo>
                  <a:pt x="9" y="88"/>
                  <a:pt x="12" y="87"/>
                  <a:pt x="12" y="86"/>
                </a:cubicBezTo>
                <a:cubicBezTo>
                  <a:pt x="13" y="85"/>
                  <a:pt x="13" y="83"/>
                  <a:pt x="13" y="83"/>
                </a:cubicBezTo>
                <a:cubicBezTo>
                  <a:pt x="12" y="83"/>
                  <a:pt x="11" y="83"/>
                  <a:pt x="11" y="83"/>
                </a:cubicBezTo>
                <a:cubicBezTo>
                  <a:pt x="11" y="80"/>
                  <a:pt x="14" y="78"/>
                  <a:pt x="16" y="77"/>
                </a:cubicBezTo>
                <a:cubicBezTo>
                  <a:pt x="19" y="76"/>
                  <a:pt x="23" y="75"/>
                  <a:pt x="25" y="72"/>
                </a:cubicBezTo>
                <a:cubicBezTo>
                  <a:pt x="25" y="71"/>
                  <a:pt x="25" y="66"/>
                  <a:pt x="25" y="64"/>
                </a:cubicBezTo>
                <a:cubicBezTo>
                  <a:pt x="25" y="62"/>
                  <a:pt x="21" y="48"/>
                  <a:pt x="21" y="48"/>
                </a:cubicBezTo>
                <a:cubicBezTo>
                  <a:pt x="22" y="47"/>
                  <a:pt x="22" y="50"/>
                  <a:pt x="24" y="48"/>
                </a:cubicBezTo>
                <a:cubicBezTo>
                  <a:pt x="26" y="46"/>
                  <a:pt x="27" y="45"/>
                  <a:pt x="29" y="44"/>
                </a:cubicBezTo>
                <a:cubicBezTo>
                  <a:pt x="31" y="43"/>
                  <a:pt x="32" y="37"/>
                  <a:pt x="35" y="38"/>
                </a:cubicBezTo>
                <a:cubicBezTo>
                  <a:pt x="36" y="38"/>
                  <a:pt x="38" y="36"/>
                  <a:pt x="40" y="36"/>
                </a:cubicBezTo>
                <a:cubicBezTo>
                  <a:pt x="42" y="35"/>
                  <a:pt x="44" y="34"/>
                  <a:pt x="46" y="32"/>
                </a:cubicBezTo>
                <a:cubicBezTo>
                  <a:pt x="47" y="31"/>
                  <a:pt x="53" y="25"/>
                  <a:pt x="52" y="23"/>
                </a:cubicBezTo>
                <a:cubicBezTo>
                  <a:pt x="51" y="22"/>
                  <a:pt x="52" y="24"/>
                  <a:pt x="52" y="2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34" name="Freeform 730">
            <a:extLst>
              <a:ext uri="{FF2B5EF4-FFF2-40B4-BE49-F238E27FC236}">
                <a16:creationId xmlns:a16="http://schemas.microsoft.com/office/drawing/2014/main" id="{DDD89279-BC8D-3941-995C-E001612F48EF}"/>
              </a:ext>
            </a:extLst>
          </p:cNvPr>
          <p:cNvSpPr>
            <a:spLocks/>
          </p:cNvSpPr>
          <p:nvPr/>
        </p:nvSpPr>
        <p:spPr bwMode="auto">
          <a:xfrm>
            <a:off x="6686059" y="5141371"/>
            <a:ext cx="82948" cy="195950"/>
          </a:xfrm>
          <a:custGeom>
            <a:avLst/>
            <a:gdLst>
              <a:gd name="T0" fmla="*/ 4 w 16"/>
              <a:gd name="T1" fmla="*/ 25 h 38"/>
              <a:gd name="T2" fmla="*/ 9 w 16"/>
              <a:gd name="T3" fmla="*/ 26 h 38"/>
              <a:gd name="T4" fmla="*/ 8 w 16"/>
              <a:gd name="T5" fmla="*/ 31 h 38"/>
              <a:gd name="T6" fmla="*/ 12 w 16"/>
              <a:gd name="T7" fmla="*/ 38 h 38"/>
              <a:gd name="T8" fmla="*/ 12 w 16"/>
              <a:gd name="T9" fmla="*/ 34 h 38"/>
              <a:gd name="T10" fmla="*/ 15 w 16"/>
              <a:gd name="T11" fmla="*/ 33 h 38"/>
              <a:gd name="T12" fmla="*/ 15 w 16"/>
              <a:gd name="T13" fmla="*/ 27 h 38"/>
              <a:gd name="T14" fmla="*/ 12 w 16"/>
              <a:gd name="T15" fmla="*/ 22 h 38"/>
              <a:gd name="T16" fmla="*/ 8 w 16"/>
              <a:gd name="T17" fmla="*/ 20 h 38"/>
              <a:gd name="T18" fmla="*/ 8 w 16"/>
              <a:gd name="T19" fmla="*/ 16 h 38"/>
              <a:gd name="T20" fmla="*/ 7 w 16"/>
              <a:gd name="T21" fmla="*/ 14 h 38"/>
              <a:gd name="T22" fmla="*/ 8 w 16"/>
              <a:gd name="T23" fmla="*/ 8 h 38"/>
              <a:gd name="T24" fmla="*/ 7 w 16"/>
              <a:gd name="T25" fmla="*/ 3 h 38"/>
              <a:gd name="T26" fmla="*/ 7 w 16"/>
              <a:gd name="T27" fmla="*/ 1 h 38"/>
              <a:gd name="T28" fmla="*/ 2 w 16"/>
              <a:gd name="T29" fmla="*/ 0 h 38"/>
              <a:gd name="T30" fmla="*/ 4 w 16"/>
              <a:gd name="T31" fmla="*/ 6 h 38"/>
              <a:gd name="T32" fmla="*/ 4 w 16"/>
              <a:gd name="T33" fmla="*/ 14 h 38"/>
              <a:gd name="T34" fmla="*/ 2 w 16"/>
              <a:gd name="T35" fmla="*/ 16 h 38"/>
              <a:gd name="T36" fmla="*/ 1 w 16"/>
              <a:gd name="T37" fmla="*/ 20 h 38"/>
              <a:gd name="T38" fmla="*/ 4 w 16"/>
              <a:gd name="T39" fmla="*/ 25 h 38"/>
              <a:gd name="T40" fmla="*/ 4 w 16"/>
              <a:gd name="T41" fmla="*/ 25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6" h="38">
                <a:moveTo>
                  <a:pt x="4" y="25"/>
                </a:moveTo>
                <a:cubicBezTo>
                  <a:pt x="6" y="26"/>
                  <a:pt x="9" y="24"/>
                  <a:pt x="9" y="26"/>
                </a:cubicBezTo>
                <a:cubicBezTo>
                  <a:pt x="10" y="28"/>
                  <a:pt x="9" y="29"/>
                  <a:pt x="8" y="31"/>
                </a:cubicBezTo>
                <a:cubicBezTo>
                  <a:pt x="6" y="33"/>
                  <a:pt x="10" y="36"/>
                  <a:pt x="12" y="38"/>
                </a:cubicBezTo>
                <a:cubicBezTo>
                  <a:pt x="13" y="37"/>
                  <a:pt x="12" y="35"/>
                  <a:pt x="12" y="34"/>
                </a:cubicBezTo>
                <a:cubicBezTo>
                  <a:pt x="13" y="33"/>
                  <a:pt x="16" y="35"/>
                  <a:pt x="15" y="33"/>
                </a:cubicBezTo>
                <a:cubicBezTo>
                  <a:pt x="15" y="31"/>
                  <a:pt x="15" y="29"/>
                  <a:pt x="15" y="27"/>
                </a:cubicBezTo>
                <a:cubicBezTo>
                  <a:pt x="14" y="25"/>
                  <a:pt x="13" y="24"/>
                  <a:pt x="12" y="22"/>
                </a:cubicBezTo>
                <a:cubicBezTo>
                  <a:pt x="11" y="25"/>
                  <a:pt x="8" y="21"/>
                  <a:pt x="8" y="20"/>
                </a:cubicBezTo>
                <a:cubicBezTo>
                  <a:pt x="8" y="18"/>
                  <a:pt x="8" y="17"/>
                  <a:pt x="8" y="16"/>
                </a:cubicBezTo>
                <a:cubicBezTo>
                  <a:pt x="8" y="14"/>
                  <a:pt x="8" y="15"/>
                  <a:pt x="7" y="14"/>
                </a:cubicBezTo>
                <a:cubicBezTo>
                  <a:pt x="6" y="14"/>
                  <a:pt x="8" y="8"/>
                  <a:pt x="8" y="8"/>
                </a:cubicBezTo>
                <a:cubicBezTo>
                  <a:pt x="8" y="6"/>
                  <a:pt x="7" y="5"/>
                  <a:pt x="7" y="3"/>
                </a:cubicBezTo>
                <a:cubicBezTo>
                  <a:pt x="6" y="2"/>
                  <a:pt x="5" y="0"/>
                  <a:pt x="7" y="1"/>
                </a:cubicBezTo>
                <a:cubicBezTo>
                  <a:pt x="6" y="0"/>
                  <a:pt x="3" y="0"/>
                  <a:pt x="2" y="0"/>
                </a:cubicBezTo>
                <a:cubicBezTo>
                  <a:pt x="2" y="1"/>
                  <a:pt x="6" y="5"/>
                  <a:pt x="4" y="6"/>
                </a:cubicBezTo>
                <a:cubicBezTo>
                  <a:pt x="1" y="7"/>
                  <a:pt x="2" y="12"/>
                  <a:pt x="4" y="14"/>
                </a:cubicBezTo>
                <a:cubicBezTo>
                  <a:pt x="4" y="15"/>
                  <a:pt x="2" y="15"/>
                  <a:pt x="2" y="16"/>
                </a:cubicBezTo>
                <a:cubicBezTo>
                  <a:pt x="1" y="16"/>
                  <a:pt x="1" y="19"/>
                  <a:pt x="1" y="20"/>
                </a:cubicBezTo>
                <a:cubicBezTo>
                  <a:pt x="0" y="22"/>
                  <a:pt x="3" y="24"/>
                  <a:pt x="4" y="25"/>
                </a:cubicBezTo>
                <a:cubicBezTo>
                  <a:pt x="5" y="26"/>
                  <a:pt x="4" y="24"/>
                  <a:pt x="4" y="2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35" name="Freeform 731">
            <a:extLst>
              <a:ext uri="{FF2B5EF4-FFF2-40B4-BE49-F238E27FC236}">
                <a16:creationId xmlns:a16="http://schemas.microsoft.com/office/drawing/2014/main" id="{C12F11A3-367B-814A-907F-B004128E108F}"/>
              </a:ext>
            </a:extLst>
          </p:cNvPr>
          <p:cNvSpPr>
            <a:spLocks/>
          </p:cNvSpPr>
          <p:nvPr/>
        </p:nvSpPr>
        <p:spPr bwMode="auto">
          <a:xfrm>
            <a:off x="6405448" y="5104300"/>
            <a:ext cx="310612" cy="259501"/>
          </a:xfrm>
          <a:custGeom>
            <a:avLst/>
            <a:gdLst>
              <a:gd name="T0" fmla="*/ 56 w 60"/>
              <a:gd name="T1" fmla="*/ 30 h 50"/>
              <a:gd name="T2" fmla="*/ 55 w 60"/>
              <a:gd name="T3" fmla="*/ 24 h 50"/>
              <a:gd name="T4" fmla="*/ 57 w 60"/>
              <a:gd name="T5" fmla="*/ 22 h 50"/>
              <a:gd name="T6" fmla="*/ 57 w 60"/>
              <a:gd name="T7" fmla="*/ 19 h 50"/>
              <a:gd name="T8" fmla="*/ 58 w 60"/>
              <a:gd name="T9" fmla="*/ 13 h 50"/>
              <a:gd name="T10" fmla="*/ 56 w 60"/>
              <a:gd name="T11" fmla="*/ 8 h 50"/>
              <a:gd name="T12" fmla="*/ 51 w 60"/>
              <a:gd name="T13" fmla="*/ 5 h 50"/>
              <a:gd name="T14" fmla="*/ 48 w 60"/>
              <a:gd name="T15" fmla="*/ 3 h 50"/>
              <a:gd name="T16" fmla="*/ 45 w 60"/>
              <a:gd name="T17" fmla="*/ 0 h 50"/>
              <a:gd name="T18" fmla="*/ 38 w 60"/>
              <a:gd name="T19" fmla="*/ 1 h 50"/>
              <a:gd name="T20" fmla="*/ 34 w 60"/>
              <a:gd name="T21" fmla="*/ 4 h 50"/>
              <a:gd name="T22" fmla="*/ 35 w 60"/>
              <a:gd name="T23" fmla="*/ 10 h 50"/>
              <a:gd name="T24" fmla="*/ 33 w 60"/>
              <a:gd name="T25" fmla="*/ 17 h 50"/>
              <a:gd name="T26" fmla="*/ 37 w 60"/>
              <a:gd name="T27" fmla="*/ 21 h 50"/>
              <a:gd name="T28" fmla="*/ 40 w 60"/>
              <a:gd name="T29" fmla="*/ 23 h 50"/>
              <a:gd name="T30" fmla="*/ 39 w 60"/>
              <a:gd name="T31" fmla="*/ 26 h 50"/>
              <a:gd name="T32" fmla="*/ 35 w 60"/>
              <a:gd name="T33" fmla="*/ 26 h 50"/>
              <a:gd name="T34" fmla="*/ 31 w 60"/>
              <a:gd name="T35" fmla="*/ 22 h 50"/>
              <a:gd name="T36" fmla="*/ 27 w 60"/>
              <a:gd name="T37" fmla="*/ 17 h 50"/>
              <a:gd name="T38" fmla="*/ 20 w 60"/>
              <a:gd name="T39" fmla="*/ 18 h 50"/>
              <a:gd name="T40" fmla="*/ 16 w 60"/>
              <a:gd name="T41" fmla="*/ 16 h 50"/>
              <a:gd name="T42" fmla="*/ 14 w 60"/>
              <a:gd name="T43" fmla="*/ 16 h 50"/>
              <a:gd name="T44" fmla="*/ 11 w 60"/>
              <a:gd name="T45" fmla="*/ 14 h 50"/>
              <a:gd name="T46" fmla="*/ 11 w 60"/>
              <a:gd name="T47" fmla="*/ 20 h 50"/>
              <a:gd name="T48" fmla="*/ 10 w 60"/>
              <a:gd name="T49" fmla="*/ 24 h 50"/>
              <a:gd name="T50" fmla="*/ 2 w 60"/>
              <a:gd name="T51" fmla="*/ 24 h 50"/>
              <a:gd name="T52" fmla="*/ 1 w 60"/>
              <a:gd name="T53" fmla="*/ 29 h 50"/>
              <a:gd name="T54" fmla="*/ 3 w 60"/>
              <a:gd name="T55" fmla="*/ 43 h 50"/>
              <a:gd name="T56" fmla="*/ 8 w 60"/>
              <a:gd name="T57" fmla="*/ 48 h 50"/>
              <a:gd name="T58" fmla="*/ 16 w 60"/>
              <a:gd name="T59" fmla="*/ 50 h 50"/>
              <a:gd name="T60" fmla="*/ 18 w 60"/>
              <a:gd name="T61" fmla="*/ 50 h 50"/>
              <a:gd name="T62" fmla="*/ 22 w 60"/>
              <a:gd name="T63" fmla="*/ 50 h 50"/>
              <a:gd name="T64" fmla="*/ 28 w 60"/>
              <a:gd name="T65" fmla="*/ 47 h 50"/>
              <a:gd name="T66" fmla="*/ 31 w 60"/>
              <a:gd name="T67" fmla="*/ 44 h 50"/>
              <a:gd name="T68" fmla="*/ 35 w 60"/>
              <a:gd name="T69" fmla="*/ 41 h 50"/>
              <a:gd name="T70" fmla="*/ 37 w 60"/>
              <a:gd name="T71" fmla="*/ 38 h 50"/>
              <a:gd name="T72" fmla="*/ 43 w 60"/>
              <a:gd name="T73" fmla="*/ 38 h 50"/>
              <a:gd name="T74" fmla="*/ 42 w 60"/>
              <a:gd name="T75" fmla="*/ 35 h 50"/>
              <a:gd name="T76" fmla="*/ 46 w 60"/>
              <a:gd name="T77" fmla="*/ 33 h 50"/>
              <a:gd name="T78" fmla="*/ 56 w 60"/>
              <a:gd name="T79" fmla="*/ 30 h 50"/>
              <a:gd name="T80" fmla="*/ 56 w 60"/>
              <a:gd name="T81" fmla="*/ 3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0" h="50">
                <a:moveTo>
                  <a:pt x="56" y="30"/>
                </a:moveTo>
                <a:cubicBezTo>
                  <a:pt x="54" y="27"/>
                  <a:pt x="56" y="27"/>
                  <a:pt x="55" y="24"/>
                </a:cubicBezTo>
                <a:cubicBezTo>
                  <a:pt x="55" y="23"/>
                  <a:pt x="56" y="23"/>
                  <a:pt x="57" y="22"/>
                </a:cubicBezTo>
                <a:cubicBezTo>
                  <a:pt x="58" y="21"/>
                  <a:pt x="57" y="20"/>
                  <a:pt x="57" y="19"/>
                </a:cubicBezTo>
                <a:cubicBezTo>
                  <a:pt x="56" y="17"/>
                  <a:pt x="56" y="14"/>
                  <a:pt x="58" y="13"/>
                </a:cubicBezTo>
                <a:cubicBezTo>
                  <a:pt x="60" y="12"/>
                  <a:pt x="57" y="9"/>
                  <a:pt x="56" y="8"/>
                </a:cubicBezTo>
                <a:cubicBezTo>
                  <a:pt x="55" y="6"/>
                  <a:pt x="53" y="5"/>
                  <a:pt x="51" y="5"/>
                </a:cubicBezTo>
                <a:cubicBezTo>
                  <a:pt x="50" y="4"/>
                  <a:pt x="49" y="3"/>
                  <a:pt x="48" y="3"/>
                </a:cubicBezTo>
                <a:cubicBezTo>
                  <a:pt x="47" y="2"/>
                  <a:pt x="46" y="1"/>
                  <a:pt x="45" y="0"/>
                </a:cubicBezTo>
                <a:cubicBezTo>
                  <a:pt x="45" y="0"/>
                  <a:pt x="39" y="1"/>
                  <a:pt x="38" y="1"/>
                </a:cubicBezTo>
                <a:cubicBezTo>
                  <a:pt x="36" y="1"/>
                  <a:pt x="36" y="3"/>
                  <a:pt x="34" y="4"/>
                </a:cubicBezTo>
                <a:cubicBezTo>
                  <a:pt x="33" y="6"/>
                  <a:pt x="34" y="9"/>
                  <a:pt x="35" y="10"/>
                </a:cubicBezTo>
                <a:cubicBezTo>
                  <a:pt x="35" y="13"/>
                  <a:pt x="33" y="14"/>
                  <a:pt x="33" y="17"/>
                </a:cubicBezTo>
                <a:cubicBezTo>
                  <a:pt x="33" y="18"/>
                  <a:pt x="35" y="21"/>
                  <a:pt x="37" y="21"/>
                </a:cubicBezTo>
                <a:cubicBezTo>
                  <a:pt x="39" y="21"/>
                  <a:pt x="40" y="20"/>
                  <a:pt x="40" y="23"/>
                </a:cubicBezTo>
                <a:cubicBezTo>
                  <a:pt x="40" y="25"/>
                  <a:pt x="40" y="26"/>
                  <a:pt x="39" y="26"/>
                </a:cubicBezTo>
                <a:cubicBezTo>
                  <a:pt x="37" y="27"/>
                  <a:pt x="36" y="28"/>
                  <a:pt x="35" y="26"/>
                </a:cubicBezTo>
                <a:cubicBezTo>
                  <a:pt x="34" y="24"/>
                  <a:pt x="33" y="22"/>
                  <a:pt x="31" y="22"/>
                </a:cubicBezTo>
                <a:cubicBezTo>
                  <a:pt x="29" y="21"/>
                  <a:pt x="28" y="19"/>
                  <a:pt x="27" y="17"/>
                </a:cubicBezTo>
                <a:cubicBezTo>
                  <a:pt x="25" y="21"/>
                  <a:pt x="23" y="19"/>
                  <a:pt x="20" y="18"/>
                </a:cubicBezTo>
                <a:cubicBezTo>
                  <a:pt x="18" y="18"/>
                  <a:pt x="18" y="16"/>
                  <a:pt x="16" y="16"/>
                </a:cubicBezTo>
                <a:cubicBezTo>
                  <a:pt x="16" y="16"/>
                  <a:pt x="15" y="17"/>
                  <a:pt x="14" y="16"/>
                </a:cubicBezTo>
                <a:cubicBezTo>
                  <a:pt x="13" y="16"/>
                  <a:pt x="13" y="14"/>
                  <a:pt x="11" y="14"/>
                </a:cubicBezTo>
                <a:cubicBezTo>
                  <a:pt x="11" y="16"/>
                  <a:pt x="11" y="18"/>
                  <a:pt x="11" y="20"/>
                </a:cubicBezTo>
                <a:cubicBezTo>
                  <a:pt x="11" y="22"/>
                  <a:pt x="12" y="24"/>
                  <a:pt x="10" y="24"/>
                </a:cubicBezTo>
                <a:cubicBezTo>
                  <a:pt x="7" y="24"/>
                  <a:pt x="4" y="24"/>
                  <a:pt x="2" y="24"/>
                </a:cubicBezTo>
                <a:cubicBezTo>
                  <a:pt x="1" y="24"/>
                  <a:pt x="1" y="28"/>
                  <a:pt x="1" y="29"/>
                </a:cubicBezTo>
                <a:cubicBezTo>
                  <a:pt x="1" y="33"/>
                  <a:pt x="0" y="40"/>
                  <a:pt x="3" y="43"/>
                </a:cubicBezTo>
                <a:cubicBezTo>
                  <a:pt x="4" y="44"/>
                  <a:pt x="7" y="48"/>
                  <a:pt x="8" y="48"/>
                </a:cubicBezTo>
                <a:cubicBezTo>
                  <a:pt x="10" y="47"/>
                  <a:pt x="19" y="47"/>
                  <a:pt x="16" y="50"/>
                </a:cubicBezTo>
                <a:cubicBezTo>
                  <a:pt x="18" y="50"/>
                  <a:pt x="17" y="50"/>
                  <a:pt x="18" y="50"/>
                </a:cubicBezTo>
                <a:cubicBezTo>
                  <a:pt x="20" y="49"/>
                  <a:pt x="21" y="50"/>
                  <a:pt x="22" y="50"/>
                </a:cubicBezTo>
                <a:cubicBezTo>
                  <a:pt x="25" y="50"/>
                  <a:pt x="27" y="50"/>
                  <a:pt x="28" y="47"/>
                </a:cubicBezTo>
                <a:cubicBezTo>
                  <a:pt x="29" y="46"/>
                  <a:pt x="30" y="45"/>
                  <a:pt x="31" y="44"/>
                </a:cubicBezTo>
                <a:cubicBezTo>
                  <a:pt x="32" y="43"/>
                  <a:pt x="34" y="43"/>
                  <a:pt x="35" y="41"/>
                </a:cubicBezTo>
                <a:cubicBezTo>
                  <a:pt x="36" y="40"/>
                  <a:pt x="36" y="39"/>
                  <a:pt x="37" y="38"/>
                </a:cubicBezTo>
                <a:cubicBezTo>
                  <a:pt x="39" y="38"/>
                  <a:pt x="41" y="38"/>
                  <a:pt x="43" y="38"/>
                </a:cubicBezTo>
                <a:cubicBezTo>
                  <a:pt x="42" y="37"/>
                  <a:pt x="42" y="35"/>
                  <a:pt x="42" y="35"/>
                </a:cubicBezTo>
                <a:cubicBezTo>
                  <a:pt x="44" y="34"/>
                  <a:pt x="45" y="34"/>
                  <a:pt x="46" y="33"/>
                </a:cubicBezTo>
                <a:cubicBezTo>
                  <a:pt x="49" y="32"/>
                  <a:pt x="53" y="31"/>
                  <a:pt x="56" y="30"/>
                </a:cubicBezTo>
                <a:cubicBezTo>
                  <a:pt x="55" y="29"/>
                  <a:pt x="55" y="30"/>
                  <a:pt x="56" y="3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36" name="Freeform 732">
            <a:extLst>
              <a:ext uri="{FF2B5EF4-FFF2-40B4-BE49-F238E27FC236}">
                <a16:creationId xmlns:a16="http://schemas.microsoft.com/office/drawing/2014/main" id="{6C9F8C33-CBAF-7347-9784-25AEA32FF7A2}"/>
              </a:ext>
            </a:extLst>
          </p:cNvPr>
          <p:cNvSpPr>
            <a:spLocks/>
          </p:cNvSpPr>
          <p:nvPr/>
        </p:nvSpPr>
        <p:spPr bwMode="auto">
          <a:xfrm>
            <a:off x="6168960" y="5337320"/>
            <a:ext cx="330026" cy="326583"/>
          </a:xfrm>
          <a:custGeom>
            <a:avLst/>
            <a:gdLst>
              <a:gd name="T0" fmla="*/ 33 w 64"/>
              <a:gd name="T1" fmla="*/ 5 h 63"/>
              <a:gd name="T2" fmla="*/ 31 w 64"/>
              <a:gd name="T3" fmla="*/ 2 h 63"/>
              <a:gd name="T4" fmla="*/ 28 w 64"/>
              <a:gd name="T5" fmla="*/ 2 h 63"/>
              <a:gd name="T6" fmla="*/ 18 w 64"/>
              <a:gd name="T7" fmla="*/ 2 h 63"/>
              <a:gd name="T8" fmla="*/ 10 w 64"/>
              <a:gd name="T9" fmla="*/ 2 h 63"/>
              <a:gd name="T10" fmla="*/ 7 w 64"/>
              <a:gd name="T11" fmla="*/ 0 h 63"/>
              <a:gd name="T12" fmla="*/ 4 w 64"/>
              <a:gd name="T13" fmla="*/ 2 h 63"/>
              <a:gd name="T14" fmla="*/ 1 w 64"/>
              <a:gd name="T15" fmla="*/ 2 h 63"/>
              <a:gd name="T16" fmla="*/ 6 w 64"/>
              <a:gd name="T17" fmla="*/ 14 h 63"/>
              <a:gd name="T18" fmla="*/ 9 w 64"/>
              <a:gd name="T19" fmla="*/ 21 h 63"/>
              <a:gd name="T20" fmla="*/ 13 w 64"/>
              <a:gd name="T21" fmla="*/ 29 h 63"/>
              <a:gd name="T22" fmla="*/ 13 w 64"/>
              <a:gd name="T23" fmla="*/ 34 h 63"/>
              <a:gd name="T24" fmla="*/ 14 w 64"/>
              <a:gd name="T25" fmla="*/ 42 h 63"/>
              <a:gd name="T26" fmla="*/ 16 w 64"/>
              <a:gd name="T27" fmla="*/ 51 h 63"/>
              <a:gd name="T28" fmla="*/ 22 w 64"/>
              <a:gd name="T29" fmla="*/ 61 h 63"/>
              <a:gd name="T30" fmla="*/ 28 w 64"/>
              <a:gd name="T31" fmla="*/ 62 h 63"/>
              <a:gd name="T32" fmla="*/ 33 w 64"/>
              <a:gd name="T33" fmla="*/ 62 h 63"/>
              <a:gd name="T34" fmla="*/ 38 w 64"/>
              <a:gd name="T35" fmla="*/ 58 h 63"/>
              <a:gd name="T36" fmla="*/ 38 w 64"/>
              <a:gd name="T37" fmla="*/ 40 h 63"/>
              <a:gd name="T38" fmla="*/ 38 w 64"/>
              <a:gd name="T39" fmla="*/ 28 h 63"/>
              <a:gd name="T40" fmla="*/ 39 w 64"/>
              <a:gd name="T41" fmla="*/ 26 h 63"/>
              <a:gd name="T42" fmla="*/ 43 w 64"/>
              <a:gd name="T43" fmla="*/ 26 h 63"/>
              <a:gd name="T44" fmla="*/ 43 w 64"/>
              <a:gd name="T45" fmla="*/ 7 h 63"/>
              <a:gd name="T46" fmla="*/ 51 w 64"/>
              <a:gd name="T47" fmla="*/ 6 h 63"/>
              <a:gd name="T48" fmla="*/ 53 w 64"/>
              <a:gd name="T49" fmla="*/ 5 h 63"/>
              <a:gd name="T50" fmla="*/ 56 w 64"/>
              <a:gd name="T51" fmla="*/ 8 h 63"/>
              <a:gd name="T52" fmla="*/ 58 w 64"/>
              <a:gd name="T53" fmla="*/ 6 h 63"/>
              <a:gd name="T54" fmla="*/ 62 w 64"/>
              <a:gd name="T55" fmla="*/ 5 h 63"/>
              <a:gd name="T56" fmla="*/ 59 w 64"/>
              <a:gd name="T57" fmla="*/ 2 h 63"/>
              <a:gd name="T58" fmla="*/ 45 w 64"/>
              <a:gd name="T59" fmla="*/ 5 h 63"/>
              <a:gd name="T60" fmla="*/ 33 w 64"/>
              <a:gd name="T61" fmla="*/ 5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64" h="63">
                <a:moveTo>
                  <a:pt x="33" y="5"/>
                </a:moveTo>
                <a:cubicBezTo>
                  <a:pt x="32" y="5"/>
                  <a:pt x="31" y="2"/>
                  <a:pt x="31" y="2"/>
                </a:cubicBezTo>
                <a:cubicBezTo>
                  <a:pt x="30" y="2"/>
                  <a:pt x="29" y="2"/>
                  <a:pt x="28" y="2"/>
                </a:cubicBezTo>
                <a:cubicBezTo>
                  <a:pt x="25" y="2"/>
                  <a:pt x="21" y="2"/>
                  <a:pt x="18" y="2"/>
                </a:cubicBezTo>
                <a:cubicBezTo>
                  <a:pt x="15" y="2"/>
                  <a:pt x="13" y="2"/>
                  <a:pt x="10" y="2"/>
                </a:cubicBezTo>
                <a:cubicBezTo>
                  <a:pt x="9" y="2"/>
                  <a:pt x="9" y="0"/>
                  <a:pt x="7" y="0"/>
                </a:cubicBezTo>
                <a:cubicBezTo>
                  <a:pt x="6" y="0"/>
                  <a:pt x="5" y="2"/>
                  <a:pt x="4" y="2"/>
                </a:cubicBezTo>
                <a:cubicBezTo>
                  <a:pt x="3" y="2"/>
                  <a:pt x="2" y="2"/>
                  <a:pt x="1" y="2"/>
                </a:cubicBezTo>
                <a:cubicBezTo>
                  <a:pt x="0" y="7"/>
                  <a:pt x="4" y="9"/>
                  <a:pt x="6" y="14"/>
                </a:cubicBezTo>
                <a:cubicBezTo>
                  <a:pt x="7" y="16"/>
                  <a:pt x="8" y="19"/>
                  <a:pt x="9" y="21"/>
                </a:cubicBezTo>
                <a:cubicBezTo>
                  <a:pt x="10" y="24"/>
                  <a:pt x="12" y="26"/>
                  <a:pt x="13" y="29"/>
                </a:cubicBezTo>
                <a:cubicBezTo>
                  <a:pt x="13" y="30"/>
                  <a:pt x="13" y="33"/>
                  <a:pt x="13" y="34"/>
                </a:cubicBezTo>
                <a:cubicBezTo>
                  <a:pt x="13" y="37"/>
                  <a:pt x="14" y="39"/>
                  <a:pt x="14" y="42"/>
                </a:cubicBezTo>
                <a:cubicBezTo>
                  <a:pt x="15" y="45"/>
                  <a:pt x="15" y="48"/>
                  <a:pt x="16" y="51"/>
                </a:cubicBezTo>
                <a:cubicBezTo>
                  <a:pt x="17" y="55"/>
                  <a:pt x="20" y="58"/>
                  <a:pt x="22" y="61"/>
                </a:cubicBezTo>
                <a:cubicBezTo>
                  <a:pt x="25" y="58"/>
                  <a:pt x="25" y="60"/>
                  <a:pt x="28" y="62"/>
                </a:cubicBezTo>
                <a:cubicBezTo>
                  <a:pt x="29" y="63"/>
                  <a:pt x="32" y="63"/>
                  <a:pt x="33" y="62"/>
                </a:cubicBezTo>
                <a:cubicBezTo>
                  <a:pt x="36" y="62"/>
                  <a:pt x="38" y="61"/>
                  <a:pt x="38" y="58"/>
                </a:cubicBezTo>
                <a:cubicBezTo>
                  <a:pt x="38" y="52"/>
                  <a:pt x="38" y="46"/>
                  <a:pt x="38" y="40"/>
                </a:cubicBezTo>
                <a:cubicBezTo>
                  <a:pt x="38" y="36"/>
                  <a:pt x="38" y="32"/>
                  <a:pt x="38" y="28"/>
                </a:cubicBezTo>
                <a:cubicBezTo>
                  <a:pt x="38" y="27"/>
                  <a:pt x="38" y="26"/>
                  <a:pt x="39" y="26"/>
                </a:cubicBezTo>
                <a:cubicBezTo>
                  <a:pt x="39" y="26"/>
                  <a:pt x="43" y="26"/>
                  <a:pt x="43" y="26"/>
                </a:cubicBezTo>
                <a:cubicBezTo>
                  <a:pt x="43" y="20"/>
                  <a:pt x="43" y="13"/>
                  <a:pt x="43" y="7"/>
                </a:cubicBezTo>
                <a:cubicBezTo>
                  <a:pt x="46" y="8"/>
                  <a:pt x="48" y="6"/>
                  <a:pt x="51" y="6"/>
                </a:cubicBezTo>
                <a:cubicBezTo>
                  <a:pt x="51" y="5"/>
                  <a:pt x="52" y="5"/>
                  <a:pt x="53" y="5"/>
                </a:cubicBezTo>
                <a:cubicBezTo>
                  <a:pt x="53" y="5"/>
                  <a:pt x="55" y="8"/>
                  <a:pt x="56" y="8"/>
                </a:cubicBezTo>
                <a:cubicBezTo>
                  <a:pt x="57" y="7"/>
                  <a:pt x="56" y="6"/>
                  <a:pt x="58" y="6"/>
                </a:cubicBezTo>
                <a:cubicBezTo>
                  <a:pt x="59" y="6"/>
                  <a:pt x="60" y="5"/>
                  <a:pt x="62" y="5"/>
                </a:cubicBezTo>
                <a:cubicBezTo>
                  <a:pt x="64" y="4"/>
                  <a:pt x="60" y="2"/>
                  <a:pt x="59" y="2"/>
                </a:cubicBezTo>
                <a:cubicBezTo>
                  <a:pt x="54" y="2"/>
                  <a:pt x="50" y="5"/>
                  <a:pt x="45" y="5"/>
                </a:cubicBezTo>
                <a:cubicBezTo>
                  <a:pt x="41" y="5"/>
                  <a:pt x="37" y="5"/>
                  <a:pt x="33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37" name="Freeform 733">
            <a:extLst>
              <a:ext uri="{FF2B5EF4-FFF2-40B4-BE49-F238E27FC236}">
                <a16:creationId xmlns:a16="http://schemas.microsoft.com/office/drawing/2014/main" id="{DE475FE3-C78D-BC43-B83D-9AED301D391C}"/>
              </a:ext>
            </a:extLst>
          </p:cNvPr>
          <p:cNvSpPr>
            <a:spLocks/>
          </p:cNvSpPr>
          <p:nvPr/>
        </p:nvSpPr>
        <p:spPr bwMode="auto">
          <a:xfrm>
            <a:off x="6177783" y="4751240"/>
            <a:ext cx="471215" cy="492521"/>
          </a:xfrm>
          <a:custGeom>
            <a:avLst/>
            <a:gdLst>
              <a:gd name="T0" fmla="*/ 89 w 91"/>
              <a:gd name="T1" fmla="*/ 10 h 95"/>
              <a:gd name="T2" fmla="*/ 83 w 91"/>
              <a:gd name="T3" fmla="*/ 4 h 95"/>
              <a:gd name="T4" fmla="*/ 77 w 91"/>
              <a:gd name="T5" fmla="*/ 6 h 95"/>
              <a:gd name="T6" fmla="*/ 72 w 91"/>
              <a:gd name="T7" fmla="*/ 1 h 95"/>
              <a:gd name="T8" fmla="*/ 65 w 91"/>
              <a:gd name="T9" fmla="*/ 1 h 95"/>
              <a:gd name="T10" fmla="*/ 57 w 91"/>
              <a:gd name="T11" fmla="*/ 2 h 95"/>
              <a:gd name="T12" fmla="*/ 48 w 91"/>
              <a:gd name="T13" fmla="*/ 6 h 95"/>
              <a:gd name="T14" fmla="*/ 35 w 91"/>
              <a:gd name="T15" fmla="*/ 2 h 95"/>
              <a:gd name="T16" fmla="*/ 30 w 91"/>
              <a:gd name="T17" fmla="*/ 12 h 95"/>
              <a:gd name="T18" fmla="*/ 19 w 91"/>
              <a:gd name="T19" fmla="*/ 35 h 95"/>
              <a:gd name="T20" fmla="*/ 17 w 91"/>
              <a:gd name="T21" fmla="*/ 48 h 95"/>
              <a:gd name="T22" fmla="*/ 10 w 91"/>
              <a:gd name="T23" fmla="*/ 49 h 95"/>
              <a:gd name="T24" fmla="*/ 2 w 91"/>
              <a:gd name="T25" fmla="*/ 55 h 95"/>
              <a:gd name="T26" fmla="*/ 1 w 91"/>
              <a:gd name="T27" fmla="*/ 59 h 95"/>
              <a:gd name="T28" fmla="*/ 18 w 91"/>
              <a:gd name="T29" fmla="*/ 57 h 95"/>
              <a:gd name="T30" fmla="*/ 26 w 91"/>
              <a:gd name="T31" fmla="*/ 68 h 95"/>
              <a:gd name="T32" fmla="*/ 35 w 91"/>
              <a:gd name="T33" fmla="*/ 63 h 95"/>
              <a:gd name="T34" fmla="*/ 41 w 91"/>
              <a:gd name="T35" fmla="*/ 64 h 95"/>
              <a:gd name="T36" fmla="*/ 46 w 91"/>
              <a:gd name="T37" fmla="*/ 70 h 95"/>
              <a:gd name="T38" fmla="*/ 47 w 91"/>
              <a:gd name="T39" fmla="*/ 78 h 95"/>
              <a:gd name="T40" fmla="*/ 53 w 91"/>
              <a:gd name="T41" fmla="*/ 82 h 95"/>
              <a:gd name="T42" fmla="*/ 60 w 91"/>
              <a:gd name="T43" fmla="*/ 84 h 95"/>
              <a:gd name="T44" fmla="*/ 66 w 91"/>
              <a:gd name="T45" fmla="*/ 87 h 95"/>
              <a:gd name="T46" fmla="*/ 76 w 91"/>
              <a:gd name="T47" fmla="*/ 90 h 95"/>
              <a:gd name="T48" fmla="*/ 84 w 91"/>
              <a:gd name="T49" fmla="*/ 94 h 95"/>
              <a:gd name="T50" fmla="*/ 77 w 91"/>
              <a:gd name="T51" fmla="*/ 85 h 95"/>
              <a:gd name="T52" fmla="*/ 78 w 91"/>
              <a:gd name="T53" fmla="*/ 73 h 95"/>
              <a:gd name="T54" fmla="*/ 80 w 91"/>
              <a:gd name="T55" fmla="*/ 70 h 95"/>
              <a:gd name="T56" fmla="*/ 84 w 91"/>
              <a:gd name="T57" fmla="*/ 63 h 95"/>
              <a:gd name="T58" fmla="*/ 81 w 91"/>
              <a:gd name="T59" fmla="*/ 55 h 95"/>
              <a:gd name="T60" fmla="*/ 81 w 91"/>
              <a:gd name="T61" fmla="*/ 45 h 95"/>
              <a:gd name="T62" fmla="*/ 83 w 91"/>
              <a:gd name="T63" fmla="*/ 28 h 95"/>
              <a:gd name="T64" fmla="*/ 90 w 91"/>
              <a:gd name="T65" fmla="*/ 18 h 95"/>
              <a:gd name="T66" fmla="*/ 90 w 91"/>
              <a:gd name="T67" fmla="*/ 15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91" h="95">
                <a:moveTo>
                  <a:pt x="90" y="15"/>
                </a:moveTo>
                <a:cubicBezTo>
                  <a:pt x="89" y="14"/>
                  <a:pt x="89" y="12"/>
                  <a:pt x="89" y="10"/>
                </a:cubicBezTo>
                <a:cubicBezTo>
                  <a:pt x="89" y="9"/>
                  <a:pt x="87" y="8"/>
                  <a:pt x="86" y="7"/>
                </a:cubicBezTo>
                <a:cubicBezTo>
                  <a:pt x="86" y="6"/>
                  <a:pt x="84" y="4"/>
                  <a:pt x="83" y="4"/>
                </a:cubicBezTo>
                <a:cubicBezTo>
                  <a:pt x="82" y="4"/>
                  <a:pt x="82" y="6"/>
                  <a:pt x="80" y="5"/>
                </a:cubicBezTo>
                <a:cubicBezTo>
                  <a:pt x="78" y="4"/>
                  <a:pt x="79" y="5"/>
                  <a:pt x="77" y="6"/>
                </a:cubicBezTo>
                <a:cubicBezTo>
                  <a:pt x="77" y="6"/>
                  <a:pt x="75" y="5"/>
                  <a:pt x="75" y="4"/>
                </a:cubicBezTo>
                <a:cubicBezTo>
                  <a:pt x="74" y="3"/>
                  <a:pt x="73" y="2"/>
                  <a:pt x="72" y="1"/>
                </a:cubicBezTo>
                <a:cubicBezTo>
                  <a:pt x="71" y="0"/>
                  <a:pt x="70" y="2"/>
                  <a:pt x="69" y="2"/>
                </a:cubicBezTo>
                <a:cubicBezTo>
                  <a:pt x="68" y="3"/>
                  <a:pt x="66" y="2"/>
                  <a:pt x="65" y="1"/>
                </a:cubicBezTo>
                <a:cubicBezTo>
                  <a:pt x="63" y="0"/>
                  <a:pt x="63" y="1"/>
                  <a:pt x="61" y="2"/>
                </a:cubicBezTo>
                <a:cubicBezTo>
                  <a:pt x="60" y="3"/>
                  <a:pt x="58" y="2"/>
                  <a:pt x="57" y="2"/>
                </a:cubicBezTo>
                <a:cubicBezTo>
                  <a:pt x="56" y="3"/>
                  <a:pt x="53" y="3"/>
                  <a:pt x="52" y="3"/>
                </a:cubicBezTo>
                <a:cubicBezTo>
                  <a:pt x="49" y="1"/>
                  <a:pt x="51" y="6"/>
                  <a:pt x="48" y="6"/>
                </a:cubicBezTo>
                <a:cubicBezTo>
                  <a:pt x="46" y="7"/>
                  <a:pt x="42" y="6"/>
                  <a:pt x="40" y="5"/>
                </a:cubicBezTo>
                <a:cubicBezTo>
                  <a:pt x="38" y="4"/>
                  <a:pt x="37" y="2"/>
                  <a:pt x="35" y="2"/>
                </a:cubicBezTo>
                <a:cubicBezTo>
                  <a:pt x="34" y="1"/>
                  <a:pt x="32" y="3"/>
                  <a:pt x="31" y="4"/>
                </a:cubicBezTo>
                <a:cubicBezTo>
                  <a:pt x="29" y="6"/>
                  <a:pt x="31" y="9"/>
                  <a:pt x="30" y="12"/>
                </a:cubicBezTo>
                <a:cubicBezTo>
                  <a:pt x="27" y="17"/>
                  <a:pt x="27" y="23"/>
                  <a:pt x="24" y="27"/>
                </a:cubicBezTo>
                <a:cubicBezTo>
                  <a:pt x="22" y="30"/>
                  <a:pt x="21" y="32"/>
                  <a:pt x="19" y="35"/>
                </a:cubicBezTo>
                <a:cubicBezTo>
                  <a:pt x="18" y="37"/>
                  <a:pt x="18" y="39"/>
                  <a:pt x="18" y="41"/>
                </a:cubicBezTo>
                <a:cubicBezTo>
                  <a:pt x="18" y="44"/>
                  <a:pt x="19" y="46"/>
                  <a:pt x="17" y="48"/>
                </a:cubicBezTo>
                <a:cubicBezTo>
                  <a:pt x="16" y="48"/>
                  <a:pt x="11" y="51"/>
                  <a:pt x="11" y="51"/>
                </a:cubicBezTo>
                <a:cubicBezTo>
                  <a:pt x="10" y="51"/>
                  <a:pt x="12" y="48"/>
                  <a:pt x="10" y="49"/>
                </a:cubicBezTo>
                <a:cubicBezTo>
                  <a:pt x="7" y="51"/>
                  <a:pt x="7" y="53"/>
                  <a:pt x="5" y="50"/>
                </a:cubicBezTo>
                <a:cubicBezTo>
                  <a:pt x="4" y="51"/>
                  <a:pt x="2" y="53"/>
                  <a:pt x="2" y="55"/>
                </a:cubicBezTo>
                <a:cubicBezTo>
                  <a:pt x="2" y="55"/>
                  <a:pt x="2" y="56"/>
                  <a:pt x="1" y="56"/>
                </a:cubicBezTo>
                <a:cubicBezTo>
                  <a:pt x="0" y="57"/>
                  <a:pt x="1" y="58"/>
                  <a:pt x="1" y="59"/>
                </a:cubicBezTo>
                <a:cubicBezTo>
                  <a:pt x="5" y="56"/>
                  <a:pt x="8" y="57"/>
                  <a:pt x="13" y="57"/>
                </a:cubicBezTo>
                <a:cubicBezTo>
                  <a:pt x="15" y="57"/>
                  <a:pt x="16" y="57"/>
                  <a:pt x="18" y="57"/>
                </a:cubicBezTo>
                <a:cubicBezTo>
                  <a:pt x="20" y="57"/>
                  <a:pt x="21" y="60"/>
                  <a:pt x="22" y="62"/>
                </a:cubicBezTo>
                <a:cubicBezTo>
                  <a:pt x="23" y="64"/>
                  <a:pt x="24" y="67"/>
                  <a:pt x="26" y="68"/>
                </a:cubicBezTo>
                <a:cubicBezTo>
                  <a:pt x="27" y="69"/>
                  <a:pt x="31" y="68"/>
                  <a:pt x="33" y="67"/>
                </a:cubicBezTo>
                <a:cubicBezTo>
                  <a:pt x="34" y="67"/>
                  <a:pt x="34" y="64"/>
                  <a:pt x="35" y="63"/>
                </a:cubicBezTo>
                <a:cubicBezTo>
                  <a:pt x="35" y="61"/>
                  <a:pt x="38" y="62"/>
                  <a:pt x="39" y="62"/>
                </a:cubicBezTo>
                <a:cubicBezTo>
                  <a:pt x="39" y="64"/>
                  <a:pt x="39" y="64"/>
                  <a:pt x="41" y="64"/>
                </a:cubicBezTo>
                <a:cubicBezTo>
                  <a:pt x="42" y="64"/>
                  <a:pt x="45" y="63"/>
                  <a:pt x="45" y="65"/>
                </a:cubicBezTo>
                <a:cubicBezTo>
                  <a:pt x="45" y="67"/>
                  <a:pt x="46" y="68"/>
                  <a:pt x="46" y="70"/>
                </a:cubicBezTo>
                <a:cubicBezTo>
                  <a:pt x="46" y="71"/>
                  <a:pt x="46" y="72"/>
                  <a:pt x="45" y="74"/>
                </a:cubicBezTo>
                <a:cubicBezTo>
                  <a:pt x="45" y="75"/>
                  <a:pt x="46" y="77"/>
                  <a:pt x="47" y="78"/>
                </a:cubicBezTo>
                <a:cubicBezTo>
                  <a:pt x="48" y="79"/>
                  <a:pt x="47" y="81"/>
                  <a:pt x="47" y="82"/>
                </a:cubicBezTo>
                <a:cubicBezTo>
                  <a:pt x="47" y="85"/>
                  <a:pt x="52" y="82"/>
                  <a:pt x="53" y="82"/>
                </a:cubicBezTo>
                <a:cubicBezTo>
                  <a:pt x="55" y="82"/>
                  <a:pt x="56" y="82"/>
                  <a:pt x="57" y="83"/>
                </a:cubicBezTo>
                <a:cubicBezTo>
                  <a:pt x="59" y="85"/>
                  <a:pt x="58" y="84"/>
                  <a:pt x="60" y="84"/>
                </a:cubicBezTo>
                <a:cubicBezTo>
                  <a:pt x="62" y="84"/>
                  <a:pt x="62" y="85"/>
                  <a:pt x="63" y="86"/>
                </a:cubicBezTo>
                <a:cubicBezTo>
                  <a:pt x="64" y="86"/>
                  <a:pt x="65" y="87"/>
                  <a:pt x="66" y="87"/>
                </a:cubicBezTo>
                <a:cubicBezTo>
                  <a:pt x="69" y="88"/>
                  <a:pt x="70" y="88"/>
                  <a:pt x="71" y="85"/>
                </a:cubicBezTo>
                <a:cubicBezTo>
                  <a:pt x="72" y="88"/>
                  <a:pt x="73" y="89"/>
                  <a:pt x="76" y="90"/>
                </a:cubicBezTo>
                <a:cubicBezTo>
                  <a:pt x="78" y="91"/>
                  <a:pt x="78" y="94"/>
                  <a:pt x="80" y="95"/>
                </a:cubicBezTo>
                <a:cubicBezTo>
                  <a:pt x="80" y="95"/>
                  <a:pt x="84" y="94"/>
                  <a:pt x="84" y="94"/>
                </a:cubicBezTo>
                <a:cubicBezTo>
                  <a:pt x="84" y="92"/>
                  <a:pt x="85" y="88"/>
                  <a:pt x="83" y="89"/>
                </a:cubicBezTo>
                <a:cubicBezTo>
                  <a:pt x="80" y="90"/>
                  <a:pt x="78" y="88"/>
                  <a:pt x="77" y="85"/>
                </a:cubicBezTo>
                <a:cubicBezTo>
                  <a:pt x="77" y="83"/>
                  <a:pt x="79" y="80"/>
                  <a:pt x="78" y="77"/>
                </a:cubicBezTo>
                <a:cubicBezTo>
                  <a:pt x="78" y="76"/>
                  <a:pt x="77" y="74"/>
                  <a:pt x="78" y="73"/>
                </a:cubicBezTo>
                <a:cubicBezTo>
                  <a:pt x="78" y="73"/>
                  <a:pt x="78" y="72"/>
                  <a:pt x="79" y="72"/>
                </a:cubicBezTo>
                <a:cubicBezTo>
                  <a:pt x="80" y="72"/>
                  <a:pt x="79" y="70"/>
                  <a:pt x="80" y="70"/>
                </a:cubicBezTo>
                <a:cubicBezTo>
                  <a:pt x="81" y="68"/>
                  <a:pt x="86" y="68"/>
                  <a:pt x="87" y="68"/>
                </a:cubicBezTo>
                <a:cubicBezTo>
                  <a:pt x="85" y="67"/>
                  <a:pt x="86" y="64"/>
                  <a:pt x="84" y="63"/>
                </a:cubicBezTo>
                <a:cubicBezTo>
                  <a:pt x="83" y="62"/>
                  <a:pt x="82" y="61"/>
                  <a:pt x="82" y="60"/>
                </a:cubicBezTo>
                <a:cubicBezTo>
                  <a:pt x="82" y="58"/>
                  <a:pt x="82" y="56"/>
                  <a:pt x="81" y="55"/>
                </a:cubicBezTo>
                <a:cubicBezTo>
                  <a:pt x="81" y="53"/>
                  <a:pt x="80" y="52"/>
                  <a:pt x="80" y="50"/>
                </a:cubicBezTo>
                <a:cubicBezTo>
                  <a:pt x="80" y="49"/>
                  <a:pt x="80" y="44"/>
                  <a:pt x="81" y="45"/>
                </a:cubicBezTo>
                <a:cubicBezTo>
                  <a:pt x="80" y="41"/>
                  <a:pt x="80" y="39"/>
                  <a:pt x="82" y="35"/>
                </a:cubicBezTo>
                <a:cubicBezTo>
                  <a:pt x="83" y="32"/>
                  <a:pt x="83" y="31"/>
                  <a:pt x="83" y="28"/>
                </a:cubicBezTo>
                <a:cubicBezTo>
                  <a:pt x="83" y="25"/>
                  <a:pt x="85" y="23"/>
                  <a:pt x="87" y="21"/>
                </a:cubicBezTo>
                <a:cubicBezTo>
                  <a:pt x="88" y="20"/>
                  <a:pt x="89" y="19"/>
                  <a:pt x="90" y="18"/>
                </a:cubicBezTo>
                <a:cubicBezTo>
                  <a:pt x="91" y="17"/>
                  <a:pt x="91" y="17"/>
                  <a:pt x="90" y="15"/>
                </a:cubicBezTo>
                <a:cubicBezTo>
                  <a:pt x="89" y="15"/>
                  <a:pt x="91" y="16"/>
                  <a:pt x="90" y="1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38" name="Freeform 734">
            <a:extLst>
              <a:ext uri="{FF2B5EF4-FFF2-40B4-BE49-F238E27FC236}">
                <a16:creationId xmlns:a16="http://schemas.microsoft.com/office/drawing/2014/main" id="{3BC72809-1382-D84D-BA10-B4EA76BC4935}"/>
              </a:ext>
            </a:extLst>
          </p:cNvPr>
          <p:cNvSpPr>
            <a:spLocks/>
          </p:cNvSpPr>
          <p:nvPr/>
        </p:nvSpPr>
        <p:spPr bwMode="auto">
          <a:xfrm>
            <a:off x="6172488" y="5042515"/>
            <a:ext cx="291200" cy="326583"/>
          </a:xfrm>
          <a:custGeom>
            <a:avLst/>
            <a:gdLst>
              <a:gd name="T0" fmla="*/ 51 w 56"/>
              <a:gd name="T1" fmla="*/ 27 h 63"/>
              <a:gd name="T2" fmla="*/ 48 w 56"/>
              <a:gd name="T3" fmla="*/ 26 h 63"/>
              <a:gd name="T4" fmla="*/ 47 w 56"/>
              <a:gd name="T5" fmla="*/ 21 h 63"/>
              <a:gd name="T6" fmla="*/ 46 w 56"/>
              <a:gd name="T7" fmla="*/ 12 h 63"/>
              <a:gd name="T8" fmla="*/ 46 w 56"/>
              <a:gd name="T9" fmla="*/ 8 h 63"/>
              <a:gd name="T10" fmla="*/ 43 w 56"/>
              <a:gd name="T11" fmla="*/ 8 h 63"/>
              <a:gd name="T12" fmla="*/ 40 w 56"/>
              <a:gd name="T13" fmla="*/ 6 h 63"/>
              <a:gd name="T14" fmla="*/ 35 w 56"/>
              <a:gd name="T15" fmla="*/ 8 h 63"/>
              <a:gd name="T16" fmla="*/ 34 w 56"/>
              <a:gd name="T17" fmla="*/ 11 h 63"/>
              <a:gd name="T18" fmla="*/ 29 w 56"/>
              <a:gd name="T19" fmla="*/ 12 h 63"/>
              <a:gd name="T20" fmla="*/ 18 w 56"/>
              <a:gd name="T21" fmla="*/ 1 h 63"/>
              <a:gd name="T22" fmla="*/ 3 w 56"/>
              <a:gd name="T23" fmla="*/ 2 h 63"/>
              <a:gd name="T24" fmla="*/ 6 w 56"/>
              <a:gd name="T25" fmla="*/ 12 h 63"/>
              <a:gd name="T26" fmla="*/ 6 w 56"/>
              <a:gd name="T27" fmla="*/ 16 h 63"/>
              <a:gd name="T28" fmla="*/ 6 w 56"/>
              <a:gd name="T29" fmla="*/ 20 h 63"/>
              <a:gd name="T30" fmla="*/ 8 w 56"/>
              <a:gd name="T31" fmla="*/ 33 h 63"/>
              <a:gd name="T32" fmla="*/ 3 w 56"/>
              <a:gd name="T33" fmla="*/ 41 h 63"/>
              <a:gd name="T34" fmla="*/ 0 w 56"/>
              <a:gd name="T35" fmla="*/ 50 h 63"/>
              <a:gd name="T36" fmla="*/ 0 w 56"/>
              <a:gd name="T37" fmla="*/ 55 h 63"/>
              <a:gd name="T38" fmla="*/ 0 w 56"/>
              <a:gd name="T39" fmla="*/ 59 h 63"/>
              <a:gd name="T40" fmla="*/ 3 w 56"/>
              <a:gd name="T41" fmla="*/ 59 h 63"/>
              <a:gd name="T42" fmla="*/ 8 w 56"/>
              <a:gd name="T43" fmla="*/ 58 h 63"/>
              <a:gd name="T44" fmla="*/ 9 w 56"/>
              <a:gd name="T45" fmla="*/ 59 h 63"/>
              <a:gd name="T46" fmla="*/ 16 w 56"/>
              <a:gd name="T47" fmla="*/ 59 h 63"/>
              <a:gd name="T48" fmla="*/ 25 w 56"/>
              <a:gd name="T49" fmla="*/ 59 h 63"/>
              <a:gd name="T50" fmla="*/ 30 w 56"/>
              <a:gd name="T51" fmla="*/ 59 h 63"/>
              <a:gd name="T52" fmla="*/ 39 w 56"/>
              <a:gd name="T53" fmla="*/ 62 h 63"/>
              <a:gd name="T54" fmla="*/ 53 w 56"/>
              <a:gd name="T55" fmla="*/ 60 h 63"/>
              <a:gd name="T56" fmla="*/ 46 w 56"/>
              <a:gd name="T57" fmla="*/ 51 h 63"/>
              <a:gd name="T58" fmla="*/ 46 w 56"/>
              <a:gd name="T59" fmla="*/ 37 h 63"/>
              <a:gd name="T60" fmla="*/ 56 w 56"/>
              <a:gd name="T61" fmla="*/ 35 h 63"/>
              <a:gd name="T62" fmla="*/ 56 w 56"/>
              <a:gd name="T63" fmla="*/ 27 h 63"/>
              <a:gd name="T64" fmla="*/ 51 w 56"/>
              <a:gd name="T65" fmla="*/ 27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6" h="63">
                <a:moveTo>
                  <a:pt x="51" y="27"/>
                </a:moveTo>
                <a:cubicBezTo>
                  <a:pt x="49" y="27"/>
                  <a:pt x="48" y="28"/>
                  <a:pt x="48" y="26"/>
                </a:cubicBezTo>
                <a:cubicBezTo>
                  <a:pt x="48" y="24"/>
                  <a:pt x="48" y="23"/>
                  <a:pt x="47" y="21"/>
                </a:cubicBezTo>
                <a:cubicBezTo>
                  <a:pt x="45" y="18"/>
                  <a:pt x="48" y="15"/>
                  <a:pt x="46" y="12"/>
                </a:cubicBezTo>
                <a:cubicBezTo>
                  <a:pt x="46" y="11"/>
                  <a:pt x="46" y="8"/>
                  <a:pt x="46" y="8"/>
                </a:cubicBezTo>
                <a:cubicBezTo>
                  <a:pt x="46" y="8"/>
                  <a:pt x="43" y="8"/>
                  <a:pt x="43" y="8"/>
                </a:cubicBezTo>
                <a:cubicBezTo>
                  <a:pt x="40" y="8"/>
                  <a:pt x="40" y="9"/>
                  <a:pt x="40" y="6"/>
                </a:cubicBezTo>
                <a:cubicBezTo>
                  <a:pt x="37" y="6"/>
                  <a:pt x="36" y="5"/>
                  <a:pt x="35" y="8"/>
                </a:cubicBezTo>
                <a:cubicBezTo>
                  <a:pt x="35" y="8"/>
                  <a:pt x="35" y="11"/>
                  <a:pt x="34" y="11"/>
                </a:cubicBezTo>
                <a:cubicBezTo>
                  <a:pt x="33" y="12"/>
                  <a:pt x="31" y="12"/>
                  <a:pt x="29" y="12"/>
                </a:cubicBezTo>
                <a:cubicBezTo>
                  <a:pt x="22" y="13"/>
                  <a:pt x="24" y="1"/>
                  <a:pt x="18" y="1"/>
                </a:cubicBezTo>
                <a:cubicBezTo>
                  <a:pt x="13" y="1"/>
                  <a:pt x="7" y="0"/>
                  <a:pt x="3" y="2"/>
                </a:cubicBezTo>
                <a:cubicBezTo>
                  <a:pt x="1" y="4"/>
                  <a:pt x="6" y="10"/>
                  <a:pt x="6" y="12"/>
                </a:cubicBezTo>
                <a:cubicBezTo>
                  <a:pt x="7" y="13"/>
                  <a:pt x="7" y="15"/>
                  <a:pt x="6" y="16"/>
                </a:cubicBezTo>
                <a:cubicBezTo>
                  <a:pt x="4" y="17"/>
                  <a:pt x="6" y="19"/>
                  <a:pt x="6" y="20"/>
                </a:cubicBezTo>
                <a:cubicBezTo>
                  <a:pt x="9" y="24"/>
                  <a:pt x="11" y="29"/>
                  <a:pt x="8" y="33"/>
                </a:cubicBezTo>
                <a:cubicBezTo>
                  <a:pt x="6" y="36"/>
                  <a:pt x="4" y="38"/>
                  <a:pt x="3" y="41"/>
                </a:cubicBezTo>
                <a:cubicBezTo>
                  <a:pt x="2" y="44"/>
                  <a:pt x="1" y="47"/>
                  <a:pt x="0" y="50"/>
                </a:cubicBezTo>
                <a:cubicBezTo>
                  <a:pt x="0" y="52"/>
                  <a:pt x="0" y="54"/>
                  <a:pt x="0" y="55"/>
                </a:cubicBezTo>
                <a:cubicBezTo>
                  <a:pt x="0" y="56"/>
                  <a:pt x="0" y="58"/>
                  <a:pt x="0" y="59"/>
                </a:cubicBezTo>
                <a:cubicBezTo>
                  <a:pt x="1" y="59"/>
                  <a:pt x="2" y="59"/>
                  <a:pt x="3" y="59"/>
                </a:cubicBezTo>
                <a:cubicBezTo>
                  <a:pt x="5" y="59"/>
                  <a:pt x="5" y="56"/>
                  <a:pt x="8" y="58"/>
                </a:cubicBezTo>
                <a:cubicBezTo>
                  <a:pt x="8" y="58"/>
                  <a:pt x="9" y="59"/>
                  <a:pt x="9" y="59"/>
                </a:cubicBezTo>
                <a:cubicBezTo>
                  <a:pt x="12" y="59"/>
                  <a:pt x="14" y="59"/>
                  <a:pt x="16" y="59"/>
                </a:cubicBezTo>
                <a:cubicBezTo>
                  <a:pt x="19" y="59"/>
                  <a:pt x="22" y="59"/>
                  <a:pt x="25" y="59"/>
                </a:cubicBezTo>
                <a:cubicBezTo>
                  <a:pt x="26" y="59"/>
                  <a:pt x="29" y="59"/>
                  <a:pt x="30" y="59"/>
                </a:cubicBezTo>
                <a:cubicBezTo>
                  <a:pt x="32" y="63"/>
                  <a:pt x="36" y="62"/>
                  <a:pt x="39" y="62"/>
                </a:cubicBezTo>
                <a:cubicBezTo>
                  <a:pt x="44" y="62"/>
                  <a:pt x="48" y="61"/>
                  <a:pt x="53" y="60"/>
                </a:cubicBezTo>
                <a:cubicBezTo>
                  <a:pt x="50" y="57"/>
                  <a:pt x="46" y="55"/>
                  <a:pt x="46" y="51"/>
                </a:cubicBezTo>
                <a:cubicBezTo>
                  <a:pt x="46" y="46"/>
                  <a:pt x="46" y="41"/>
                  <a:pt x="46" y="37"/>
                </a:cubicBezTo>
                <a:cubicBezTo>
                  <a:pt x="46" y="36"/>
                  <a:pt x="56" y="38"/>
                  <a:pt x="56" y="35"/>
                </a:cubicBezTo>
                <a:cubicBezTo>
                  <a:pt x="56" y="33"/>
                  <a:pt x="56" y="30"/>
                  <a:pt x="56" y="27"/>
                </a:cubicBezTo>
                <a:cubicBezTo>
                  <a:pt x="56" y="24"/>
                  <a:pt x="53" y="27"/>
                  <a:pt x="51" y="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39" name="Freeform 735">
            <a:extLst>
              <a:ext uri="{FF2B5EF4-FFF2-40B4-BE49-F238E27FC236}">
                <a16:creationId xmlns:a16="http://schemas.microsoft.com/office/drawing/2014/main" id="{7B52BC58-6826-4246-B27B-3C1042F01C63}"/>
              </a:ext>
            </a:extLst>
          </p:cNvPr>
          <p:cNvSpPr>
            <a:spLocks/>
          </p:cNvSpPr>
          <p:nvPr/>
        </p:nvSpPr>
        <p:spPr bwMode="auto">
          <a:xfrm>
            <a:off x="6359563" y="5353208"/>
            <a:ext cx="238255" cy="248909"/>
          </a:xfrm>
          <a:custGeom>
            <a:avLst/>
            <a:gdLst>
              <a:gd name="T0" fmla="*/ 25 w 46"/>
              <a:gd name="T1" fmla="*/ 2 h 48"/>
              <a:gd name="T2" fmla="*/ 21 w 46"/>
              <a:gd name="T3" fmla="*/ 3 h 48"/>
              <a:gd name="T4" fmla="*/ 18 w 46"/>
              <a:gd name="T5" fmla="*/ 4 h 48"/>
              <a:gd name="T6" fmla="*/ 6 w 46"/>
              <a:gd name="T7" fmla="*/ 4 h 48"/>
              <a:gd name="T8" fmla="*/ 6 w 46"/>
              <a:gd name="T9" fmla="*/ 18 h 48"/>
              <a:gd name="T10" fmla="*/ 6 w 46"/>
              <a:gd name="T11" fmla="*/ 23 h 48"/>
              <a:gd name="T12" fmla="*/ 1 w 46"/>
              <a:gd name="T13" fmla="*/ 24 h 48"/>
              <a:gd name="T14" fmla="*/ 1 w 46"/>
              <a:gd name="T15" fmla="*/ 31 h 48"/>
              <a:gd name="T16" fmla="*/ 1 w 46"/>
              <a:gd name="T17" fmla="*/ 38 h 48"/>
              <a:gd name="T18" fmla="*/ 4 w 46"/>
              <a:gd name="T19" fmla="*/ 47 h 48"/>
              <a:gd name="T20" fmla="*/ 8 w 46"/>
              <a:gd name="T21" fmla="*/ 48 h 48"/>
              <a:gd name="T22" fmla="*/ 13 w 46"/>
              <a:gd name="T23" fmla="*/ 44 h 48"/>
              <a:gd name="T24" fmla="*/ 19 w 46"/>
              <a:gd name="T25" fmla="*/ 41 h 48"/>
              <a:gd name="T26" fmla="*/ 29 w 46"/>
              <a:gd name="T27" fmla="*/ 39 h 48"/>
              <a:gd name="T28" fmla="*/ 31 w 46"/>
              <a:gd name="T29" fmla="*/ 37 h 48"/>
              <a:gd name="T30" fmla="*/ 34 w 46"/>
              <a:gd name="T31" fmla="*/ 34 h 48"/>
              <a:gd name="T32" fmla="*/ 43 w 46"/>
              <a:gd name="T33" fmla="*/ 26 h 48"/>
              <a:gd name="T34" fmla="*/ 44 w 46"/>
              <a:gd name="T35" fmla="*/ 22 h 48"/>
              <a:gd name="T36" fmla="*/ 40 w 46"/>
              <a:gd name="T37" fmla="*/ 21 h 48"/>
              <a:gd name="T38" fmla="*/ 38 w 46"/>
              <a:gd name="T39" fmla="*/ 17 h 48"/>
              <a:gd name="T40" fmla="*/ 39 w 46"/>
              <a:gd name="T41" fmla="*/ 15 h 48"/>
              <a:gd name="T42" fmla="*/ 36 w 46"/>
              <a:gd name="T43" fmla="*/ 14 h 48"/>
              <a:gd name="T44" fmla="*/ 36 w 46"/>
              <a:gd name="T45" fmla="*/ 13 h 48"/>
              <a:gd name="T46" fmla="*/ 34 w 46"/>
              <a:gd name="T47" fmla="*/ 12 h 48"/>
              <a:gd name="T48" fmla="*/ 30 w 46"/>
              <a:gd name="T49" fmla="*/ 7 h 48"/>
              <a:gd name="T50" fmla="*/ 25 w 46"/>
              <a:gd name="T51" fmla="*/ 2 h 48"/>
              <a:gd name="T52" fmla="*/ 25 w 46"/>
              <a:gd name="T53" fmla="*/ 2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46" h="48">
                <a:moveTo>
                  <a:pt x="25" y="2"/>
                </a:moveTo>
                <a:cubicBezTo>
                  <a:pt x="24" y="3"/>
                  <a:pt x="22" y="3"/>
                  <a:pt x="21" y="3"/>
                </a:cubicBezTo>
                <a:cubicBezTo>
                  <a:pt x="19" y="3"/>
                  <a:pt x="20" y="6"/>
                  <a:pt x="18" y="4"/>
                </a:cubicBezTo>
                <a:cubicBezTo>
                  <a:pt x="15" y="0"/>
                  <a:pt x="10" y="5"/>
                  <a:pt x="6" y="4"/>
                </a:cubicBezTo>
                <a:cubicBezTo>
                  <a:pt x="6" y="9"/>
                  <a:pt x="6" y="14"/>
                  <a:pt x="6" y="18"/>
                </a:cubicBezTo>
                <a:cubicBezTo>
                  <a:pt x="6" y="19"/>
                  <a:pt x="7" y="23"/>
                  <a:pt x="6" y="23"/>
                </a:cubicBezTo>
                <a:cubicBezTo>
                  <a:pt x="5" y="24"/>
                  <a:pt x="1" y="22"/>
                  <a:pt x="1" y="24"/>
                </a:cubicBezTo>
                <a:cubicBezTo>
                  <a:pt x="1" y="26"/>
                  <a:pt x="1" y="29"/>
                  <a:pt x="1" y="31"/>
                </a:cubicBezTo>
                <a:cubicBezTo>
                  <a:pt x="1" y="33"/>
                  <a:pt x="0" y="36"/>
                  <a:pt x="1" y="38"/>
                </a:cubicBezTo>
                <a:cubicBezTo>
                  <a:pt x="5" y="39"/>
                  <a:pt x="6" y="44"/>
                  <a:pt x="4" y="47"/>
                </a:cubicBezTo>
                <a:cubicBezTo>
                  <a:pt x="4" y="48"/>
                  <a:pt x="8" y="48"/>
                  <a:pt x="8" y="48"/>
                </a:cubicBezTo>
                <a:cubicBezTo>
                  <a:pt x="10" y="48"/>
                  <a:pt x="11" y="46"/>
                  <a:pt x="13" y="44"/>
                </a:cubicBezTo>
                <a:cubicBezTo>
                  <a:pt x="15" y="42"/>
                  <a:pt x="15" y="39"/>
                  <a:pt x="19" y="41"/>
                </a:cubicBezTo>
                <a:cubicBezTo>
                  <a:pt x="23" y="43"/>
                  <a:pt x="27" y="44"/>
                  <a:pt x="29" y="39"/>
                </a:cubicBezTo>
                <a:cubicBezTo>
                  <a:pt x="29" y="38"/>
                  <a:pt x="29" y="37"/>
                  <a:pt x="31" y="37"/>
                </a:cubicBezTo>
                <a:cubicBezTo>
                  <a:pt x="33" y="37"/>
                  <a:pt x="34" y="35"/>
                  <a:pt x="34" y="34"/>
                </a:cubicBezTo>
                <a:cubicBezTo>
                  <a:pt x="36" y="31"/>
                  <a:pt x="40" y="28"/>
                  <a:pt x="43" y="26"/>
                </a:cubicBezTo>
                <a:cubicBezTo>
                  <a:pt x="45" y="25"/>
                  <a:pt x="46" y="24"/>
                  <a:pt x="44" y="22"/>
                </a:cubicBezTo>
                <a:cubicBezTo>
                  <a:pt x="43" y="21"/>
                  <a:pt x="40" y="22"/>
                  <a:pt x="40" y="21"/>
                </a:cubicBezTo>
                <a:cubicBezTo>
                  <a:pt x="39" y="20"/>
                  <a:pt x="38" y="19"/>
                  <a:pt x="38" y="17"/>
                </a:cubicBezTo>
                <a:cubicBezTo>
                  <a:pt x="38" y="17"/>
                  <a:pt x="39" y="16"/>
                  <a:pt x="39" y="15"/>
                </a:cubicBezTo>
                <a:cubicBezTo>
                  <a:pt x="38" y="15"/>
                  <a:pt x="37" y="15"/>
                  <a:pt x="36" y="14"/>
                </a:cubicBezTo>
                <a:cubicBezTo>
                  <a:pt x="36" y="14"/>
                  <a:pt x="37" y="13"/>
                  <a:pt x="36" y="13"/>
                </a:cubicBezTo>
                <a:cubicBezTo>
                  <a:pt x="35" y="13"/>
                  <a:pt x="35" y="12"/>
                  <a:pt x="34" y="12"/>
                </a:cubicBezTo>
                <a:cubicBezTo>
                  <a:pt x="32" y="11"/>
                  <a:pt x="31" y="10"/>
                  <a:pt x="30" y="7"/>
                </a:cubicBezTo>
                <a:cubicBezTo>
                  <a:pt x="30" y="6"/>
                  <a:pt x="27" y="2"/>
                  <a:pt x="25" y="2"/>
                </a:cubicBezTo>
                <a:cubicBezTo>
                  <a:pt x="25" y="2"/>
                  <a:pt x="26" y="2"/>
                  <a:pt x="25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40" name="Freeform 736">
            <a:extLst>
              <a:ext uri="{FF2B5EF4-FFF2-40B4-BE49-F238E27FC236}">
                <a16:creationId xmlns:a16="http://schemas.microsoft.com/office/drawing/2014/main" id="{0FE7F9B2-9953-2847-A7C7-E74A3C77ADD9}"/>
              </a:ext>
            </a:extLst>
          </p:cNvPr>
          <p:cNvSpPr>
            <a:spLocks/>
          </p:cNvSpPr>
          <p:nvPr/>
        </p:nvSpPr>
        <p:spPr bwMode="auto">
          <a:xfrm>
            <a:off x="6488396" y="5302013"/>
            <a:ext cx="202958" cy="180061"/>
          </a:xfrm>
          <a:custGeom>
            <a:avLst/>
            <a:gdLst>
              <a:gd name="T0" fmla="*/ 39 w 39"/>
              <a:gd name="T1" fmla="*/ 22 h 35"/>
              <a:gd name="T2" fmla="*/ 38 w 39"/>
              <a:gd name="T3" fmla="*/ 18 h 35"/>
              <a:gd name="T4" fmla="*/ 39 w 39"/>
              <a:gd name="T5" fmla="*/ 14 h 35"/>
              <a:gd name="T6" fmla="*/ 38 w 39"/>
              <a:gd name="T7" fmla="*/ 7 h 35"/>
              <a:gd name="T8" fmla="*/ 27 w 39"/>
              <a:gd name="T9" fmla="*/ 2 h 35"/>
              <a:gd name="T10" fmla="*/ 24 w 39"/>
              <a:gd name="T11" fmla="*/ 0 h 35"/>
              <a:gd name="T12" fmla="*/ 19 w 39"/>
              <a:gd name="T13" fmla="*/ 3 h 35"/>
              <a:gd name="T14" fmla="*/ 13 w 39"/>
              <a:gd name="T15" fmla="*/ 7 h 35"/>
              <a:gd name="T16" fmla="*/ 9 w 39"/>
              <a:gd name="T17" fmla="*/ 12 h 35"/>
              <a:gd name="T18" fmla="*/ 2 w 39"/>
              <a:gd name="T19" fmla="*/ 12 h 35"/>
              <a:gd name="T20" fmla="*/ 5 w 39"/>
              <a:gd name="T21" fmla="*/ 16 h 35"/>
              <a:gd name="T22" fmla="*/ 8 w 39"/>
              <a:gd name="T23" fmla="*/ 21 h 35"/>
              <a:gd name="T24" fmla="*/ 11 w 39"/>
              <a:gd name="T25" fmla="*/ 23 h 35"/>
              <a:gd name="T26" fmla="*/ 11 w 39"/>
              <a:gd name="T27" fmla="*/ 24 h 35"/>
              <a:gd name="T28" fmla="*/ 14 w 39"/>
              <a:gd name="T29" fmla="*/ 25 h 35"/>
              <a:gd name="T30" fmla="*/ 13 w 39"/>
              <a:gd name="T31" fmla="*/ 28 h 35"/>
              <a:gd name="T32" fmla="*/ 15 w 39"/>
              <a:gd name="T33" fmla="*/ 31 h 35"/>
              <a:gd name="T34" fmla="*/ 20 w 39"/>
              <a:gd name="T35" fmla="*/ 34 h 35"/>
              <a:gd name="T36" fmla="*/ 25 w 39"/>
              <a:gd name="T37" fmla="*/ 35 h 35"/>
              <a:gd name="T38" fmla="*/ 27 w 39"/>
              <a:gd name="T39" fmla="*/ 35 h 35"/>
              <a:gd name="T40" fmla="*/ 34 w 39"/>
              <a:gd name="T41" fmla="*/ 31 h 35"/>
              <a:gd name="T42" fmla="*/ 36 w 39"/>
              <a:gd name="T43" fmla="*/ 27 h 35"/>
              <a:gd name="T44" fmla="*/ 39 w 39"/>
              <a:gd name="T45" fmla="*/ 22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9" h="35">
                <a:moveTo>
                  <a:pt x="39" y="22"/>
                </a:moveTo>
                <a:cubicBezTo>
                  <a:pt x="39" y="21"/>
                  <a:pt x="38" y="19"/>
                  <a:pt x="38" y="18"/>
                </a:cubicBezTo>
                <a:cubicBezTo>
                  <a:pt x="38" y="16"/>
                  <a:pt x="39" y="15"/>
                  <a:pt x="39" y="14"/>
                </a:cubicBezTo>
                <a:cubicBezTo>
                  <a:pt x="39" y="11"/>
                  <a:pt x="39" y="9"/>
                  <a:pt x="38" y="7"/>
                </a:cubicBezTo>
                <a:cubicBezTo>
                  <a:pt x="38" y="4"/>
                  <a:pt x="29" y="2"/>
                  <a:pt x="27" y="2"/>
                </a:cubicBezTo>
                <a:cubicBezTo>
                  <a:pt x="27" y="0"/>
                  <a:pt x="27" y="0"/>
                  <a:pt x="24" y="0"/>
                </a:cubicBezTo>
                <a:cubicBezTo>
                  <a:pt x="21" y="0"/>
                  <a:pt x="21" y="1"/>
                  <a:pt x="19" y="3"/>
                </a:cubicBezTo>
                <a:cubicBezTo>
                  <a:pt x="18" y="5"/>
                  <a:pt x="15" y="6"/>
                  <a:pt x="13" y="7"/>
                </a:cubicBezTo>
                <a:cubicBezTo>
                  <a:pt x="12" y="9"/>
                  <a:pt x="11" y="12"/>
                  <a:pt x="9" y="12"/>
                </a:cubicBezTo>
                <a:cubicBezTo>
                  <a:pt x="7" y="12"/>
                  <a:pt x="5" y="11"/>
                  <a:pt x="2" y="12"/>
                </a:cubicBezTo>
                <a:cubicBezTo>
                  <a:pt x="0" y="13"/>
                  <a:pt x="4" y="15"/>
                  <a:pt x="5" y="16"/>
                </a:cubicBezTo>
                <a:cubicBezTo>
                  <a:pt x="6" y="18"/>
                  <a:pt x="6" y="20"/>
                  <a:pt x="8" y="21"/>
                </a:cubicBezTo>
                <a:cubicBezTo>
                  <a:pt x="9" y="22"/>
                  <a:pt x="10" y="23"/>
                  <a:pt x="11" y="23"/>
                </a:cubicBezTo>
                <a:cubicBezTo>
                  <a:pt x="12" y="23"/>
                  <a:pt x="11" y="24"/>
                  <a:pt x="11" y="24"/>
                </a:cubicBezTo>
                <a:cubicBezTo>
                  <a:pt x="12" y="24"/>
                  <a:pt x="13" y="25"/>
                  <a:pt x="14" y="25"/>
                </a:cubicBezTo>
                <a:cubicBezTo>
                  <a:pt x="14" y="26"/>
                  <a:pt x="13" y="27"/>
                  <a:pt x="13" y="28"/>
                </a:cubicBezTo>
                <a:cubicBezTo>
                  <a:pt x="13" y="29"/>
                  <a:pt x="14" y="31"/>
                  <a:pt x="15" y="31"/>
                </a:cubicBezTo>
                <a:cubicBezTo>
                  <a:pt x="18" y="31"/>
                  <a:pt x="19" y="31"/>
                  <a:pt x="20" y="34"/>
                </a:cubicBezTo>
                <a:cubicBezTo>
                  <a:pt x="21" y="35"/>
                  <a:pt x="23" y="34"/>
                  <a:pt x="25" y="35"/>
                </a:cubicBezTo>
                <a:cubicBezTo>
                  <a:pt x="26" y="35"/>
                  <a:pt x="26" y="35"/>
                  <a:pt x="27" y="35"/>
                </a:cubicBezTo>
                <a:cubicBezTo>
                  <a:pt x="31" y="35"/>
                  <a:pt x="32" y="34"/>
                  <a:pt x="34" y="31"/>
                </a:cubicBezTo>
                <a:cubicBezTo>
                  <a:pt x="35" y="30"/>
                  <a:pt x="36" y="28"/>
                  <a:pt x="36" y="27"/>
                </a:cubicBezTo>
                <a:cubicBezTo>
                  <a:pt x="37" y="25"/>
                  <a:pt x="39" y="24"/>
                  <a:pt x="39" y="2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41" name="Freeform 737">
            <a:extLst>
              <a:ext uri="{FF2B5EF4-FFF2-40B4-BE49-F238E27FC236}">
                <a16:creationId xmlns:a16="http://schemas.microsoft.com/office/drawing/2014/main" id="{E82950B3-2AEE-9A42-8DCB-726B5F9C993D}"/>
              </a:ext>
            </a:extLst>
          </p:cNvPr>
          <p:cNvSpPr>
            <a:spLocks/>
          </p:cNvSpPr>
          <p:nvPr/>
        </p:nvSpPr>
        <p:spPr bwMode="auto">
          <a:xfrm>
            <a:off x="6624289" y="5570340"/>
            <a:ext cx="51180" cy="58256"/>
          </a:xfrm>
          <a:custGeom>
            <a:avLst/>
            <a:gdLst>
              <a:gd name="T0" fmla="*/ 5 w 10"/>
              <a:gd name="T1" fmla="*/ 1 h 11"/>
              <a:gd name="T2" fmla="*/ 7 w 10"/>
              <a:gd name="T3" fmla="*/ 9 h 11"/>
              <a:gd name="T4" fmla="*/ 5 w 10"/>
              <a:gd name="T5" fmla="*/ 1 h 11"/>
              <a:gd name="T6" fmla="*/ 5 w 10"/>
              <a:gd name="T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" h="11">
                <a:moveTo>
                  <a:pt x="5" y="1"/>
                </a:moveTo>
                <a:cubicBezTo>
                  <a:pt x="0" y="2"/>
                  <a:pt x="3" y="11"/>
                  <a:pt x="7" y="9"/>
                </a:cubicBezTo>
                <a:cubicBezTo>
                  <a:pt x="10" y="8"/>
                  <a:pt x="9" y="0"/>
                  <a:pt x="5" y="1"/>
                </a:cubicBezTo>
                <a:cubicBezTo>
                  <a:pt x="3" y="1"/>
                  <a:pt x="6" y="1"/>
                  <a:pt x="5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42" name="Freeform 738">
            <a:extLst>
              <a:ext uri="{FF2B5EF4-FFF2-40B4-BE49-F238E27FC236}">
                <a16:creationId xmlns:a16="http://schemas.microsoft.com/office/drawing/2014/main" id="{1CD20E4E-E1F5-704E-B957-01C9049A8D2A}"/>
              </a:ext>
            </a:extLst>
          </p:cNvPr>
          <p:cNvSpPr>
            <a:spLocks noEditPoints="1"/>
          </p:cNvSpPr>
          <p:nvPr/>
        </p:nvSpPr>
        <p:spPr bwMode="auto">
          <a:xfrm>
            <a:off x="6276614" y="5476779"/>
            <a:ext cx="409444" cy="358357"/>
          </a:xfrm>
          <a:custGeom>
            <a:avLst/>
            <a:gdLst>
              <a:gd name="T0" fmla="*/ 74 w 79"/>
              <a:gd name="T1" fmla="*/ 27 h 69"/>
              <a:gd name="T2" fmla="*/ 69 w 79"/>
              <a:gd name="T3" fmla="*/ 22 h 69"/>
              <a:gd name="T4" fmla="*/ 72 w 79"/>
              <a:gd name="T5" fmla="*/ 19 h 69"/>
              <a:gd name="T6" fmla="*/ 75 w 79"/>
              <a:gd name="T7" fmla="*/ 20 h 69"/>
              <a:gd name="T8" fmla="*/ 75 w 79"/>
              <a:gd name="T9" fmla="*/ 11 h 69"/>
              <a:gd name="T10" fmla="*/ 73 w 79"/>
              <a:gd name="T11" fmla="*/ 7 h 69"/>
              <a:gd name="T12" fmla="*/ 72 w 79"/>
              <a:gd name="T13" fmla="*/ 1 h 69"/>
              <a:gd name="T14" fmla="*/ 66 w 79"/>
              <a:gd name="T15" fmla="*/ 1 h 69"/>
              <a:gd name="T16" fmla="*/ 60 w 79"/>
              <a:gd name="T17" fmla="*/ 2 h 69"/>
              <a:gd name="T18" fmla="*/ 55 w 79"/>
              <a:gd name="T19" fmla="*/ 5 h 69"/>
              <a:gd name="T20" fmla="*/ 51 w 79"/>
              <a:gd name="T21" fmla="*/ 8 h 69"/>
              <a:gd name="T22" fmla="*/ 49 w 79"/>
              <a:gd name="T23" fmla="*/ 12 h 69"/>
              <a:gd name="T24" fmla="*/ 45 w 79"/>
              <a:gd name="T25" fmla="*/ 14 h 69"/>
              <a:gd name="T26" fmla="*/ 44 w 79"/>
              <a:gd name="T27" fmla="*/ 17 h 69"/>
              <a:gd name="T28" fmla="*/ 34 w 79"/>
              <a:gd name="T29" fmla="*/ 17 h 69"/>
              <a:gd name="T30" fmla="*/ 28 w 79"/>
              <a:gd name="T31" fmla="*/ 21 h 69"/>
              <a:gd name="T32" fmla="*/ 24 w 79"/>
              <a:gd name="T33" fmla="*/ 24 h 69"/>
              <a:gd name="T34" fmla="*/ 20 w 79"/>
              <a:gd name="T35" fmla="*/ 23 h 69"/>
              <a:gd name="T36" fmla="*/ 17 w 79"/>
              <a:gd name="T37" fmla="*/ 14 h 69"/>
              <a:gd name="T38" fmla="*/ 17 w 79"/>
              <a:gd name="T39" fmla="*/ 29 h 69"/>
              <a:gd name="T40" fmla="*/ 17 w 79"/>
              <a:gd name="T41" fmla="*/ 33 h 69"/>
              <a:gd name="T42" fmla="*/ 9 w 79"/>
              <a:gd name="T43" fmla="*/ 35 h 69"/>
              <a:gd name="T44" fmla="*/ 6 w 79"/>
              <a:gd name="T45" fmla="*/ 34 h 69"/>
              <a:gd name="T46" fmla="*/ 2 w 79"/>
              <a:gd name="T47" fmla="*/ 33 h 69"/>
              <a:gd name="T48" fmla="*/ 3 w 79"/>
              <a:gd name="T49" fmla="*/ 40 h 69"/>
              <a:gd name="T50" fmla="*/ 5 w 79"/>
              <a:gd name="T51" fmla="*/ 45 h 69"/>
              <a:gd name="T52" fmla="*/ 9 w 79"/>
              <a:gd name="T53" fmla="*/ 56 h 69"/>
              <a:gd name="T54" fmla="*/ 8 w 79"/>
              <a:gd name="T55" fmla="*/ 60 h 69"/>
              <a:gd name="T56" fmla="*/ 9 w 79"/>
              <a:gd name="T57" fmla="*/ 62 h 69"/>
              <a:gd name="T58" fmla="*/ 10 w 79"/>
              <a:gd name="T59" fmla="*/ 66 h 69"/>
              <a:gd name="T60" fmla="*/ 11 w 79"/>
              <a:gd name="T61" fmla="*/ 64 h 69"/>
              <a:gd name="T62" fmla="*/ 15 w 79"/>
              <a:gd name="T63" fmla="*/ 68 h 69"/>
              <a:gd name="T64" fmla="*/ 21 w 79"/>
              <a:gd name="T65" fmla="*/ 66 h 69"/>
              <a:gd name="T66" fmla="*/ 26 w 79"/>
              <a:gd name="T67" fmla="*/ 65 h 69"/>
              <a:gd name="T68" fmla="*/ 31 w 79"/>
              <a:gd name="T69" fmla="*/ 64 h 69"/>
              <a:gd name="T70" fmla="*/ 38 w 79"/>
              <a:gd name="T71" fmla="*/ 64 h 69"/>
              <a:gd name="T72" fmla="*/ 39 w 79"/>
              <a:gd name="T73" fmla="*/ 64 h 69"/>
              <a:gd name="T74" fmla="*/ 41 w 79"/>
              <a:gd name="T75" fmla="*/ 63 h 69"/>
              <a:gd name="T76" fmla="*/ 42 w 79"/>
              <a:gd name="T77" fmla="*/ 62 h 69"/>
              <a:gd name="T78" fmla="*/ 44 w 79"/>
              <a:gd name="T79" fmla="*/ 65 h 69"/>
              <a:gd name="T80" fmla="*/ 46 w 79"/>
              <a:gd name="T81" fmla="*/ 62 h 69"/>
              <a:gd name="T82" fmla="*/ 57 w 79"/>
              <a:gd name="T83" fmla="*/ 56 h 69"/>
              <a:gd name="T84" fmla="*/ 65 w 79"/>
              <a:gd name="T85" fmla="*/ 48 h 69"/>
              <a:gd name="T86" fmla="*/ 72 w 79"/>
              <a:gd name="T87" fmla="*/ 37 h 69"/>
              <a:gd name="T88" fmla="*/ 77 w 79"/>
              <a:gd name="T89" fmla="*/ 33 h 69"/>
              <a:gd name="T90" fmla="*/ 79 w 79"/>
              <a:gd name="T91" fmla="*/ 25 h 69"/>
              <a:gd name="T92" fmla="*/ 76 w 79"/>
              <a:gd name="T93" fmla="*/ 25 h 69"/>
              <a:gd name="T94" fmla="*/ 74 w 79"/>
              <a:gd name="T95" fmla="*/ 27 h 69"/>
              <a:gd name="T96" fmla="*/ 62 w 79"/>
              <a:gd name="T97" fmla="*/ 39 h 69"/>
              <a:gd name="T98" fmla="*/ 61 w 79"/>
              <a:gd name="T99" fmla="*/ 41 h 69"/>
              <a:gd name="T100" fmla="*/ 57 w 79"/>
              <a:gd name="T101" fmla="*/ 43 h 69"/>
              <a:gd name="T102" fmla="*/ 55 w 79"/>
              <a:gd name="T103" fmla="*/ 44 h 69"/>
              <a:gd name="T104" fmla="*/ 52 w 79"/>
              <a:gd name="T105" fmla="*/ 41 h 69"/>
              <a:gd name="T106" fmla="*/ 56 w 79"/>
              <a:gd name="T107" fmla="*/ 35 h 69"/>
              <a:gd name="T108" fmla="*/ 60 w 79"/>
              <a:gd name="T109" fmla="*/ 35 h 69"/>
              <a:gd name="T110" fmla="*/ 62 w 79"/>
              <a:gd name="T111" fmla="*/ 39 h 69"/>
              <a:gd name="T112" fmla="*/ 62 w 79"/>
              <a:gd name="T113" fmla="*/ 39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9" h="69">
                <a:moveTo>
                  <a:pt x="74" y="27"/>
                </a:moveTo>
                <a:cubicBezTo>
                  <a:pt x="71" y="27"/>
                  <a:pt x="68" y="24"/>
                  <a:pt x="69" y="22"/>
                </a:cubicBezTo>
                <a:cubicBezTo>
                  <a:pt x="69" y="20"/>
                  <a:pt x="71" y="19"/>
                  <a:pt x="72" y="19"/>
                </a:cubicBezTo>
                <a:cubicBezTo>
                  <a:pt x="73" y="19"/>
                  <a:pt x="74" y="20"/>
                  <a:pt x="75" y="20"/>
                </a:cubicBezTo>
                <a:cubicBezTo>
                  <a:pt x="75" y="17"/>
                  <a:pt x="76" y="14"/>
                  <a:pt x="75" y="11"/>
                </a:cubicBezTo>
                <a:cubicBezTo>
                  <a:pt x="74" y="10"/>
                  <a:pt x="73" y="8"/>
                  <a:pt x="73" y="7"/>
                </a:cubicBezTo>
                <a:cubicBezTo>
                  <a:pt x="72" y="5"/>
                  <a:pt x="72" y="3"/>
                  <a:pt x="72" y="1"/>
                </a:cubicBezTo>
                <a:cubicBezTo>
                  <a:pt x="70" y="2"/>
                  <a:pt x="67" y="1"/>
                  <a:pt x="66" y="1"/>
                </a:cubicBezTo>
                <a:cubicBezTo>
                  <a:pt x="63" y="0"/>
                  <a:pt x="61" y="0"/>
                  <a:pt x="60" y="2"/>
                </a:cubicBezTo>
                <a:cubicBezTo>
                  <a:pt x="58" y="3"/>
                  <a:pt x="56" y="3"/>
                  <a:pt x="55" y="5"/>
                </a:cubicBezTo>
                <a:cubicBezTo>
                  <a:pt x="54" y="6"/>
                  <a:pt x="52" y="7"/>
                  <a:pt x="51" y="8"/>
                </a:cubicBezTo>
                <a:cubicBezTo>
                  <a:pt x="50" y="9"/>
                  <a:pt x="50" y="11"/>
                  <a:pt x="49" y="12"/>
                </a:cubicBezTo>
                <a:cubicBezTo>
                  <a:pt x="48" y="14"/>
                  <a:pt x="46" y="12"/>
                  <a:pt x="45" y="14"/>
                </a:cubicBezTo>
                <a:cubicBezTo>
                  <a:pt x="44" y="15"/>
                  <a:pt x="45" y="16"/>
                  <a:pt x="44" y="17"/>
                </a:cubicBezTo>
                <a:cubicBezTo>
                  <a:pt x="42" y="21"/>
                  <a:pt x="37" y="18"/>
                  <a:pt x="34" y="17"/>
                </a:cubicBezTo>
                <a:cubicBezTo>
                  <a:pt x="31" y="15"/>
                  <a:pt x="30" y="19"/>
                  <a:pt x="28" y="21"/>
                </a:cubicBezTo>
                <a:cubicBezTo>
                  <a:pt x="27" y="22"/>
                  <a:pt x="26" y="24"/>
                  <a:pt x="24" y="24"/>
                </a:cubicBezTo>
                <a:cubicBezTo>
                  <a:pt x="24" y="24"/>
                  <a:pt x="20" y="24"/>
                  <a:pt x="20" y="23"/>
                </a:cubicBezTo>
                <a:cubicBezTo>
                  <a:pt x="22" y="20"/>
                  <a:pt x="21" y="15"/>
                  <a:pt x="17" y="14"/>
                </a:cubicBezTo>
                <a:cubicBezTo>
                  <a:pt x="17" y="19"/>
                  <a:pt x="17" y="24"/>
                  <a:pt x="17" y="29"/>
                </a:cubicBezTo>
                <a:cubicBezTo>
                  <a:pt x="17" y="29"/>
                  <a:pt x="18" y="32"/>
                  <a:pt x="17" y="33"/>
                </a:cubicBezTo>
                <a:cubicBezTo>
                  <a:pt x="14" y="35"/>
                  <a:pt x="13" y="36"/>
                  <a:pt x="9" y="35"/>
                </a:cubicBezTo>
                <a:cubicBezTo>
                  <a:pt x="8" y="35"/>
                  <a:pt x="7" y="35"/>
                  <a:pt x="6" y="34"/>
                </a:cubicBezTo>
                <a:cubicBezTo>
                  <a:pt x="5" y="32"/>
                  <a:pt x="4" y="31"/>
                  <a:pt x="2" y="33"/>
                </a:cubicBezTo>
                <a:cubicBezTo>
                  <a:pt x="0" y="35"/>
                  <a:pt x="2" y="38"/>
                  <a:pt x="3" y="40"/>
                </a:cubicBezTo>
                <a:cubicBezTo>
                  <a:pt x="4" y="41"/>
                  <a:pt x="5" y="43"/>
                  <a:pt x="5" y="45"/>
                </a:cubicBezTo>
                <a:cubicBezTo>
                  <a:pt x="7" y="49"/>
                  <a:pt x="11" y="51"/>
                  <a:pt x="9" y="56"/>
                </a:cubicBezTo>
                <a:cubicBezTo>
                  <a:pt x="8" y="58"/>
                  <a:pt x="7" y="58"/>
                  <a:pt x="8" y="60"/>
                </a:cubicBezTo>
                <a:cubicBezTo>
                  <a:pt x="9" y="61"/>
                  <a:pt x="9" y="62"/>
                  <a:pt x="9" y="62"/>
                </a:cubicBezTo>
                <a:cubicBezTo>
                  <a:pt x="10" y="63"/>
                  <a:pt x="9" y="65"/>
                  <a:pt x="10" y="66"/>
                </a:cubicBezTo>
                <a:cubicBezTo>
                  <a:pt x="10" y="66"/>
                  <a:pt x="10" y="64"/>
                  <a:pt x="11" y="64"/>
                </a:cubicBezTo>
                <a:cubicBezTo>
                  <a:pt x="11" y="64"/>
                  <a:pt x="14" y="67"/>
                  <a:pt x="15" y="68"/>
                </a:cubicBezTo>
                <a:cubicBezTo>
                  <a:pt x="17" y="69"/>
                  <a:pt x="19" y="66"/>
                  <a:pt x="21" y="66"/>
                </a:cubicBezTo>
                <a:cubicBezTo>
                  <a:pt x="23" y="65"/>
                  <a:pt x="25" y="67"/>
                  <a:pt x="26" y="65"/>
                </a:cubicBezTo>
                <a:cubicBezTo>
                  <a:pt x="28" y="64"/>
                  <a:pt x="29" y="64"/>
                  <a:pt x="31" y="64"/>
                </a:cubicBezTo>
                <a:cubicBezTo>
                  <a:pt x="33" y="64"/>
                  <a:pt x="35" y="64"/>
                  <a:pt x="38" y="64"/>
                </a:cubicBezTo>
                <a:cubicBezTo>
                  <a:pt x="38" y="64"/>
                  <a:pt x="39" y="64"/>
                  <a:pt x="39" y="64"/>
                </a:cubicBezTo>
                <a:cubicBezTo>
                  <a:pt x="40" y="64"/>
                  <a:pt x="40" y="63"/>
                  <a:pt x="41" y="63"/>
                </a:cubicBezTo>
                <a:cubicBezTo>
                  <a:pt x="41" y="63"/>
                  <a:pt x="41" y="62"/>
                  <a:pt x="42" y="62"/>
                </a:cubicBezTo>
                <a:cubicBezTo>
                  <a:pt x="42" y="63"/>
                  <a:pt x="42" y="65"/>
                  <a:pt x="44" y="65"/>
                </a:cubicBezTo>
                <a:cubicBezTo>
                  <a:pt x="44" y="65"/>
                  <a:pt x="43" y="61"/>
                  <a:pt x="46" y="62"/>
                </a:cubicBezTo>
                <a:cubicBezTo>
                  <a:pt x="50" y="63"/>
                  <a:pt x="54" y="59"/>
                  <a:pt x="57" y="56"/>
                </a:cubicBezTo>
                <a:cubicBezTo>
                  <a:pt x="60" y="54"/>
                  <a:pt x="62" y="51"/>
                  <a:pt x="65" y="48"/>
                </a:cubicBezTo>
                <a:cubicBezTo>
                  <a:pt x="68" y="45"/>
                  <a:pt x="69" y="41"/>
                  <a:pt x="72" y="37"/>
                </a:cubicBezTo>
                <a:cubicBezTo>
                  <a:pt x="73" y="36"/>
                  <a:pt x="76" y="35"/>
                  <a:pt x="77" y="33"/>
                </a:cubicBezTo>
                <a:cubicBezTo>
                  <a:pt x="78" y="31"/>
                  <a:pt x="79" y="27"/>
                  <a:pt x="79" y="25"/>
                </a:cubicBezTo>
                <a:cubicBezTo>
                  <a:pt x="78" y="25"/>
                  <a:pt x="77" y="25"/>
                  <a:pt x="76" y="25"/>
                </a:cubicBezTo>
                <a:cubicBezTo>
                  <a:pt x="75" y="25"/>
                  <a:pt x="75" y="27"/>
                  <a:pt x="74" y="27"/>
                </a:cubicBezTo>
                <a:close/>
                <a:moveTo>
                  <a:pt x="62" y="39"/>
                </a:moveTo>
                <a:cubicBezTo>
                  <a:pt x="61" y="39"/>
                  <a:pt x="61" y="41"/>
                  <a:pt x="61" y="41"/>
                </a:cubicBezTo>
                <a:cubicBezTo>
                  <a:pt x="60" y="43"/>
                  <a:pt x="58" y="42"/>
                  <a:pt x="57" y="43"/>
                </a:cubicBezTo>
                <a:cubicBezTo>
                  <a:pt x="56" y="43"/>
                  <a:pt x="56" y="44"/>
                  <a:pt x="55" y="44"/>
                </a:cubicBezTo>
                <a:cubicBezTo>
                  <a:pt x="53" y="44"/>
                  <a:pt x="52" y="42"/>
                  <a:pt x="52" y="41"/>
                </a:cubicBezTo>
                <a:cubicBezTo>
                  <a:pt x="51" y="39"/>
                  <a:pt x="54" y="36"/>
                  <a:pt x="56" y="35"/>
                </a:cubicBezTo>
                <a:cubicBezTo>
                  <a:pt x="57" y="34"/>
                  <a:pt x="59" y="34"/>
                  <a:pt x="60" y="35"/>
                </a:cubicBezTo>
                <a:cubicBezTo>
                  <a:pt x="61" y="36"/>
                  <a:pt x="64" y="38"/>
                  <a:pt x="62" y="39"/>
                </a:cubicBezTo>
                <a:cubicBezTo>
                  <a:pt x="61" y="39"/>
                  <a:pt x="63" y="38"/>
                  <a:pt x="62" y="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43" name="Freeform 739">
            <a:extLst>
              <a:ext uri="{FF2B5EF4-FFF2-40B4-BE49-F238E27FC236}">
                <a16:creationId xmlns:a16="http://schemas.microsoft.com/office/drawing/2014/main" id="{5BB32883-D507-C641-82D2-0E9DFDEEF7DF}"/>
              </a:ext>
            </a:extLst>
          </p:cNvPr>
          <p:cNvSpPr>
            <a:spLocks/>
          </p:cNvSpPr>
          <p:nvPr/>
        </p:nvSpPr>
        <p:spPr bwMode="auto">
          <a:xfrm>
            <a:off x="6541341" y="5648014"/>
            <a:ext cx="67063" cy="68847"/>
          </a:xfrm>
          <a:custGeom>
            <a:avLst/>
            <a:gdLst>
              <a:gd name="T0" fmla="*/ 11 w 13"/>
              <a:gd name="T1" fmla="*/ 4 h 13"/>
              <a:gd name="T2" fmla="*/ 3 w 13"/>
              <a:gd name="T3" fmla="*/ 3 h 13"/>
              <a:gd name="T4" fmla="*/ 2 w 13"/>
              <a:gd name="T5" fmla="*/ 9 h 13"/>
              <a:gd name="T6" fmla="*/ 7 w 13"/>
              <a:gd name="T7" fmla="*/ 9 h 13"/>
              <a:gd name="T8" fmla="*/ 11 w 13"/>
              <a:gd name="T9" fmla="*/ 4 h 13"/>
              <a:gd name="T10" fmla="*/ 11 w 13"/>
              <a:gd name="T11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" h="13">
                <a:moveTo>
                  <a:pt x="11" y="4"/>
                </a:moveTo>
                <a:cubicBezTo>
                  <a:pt x="9" y="2"/>
                  <a:pt x="5" y="0"/>
                  <a:pt x="3" y="3"/>
                </a:cubicBezTo>
                <a:cubicBezTo>
                  <a:pt x="1" y="5"/>
                  <a:pt x="0" y="7"/>
                  <a:pt x="2" y="9"/>
                </a:cubicBezTo>
                <a:cubicBezTo>
                  <a:pt x="4" y="13"/>
                  <a:pt x="5" y="9"/>
                  <a:pt x="7" y="9"/>
                </a:cubicBezTo>
                <a:cubicBezTo>
                  <a:pt x="10" y="9"/>
                  <a:pt x="13" y="5"/>
                  <a:pt x="11" y="4"/>
                </a:cubicBezTo>
                <a:cubicBezTo>
                  <a:pt x="10" y="3"/>
                  <a:pt x="12" y="4"/>
                  <a:pt x="11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44" name="Freeform 740">
            <a:extLst>
              <a:ext uri="{FF2B5EF4-FFF2-40B4-BE49-F238E27FC236}">
                <a16:creationId xmlns:a16="http://schemas.microsoft.com/office/drawing/2014/main" id="{71BB5E98-590E-8642-ABEF-8B1940448AD6}"/>
              </a:ext>
            </a:extLst>
          </p:cNvPr>
          <p:cNvSpPr>
            <a:spLocks/>
          </p:cNvSpPr>
          <p:nvPr/>
        </p:nvSpPr>
        <p:spPr bwMode="auto">
          <a:xfrm>
            <a:off x="6177783" y="5005441"/>
            <a:ext cx="26472" cy="42367"/>
          </a:xfrm>
          <a:custGeom>
            <a:avLst/>
            <a:gdLst>
              <a:gd name="T0" fmla="*/ 2 w 5"/>
              <a:gd name="T1" fmla="*/ 5 h 8"/>
              <a:gd name="T2" fmla="*/ 5 w 5"/>
              <a:gd name="T3" fmla="*/ 1 h 8"/>
              <a:gd name="T4" fmla="*/ 1 w 5"/>
              <a:gd name="T5" fmla="*/ 3 h 8"/>
              <a:gd name="T6" fmla="*/ 0 w 5"/>
              <a:gd name="T7" fmla="*/ 8 h 8"/>
              <a:gd name="T8" fmla="*/ 2 w 5"/>
              <a:gd name="T9" fmla="*/ 5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8">
                <a:moveTo>
                  <a:pt x="2" y="5"/>
                </a:moveTo>
                <a:cubicBezTo>
                  <a:pt x="2" y="4"/>
                  <a:pt x="4" y="2"/>
                  <a:pt x="5" y="1"/>
                </a:cubicBezTo>
                <a:cubicBezTo>
                  <a:pt x="4" y="0"/>
                  <a:pt x="2" y="2"/>
                  <a:pt x="1" y="3"/>
                </a:cubicBezTo>
                <a:cubicBezTo>
                  <a:pt x="0" y="4"/>
                  <a:pt x="0" y="6"/>
                  <a:pt x="0" y="8"/>
                </a:cubicBezTo>
                <a:cubicBezTo>
                  <a:pt x="2" y="7"/>
                  <a:pt x="2" y="6"/>
                  <a:pt x="2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45" name="Freeform 741">
            <a:extLst>
              <a:ext uri="{FF2B5EF4-FFF2-40B4-BE49-F238E27FC236}">
                <a16:creationId xmlns:a16="http://schemas.microsoft.com/office/drawing/2014/main" id="{C24352D6-1F76-EA4C-9463-627CDDBEDC71}"/>
              </a:ext>
            </a:extLst>
          </p:cNvPr>
          <p:cNvSpPr>
            <a:spLocks/>
          </p:cNvSpPr>
          <p:nvPr/>
        </p:nvSpPr>
        <p:spPr bwMode="auto">
          <a:xfrm>
            <a:off x="6153074" y="4793606"/>
            <a:ext cx="180015" cy="233020"/>
          </a:xfrm>
          <a:custGeom>
            <a:avLst/>
            <a:gdLst>
              <a:gd name="T0" fmla="*/ 11 w 35"/>
              <a:gd name="T1" fmla="*/ 44 h 45"/>
              <a:gd name="T2" fmla="*/ 15 w 35"/>
              <a:gd name="T3" fmla="*/ 41 h 45"/>
              <a:gd name="T4" fmla="*/ 16 w 35"/>
              <a:gd name="T5" fmla="*/ 43 h 45"/>
              <a:gd name="T6" fmla="*/ 23 w 35"/>
              <a:gd name="T7" fmla="*/ 37 h 45"/>
              <a:gd name="T8" fmla="*/ 25 w 35"/>
              <a:gd name="T9" fmla="*/ 26 h 45"/>
              <a:gd name="T10" fmla="*/ 31 w 35"/>
              <a:gd name="T11" fmla="*/ 16 h 45"/>
              <a:gd name="T12" fmla="*/ 33 w 35"/>
              <a:gd name="T13" fmla="*/ 8 h 45"/>
              <a:gd name="T14" fmla="*/ 35 w 35"/>
              <a:gd name="T15" fmla="*/ 2 h 45"/>
              <a:gd name="T16" fmla="*/ 29 w 35"/>
              <a:gd name="T17" fmla="*/ 1 h 45"/>
              <a:gd name="T18" fmla="*/ 26 w 35"/>
              <a:gd name="T19" fmla="*/ 2 h 45"/>
              <a:gd name="T20" fmla="*/ 25 w 35"/>
              <a:gd name="T21" fmla="*/ 6 h 45"/>
              <a:gd name="T22" fmla="*/ 20 w 35"/>
              <a:gd name="T23" fmla="*/ 10 h 45"/>
              <a:gd name="T24" fmla="*/ 10 w 35"/>
              <a:gd name="T25" fmla="*/ 8 h 45"/>
              <a:gd name="T26" fmla="*/ 13 w 35"/>
              <a:gd name="T27" fmla="*/ 13 h 45"/>
              <a:gd name="T28" fmla="*/ 14 w 35"/>
              <a:gd name="T29" fmla="*/ 19 h 45"/>
              <a:gd name="T30" fmla="*/ 15 w 35"/>
              <a:gd name="T31" fmla="*/ 22 h 45"/>
              <a:gd name="T32" fmla="*/ 16 w 35"/>
              <a:gd name="T33" fmla="*/ 25 h 45"/>
              <a:gd name="T34" fmla="*/ 15 w 35"/>
              <a:gd name="T35" fmla="*/ 32 h 45"/>
              <a:gd name="T36" fmla="*/ 13 w 35"/>
              <a:gd name="T37" fmla="*/ 31 h 45"/>
              <a:gd name="T38" fmla="*/ 10 w 35"/>
              <a:gd name="T39" fmla="*/ 32 h 45"/>
              <a:gd name="T40" fmla="*/ 8 w 35"/>
              <a:gd name="T41" fmla="*/ 29 h 45"/>
              <a:gd name="T42" fmla="*/ 6 w 35"/>
              <a:gd name="T43" fmla="*/ 32 h 45"/>
              <a:gd name="T44" fmla="*/ 4 w 35"/>
              <a:gd name="T45" fmla="*/ 32 h 45"/>
              <a:gd name="T46" fmla="*/ 3 w 35"/>
              <a:gd name="T47" fmla="*/ 35 h 45"/>
              <a:gd name="T48" fmla="*/ 0 w 35"/>
              <a:gd name="T49" fmla="*/ 39 h 45"/>
              <a:gd name="T50" fmla="*/ 5 w 35"/>
              <a:gd name="T51" fmla="*/ 45 h 45"/>
              <a:gd name="T52" fmla="*/ 8 w 35"/>
              <a:gd name="T53" fmla="*/ 42 h 45"/>
              <a:gd name="T54" fmla="*/ 11 w 35"/>
              <a:gd name="T55" fmla="*/ 44 h 45"/>
              <a:gd name="T56" fmla="*/ 11 w 35"/>
              <a:gd name="T57" fmla="*/ 44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5" h="45">
                <a:moveTo>
                  <a:pt x="11" y="44"/>
                </a:moveTo>
                <a:cubicBezTo>
                  <a:pt x="12" y="44"/>
                  <a:pt x="14" y="42"/>
                  <a:pt x="15" y="41"/>
                </a:cubicBezTo>
                <a:cubicBezTo>
                  <a:pt x="17" y="40"/>
                  <a:pt x="15" y="43"/>
                  <a:pt x="16" y="43"/>
                </a:cubicBezTo>
                <a:cubicBezTo>
                  <a:pt x="16" y="43"/>
                  <a:pt x="23" y="39"/>
                  <a:pt x="23" y="37"/>
                </a:cubicBezTo>
                <a:cubicBezTo>
                  <a:pt x="23" y="33"/>
                  <a:pt x="23" y="29"/>
                  <a:pt x="25" y="26"/>
                </a:cubicBezTo>
                <a:cubicBezTo>
                  <a:pt x="27" y="22"/>
                  <a:pt x="30" y="19"/>
                  <a:pt x="31" y="16"/>
                </a:cubicBezTo>
                <a:cubicBezTo>
                  <a:pt x="32" y="13"/>
                  <a:pt x="32" y="11"/>
                  <a:pt x="33" y="8"/>
                </a:cubicBezTo>
                <a:cubicBezTo>
                  <a:pt x="33" y="6"/>
                  <a:pt x="35" y="4"/>
                  <a:pt x="35" y="2"/>
                </a:cubicBezTo>
                <a:cubicBezTo>
                  <a:pt x="33" y="2"/>
                  <a:pt x="31" y="0"/>
                  <a:pt x="29" y="1"/>
                </a:cubicBezTo>
                <a:cubicBezTo>
                  <a:pt x="28" y="1"/>
                  <a:pt x="26" y="1"/>
                  <a:pt x="26" y="2"/>
                </a:cubicBezTo>
                <a:cubicBezTo>
                  <a:pt x="25" y="4"/>
                  <a:pt x="25" y="5"/>
                  <a:pt x="25" y="6"/>
                </a:cubicBezTo>
                <a:cubicBezTo>
                  <a:pt x="24" y="9"/>
                  <a:pt x="23" y="10"/>
                  <a:pt x="20" y="10"/>
                </a:cubicBezTo>
                <a:cubicBezTo>
                  <a:pt x="17" y="9"/>
                  <a:pt x="13" y="8"/>
                  <a:pt x="10" y="8"/>
                </a:cubicBezTo>
                <a:cubicBezTo>
                  <a:pt x="10" y="10"/>
                  <a:pt x="9" y="14"/>
                  <a:pt x="13" y="13"/>
                </a:cubicBezTo>
                <a:cubicBezTo>
                  <a:pt x="17" y="11"/>
                  <a:pt x="14" y="17"/>
                  <a:pt x="14" y="19"/>
                </a:cubicBezTo>
                <a:cubicBezTo>
                  <a:pt x="14" y="20"/>
                  <a:pt x="14" y="21"/>
                  <a:pt x="15" y="22"/>
                </a:cubicBezTo>
                <a:cubicBezTo>
                  <a:pt x="16" y="23"/>
                  <a:pt x="16" y="24"/>
                  <a:pt x="16" y="25"/>
                </a:cubicBezTo>
                <a:cubicBezTo>
                  <a:pt x="16" y="27"/>
                  <a:pt x="16" y="30"/>
                  <a:pt x="15" y="32"/>
                </a:cubicBezTo>
                <a:cubicBezTo>
                  <a:pt x="15" y="33"/>
                  <a:pt x="13" y="31"/>
                  <a:pt x="13" y="31"/>
                </a:cubicBezTo>
                <a:cubicBezTo>
                  <a:pt x="11" y="31"/>
                  <a:pt x="11" y="33"/>
                  <a:pt x="10" y="32"/>
                </a:cubicBezTo>
                <a:cubicBezTo>
                  <a:pt x="10" y="31"/>
                  <a:pt x="9" y="30"/>
                  <a:pt x="8" y="29"/>
                </a:cubicBezTo>
                <a:cubicBezTo>
                  <a:pt x="7" y="29"/>
                  <a:pt x="7" y="31"/>
                  <a:pt x="6" y="32"/>
                </a:cubicBezTo>
                <a:cubicBezTo>
                  <a:pt x="6" y="32"/>
                  <a:pt x="4" y="32"/>
                  <a:pt x="4" y="32"/>
                </a:cubicBezTo>
                <a:cubicBezTo>
                  <a:pt x="2" y="32"/>
                  <a:pt x="3" y="34"/>
                  <a:pt x="3" y="35"/>
                </a:cubicBezTo>
                <a:cubicBezTo>
                  <a:pt x="4" y="38"/>
                  <a:pt x="3" y="37"/>
                  <a:pt x="0" y="39"/>
                </a:cubicBezTo>
                <a:cubicBezTo>
                  <a:pt x="2" y="41"/>
                  <a:pt x="4" y="42"/>
                  <a:pt x="5" y="45"/>
                </a:cubicBezTo>
                <a:cubicBezTo>
                  <a:pt x="6" y="44"/>
                  <a:pt x="7" y="43"/>
                  <a:pt x="8" y="42"/>
                </a:cubicBezTo>
                <a:cubicBezTo>
                  <a:pt x="10" y="41"/>
                  <a:pt x="10" y="43"/>
                  <a:pt x="11" y="44"/>
                </a:cubicBezTo>
                <a:cubicBezTo>
                  <a:pt x="12" y="44"/>
                  <a:pt x="10" y="43"/>
                  <a:pt x="11" y="4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46" name="Freeform 742">
            <a:extLst>
              <a:ext uri="{FF2B5EF4-FFF2-40B4-BE49-F238E27FC236}">
                <a16:creationId xmlns:a16="http://schemas.microsoft.com/office/drawing/2014/main" id="{35407FD7-8FD5-6D43-BED7-23292D923632}"/>
              </a:ext>
            </a:extLst>
          </p:cNvPr>
          <p:cNvSpPr>
            <a:spLocks/>
          </p:cNvSpPr>
          <p:nvPr/>
        </p:nvSpPr>
        <p:spPr bwMode="auto">
          <a:xfrm>
            <a:off x="6230728" y="4606483"/>
            <a:ext cx="330026" cy="233020"/>
          </a:xfrm>
          <a:custGeom>
            <a:avLst/>
            <a:gdLst>
              <a:gd name="T0" fmla="*/ 12 w 64"/>
              <a:gd name="T1" fmla="*/ 37 h 45"/>
              <a:gd name="T2" fmla="*/ 17 w 64"/>
              <a:gd name="T3" fmla="*/ 37 h 45"/>
              <a:gd name="T4" fmla="*/ 20 w 64"/>
              <a:gd name="T5" fmla="*/ 38 h 45"/>
              <a:gd name="T6" fmla="*/ 21 w 64"/>
              <a:gd name="T7" fmla="*/ 33 h 45"/>
              <a:gd name="T8" fmla="*/ 25 w 64"/>
              <a:gd name="T9" fmla="*/ 30 h 45"/>
              <a:gd name="T10" fmla="*/ 30 w 64"/>
              <a:gd name="T11" fmla="*/ 33 h 45"/>
              <a:gd name="T12" fmla="*/ 36 w 64"/>
              <a:gd name="T13" fmla="*/ 34 h 45"/>
              <a:gd name="T14" fmla="*/ 39 w 64"/>
              <a:gd name="T15" fmla="*/ 34 h 45"/>
              <a:gd name="T16" fmla="*/ 41 w 64"/>
              <a:gd name="T17" fmla="*/ 30 h 45"/>
              <a:gd name="T18" fmla="*/ 45 w 64"/>
              <a:gd name="T19" fmla="*/ 31 h 45"/>
              <a:gd name="T20" fmla="*/ 50 w 64"/>
              <a:gd name="T21" fmla="*/ 31 h 45"/>
              <a:gd name="T22" fmla="*/ 55 w 64"/>
              <a:gd name="T23" fmla="*/ 29 h 45"/>
              <a:gd name="T24" fmla="*/ 60 w 64"/>
              <a:gd name="T25" fmla="*/ 30 h 45"/>
              <a:gd name="T26" fmla="*/ 58 w 64"/>
              <a:gd name="T27" fmla="*/ 24 h 45"/>
              <a:gd name="T28" fmla="*/ 55 w 64"/>
              <a:gd name="T29" fmla="*/ 20 h 45"/>
              <a:gd name="T30" fmla="*/ 51 w 64"/>
              <a:gd name="T31" fmla="*/ 16 h 45"/>
              <a:gd name="T32" fmla="*/ 47 w 64"/>
              <a:gd name="T33" fmla="*/ 13 h 45"/>
              <a:gd name="T34" fmla="*/ 46 w 64"/>
              <a:gd name="T35" fmla="*/ 12 h 45"/>
              <a:gd name="T36" fmla="*/ 44 w 64"/>
              <a:gd name="T37" fmla="*/ 12 h 45"/>
              <a:gd name="T38" fmla="*/ 44 w 64"/>
              <a:gd name="T39" fmla="*/ 6 h 45"/>
              <a:gd name="T40" fmla="*/ 41 w 64"/>
              <a:gd name="T41" fmla="*/ 1 h 45"/>
              <a:gd name="T42" fmla="*/ 41 w 64"/>
              <a:gd name="T43" fmla="*/ 0 h 45"/>
              <a:gd name="T44" fmla="*/ 38 w 64"/>
              <a:gd name="T45" fmla="*/ 0 h 45"/>
              <a:gd name="T46" fmla="*/ 35 w 64"/>
              <a:gd name="T47" fmla="*/ 3 h 45"/>
              <a:gd name="T48" fmla="*/ 26 w 64"/>
              <a:gd name="T49" fmla="*/ 10 h 45"/>
              <a:gd name="T50" fmla="*/ 22 w 64"/>
              <a:gd name="T51" fmla="*/ 11 h 45"/>
              <a:gd name="T52" fmla="*/ 19 w 64"/>
              <a:gd name="T53" fmla="*/ 15 h 45"/>
              <a:gd name="T54" fmla="*/ 13 w 64"/>
              <a:gd name="T55" fmla="*/ 17 h 45"/>
              <a:gd name="T56" fmla="*/ 9 w 64"/>
              <a:gd name="T57" fmla="*/ 17 h 45"/>
              <a:gd name="T58" fmla="*/ 6 w 64"/>
              <a:gd name="T59" fmla="*/ 18 h 45"/>
              <a:gd name="T60" fmla="*/ 3 w 64"/>
              <a:gd name="T61" fmla="*/ 23 h 45"/>
              <a:gd name="T62" fmla="*/ 4 w 64"/>
              <a:gd name="T63" fmla="*/ 34 h 45"/>
              <a:gd name="T64" fmla="*/ 6 w 64"/>
              <a:gd name="T65" fmla="*/ 39 h 45"/>
              <a:gd name="T66" fmla="*/ 9 w 64"/>
              <a:gd name="T67" fmla="*/ 45 h 45"/>
              <a:gd name="T68" fmla="*/ 12 w 64"/>
              <a:gd name="T69" fmla="*/ 37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4" h="45">
                <a:moveTo>
                  <a:pt x="12" y="37"/>
                </a:moveTo>
                <a:cubicBezTo>
                  <a:pt x="13" y="37"/>
                  <a:pt x="16" y="36"/>
                  <a:pt x="17" y="37"/>
                </a:cubicBezTo>
                <a:cubicBezTo>
                  <a:pt x="17" y="38"/>
                  <a:pt x="20" y="38"/>
                  <a:pt x="20" y="38"/>
                </a:cubicBezTo>
                <a:cubicBezTo>
                  <a:pt x="21" y="36"/>
                  <a:pt x="20" y="34"/>
                  <a:pt x="21" y="33"/>
                </a:cubicBezTo>
                <a:cubicBezTo>
                  <a:pt x="21" y="32"/>
                  <a:pt x="23" y="29"/>
                  <a:pt x="25" y="30"/>
                </a:cubicBezTo>
                <a:cubicBezTo>
                  <a:pt x="27" y="30"/>
                  <a:pt x="28" y="32"/>
                  <a:pt x="30" y="33"/>
                </a:cubicBezTo>
                <a:cubicBezTo>
                  <a:pt x="32" y="34"/>
                  <a:pt x="34" y="34"/>
                  <a:pt x="36" y="34"/>
                </a:cubicBezTo>
                <a:cubicBezTo>
                  <a:pt x="37" y="34"/>
                  <a:pt x="39" y="35"/>
                  <a:pt x="39" y="34"/>
                </a:cubicBezTo>
                <a:cubicBezTo>
                  <a:pt x="40" y="33"/>
                  <a:pt x="40" y="29"/>
                  <a:pt x="41" y="30"/>
                </a:cubicBezTo>
                <a:cubicBezTo>
                  <a:pt x="43" y="31"/>
                  <a:pt x="43" y="31"/>
                  <a:pt x="45" y="31"/>
                </a:cubicBezTo>
                <a:cubicBezTo>
                  <a:pt x="47" y="30"/>
                  <a:pt x="48" y="31"/>
                  <a:pt x="50" y="31"/>
                </a:cubicBezTo>
                <a:cubicBezTo>
                  <a:pt x="52" y="31"/>
                  <a:pt x="53" y="28"/>
                  <a:pt x="55" y="29"/>
                </a:cubicBezTo>
                <a:cubicBezTo>
                  <a:pt x="56" y="29"/>
                  <a:pt x="58" y="31"/>
                  <a:pt x="60" y="30"/>
                </a:cubicBezTo>
                <a:cubicBezTo>
                  <a:pt x="64" y="28"/>
                  <a:pt x="59" y="26"/>
                  <a:pt x="58" y="24"/>
                </a:cubicBezTo>
                <a:cubicBezTo>
                  <a:pt x="57" y="22"/>
                  <a:pt x="57" y="21"/>
                  <a:pt x="55" y="20"/>
                </a:cubicBezTo>
                <a:cubicBezTo>
                  <a:pt x="53" y="19"/>
                  <a:pt x="52" y="18"/>
                  <a:pt x="51" y="16"/>
                </a:cubicBezTo>
                <a:cubicBezTo>
                  <a:pt x="51" y="14"/>
                  <a:pt x="49" y="14"/>
                  <a:pt x="47" y="13"/>
                </a:cubicBezTo>
                <a:cubicBezTo>
                  <a:pt x="47" y="13"/>
                  <a:pt x="47" y="12"/>
                  <a:pt x="46" y="12"/>
                </a:cubicBezTo>
                <a:cubicBezTo>
                  <a:pt x="46" y="12"/>
                  <a:pt x="44" y="12"/>
                  <a:pt x="44" y="12"/>
                </a:cubicBezTo>
                <a:cubicBezTo>
                  <a:pt x="43" y="11"/>
                  <a:pt x="44" y="7"/>
                  <a:pt x="44" y="6"/>
                </a:cubicBezTo>
                <a:cubicBezTo>
                  <a:pt x="44" y="4"/>
                  <a:pt x="42" y="3"/>
                  <a:pt x="41" y="1"/>
                </a:cubicBezTo>
                <a:cubicBezTo>
                  <a:pt x="41" y="1"/>
                  <a:pt x="41" y="0"/>
                  <a:pt x="41" y="0"/>
                </a:cubicBezTo>
                <a:cubicBezTo>
                  <a:pt x="40" y="0"/>
                  <a:pt x="39" y="0"/>
                  <a:pt x="38" y="0"/>
                </a:cubicBezTo>
                <a:cubicBezTo>
                  <a:pt x="36" y="1"/>
                  <a:pt x="36" y="1"/>
                  <a:pt x="35" y="3"/>
                </a:cubicBezTo>
                <a:cubicBezTo>
                  <a:pt x="35" y="6"/>
                  <a:pt x="28" y="10"/>
                  <a:pt x="26" y="10"/>
                </a:cubicBezTo>
                <a:cubicBezTo>
                  <a:pt x="25" y="10"/>
                  <a:pt x="21" y="10"/>
                  <a:pt x="22" y="11"/>
                </a:cubicBezTo>
                <a:cubicBezTo>
                  <a:pt x="23" y="13"/>
                  <a:pt x="20" y="15"/>
                  <a:pt x="19" y="15"/>
                </a:cubicBezTo>
                <a:cubicBezTo>
                  <a:pt x="17" y="16"/>
                  <a:pt x="15" y="17"/>
                  <a:pt x="13" y="17"/>
                </a:cubicBezTo>
                <a:cubicBezTo>
                  <a:pt x="11" y="18"/>
                  <a:pt x="11" y="16"/>
                  <a:pt x="9" y="17"/>
                </a:cubicBezTo>
                <a:cubicBezTo>
                  <a:pt x="7" y="18"/>
                  <a:pt x="6" y="17"/>
                  <a:pt x="6" y="18"/>
                </a:cubicBezTo>
                <a:cubicBezTo>
                  <a:pt x="5" y="20"/>
                  <a:pt x="4" y="22"/>
                  <a:pt x="3" y="23"/>
                </a:cubicBezTo>
                <a:cubicBezTo>
                  <a:pt x="0" y="27"/>
                  <a:pt x="2" y="30"/>
                  <a:pt x="4" y="34"/>
                </a:cubicBezTo>
                <a:cubicBezTo>
                  <a:pt x="5" y="36"/>
                  <a:pt x="5" y="37"/>
                  <a:pt x="6" y="39"/>
                </a:cubicBezTo>
                <a:cubicBezTo>
                  <a:pt x="8" y="41"/>
                  <a:pt x="9" y="42"/>
                  <a:pt x="9" y="45"/>
                </a:cubicBezTo>
                <a:cubicBezTo>
                  <a:pt x="9" y="44"/>
                  <a:pt x="10" y="37"/>
                  <a:pt x="12" y="3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47" name="Freeform 743">
            <a:extLst>
              <a:ext uri="{FF2B5EF4-FFF2-40B4-BE49-F238E27FC236}">
                <a16:creationId xmlns:a16="http://schemas.microsoft.com/office/drawing/2014/main" id="{EC21C3CC-086C-BE4F-B593-8E2135F384C0}"/>
              </a:ext>
            </a:extLst>
          </p:cNvPr>
          <p:cNvSpPr>
            <a:spLocks/>
          </p:cNvSpPr>
          <p:nvPr/>
        </p:nvSpPr>
        <p:spPr bwMode="auto">
          <a:xfrm>
            <a:off x="5863640" y="4274606"/>
            <a:ext cx="605343" cy="425439"/>
          </a:xfrm>
          <a:custGeom>
            <a:avLst/>
            <a:gdLst>
              <a:gd name="T0" fmla="*/ 83 w 117"/>
              <a:gd name="T1" fmla="*/ 82 h 82"/>
              <a:gd name="T2" fmla="*/ 93 w 117"/>
              <a:gd name="T3" fmla="*/ 76 h 82"/>
              <a:gd name="T4" fmla="*/ 105 w 117"/>
              <a:gd name="T5" fmla="*/ 68 h 82"/>
              <a:gd name="T6" fmla="*/ 112 w 117"/>
              <a:gd name="T7" fmla="*/ 64 h 82"/>
              <a:gd name="T8" fmla="*/ 107 w 117"/>
              <a:gd name="T9" fmla="*/ 55 h 82"/>
              <a:gd name="T10" fmla="*/ 110 w 117"/>
              <a:gd name="T11" fmla="*/ 46 h 82"/>
              <a:gd name="T12" fmla="*/ 114 w 117"/>
              <a:gd name="T13" fmla="*/ 40 h 82"/>
              <a:gd name="T14" fmla="*/ 117 w 117"/>
              <a:gd name="T15" fmla="*/ 21 h 82"/>
              <a:gd name="T16" fmla="*/ 81 w 117"/>
              <a:gd name="T17" fmla="*/ 1 h 82"/>
              <a:gd name="T18" fmla="*/ 75 w 117"/>
              <a:gd name="T19" fmla="*/ 2 h 82"/>
              <a:gd name="T20" fmla="*/ 67 w 117"/>
              <a:gd name="T21" fmla="*/ 2 h 82"/>
              <a:gd name="T22" fmla="*/ 59 w 117"/>
              <a:gd name="T23" fmla="*/ 1 h 82"/>
              <a:gd name="T24" fmla="*/ 29 w 117"/>
              <a:gd name="T25" fmla="*/ 21 h 82"/>
              <a:gd name="T26" fmla="*/ 22 w 117"/>
              <a:gd name="T27" fmla="*/ 25 h 82"/>
              <a:gd name="T28" fmla="*/ 19 w 117"/>
              <a:gd name="T29" fmla="*/ 42 h 82"/>
              <a:gd name="T30" fmla="*/ 8 w 117"/>
              <a:gd name="T31" fmla="*/ 43 h 82"/>
              <a:gd name="T32" fmla="*/ 5 w 117"/>
              <a:gd name="T33" fmla="*/ 51 h 82"/>
              <a:gd name="T34" fmla="*/ 11 w 117"/>
              <a:gd name="T35" fmla="*/ 56 h 82"/>
              <a:gd name="T36" fmla="*/ 19 w 117"/>
              <a:gd name="T37" fmla="*/ 62 h 82"/>
              <a:gd name="T38" fmla="*/ 21 w 117"/>
              <a:gd name="T39" fmla="*/ 55 h 82"/>
              <a:gd name="T40" fmla="*/ 28 w 117"/>
              <a:gd name="T41" fmla="*/ 50 h 82"/>
              <a:gd name="T42" fmla="*/ 35 w 117"/>
              <a:gd name="T43" fmla="*/ 53 h 82"/>
              <a:gd name="T44" fmla="*/ 46 w 117"/>
              <a:gd name="T45" fmla="*/ 55 h 82"/>
              <a:gd name="T46" fmla="*/ 64 w 117"/>
              <a:gd name="T47" fmla="*/ 53 h 82"/>
              <a:gd name="T48" fmla="*/ 68 w 117"/>
              <a:gd name="T49" fmla="*/ 47 h 82"/>
              <a:gd name="T50" fmla="*/ 77 w 117"/>
              <a:gd name="T51" fmla="*/ 31 h 82"/>
              <a:gd name="T52" fmla="*/ 79 w 117"/>
              <a:gd name="T53" fmla="*/ 16 h 82"/>
              <a:gd name="T54" fmla="*/ 75 w 117"/>
              <a:gd name="T55" fmla="*/ 2 h 82"/>
              <a:gd name="T56" fmla="*/ 78 w 117"/>
              <a:gd name="T57" fmla="*/ 16 h 82"/>
              <a:gd name="T58" fmla="*/ 77 w 117"/>
              <a:gd name="T59" fmla="*/ 35 h 82"/>
              <a:gd name="T60" fmla="*/ 68 w 117"/>
              <a:gd name="T61" fmla="*/ 46 h 82"/>
              <a:gd name="T62" fmla="*/ 72 w 117"/>
              <a:gd name="T63" fmla="*/ 55 h 82"/>
              <a:gd name="T64" fmla="*/ 75 w 117"/>
              <a:gd name="T65" fmla="*/ 65 h 82"/>
              <a:gd name="T66" fmla="*/ 72 w 117"/>
              <a:gd name="T67" fmla="*/ 74 h 82"/>
              <a:gd name="T68" fmla="*/ 77 w 117"/>
              <a:gd name="T69" fmla="*/ 81 h 82"/>
              <a:gd name="T70" fmla="*/ 80 w 117"/>
              <a:gd name="T71" fmla="*/ 81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17" h="82">
                <a:moveTo>
                  <a:pt x="80" y="81"/>
                </a:moveTo>
                <a:cubicBezTo>
                  <a:pt x="81" y="80"/>
                  <a:pt x="82" y="82"/>
                  <a:pt x="83" y="82"/>
                </a:cubicBezTo>
                <a:cubicBezTo>
                  <a:pt x="85" y="81"/>
                  <a:pt x="87" y="80"/>
                  <a:pt x="89" y="79"/>
                </a:cubicBezTo>
                <a:cubicBezTo>
                  <a:pt x="90" y="79"/>
                  <a:pt x="93" y="78"/>
                  <a:pt x="93" y="76"/>
                </a:cubicBezTo>
                <a:cubicBezTo>
                  <a:pt x="93" y="74"/>
                  <a:pt x="94" y="75"/>
                  <a:pt x="96" y="74"/>
                </a:cubicBezTo>
                <a:cubicBezTo>
                  <a:pt x="99" y="74"/>
                  <a:pt x="103" y="71"/>
                  <a:pt x="105" y="68"/>
                </a:cubicBezTo>
                <a:cubicBezTo>
                  <a:pt x="106" y="67"/>
                  <a:pt x="106" y="66"/>
                  <a:pt x="107" y="65"/>
                </a:cubicBezTo>
                <a:cubicBezTo>
                  <a:pt x="108" y="64"/>
                  <a:pt x="110" y="64"/>
                  <a:pt x="112" y="64"/>
                </a:cubicBezTo>
                <a:cubicBezTo>
                  <a:pt x="112" y="62"/>
                  <a:pt x="110" y="61"/>
                  <a:pt x="109" y="59"/>
                </a:cubicBezTo>
                <a:cubicBezTo>
                  <a:pt x="109" y="58"/>
                  <a:pt x="110" y="55"/>
                  <a:pt x="107" y="55"/>
                </a:cubicBezTo>
                <a:cubicBezTo>
                  <a:pt x="106" y="55"/>
                  <a:pt x="109" y="53"/>
                  <a:pt x="108" y="52"/>
                </a:cubicBezTo>
                <a:cubicBezTo>
                  <a:pt x="108" y="49"/>
                  <a:pt x="109" y="48"/>
                  <a:pt x="110" y="46"/>
                </a:cubicBezTo>
                <a:cubicBezTo>
                  <a:pt x="110" y="44"/>
                  <a:pt x="112" y="44"/>
                  <a:pt x="112" y="42"/>
                </a:cubicBezTo>
                <a:cubicBezTo>
                  <a:pt x="112" y="41"/>
                  <a:pt x="113" y="40"/>
                  <a:pt x="114" y="40"/>
                </a:cubicBezTo>
                <a:cubicBezTo>
                  <a:pt x="117" y="40"/>
                  <a:pt x="117" y="40"/>
                  <a:pt x="117" y="38"/>
                </a:cubicBezTo>
                <a:cubicBezTo>
                  <a:pt x="117" y="32"/>
                  <a:pt x="117" y="27"/>
                  <a:pt x="117" y="21"/>
                </a:cubicBezTo>
                <a:cubicBezTo>
                  <a:pt x="117" y="19"/>
                  <a:pt x="113" y="18"/>
                  <a:pt x="111" y="17"/>
                </a:cubicBezTo>
                <a:cubicBezTo>
                  <a:pt x="101" y="12"/>
                  <a:pt x="91" y="6"/>
                  <a:pt x="81" y="1"/>
                </a:cubicBezTo>
                <a:cubicBezTo>
                  <a:pt x="80" y="1"/>
                  <a:pt x="80" y="0"/>
                  <a:pt x="79" y="0"/>
                </a:cubicBezTo>
                <a:cubicBezTo>
                  <a:pt x="78" y="1"/>
                  <a:pt x="76" y="2"/>
                  <a:pt x="75" y="2"/>
                </a:cubicBezTo>
                <a:cubicBezTo>
                  <a:pt x="74" y="3"/>
                  <a:pt x="72" y="5"/>
                  <a:pt x="71" y="5"/>
                </a:cubicBezTo>
                <a:cubicBezTo>
                  <a:pt x="70" y="5"/>
                  <a:pt x="69" y="3"/>
                  <a:pt x="67" y="2"/>
                </a:cubicBezTo>
                <a:cubicBezTo>
                  <a:pt x="66" y="1"/>
                  <a:pt x="65" y="1"/>
                  <a:pt x="64" y="1"/>
                </a:cubicBezTo>
                <a:cubicBezTo>
                  <a:pt x="62" y="0"/>
                  <a:pt x="61" y="0"/>
                  <a:pt x="59" y="1"/>
                </a:cubicBezTo>
                <a:cubicBezTo>
                  <a:pt x="52" y="5"/>
                  <a:pt x="45" y="10"/>
                  <a:pt x="38" y="14"/>
                </a:cubicBezTo>
                <a:cubicBezTo>
                  <a:pt x="35" y="16"/>
                  <a:pt x="32" y="18"/>
                  <a:pt x="29" y="21"/>
                </a:cubicBezTo>
                <a:cubicBezTo>
                  <a:pt x="28" y="22"/>
                  <a:pt x="27" y="22"/>
                  <a:pt x="26" y="22"/>
                </a:cubicBezTo>
                <a:cubicBezTo>
                  <a:pt x="23" y="22"/>
                  <a:pt x="22" y="22"/>
                  <a:pt x="22" y="25"/>
                </a:cubicBezTo>
                <a:cubicBezTo>
                  <a:pt x="22" y="28"/>
                  <a:pt x="22" y="31"/>
                  <a:pt x="22" y="34"/>
                </a:cubicBezTo>
                <a:cubicBezTo>
                  <a:pt x="22" y="37"/>
                  <a:pt x="21" y="40"/>
                  <a:pt x="19" y="42"/>
                </a:cubicBezTo>
                <a:cubicBezTo>
                  <a:pt x="18" y="43"/>
                  <a:pt x="15" y="43"/>
                  <a:pt x="14" y="43"/>
                </a:cubicBezTo>
                <a:cubicBezTo>
                  <a:pt x="12" y="43"/>
                  <a:pt x="10" y="43"/>
                  <a:pt x="8" y="43"/>
                </a:cubicBezTo>
                <a:cubicBezTo>
                  <a:pt x="6" y="43"/>
                  <a:pt x="4" y="44"/>
                  <a:pt x="2" y="44"/>
                </a:cubicBezTo>
                <a:cubicBezTo>
                  <a:pt x="0" y="44"/>
                  <a:pt x="5" y="51"/>
                  <a:pt x="5" y="51"/>
                </a:cubicBezTo>
                <a:cubicBezTo>
                  <a:pt x="6" y="54"/>
                  <a:pt x="7" y="56"/>
                  <a:pt x="10" y="57"/>
                </a:cubicBezTo>
                <a:cubicBezTo>
                  <a:pt x="10" y="57"/>
                  <a:pt x="11" y="56"/>
                  <a:pt x="11" y="56"/>
                </a:cubicBezTo>
                <a:cubicBezTo>
                  <a:pt x="12" y="57"/>
                  <a:pt x="12" y="60"/>
                  <a:pt x="14" y="58"/>
                </a:cubicBezTo>
                <a:cubicBezTo>
                  <a:pt x="16" y="56"/>
                  <a:pt x="18" y="61"/>
                  <a:pt x="19" y="62"/>
                </a:cubicBezTo>
                <a:cubicBezTo>
                  <a:pt x="19" y="61"/>
                  <a:pt x="20" y="59"/>
                  <a:pt x="20" y="58"/>
                </a:cubicBezTo>
                <a:cubicBezTo>
                  <a:pt x="20" y="57"/>
                  <a:pt x="21" y="56"/>
                  <a:pt x="21" y="55"/>
                </a:cubicBezTo>
                <a:cubicBezTo>
                  <a:pt x="22" y="52"/>
                  <a:pt x="22" y="52"/>
                  <a:pt x="25" y="51"/>
                </a:cubicBezTo>
                <a:cubicBezTo>
                  <a:pt x="26" y="50"/>
                  <a:pt x="27" y="50"/>
                  <a:pt x="28" y="50"/>
                </a:cubicBezTo>
                <a:cubicBezTo>
                  <a:pt x="29" y="49"/>
                  <a:pt x="30" y="51"/>
                  <a:pt x="31" y="51"/>
                </a:cubicBezTo>
                <a:cubicBezTo>
                  <a:pt x="33" y="51"/>
                  <a:pt x="34" y="52"/>
                  <a:pt x="35" y="53"/>
                </a:cubicBezTo>
                <a:cubicBezTo>
                  <a:pt x="36" y="54"/>
                  <a:pt x="37" y="54"/>
                  <a:pt x="39" y="54"/>
                </a:cubicBezTo>
                <a:cubicBezTo>
                  <a:pt x="42" y="52"/>
                  <a:pt x="43" y="55"/>
                  <a:pt x="46" y="55"/>
                </a:cubicBezTo>
                <a:cubicBezTo>
                  <a:pt x="49" y="55"/>
                  <a:pt x="52" y="53"/>
                  <a:pt x="55" y="53"/>
                </a:cubicBezTo>
                <a:cubicBezTo>
                  <a:pt x="57" y="53"/>
                  <a:pt x="61" y="54"/>
                  <a:pt x="64" y="53"/>
                </a:cubicBezTo>
                <a:cubicBezTo>
                  <a:pt x="65" y="53"/>
                  <a:pt x="66" y="52"/>
                  <a:pt x="67" y="51"/>
                </a:cubicBezTo>
                <a:cubicBezTo>
                  <a:pt x="69" y="50"/>
                  <a:pt x="68" y="49"/>
                  <a:pt x="68" y="47"/>
                </a:cubicBezTo>
                <a:cubicBezTo>
                  <a:pt x="68" y="42"/>
                  <a:pt x="73" y="39"/>
                  <a:pt x="77" y="35"/>
                </a:cubicBezTo>
                <a:cubicBezTo>
                  <a:pt x="78" y="34"/>
                  <a:pt x="77" y="32"/>
                  <a:pt x="77" y="31"/>
                </a:cubicBezTo>
                <a:cubicBezTo>
                  <a:pt x="77" y="28"/>
                  <a:pt x="77" y="26"/>
                  <a:pt x="77" y="23"/>
                </a:cubicBezTo>
                <a:cubicBezTo>
                  <a:pt x="78" y="21"/>
                  <a:pt x="79" y="18"/>
                  <a:pt x="79" y="16"/>
                </a:cubicBezTo>
                <a:cubicBezTo>
                  <a:pt x="78" y="14"/>
                  <a:pt x="77" y="12"/>
                  <a:pt x="76" y="11"/>
                </a:cubicBezTo>
                <a:cubicBezTo>
                  <a:pt x="74" y="8"/>
                  <a:pt x="75" y="5"/>
                  <a:pt x="75" y="2"/>
                </a:cubicBezTo>
                <a:cubicBezTo>
                  <a:pt x="75" y="5"/>
                  <a:pt x="75" y="7"/>
                  <a:pt x="75" y="9"/>
                </a:cubicBezTo>
                <a:cubicBezTo>
                  <a:pt x="75" y="11"/>
                  <a:pt x="78" y="14"/>
                  <a:pt x="78" y="16"/>
                </a:cubicBezTo>
                <a:cubicBezTo>
                  <a:pt x="79" y="19"/>
                  <a:pt x="77" y="23"/>
                  <a:pt x="77" y="26"/>
                </a:cubicBezTo>
                <a:cubicBezTo>
                  <a:pt x="77" y="28"/>
                  <a:pt x="78" y="32"/>
                  <a:pt x="77" y="35"/>
                </a:cubicBezTo>
                <a:cubicBezTo>
                  <a:pt x="76" y="37"/>
                  <a:pt x="72" y="39"/>
                  <a:pt x="71" y="41"/>
                </a:cubicBezTo>
                <a:cubicBezTo>
                  <a:pt x="69" y="42"/>
                  <a:pt x="68" y="44"/>
                  <a:pt x="68" y="46"/>
                </a:cubicBezTo>
                <a:cubicBezTo>
                  <a:pt x="67" y="49"/>
                  <a:pt x="69" y="50"/>
                  <a:pt x="70" y="53"/>
                </a:cubicBezTo>
                <a:cubicBezTo>
                  <a:pt x="70" y="54"/>
                  <a:pt x="71" y="54"/>
                  <a:pt x="72" y="55"/>
                </a:cubicBezTo>
                <a:cubicBezTo>
                  <a:pt x="74" y="56"/>
                  <a:pt x="75" y="57"/>
                  <a:pt x="75" y="59"/>
                </a:cubicBezTo>
                <a:cubicBezTo>
                  <a:pt x="75" y="61"/>
                  <a:pt x="75" y="63"/>
                  <a:pt x="75" y="65"/>
                </a:cubicBezTo>
                <a:cubicBezTo>
                  <a:pt x="75" y="66"/>
                  <a:pt x="76" y="68"/>
                  <a:pt x="77" y="70"/>
                </a:cubicBezTo>
                <a:cubicBezTo>
                  <a:pt x="74" y="70"/>
                  <a:pt x="67" y="70"/>
                  <a:pt x="72" y="74"/>
                </a:cubicBezTo>
                <a:cubicBezTo>
                  <a:pt x="74" y="75"/>
                  <a:pt x="75" y="76"/>
                  <a:pt x="76" y="78"/>
                </a:cubicBezTo>
                <a:cubicBezTo>
                  <a:pt x="76" y="79"/>
                  <a:pt x="77" y="80"/>
                  <a:pt x="77" y="81"/>
                </a:cubicBezTo>
                <a:cubicBezTo>
                  <a:pt x="77" y="82"/>
                  <a:pt x="80" y="81"/>
                  <a:pt x="80" y="81"/>
                </a:cubicBezTo>
                <a:cubicBezTo>
                  <a:pt x="82" y="80"/>
                  <a:pt x="80" y="81"/>
                  <a:pt x="80" y="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48" name="Freeform 744">
            <a:extLst>
              <a:ext uri="{FF2B5EF4-FFF2-40B4-BE49-F238E27FC236}">
                <a16:creationId xmlns:a16="http://schemas.microsoft.com/office/drawing/2014/main" id="{8FFFBD55-E2D9-BA4D-9BCC-ADE1F1BEFECF}"/>
              </a:ext>
            </a:extLst>
          </p:cNvPr>
          <p:cNvSpPr>
            <a:spLocks/>
          </p:cNvSpPr>
          <p:nvPr/>
        </p:nvSpPr>
        <p:spPr bwMode="auto">
          <a:xfrm>
            <a:off x="6410741" y="4285198"/>
            <a:ext cx="425328" cy="524296"/>
          </a:xfrm>
          <a:custGeom>
            <a:avLst/>
            <a:gdLst>
              <a:gd name="T0" fmla="*/ 6 w 82"/>
              <a:gd name="T1" fmla="*/ 39 h 101"/>
              <a:gd name="T2" fmla="*/ 6 w 82"/>
              <a:gd name="T3" fmla="*/ 41 h 101"/>
              <a:gd name="T4" fmla="*/ 4 w 82"/>
              <a:gd name="T5" fmla="*/ 43 h 101"/>
              <a:gd name="T6" fmla="*/ 2 w 82"/>
              <a:gd name="T7" fmla="*/ 49 h 101"/>
              <a:gd name="T8" fmla="*/ 2 w 82"/>
              <a:gd name="T9" fmla="*/ 51 h 101"/>
              <a:gd name="T10" fmla="*/ 1 w 82"/>
              <a:gd name="T11" fmla="*/ 53 h 101"/>
              <a:gd name="T12" fmla="*/ 4 w 82"/>
              <a:gd name="T13" fmla="*/ 58 h 101"/>
              <a:gd name="T14" fmla="*/ 6 w 82"/>
              <a:gd name="T15" fmla="*/ 60 h 101"/>
              <a:gd name="T16" fmla="*/ 6 w 82"/>
              <a:gd name="T17" fmla="*/ 63 h 101"/>
              <a:gd name="T18" fmla="*/ 9 w 82"/>
              <a:gd name="T19" fmla="*/ 68 h 101"/>
              <a:gd name="T20" fmla="*/ 9 w 82"/>
              <a:gd name="T21" fmla="*/ 74 h 101"/>
              <a:gd name="T22" fmla="*/ 15 w 82"/>
              <a:gd name="T23" fmla="*/ 76 h 101"/>
              <a:gd name="T24" fmla="*/ 18 w 82"/>
              <a:gd name="T25" fmla="*/ 81 h 101"/>
              <a:gd name="T26" fmla="*/ 22 w 82"/>
              <a:gd name="T27" fmla="*/ 84 h 101"/>
              <a:gd name="T28" fmla="*/ 26 w 82"/>
              <a:gd name="T29" fmla="*/ 88 h 101"/>
              <a:gd name="T30" fmla="*/ 26 w 82"/>
              <a:gd name="T31" fmla="*/ 91 h 101"/>
              <a:gd name="T32" fmla="*/ 28 w 82"/>
              <a:gd name="T33" fmla="*/ 92 h 101"/>
              <a:gd name="T34" fmla="*/ 32 w 82"/>
              <a:gd name="T35" fmla="*/ 96 h 101"/>
              <a:gd name="T36" fmla="*/ 35 w 82"/>
              <a:gd name="T37" fmla="*/ 95 h 101"/>
              <a:gd name="T38" fmla="*/ 39 w 82"/>
              <a:gd name="T39" fmla="*/ 94 h 101"/>
              <a:gd name="T40" fmla="*/ 44 w 82"/>
              <a:gd name="T41" fmla="*/ 100 h 101"/>
              <a:gd name="T42" fmla="*/ 51 w 82"/>
              <a:gd name="T43" fmla="*/ 100 h 101"/>
              <a:gd name="T44" fmla="*/ 55 w 82"/>
              <a:gd name="T45" fmla="*/ 98 h 101"/>
              <a:gd name="T46" fmla="*/ 59 w 82"/>
              <a:gd name="T47" fmla="*/ 97 h 101"/>
              <a:gd name="T48" fmla="*/ 69 w 82"/>
              <a:gd name="T49" fmla="*/ 94 h 101"/>
              <a:gd name="T50" fmla="*/ 69 w 82"/>
              <a:gd name="T51" fmla="*/ 91 h 101"/>
              <a:gd name="T52" fmla="*/ 66 w 82"/>
              <a:gd name="T53" fmla="*/ 90 h 101"/>
              <a:gd name="T54" fmla="*/ 61 w 82"/>
              <a:gd name="T55" fmla="*/ 83 h 101"/>
              <a:gd name="T56" fmla="*/ 59 w 82"/>
              <a:gd name="T57" fmla="*/ 80 h 101"/>
              <a:gd name="T58" fmla="*/ 56 w 82"/>
              <a:gd name="T59" fmla="*/ 78 h 101"/>
              <a:gd name="T60" fmla="*/ 59 w 82"/>
              <a:gd name="T61" fmla="*/ 75 h 101"/>
              <a:gd name="T62" fmla="*/ 61 w 82"/>
              <a:gd name="T63" fmla="*/ 67 h 101"/>
              <a:gd name="T64" fmla="*/ 62 w 82"/>
              <a:gd name="T65" fmla="*/ 64 h 101"/>
              <a:gd name="T66" fmla="*/ 65 w 82"/>
              <a:gd name="T67" fmla="*/ 62 h 101"/>
              <a:gd name="T68" fmla="*/ 65 w 82"/>
              <a:gd name="T69" fmla="*/ 58 h 101"/>
              <a:gd name="T70" fmla="*/ 67 w 82"/>
              <a:gd name="T71" fmla="*/ 55 h 101"/>
              <a:gd name="T72" fmla="*/ 71 w 82"/>
              <a:gd name="T73" fmla="*/ 52 h 101"/>
              <a:gd name="T74" fmla="*/ 72 w 82"/>
              <a:gd name="T75" fmla="*/ 45 h 101"/>
              <a:gd name="T76" fmla="*/ 72 w 82"/>
              <a:gd name="T77" fmla="*/ 42 h 101"/>
              <a:gd name="T78" fmla="*/ 74 w 82"/>
              <a:gd name="T79" fmla="*/ 37 h 101"/>
              <a:gd name="T80" fmla="*/ 79 w 82"/>
              <a:gd name="T81" fmla="*/ 29 h 101"/>
              <a:gd name="T82" fmla="*/ 82 w 82"/>
              <a:gd name="T83" fmla="*/ 27 h 101"/>
              <a:gd name="T84" fmla="*/ 79 w 82"/>
              <a:gd name="T85" fmla="*/ 23 h 101"/>
              <a:gd name="T86" fmla="*/ 76 w 82"/>
              <a:gd name="T87" fmla="*/ 17 h 101"/>
              <a:gd name="T88" fmla="*/ 76 w 82"/>
              <a:gd name="T89" fmla="*/ 11 h 101"/>
              <a:gd name="T90" fmla="*/ 75 w 82"/>
              <a:gd name="T91" fmla="*/ 9 h 101"/>
              <a:gd name="T92" fmla="*/ 74 w 82"/>
              <a:gd name="T93" fmla="*/ 5 h 101"/>
              <a:gd name="T94" fmla="*/ 68 w 82"/>
              <a:gd name="T95" fmla="*/ 0 h 101"/>
              <a:gd name="T96" fmla="*/ 64 w 82"/>
              <a:gd name="T97" fmla="*/ 2 h 101"/>
              <a:gd name="T98" fmla="*/ 60 w 82"/>
              <a:gd name="T99" fmla="*/ 5 h 101"/>
              <a:gd name="T100" fmla="*/ 56 w 82"/>
              <a:gd name="T101" fmla="*/ 5 h 101"/>
              <a:gd name="T102" fmla="*/ 46 w 82"/>
              <a:gd name="T103" fmla="*/ 5 h 101"/>
              <a:gd name="T104" fmla="*/ 17 w 82"/>
              <a:gd name="T105" fmla="*/ 5 h 101"/>
              <a:gd name="T106" fmla="*/ 16 w 82"/>
              <a:gd name="T107" fmla="*/ 14 h 101"/>
              <a:gd name="T108" fmla="*/ 13 w 82"/>
              <a:gd name="T109" fmla="*/ 16 h 101"/>
              <a:gd name="T110" fmla="*/ 11 w 82"/>
              <a:gd name="T111" fmla="*/ 18 h 101"/>
              <a:gd name="T112" fmla="*/ 11 w 82"/>
              <a:gd name="T113" fmla="*/ 32 h 101"/>
              <a:gd name="T114" fmla="*/ 11 w 82"/>
              <a:gd name="T115" fmla="*/ 37 h 101"/>
              <a:gd name="T116" fmla="*/ 6 w 82"/>
              <a:gd name="T117" fmla="*/ 39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2" h="101">
                <a:moveTo>
                  <a:pt x="6" y="39"/>
                </a:moveTo>
                <a:cubicBezTo>
                  <a:pt x="6" y="39"/>
                  <a:pt x="6" y="40"/>
                  <a:pt x="6" y="41"/>
                </a:cubicBezTo>
                <a:cubicBezTo>
                  <a:pt x="5" y="42"/>
                  <a:pt x="4" y="42"/>
                  <a:pt x="4" y="43"/>
                </a:cubicBezTo>
                <a:cubicBezTo>
                  <a:pt x="4" y="45"/>
                  <a:pt x="2" y="47"/>
                  <a:pt x="2" y="49"/>
                </a:cubicBezTo>
                <a:cubicBezTo>
                  <a:pt x="2" y="50"/>
                  <a:pt x="3" y="51"/>
                  <a:pt x="2" y="51"/>
                </a:cubicBezTo>
                <a:cubicBezTo>
                  <a:pt x="2" y="52"/>
                  <a:pt x="0" y="53"/>
                  <a:pt x="1" y="53"/>
                </a:cubicBezTo>
                <a:cubicBezTo>
                  <a:pt x="4" y="53"/>
                  <a:pt x="3" y="57"/>
                  <a:pt x="4" y="58"/>
                </a:cubicBezTo>
                <a:cubicBezTo>
                  <a:pt x="4" y="59"/>
                  <a:pt x="5" y="59"/>
                  <a:pt x="6" y="60"/>
                </a:cubicBezTo>
                <a:cubicBezTo>
                  <a:pt x="6" y="61"/>
                  <a:pt x="6" y="62"/>
                  <a:pt x="6" y="63"/>
                </a:cubicBezTo>
                <a:cubicBezTo>
                  <a:pt x="7" y="65"/>
                  <a:pt x="9" y="66"/>
                  <a:pt x="9" y="68"/>
                </a:cubicBezTo>
                <a:cubicBezTo>
                  <a:pt x="9" y="69"/>
                  <a:pt x="8" y="74"/>
                  <a:pt x="9" y="74"/>
                </a:cubicBezTo>
                <a:cubicBezTo>
                  <a:pt x="12" y="74"/>
                  <a:pt x="13" y="75"/>
                  <a:pt x="15" y="76"/>
                </a:cubicBezTo>
                <a:cubicBezTo>
                  <a:pt x="17" y="77"/>
                  <a:pt x="16" y="80"/>
                  <a:pt x="18" y="81"/>
                </a:cubicBezTo>
                <a:cubicBezTo>
                  <a:pt x="19" y="82"/>
                  <a:pt x="22" y="82"/>
                  <a:pt x="22" y="84"/>
                </a:cubicBezTo>
                <a:cubicBezTo>
                  <a:pt x="22" y="86"/>
                  <a:pt x="25" y="87"/>
                  <a:pt x="26" y="88"/>
                </a:cubicBezTo>
                <a:cubicBezTo>
                  <a:pt x="26" y="89"/>
                  <a:pt x="26" y="90"/>
                  <a:pt x="26" y="91"/>
                </a:cubicBezTo>
                <a:cubicBezTo>
                  <a:pt x="27" y="91"/>
                  <a:pt x="28" y="92"/>
                  <a:pt x="28" y="92"/>
                </a:cubicBezTo>
                <a:cubicBezTo>
                  <a:pt x="29" y="93"/>
                  <a:pt x="30" y="95"/>
                  <a:pt x="32" y="96"/>
                </a:cubicBezTo>
                <a:cubicBezTo>
                  <a:pt x="33" y="97"/>
                  <a:pt x="33" y="93"/>
                  <a:pt x="35" y="95"/>
                </a:cubicBezTo>
                <a:cubicBezTo>
                  <a:pt x="37" y="96"/>
                  <a:pt x="37" y="94"/>
                  <a:pt x="39" y="94"/>
                </a:cubicBezTo>
                <a:cubicBezTo>
                  <a:pt x="41" y="95"/>
                  <a:pt x="42" y="98"/>
                  <a:pt x="44" y="100"/>
                </a:cubicBezTo>
                <a:cubicBezTo>
                  <a:pt x="46" y="95"/>
                  <a:pt x="49" y="101"/>
                  <a:pt x="51" y="100"/>
                </a:cubicBezTo>
                <a:cubicBezTo>
                  <a:pt x="52" y="99"/>
                  <a:pt x="53" y="98"/>
                  <a:pt x="55" y="98"/>
                </a:cubicBezTo>
                <a:cubicBezTo>
                  <a:pt x="56" y="98"/>
                  <a:pt x="58" y="98"/>
                  <a:pt x="59" y="97"/>
                </a:cubicBezTo>
                <a:cubicBezTo>
                  <a:pt x="61" y="93"/>
                  <a:pt x="65" y="91"/>
                  <a:pt x="69" y="94"/>
                </a:cubicBezTo>
                <a:cubicBezTo>
                  <a:pt x="69" y="93"/>
                  <a:pt x="69" y="92"/>
                  <a:pt x="69" y="91"/>
                </a:cubicBezTo>
                <a:cubicBezTo>
                  <a:pt x="69" y="90"/>
                  <a:pt x="66" y="90"/>
                  <a:pt x="66" y="90"/>
                </a:cubicBezTo>
                <a:cubicBezTo>
                  <a:pt x="64" y="88"/>
                  <a:pt x="63" y="85"/>
                  <a:pt x="61" y="83"/>
                </a:cubicBezTo>
                <a:cubicBezTo>
                  <a:pt x="60" y="82"/>
                  <a:pt x="60" y="81"/>
                  <a:pt x="59" y="80"/>
                </a:cubicBezTo>
                <a:cubicBezTo>
                  <a:pt x="58" y="79"/>
                  <a:pt x="57" y="79"/>
                  <a:pt x="56" y="78"/>
                </a:cubicBezTo>
                <a:cubicBezTo>
                  <a:pt x="53" y="75"/>
                  <a:pt x="59" y="75"/>
                  <a:pt x="59" y="75"/>
                </a:cubicBezTo>
                <a:cubicBezTo>
                  <a:pt x="61" y="74"/>
                  <a:pt x="60" y="69"/>
                  <a:pt x="61" y="67"/>
                </a:cubicBezTo>
                <a:cubicBezTo>
                  <a:pt x="61" y="66"/>
                  <a:pt x="61" y="64"/>
                  <a:pt x="62" y="64"/>
                </a:cubicBezTo>
                <a:cubicBezTo>
                  <a:pt x="63" y="63"/>
                  <a:pt x="65" y="63"/>
                  <a:pt x="65" y="62"/>
                </a:cubicBezTo>
                <a:cubicBezTo>
                  <a:pt x="65" y="61"/>
                  <a:pt x="65" y="60"/>
                  <a:pt x="65" y="58"/>
                </a:cubicBezTo>
                <a:cubicBezTo>
                  <a:pt x="65" y="57"/>
                  <a:pt x="66" y="56"/>
                  <a:pt x="67" y="55"/>
                </a:cubicBezTo>
                <a:cubicBezTo>
                  <a:pt x="68" y="53"/>
                  <a:pt x="70" y="54"/>
                  <a:pt x="71" y="52"/>
                </a:cubicBezTo>
                <a:cubicBezTo>
                  <a:pt x="71" y="50"/>
                  <a:pt x="72" y="48"/>
                  <a:pt x="72" y="45"/>
                </a:cubicBezTo>
                <a:cubicBezTo>
                  <a:pt x="72" y="44"/>
                  <a:pt x="72" y="43"/>
                  <a:pt x="72" y="42"/>
                </a:cubicBezTo>
                <a:cubicBezTo>
                  <a:pt x="72" y="40"/>
                  <a:pt x="74" y="38"/>
                  <a:pt x="74" y="37"/>
                </a:cubicBezTo>
                <a:cubicBezTo>
                  <a:pt x="74" y="33"/>
                  <a:pt x="75" y="30"/>
                  <a:pt x="79" y="29"/>
                </a:cubicBezTo>
                <a:cubicBezTo>
                  <a:pt x="80" y="29"/>
                  <a:pt x="81" y="29"/>
                  <a:pt x="82" y="27"/>
                </a:cubicBezTo>
                <a:cubicBezTo>
                  <a:pt x="82" y="26"/>
                  <a:pt x="80" y="24"/>
                  <a:pt x="79" y="23"/>
                </a:cubicBezTo>
                <a:cubicBezTo>
                  <a:pt x="77" y="21"/>
                  <a:pt x="76" y="19"/>
                  <a:pt x="76" y="17"/>
                </a:cubicBezTo>
                <a:cubicBezTo>
                  <a:pt x="76" y="16"/>
                  <a:pt x="75" y="11"/>
                  <a:pt x="76" y="11"/>
                </a:cubicBezTo>
                <a:cubicBezTo>
                  <a:pt x="77" y="10"/>
                  <a:pt x="76" y="10"/>
                  <a:pt x="75" y="9"/>
                </a:cubicBezTo>
                <a:cubicBezTo>
                  <a:pt x="74" y="8"/>
                  <a:pt x="74" y="7"/>
                  <a:pt x="74" y="5"/>
                </a:cubicBezTo>
                <a:cubicBezTo>
                  <a:pt x="72" y="3"/>
                  <a:pt x="69" y="2"/>
                  <a:pt x="68" y="0"/>
                </a:cubicBezTo>
                <a:cubicBezTo>
                  <a:pt x="67" y="0"/>
                  <a:pt x="65" y="1"/>
                  <a:pt x="64" y="2"/>
                </a:cubicBezTo>
                <a:cubicBezTo>
                  <a:pt x="63" y="5"/>
                  <a:pt x="61" y="3"/>
                  <a:pt x="60" y="5"/>
                </a:cubicBezTo>
                <a:cubicBezTo>
                  <a:pt x="59" y="9"/>
                  <a:pt x="58" y="5"/>
                  <a:pt x="56" y="5"/>
                </a:cubicBezTo>
                <a:cubicBezTo>
                  <a:pt x="52" y="5"/>
                  <a:pt x="49" y="5"/>
                  <a:pt x="46" y="5"/>
                </a:cubicBezTo>
                <a:cubicBezTo>
                  <a:pt x="37" y="5"/>
                  <a:pt x="27" y="5"/>
                  <a:pt x="17" y="5"/>
                </a:cubicBezTo>
                <a:cubicBezTo>
                  <a:pt x="15" y="5"/>
                  <a:pt x="16" y="12"/>
                  <a:pt x="16" y="14"/>
                </a:cubicBezTo>
                <a:cubicBezTo>
                  <a:pt x="16" y="16"/>
                  <a:pt x="15" y="16"/>
                  <a:pt x="13" y="16"/>
                </a:cubicBezTo>
                <a:cubicBezTo>
                  <a:pt x="10" y="16"/>
                  <a:pt x="11" y="16"/>
                  <a:pt x="11" y="18"/>
                </a:cubicBezTo>
                <a:cubicBezTo>
                  <a:pt x="11" y="23"/>
                  <a:pt x="11" y="27"/>
                  <a:pt x="11" y="32"/>
                </a:cubicBezTo>
                <a:cubicBezTo>
                  <a:pt x="11" y="34"/>
                  <a:pt x="11" y="36"/>
                  <a:pt x="11" y="37"/>
                </a:cubicBezTo>
                <a:cubicBezTo>
                  <a:pt x="11" y="39"/>
                  <a:pt x="7" y="38"/>
                  <a:pt x="6" y="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49" name="Freeform 745">
            <a:extLst>
              <a:ext uri="{FF2B5EF4-FFF2-40B4-BE49-F238E27FC236}">
                <a16:creationId xmlns:a16="http://schemas.microsoft.com/office/drawing/2014/main" id="{6BA4F478-3A1F-9B44-9CED-C550F9BA463C}"/>
              </a:ext>
            </a:extLst>
          </p:cNvPr>
          <p:cNvSpPr>
            <a:spLocks/>
          </p:cNvSpPr>
          <p:nvPr/>
        </p:nvSpPr>
        <p:spPr bwMode="auto">
          <a:xfrm>
            <a:off x="6783127" y="4419361"/>
            <a:ext cx="165896" cy="150052"/>
          </a:xfrm>
          <a:custGeom>
            <a:avLst/>
            <a:gdLst>
              <a:gd name="T0" fmla="*/ 3 w 32"/>
              <a:gd name="T1" fmla="*/ 19 h 29"/>
              <a:gd name="T2" fmla="*/ 7 w 32"/>
              <a:gd name="T3" fmla="*/ 20 h 29"/>
              <a:gd name="T4" fmla="*/ 7 w 32"/>
              <a:gd name="T5" fmla="*/ 17 h 29"/>
              <a:gd name="T6" fmla="*/ 10 w 32"/>
              <a:gd name="T7" fmla="*/ 19 h 29"/>
              <a:gd name="T8" fmla="*/ 12 w 32"/>
              <a:gd name="T9" fmla="*/ 18 h 29"/>
              <a:gd name="T10" fmla="*/ 14 w 32"/>
              <a:gd name="T11" fmla="*/ 18 h 29"/>
              <a:gd name="T12" fmla="*/ 29 w 32"/>
              <a:gd name="T13" fmla="*/ 29 h 29"/>
              <a:gd name="T14" fmla="*/ 32 w 32"/>
              <a:gd name="T15" fmla="*/ 27 h 29"/>
              <a:gd name="T16" fmla="*/ 24 w 32"/>
              <a:gd name="T17" fmla="*/ 19 h 29"/>
              <a:gd name="T18" fmla="*/ 19 w 32"/>
              <a:gd name="T19" fmla="*/ 16 h 29"/>
              <a:gd name="T20" fmla="*/ 17 w 32"/>
              <a:gd name="T21" fmla="*/ 14 h 29"/>
              <a:gd name="T22" fmla="*/ 17 w 32"/>
              <a:gd name="T23" fmla="*/ 16 h 29"/>
              <a:gd name="T24" fmla="*/ 16 w 32"/>
              <a:gd name="T25" fmla="*/ 14 h 29"/>
              <a:gd name="T26" fmla="*/ 14 w 32"/>
              <a:gd name="T27" fmla="*/ 9 h 29"/>
              <a:gd name="T28" fmla="*/ 10 w 32"/>
              <a:gd name="T29" fmla="*/ 0 h 29"/>
              <a:gd name="T30" fmla="*/ 2 w 32"/>
              <a:gd name="T31" fmla="*/ 7 h 29"/>
              <a:gd name="T32" fmla="*/ 1 w 32"/>
              <a:gd name="T33" fmla="*/ 13 h 29"/>
              <a:gd name="T34" fmla="*/ 0 w 32"/>
              <a:gd name="T35" fmla="*/ 20 h 29"/>
              <a:gd name="T36" fmla="*/ 3 w 32"/>
              <a:gd name="T37" fmla="*/ 1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2" h="29">
                <a:moveTo>
                  <a:pt x="3" y="19"/>
                </a:moveTo>
                <a:cubicBezTo>
                  <a:pt x="4" y="19"/>
                  <a:pt x="6" y="21"/>
                  <a:pt x="7" y="20"/>
                </a:cubicBezTo>
                <a:cubicBezTo>
                  <a:pt x="7" y="19"/>
                  <a:pt x="6" y="17"/>
                  <a:pt x="7" y="17"/>
                </a:cubicBezTo>
                <a:cubicBezTo>
                  <a:pt x="9" y="17"/>
                  <a:pt x="9" y="19"/>
                  <a:pt x="10" y="19"/>
                </a:cubicBezTo>
                <a:cubicBezTo>
                  <a:pt x="11" y="19"/>
                  <a:pt x="12" y="18"/>
                  <a:pt x="12" y="18"/>
                </a:cubicBezTo>
                <a:cubicBezTo>
                  <a:pt x="13" y="17"/>
                  <a:pt x="14" y="18"/>
                  <a:pt x="14" y="18"/>
                </a:cubicBezTo>
                <a:cubicBezTo>
                  <a:pt x="22" y="18"/>
                  <a:pt x="25" y="24"/>
                  <a:pt x="29" y="29"/>
                </a:cubicBezTo>
                <a:cubicBezTo>
                  <a:pt x="30" y="29"/>
                  <a:pt x="31" y="28"/>
                  <a:pt x="32" y="27"/>
                </a:cubicBezTo>
                <a:cubicBezTo>
                  <a:pt x="29" y="25"/>
                  <a:pt x="26" y="22"/>
                  <a:pt x="24" y="19"/>
                </a:cubicBezTo>
                <a:cubicBezTo>
                  <a:pt x="23" y="17"/>
                  <a:pt x="21" y="17"/>
                  <a:pt x="19" y="16"/>
                </a:cubicBezTo>
                <a:cubicBezTo>
                  <a:pt x="18" y="16"/>
                  <a:pt x="18" y="14"/>
                  <a:pt x="17" y="14"/>
                </a:cubicBezTo>
                <a:cubicBezTo>
                  <a:pt x="16" y="14"/>
                  <a:pt x="17" y="15"/>
                  <a:pt x="17" y="16"/>
                </a:cubicBezTo>
                <a:cubicBezTo>
                  <a:pt x="17" y="16"/>
                  <a:pt x="16" y="14"/>
                  <a:pt x="16" y="14"/>
                </a:cubicBezTo>
                <a:cubicBezTo>
                  <a:pt x="15" y="12"/>
                  <a:pt x="14" y="11"/>
                  <a:pt x="14" y="9"/>
                </a:cubicBezTo>
                <a:cubicBezTo>
                  <a:pt x="13" y="6"/>
                  <a:pt x="13" y="3"/>
                  <a:pt x="10" y="0"/>
                </a:cubicBezTo>
                <a:cubicBezTo>
                  <a:pt x="9" y="4"/>
                  <a:pt x="4" y="4"/>
                  <a:pt x="2" y="7"/>
                </a:cubicBezTo>
                <a:cubicBezTo>
                  <a:pt x="1" y="9"/>
                  <a:pt x="2" y="11"/>
                  <a:pt x="1" y="13"/>
                </a:cubicBezTo>
                <a:cubicBezTo>
                  <a:pt x="0" y="15"/>
                  <a:pt x="0" y="17"/>
                  <a:pt x="0" y="20"/>
                </a:cubicBezTo>
                <a:cubicBezTo>
                  <a:pt x="1" y="19"/>
                  <a:pt x="2" y="19"/>
                  <a:pt x="3" y="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50" name="Freeform 746">
            <a:extLst>
              <a:ext uri="{FF2B5EF4-FFF2-40B4-BE49-F238E27FC236}">
                <a16:creationId xmlns:a16="http://schemas.microsoft.com/office/drawing/2014/main" id="{BDD140F5-4B32-B041-BC83-E74562A7BDF0}"/>
              </a:ext>
            </a:extLst>
          </p:cNvPr>
          <p:cNvSpPr>
            <a:spLocks/>
          </p:cNvSpPr>
          <p:nvPr/>
        </p:nvSpPr>
        <p:spPr bwMode="auto">
          <a:xfrm>
            <a:off x="6696648" y="4491740"/>
            <a:ext cx="382971" cy="317755"/>
          </a:xfrm>
          <a:custGeom>
            <a:avLst/>
            <a:gdLst>
              <a:gd name="T0" fmla="*/ 70 w 74"/>
              <a:gd name="T1" fmla="*/ 38 h 61"/>
              <a:gd name="T2" fmla="*/ 57 w 74"/>
              <a:gd name="T3" fmla="*/ 33 h 61"/>
              <a:gd name="T4" fmla="*/ 51 w 74"/>
              <a:gd name="T5" fmla="*/ 29 h 61"/>
              <a:gd name="T6" fmla="*/ 48 w 74"/>
              <a:gd name="T7" fmla="*/ 24 h 61"/>
              <a:gd name="T8" fmla="*/ 51 w 74"/>
              <a:gd name="T9" fmla="*/ 20 h 61"/>
              <a:gd name="T10" fmla="*/ 45 w 74"/>
              <a:gd name="T11" fmla="*/ 23 h 61"/>
              <a:gd name="T12" fmla="*/ 44 w 74"/>
              <a:gd name="T13" fmla="*/ 18 h 61"/>
              <a:gd name="T14" fmla="*/ 44 w 74"/>
              <a:gd name="T15" fmla="*/ 12 h 61"/>
              <a:gd name="T16" fmla="*/ 37 w 74"/>
              <a:gd name="T17" fmla="*/ 5 h 61"/>
              <a:gd name="T18" fmla="*/ 28 w 74"/>
              <a:gd name="T19" fmla="*/ 4 h 61"/>
              <a:gd name="T20" fmla="*/ 24 w 74"/>
              <a:gd name="T21" fmla="*/ 5 h 61"/>
              <a:gd name="T22" fmla="*/ 21 w 74"/>
              <a:gd name="T23" fmla="*/ 5 h 61"/>
              <a:gd name="T24" fmla="*/ 18 w 74"/>
              <a:gd name="T25" fmla="*/ 5 h 61"/>
              <a:gd name="T26" fmla="*/ 17 w 74"/>
              <a:gd name="T27" fmla="*/ 8 h 61"/>
              <a:gd name="T28" fmla="*/ 15 w 74"/>
              <a:gd name="T29" fmla="*/ 13 h 61"/>
              <a:gd name="T30" fmla="*/ 12 w 74"/>
              <a:gd name="T31" fmla="*/ 14 h 61"/>
              <a:gd name="T32" fmla="*/ 10 w 74"/>
              <a:gd name="T33" fmla="*/ 18 h 61"/>
              <a:gd name="T34" fmla="*/ 10 w 74"/>
              <a:gd name="T35" fmla="*/ 23 h 61"/>
              <a:gd name="T36" fmla="*/ 5 w 74"/>
              <a:gd name="T37" fmla="*/ 34 h 61"/>
              <a:gd name="T38" fmla="*/ 1 w 74"/>
              <a:gd name="T39" fmla="*/ 35 h 61"/>
              <a:gd name="T40" fmla="*/ 2 w 74"/>
              <a:gd name="T41" fmla="*/ 38 h 61"/>
              <a:gd name="T42" fmla="*/ 9 w 74"/>
              <a:gd name="T43" fmla="*/ 47 h 61"/>
              <a:gd name="T44" fmla="*/ 13 w 74"/>
              <a:gd name="T45" fmla="*/ 50 h 61"/>
              <a:gd name="T46" fmla="*/ 14 w 74"/>
              <a:gd name="T47" fmla="*/ 54 h 61"/>
              <a:gd name="T48" fmla="*/ 20 w 74"/>
              <a:gd name="T49" fmla="*/ 55 h 61"/>
              <a:gd name="T50" fmla="*/ 25 w 74"/>
              <a:gd name="T51" fmla="*/ 59 h 61"/>
              <a:gd name="T52" fmla="*/ 33 w 74"/>
              <a:gd name="T53" fmla="*/ 60 h 61"/>
              <a:gd name="T54" fmla="*/ 39 w 74"/>
              <a:gd name="T55" fmla="*/ 57 h 61"/>
              <a:gd name="T56" fmla="*/ 47 w 74"/>
              <a:gd name="T57" fmla="*/ 56 h 61"/>
              <a:gd name="T58" fmla="*/ 54 w 74"/>
              <a:gd name="T59" fmla="*/ 53 h 61"/>
              <a:gd name="T60" fmla="*/ 59 w 74"/>
              <a:gd name="T61" fmla="*/ 53 h 61"/>
              <a:gd name="T62" fmla="*/ 74 w 74"/>
              <a:gd name="T63" fmla="*/ 38 h 61"/>
              <a:gd name="T64" fmla="*/ 70 w 74"/>
              <a:gd name="T65" fmla="*/ 38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74" h="61">
                <a:moveTo>
                  <a:pt x="70" y="38"/>
                </a:moveTo>
                <a:cubicBezTo>
                  <a:pt x="65" y="36"/>
                  <a:pt x="61" y="35"/>
                  <a:pt x="57" y="33"/>
                </a:cubicBezTo>
                <a:cubicBezTo>
                  <a:pt x="54" y="32"/>
                  <a:pt x="53" y="31"/>
                  <a:pt x="51" y="29"/>
                </a:cubicBezTo>
                <a:cubicBezTo>
                  <a:pt x="50" y="28"/>
                  <a:pt x="49" y="26"/>
                  <a:pt x="48" y="24"/>
                </a:cubicBezTo>
                <a:cubicBezTo>
                  <a:pt x="48" y="23"/>
                  <a:pt x="51" y="21"/>
                  <a:pt x="51" y="20"/>
                </a:cubicBezTo>
                <a:cubicBezTo>
                  <a:pt x="49" y="21"/>
                  <a:pt x="47" y="22"/>
                  <a:pt x="45" y="23"/>
                </a:cubicBezTo>
                <a:cubicBezTo>
                  <a:pt x="43" y="23"/>
                  <a:pt x="43" y="19"/>
                  <a:pt x="44" y="18"/>
                </a:cubicBezTo>
                <a:cubicBezTo>
                  <a:pt x="47" y="15"/>
                  <a:pt x="46" y="15"/>
                  <a:pt x="44" y="12"/>
                </a:cubicBezTo>
                <a:cubicBezTo>
                  <a:pt x="42" y="10"/>
                  <a:pt x="40" y="6"/>
                  <a:pt x="37" y="5"/>
                </a:cubicBezTo>
                <a:cubicBezTo>
                  <a:pt x="35" y="5"/>
                  <a:pt x="30" y="3"/>
                  <a:pt x="28" y="4"/>
                </a:cubicBezTo>
                <a:cubicBezTo>
                  <a:pt x="26" y="7"/>
                  <a:pt x="24" y="0"/>
                  <a:pt x="24" y="5"/>
                </a:cubicBezTo>
                <a:cubicBezTo>
                  <a:pt x="24" y="7"/>
                  <a:pt x="22" y="6"/>
                  <a:pt x="21" y="5"/>
                </a:cubicBezTo>
                <a:cubicBezTo>
                  <a:pt x="20" y="5"/>
                  <a:pt x="19" y="5"/>
                  <a:pt x="18" y="5"/>
                </a:cubicBezTo>
                <a:cubicBezTo>
                  <a:pt x="16" y="6"/>
                  <a:pt x="17" y="6"/>
                  <a:pt x="17" y="8"/>
                </a:cubicBezTo>
                <a:cubicBezTo>
                  <a:pt x="17" y="9"/>
                  <a:pt x="16" y="12"/>
                  <a:pt x="15" y="13"/>
                </a:cubicBezTo>
                <a:cubicBezTo>
                  <a:pt x="15" y="14"/>
                  <a:pt x="12" y="13"/>
                  <a:pt x="12" y="14"/>
                </a:cubicBezTo>
                <a:cubicBezTo>
                  <a:pt x="12" y="16"/>
                  <a:pt x="10" y="17"/>
                  <a:pt x="10" y="18"/>
                </a:cubicBezTo>
                <a:cubicBezTo>
                  <a:pt x="10" y="19"/>
                  <a:pt x="11" y="22"/>
                  <a:pt x="10" y="23"/>
                </a:cubicBezTo>
                <a:cubicBezTo>
                  <a:pt x="4" y="24"/>
                  <a:pt x="6" y="30"/>
                  <a:pt x="5" y="34"/>
                </a:cubicBezTo>
                <a:cubicBezTo>
                  <a:pt x="4" y="35"/>
                  <a:pt x="3" y="35"/>
                  <a:pt x="1" y="35"/>
                </a:cubicBezTo>
                <a:cubicBezTo>
                  <a:pt x="0" y="36"/>
                  <a:pt x="0" y="38"/>
                  <a:pt x="2" y="38"/>
                </a:cubicBezTo>
                <a:cubicBezTo>
                  <a:pt x="5" y="39"/>
                  <a:pt x="8" y="45"/>
                  <a:pt x="9" y="47"/>
                </a:cubicBezTo>
                <a:cubicBezTo>
                  <a:pt x="10" y="49"/>
                  <a:pt x="11" y="49"/>
                  <a:pt x="13" y="50"/>
                </a:cubicBezTo>
                <a:cubicBezTo>
                  <a:pt x="14" y="51"/>
                  <a:pt x="13" y="53"/>
                  <a:pt x="14" y="54"/>
                </a:cubicBezTo>
                <a:cubicBezTo>
                  <a:pt x="16" y="56"/>
                  <a:pt x="18" y="54"/>
                  <a:pt x="20" y="55"/>
                </a:cubicBezTo>
                <a:cubicBezTo>
                  <a:pt x="21" y="56"/>
                  <a:pt x="23" y="58"/>
                  <a:pt x="25" y="59"/>
                </a:cubicBezTo>
                <a:cubicBezTo>
                  <a:pt x="27" y="59"/>
                  <a:pt x="31" y="61"/>
                  <a:pt x="33" y="60"/>
                </a:cubicBezTo>
                <a:cubicBezTo>
                  <a:pt x="35" y="58"/>
                  <a:pt x="36" y="56"/>
                  <a:pt x="39" y="57"/>
                </a:cubicBezTo>
                <a:cubicBezTo>
                  <a:pt x="42" y="58"/>
                  <a:pt x="45" y="57"/>
                  <a:pt x="47" y="56"/>
                </a:cubicBezTo>
                <a:cubicBezTo>
                  <a:pt x="49" y="54"/>
                  <a:pt x="51" y="53"/>
                  <a:pt x="54" y="53"/>
                </a:cubicBezTo>
                <a:cubicBezTo>
                  <a:pt x="55" y="53"/>
                  <a:pt x="59" y="53"/>
                  <a:pt x="59" y="53"/>
                </a:cubicBezTo>
                <a:cubicBezTo>
                  <a:pt x="64" y="48"/>
                  <a:pt x="69" y="43"/>
                  <a:pt x="74" y="38"/>
                </a:cubicBezTo>
                <a:cubicBezTo>
                  <a:pt x="73" y="38"/>
                  <a:pt x="71" y="38"/>
                  <a:pt x="70" y="3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51" name="Freeform 747">
            <a:extLst>
              <a:ext uri="{FF2B5EF4-FFF2-40B4-BE49-F238E27FC236}">
                <a16:creationId xmlns:a16="http://schemas.microsoft.com/office/drawing/2014/main" id="{7BC58B03-347D-8F4D-A76E-DEF48AF2B3B6}"/>
              </a:ext>
            </a:extLst>
          </p:cNvPr>
          <p:cNvSpPr>
            <a:spLocks/>
          </p:cNvSpPr>
          <p:nvPr/>
        </p:nvSpPr>
        <p:spPr bwMode="auto">
          <a:xfrm>
            <a:off x="6716062" y="4585301"/>
            <a:ext cx="450036" cy="430734"/>
          </a:xfrm>
          <a:custGeom>
            <a:avLst/>
            <a:gdLst>
              <a:gd name="T0" fmla="*/ 86 w 87"/>
              <a:gd name="T1" fmla="*/ 1 h 83"/>
              <a:gd name="T2" fmla="*/ 83 w 87"/>
              <a:gd name="T3" fmla="*/ 0 h 83"/>
              <a:gd name="T4" fmla="*/ 79 w 87"/>
              <a:gd name="T5" fmla="*/ 3 h 83"/>
              <a:gd name="T6" fmla="*/ 71 w 87"/>
              <a:gd name="T7" fmla="*/ 3 h 83"/>
              <a:gd name="T8" fmla="*/ 69 w 87"/>
              <a:gd name="T9" fmla="*/ 4 h 83"/>
              <a:gd name="T10" fmla="*/ 68 w 87"/>
              <a:gd name="T11" fmla="*/ 3 h 83"/>
              <a:gd name="T12" fmla="*/ 63 w 87"/>
              <a:gd name="T13" fmla="*/ 6 h 83"/>
              <a:gd name="T14" fmla="*/ 58 w 87"/>
              <a:gd name="T15" fmla="*/ 5 h 83"/>
              <a:gd name="T16" fmla="*/ 53 w 87"/>
              <a:gd name="T17" fmla="*/ 7 h 83"/>
              <a:gd name="T18" fmla="*/ 47 w 87"/>
              <a:gd name="T19" fmla="*/ 2 h 83"/>
              <a:gd name="T20" fmla="*/ 44 w 87"/>
              <a:gd name="T21" fmla="*/ 6 h 83"/>
              <a:gd name="T22" fmla="*/ 48 w 87"/>
              <a:gd name="T23" fmla="*/ 12 h 83"/>
              <a:gd name="T24" fmla="*/ 56 w 87"/>
              <a:gd name="T25" fmla="*/ 16 h 83"/>
              <a:gd name="T26" fmla="*/ 70 w 87"/>
              <a:gd name="T27" fmla="*/ 20 h 83"/>
              <a:gd name="T28" fmla="*/ 63 w 87"/>
              <a:gd name="T29" fmla="*/ 27 h 83"/>
              <a:gd name="T30" fmla="*/ 58 w 87"/>
              <a:gd name="T31" fmla="*/ 33 h 83"/>
              <a:gd name="T32" fmla="*/ 55 w 87"/>
              <a:gd name="T33" fmla="*/ 35 h 83"/>
              <a:gd name="T34" fmla="*/ 48 w 87"/>
              <a:gd name="T35" fmla="*/ 35 h 83"/>
              <a:gd name="T36" fmla="*/ 42 w 87"/>
              <a:gd name="T37" fmla="*/ 38 h 83"/>
              <a:gd name="T38" fmla="*/ 36 w 87"/>
              <a:gd name="T39" fmla="*/ 39 h 83"/>
              <a:gd name="T40" fmla="*/ 32 w 87"/>
              <a:gd name="T41" fmla="*/ 39 h 83"/>
              <a:gd name="T42" fmla="*/ 26 w 87"/>
              <a:gd name="T43" fmla="*/ 42 h 83"/>
              <a:gd name="T44" fmla="*/ 21 w 87"/>
              <a:gd name="T45" fmla="*/ 41 h 83"/>
              <a:gd name="T46" fmla="*/ 16 w 87"/>
              <a:gd name="T47" fmla="*/ 37 h 83"/>
              <a:gd name="T48" fmla="*/ 11 w 87"/>
              <a:gd name="T49" fmla="*/ 37 h 83"/>
              <a:gd name="T50" fmla="*/ 7 w 87"/>
              <a:gd name="T51" fmla="*/ 34 h 83"/>
              <a:gd name="T52" fmla="*/ 0 w 87"/>
              <a:gd name="T53" fmla="*/ 39 h 83"/>
              <a:gd name="T54" fmla="*/ 3 w 87"/>
              <a:gd name="T55" fmla="*/ 41 h 83"/>
              <a:gd name="T56" fmla="*/ 4 w 87"/>
              <a:gd name="T57" fmla="*/ 45 h 83"/>
              <a:gd name="T58" fmla="*/ 3 w 87"/>
              <a:gd name="T59" fmla="*/ 54 h 83"/>
              <a:gd name="T60" fmla="*/ 0 w 87"/>
              <a:gd name="T61" fmla="*/ 58 h 83"/>
              <a:gd name="T62" fmla="*/ 3 w 87"/>
              <a:gd name="T63" fmla="*/ 60 h 83"/>
              <a:gd name="T64" fmla="*/ 1 w 87"/>
              <a:gd name="T65" fmla="*/ 65 h 83"/>
              <a:gd name="T66" fmla="*/ 4 w 87"/>
              <a:gd name="T67" fmla="*/ 66 h 83"/>
              <a:gd name="T68" fmla="*/ 15 w 87"/>
              <a:gd name="T69" fmla="*/ 73 h 83"/>
              <a:gd name="T70" fmla="*/ 19 w 87"/>
              <a:gd name="T71" fmla="*/ 77 h 83"/>
              <a:gd name="T72" fmla="*/ 26 w 87"/>
              <a:gd name="T73" fmla="*/ 83 h 83"/>
              <a:gd name="T74" fmla="*/ 30 w 87"/>
              <a:gd name="T75" fmla="*/ 76 h 83"/>
              <a:gd name="T76" fmla="*/ 33 w 87"/>
              <a:gd name="T77" fmla="*/ 72 h 83"/>
              <a:gd name="T78" fmla="*/ 35 w 87"/>
              <a:gd name="T79" fmla="*/ 69 h 83"/>
              <a:gd name="T80" fmla="*/ 40 w 87"/>
              <a:gd name="T81" fmla="*/ 65 h 83"/>
              <a:gd name="T82" fmla="*/ 59 w 87"/>
              <a:gd name="T83" fmla="*/ 48 h 83"/>
              <a:gd name="T84" fmla="*/ 77 w 87"/>
              <a:gd name="T85" fmla="*/ 24 h 83"/>
              <a:gd name="T86" fmla="*/ 84 w 87"/>
              <a:gd name="T87" fmla="*/ 14 h 83"/>
              <a:gd name="T88" fmla="*/ 86 w 87"/>
              <a:gd name="T89" fmla="*/ 7 h 83"/>
              <a:gd name="T90" fmla="*/ 86 w 87"/>
              <a:gd name="T91" fmla="*/ 1 h 83"/>
              <a:gd name="T92" fmla="*/ 86 w 87"/>
              <a:gd name="T93" fmla="*/ 1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7" h="83">
                <a:moveTo>
                  <a:pt x="86" y="1"/>
                </a:moveTo>
                <a:cubicBezTo>
                  <a:pt x="87" y="0"/>
                  <a:pt x="84" y="0"/>
                  <a:pt x="83" y="0"/>
                </a:cubicBezTo>
                <a:cubicBezTo>
                  <a:pt x="82" y="1"/>
                  <a:pt x="81" y="2"/>
                  <a:pt x="79" y="3"/>
                </a:cubicBezTo>
                <a:cubicBezTo>
                  <a:pt x="77" y="3"/>
                  <a:pt x="74" y="3"/>
                  <a:pt x="71" y="3"/>
                </a:cubicBezTo>
                <a:cubicBezTo>
                  <a:pt x="71" y="4"/>
                  <a:pt x="70" y="4"/>
                  <a:pt x="69" y="4"/>
                </a:cubicBezTo>
                <a:cubicBezTo>
                  <a:pt x="68" y="4"/>
                  <a:pt x="68" y="3"/>
                  <a:pt x="68" y="3"/>
                </a:cubicBezTo>
                <a:cubicBezTo>
                  <a:pt x="66" y="4"/>
                  <a:pt x="65" y="6"/>
                  <a:pt x="63" y="6"/>
                </a:cubicBezTo>
                <a:cubicBezTo>
                  <a:pt x="61" y="6"/>
                  <a:pt x="61" y="5"/>
                  <a:pt x="58" y="5"/>
                </a:cubicBezTo>
                <a:cubicBezTo>
                  <a:pt x="57" y="6"/>
                  <a:pt x="55" y="8"/>
                  <a:pt x="53" y="7"/>
                </a:cubicBezTo>
                <a:cubicBezTo>
                  <a:pt x="50" y="6"/>
                  <a:pt x="49" y="5"/>
                  <a:pt x="47" y="2"/>
                </a:cubicBezTo>
                <a:cubicBezTo>
                  <a:pt x="47" y="3"/>
                  <a:pt x="44" y="5"/>
                  <a:pt x="44" y="6"/>
                </a:cubicBezTo>
                <a:cubicBezTo>
                  <a:pt x="45" y="8"/>
                  <a:pt x="46" y="10"/>
                  <a:pt x="48" y="12"/>
                </a:cubicBezTo>
                <a:cubicBezTo>
                  <a:pt x="50" y="14"/>
                  <a:pt x="53" y="15"/>
                  <a:pt x="56" y="16"/>
                </a:cubicBezTo>
                <a:cubicBezTo>
                  <a:pt x="61" y="18"/>
                  <a:pt x="65" y="20"/>
                  <a:pt x="70" y="20"/>
                </a:cubicBezTo>
                <a:cubicBezTo>
                  <a:pt x="68" y="22"/>
                  <a:pt x="65" y="25"/>
                  <a:pt x="63" y="27"/>
                </a:cubicBezTo>
                <a:cubicBezTo>
                  <a:pt x="61" y="29"/>
                  <a:pt x="59" y="31"/>
                  <a:pt x="58" y="33"/>
                </a:cubicBezTo>
                <a:cubicBezTo>
                  <a:pt x="57" y="33"/>
                  <a:pt x="56" y="35"/>
                  <a:pt x="55" y="35"/>
                </a:cubicBezTo>
                <a:cubicBezTo>
                  <a:pt x="53" y="36"/>
                  <a:pt x="50" y="34"/>
                  <a:pt x="48" y="35"/>
                </a:cubicBezTo>
                <a:cubicBezTo>
                  <a:pt x="46" y="35"/>
                  <a:pt x="44" y="37"/>
                  <a:pt x="42" y="38"/>
                </a:cubicBezTo>
                <a:cubicBezTo>
                  <a:pt x="40" y="39"/>
                  <a:pt x="38" y="40"/>
                  <a:pt x="36" y="39"/>
                </a:cubicBezTo>
                <a:cubicBezTo>
                  <a:pt x="35" y="39"/>
                  <a:pt x="33" y="38"/>
                  <a:pt x="32" y="39"/>
                </a:cubicBezTo>
                <a:cubicBezTo>
                  <a:pt x="29" y="41"/>
                  <a:pt x="29" y="43"/>
                  <a:pt x="26" y="42"/>
                </a:cubicBezTo>
                <a:cubicBezTo>
                  <a:pt x="24" y="41"/>
                  <a:pt x="22" y="41"/>
                  <a:pt x="21" y="41"/>
                </a:cubicBezTo>
                <a:cubicBezTo>
                  <a:pt x="19" y="40"/>
                  <a:pt x="17" y="38"/>
                  <a:pt x="16" y="37"/>
                </a:cubicBezTo>
                <a:cubicBezTo>
                  <a:pt x="15" y="37"/>
                  <a:pt x="12" y="38"/>
                  <a:pt x="11" y="37"/>
                </a:cubicBezTo>
                <a:cubicBezTo>
                  <a:pt x="10" y="36"/>
                  <a:pt x="8" y="34"/>
                  <a:pt x="7" y="34"/>
                </a:cubicBezTo>
                <a:cubicBezTo>
                  <a:pt x="3" y="35"/>
                  <a:pt x="2" y="36"/>
                  <a:pt x="0" y="39"/>
                </a:cubicBezTo>
                <a:cubicBezTo>
                  <a:pt x="0" y="40"/>
                  <a:pt x="3" y="40"/>
                  <a:pt x="3" y="41"/>
                </a:cubicBezTo>
                <a:cubicBezTo>
                  <a:pt x="3" y="43"/>
                  <a:pt x="3" y="44"/>
                  <a:pt x="4" y="45"/>
                </a:cubicBezTo>
                <a:cubicBezTo>
                  <a:pt x="6" y="47"/>
                  <a:pt x="5" y="52"/>
                  <a:pt x="3" y="54"/>
                </a:cubicBezTo>
                <a:cubicBezTo>
                  <a:pt x="2" y="55"/>
                  <a:pt x="1" y="56"/>
                  <a:pt x="0" y="58"/>
                </a:cubicBezTo>
                <a:cubicBezTo>
                  <a:pt x="0" y="61"/>
                  <a:pt x="2" y="59"/>
                  <a:pt x="3" y="60"/>
                </a:cubicBezTo>
                <a:cubicBezTo>
                  <a:pt x="3" y="60"/>
                  <a:pt x="0" y="64"/>
                  <a:pt x="1" y="65"/>
                </a:cubicBezTo>
                <a:cubicBezTo>
                  <a:pt x="2" y="65"/>
                  <a:pt x="3" y="66"/>
                  <a:pt x="4" y="66"/>
                </a:cubicBezTo>
                <a:cubicBezTo>
                  <a:pt x="8" y="69"/>
                  <a:pt x="12" y="71"/>
                  <a:pt x="15" y="73"/>
                </a:cubicBezTo>
                <a:cubicBezTo>
                  <a:pt x="18" y="74"/>
                  <a:pt x="19" y="74"/>
                  <a:pt x="19" y="77"/>
                </a:cubicBezTo>
                <a:cubicBezTo>
                  <a:pt x="19" y="79"/>
                  <a:pt x="25" y="82"/>
                  <a:pt x="26" y="83"/>
                </a:cubicBezTo>
                <a:cubicBezTo>
                  <a:pt x="28" y="80"/>
                  <a:pt x="29" y="78"/>
                  <a:pt x="30" y="76"/>
                </a:cubicBezTo>
                <a:cubicBezTo>
                  <a:pt x="30" y="74"/>
                  <a:pt x="31" y="72"/>
                  <a:pt x="33" y="72"/>
                </a:cubicBezTo>
                <a:cubicBezTo>
                  <a:pt x="34" y="71"/>
                  <a:pt x="34" y="70"/>
                  <a:pt x="35" y="69"/>
                </a:cubicBezTo>
                <a:cubicBezTo>
                  <a:pt x="37" y="68"/>
                  <a:pt x="38" y="67"/>
                  <a:pt x="40" y="65"/>
                </a:cubicBezTo>
                <a:cubicBezTo>
                  <a:pt x="45" y="57"/>
                  <a:pt x="52" y="53"/>
                  <a:pt x="59" y="48"/>
                </a:cubicBezTo>
                <a:cubicBezTo>
                  <a:pt x="68" y="42"/>
                  <a:pt x="73" y="33"/>
                  <a:pt x="77" y="24"/>
                </a:cubicBezTo>
                <a:cubicBezTo>
                  <a:pt x="79" y="20"/>
                  <a:pt x="82" y="18"/>
                  <a:pt x="84" y="14"/>
                </a:cubicBezTo>
                <a:cubicBezTo>
                  <a:pt x="85" y="12"/>
                  <a:pt x="85" y="9"/>
                  <a:pt x="86" y="7"/>
                </a:cubicBezTo>
                <a:cubicBezTo>
                  <a:pt x="86" y="6"/>
                  <a:pt x="85" y="2"/>
                  <a:pt x="86" y="1"/>
                </a:cubicBezTo>
                <a:cubicBezTo>
                  <a:pt x="86" y="1"/>
                  <a:pt x="86" y="1"/>
                  <a:pt x="86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52" name="Freeform 748">
            <a:extLst>
              <a:ext uri="{FF2B5EF4-FFF2-40B4-BE49-F238E27FC236}">
                <a16:creationId xmlns:a16="http://schemas.microsoft.com/office/drawing/2014/main" id="{344AE106-7C9C-DB43-95F3-25C082534CE9}"/>
              </a:ext>
            </a:extLst>
          </p:cNvPr>
          <p:cNvSpPr>
            <a:spLocks/>
          </p:cNvSpPr>
          <p:nvPr/>
        </p:nvSpPr>
        <p:spPr bwMode="auto">
          <a:xfrm>
            <a:off x="6919020" y="4560586"/>
            <a:ext cx="45886" cy="56489"/>
          </a:xfrm>
          <a:custGeom>
            <a:avLst/>
            <a:gdLst>
              <a:gd name="T0" fmla="*/ 3 w 9"/>
              <a:gd name="T1" fmla="*/ 2 h 11"/>
              <a:gd name="T2" fmla="*/ 1 w 9"/>
              <a:gd name="T3" fmla="*/ 5 h 11"/>
              <a:gd name="T4" fmla="*/ 0 w 9"/>
              <a:gd name="T5" fmla="*/ 10 h 11"/>
              <a:gd name="T6" fmla="*/ 8 w 9"/>
              <a:gd name="T7" fmla="*/ 7 h 11"/>
              <a:gd name="T8" fmla="*/ 4 w 9"/>
              <a:gd name="T9" fmla="*/ 6 h 11"/>
              <a:gd name="T10" fmla="*/ 8 w 9"/>
              <a:gd name="T11" fmla="*/ 3 h 11"/>
              <a:gd name="T12" fmla="*/ 3 w 9"/>
              <a:gd name="T13" fmla="*/ 2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11">
                <a:moveTo>
                  <a:pt x="3" y="2"/>
                </a:moveTo>
                <a:cubicBezTo>
                  <a:pt x="2" y="3"/>
                  <a:pt x="1" y="4"/>
                  <a:pt x="1" y="5"/>
                </a:cubicBezTo>
                <a:cubicBezTo>
                  <a:pt x="0" y="5"/>
                  <a:pt x="0" y="9"/>
                  <a:pt x="0" y="10"/>
                </a:cubicBezTo>
                <a:cubicBezTo>
                  <a:pt x="2" y="11"/>
                  <a:pt x="7" y="7"/>
                  <a:pt x="8" y="7"/>
                </a:cubicBezTo>
                <a:cubicBezTo>
                  <a:pt x="8" y="6"/>
                  <a:pt x="5" y="5"/>
                  <a:pt x="4" y="6"/>
                </a:cubicBezTo>
                <a:cubicBezTo>
                  <a:pt x="5" y="5"/>
                  <a:pt x="9" y="4"/>
                  <a:pt x="8" y="3"/>
                </a:cubicBezTo>
                <a:cubicBezTo>
                  <a:pt x="7" y="0"/>
                  <a:pt x="5" y="0"/>
                  <a:pt x="3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53" name="Freeform 749">
            <a:extLst>
              <a:ext uri="{FF2B5EF4-FFF2-40B4-BE49-F238E27FC236}">
                <a16:creationId xmlns:a16="http://schemas.microsoft.com/office/drawing/2014/main" id="{7363D18E-C391-E046-8479-1E38EFDCFF5E}"/>
              </a:ext>
            </a:extLst>
          </p:cNvPr>
          <p:cNvSpPr>
            <a:spLocks/>
          </p:cNvSpPr>
          <p:nvPr/>
        </p:nvSpPr>
        <p:spPr bwMode="auto">
          <a:xfrm>
            <a:off x="6608407" y="4788311"/>
            <a:ext cx="134127" cy="144755"/>
          </a:xfrm>
          <a:custGeom>
            <a:avLst/>
            <a:gdLst>
              <a:gd name="T0" fmla="*/ 22 w 26"/>
              <a:gd name="T1" fmla="*/ 18 h 28"/>
              <a:gd name="T2" fmla="*/ 25 w 26"/>
              <a:gd name="T3" fmla="*/ 14 h 28"/>
              <a:gd name="T4" fmla="*/ 26 w 26"/>
              <a:gd name="T5" fmla="*/ 8 h 28"/>
              <a:gd name="T6" fmla="*/ 24 w 26"/>
              <a:gd name="T7" fmla="*/ 3 h 28"/>
              <a:gd name="T8" fmla="*/ 21 w 26"/>
              <a:gd name="T9" fmla="*/ 0 h 28"/>
              <a:gd name="T10" fmla="*/ 16 w 26"/>
              <a:gd name="T11" fmla="*/ 1 h 28"/>
              <a:gd name="T12" fmla="*/ 12 w 26"/>
              <a:gd name="T13" fmla="*/ 3 h 28"/>
              <a:gd name="T14" fmla="*/ 6 w 26"/>
              <a:gd name="T15" fmla="*/ 2 h 28"/>
              <a:gd name="T16" fmla="*/ 7 w 26"/>
              <a:gd name="T17" fmla="*/ 8 h 28"/>
              <a:gd name="T18" fmla="*/ 6 w 26"/>
              <a:gd name="T19" fmla="*/ 12 h 28"/>
              <a:gd name="T20" fmla="*/ 2 w 26"/>
              <a:gd name="T21" fmla="*/ 16 h 28"/>
              <a:gd name="T22" fmla="*/ 0 w 26"/>
              <a:gd name="T23" fmla="*/ 22 h 28"/>
              <a:gd name="T24" fmla="*/ 0 w 26"/>
              <a:gd name="T25" fmla="*/ 27 h 28"/>
              <a:gd name="T26" fmla="*/ 4 w 26"/>
              <a:gd name="T27" fmla="*/ 26 h 28"/>
              <a:gd name="T28" fmla="*/ 11 w 26"/>
              <a:gd name="T29" fmla="*/ 25 h 28"/>
              <a:gd name="T30" fmla="*/ 14 w 26"/>
              <a:gd name="T31" fmla="*/ 20 h 28"/>
              <a:gd name="T32" fmla="*/ 21 w 26"/>
              <a:gd name="T33" fmla="*/ 20 h 28"/>
              <a:gd name="T34" fmla="*/ 22 w 26"/>
              <a:gd name="T35" fmla="*/ 18 h 28"/>
              <a:gd name="T36" fmla="*/ 22 w 26"/>
              <a:gd name="T37" fmla="*/ 18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2" y="18"/>
                </a:moveTo>
                <a:cubicBezTo>
                  <a:pt x="22" y="16"/>
                  <a:pt x="24" y="15"/>
                  <a:pt x="25" y="14"/>
                </a:cubicBezTo>
                <a:cubicBezTo>
                  <a:pt x="26" y="13"/>
                  <a:pt x="26" y="10"/>
                  <a:pt x="26" y="8"/>
                </a:cubicBezTo>
                <a:cubicBezTo>
                  <a:pt x="26" y="6"/>
                  <a:pt x="24" y="5"/>
                  <a:pt x="24" y="3"/>
                </a:cubicBezTo>
                <a:cubicBezTo>
                  <a:pt x="24" y="1"/>
                  <a:pt x="22" y="1"/>
                  <a:pt x="21" y="0"/>
                </a:cubicBezTo>
                <a:cubicBezTo>
                  <a:pt x="20" y="1"/>
                  <a:pt x="18" y="0"/>
                  <a:pt x="16" y="1"/>
                </a:cubicBezTo>
                <a:cubicBezTo>
                  <a:pt x="15" y="2"/>
                  <a:pt x="13" y="4"/>
                  <a:pt x="12" y="3"/>
                </a:cubicBezTo>
                <a:cubicBezTo>
                  <a:pt x="10" y="1"/>
                  <a:pt x="7" y="0"/>
                  <a:pt x="6" y="2"/>
                </a:cubicBezTo>
                <a:cubicBezTo>
                  <a:pt x="5" y="4"/>
                  <a:pt x="6" y="7"/>
                  <a:pt x="7" y="8"/>
                </a:cubicBezTo>
                <a:cubicBezTo>
                  <a:pt x="8" y="10"/>
                  <a:pt x="7" y="10"/>
                  <a:pt x="6" y="12"/>
                </a:cubicBezTo>
                <a:cubicBezTo>
                  <a:pt x="5" y="14"/>
                  <a:pt x="3" y="15"/>
                  <a:pt x="2" y="16"/>
                </a:cubicBezTo>
                <a:cubicBezTo>
                  <a:pt x="1" y="18"/>
                  <a:pt x="0" y="19"/>
                  <a:pt x="0" y="22"/>
                </a:cubicBezTo>
                <a:cubicBezTo>
                  <a:pt x="0" y="23"/>
                  <a:pt x="1" y="25"/>
                  <a:pt x="0" y="27"/>
                </a:cubicBezTo>
                <a:cubicBezTo>
                  <a:pt x="2" y="28"/>
                  <a:pt x="2" y="27"/>
                  <a:pt x="4" y="26"/>
                </a:cubicBezTo>
                <a:cubicBezTo>
                  <a:pt x="6" y="25"/>
                  <a:pt x="9" y="25"/>
                  <a:pt x="11" y="25"/>
                </a:cubicBezTo>
                <a:cubicBezTo>
                  <a:pt x="10" y="22"/>
                  <a:pt x="12" y="21"/>
                  <a:pt x="14" y="20"/>
                </a:cubicBezTo>
                <a:cubicBezTo>
                  <a:pt x="16" y="19"/>
                  <a:pt x="20" y="17"/>
                  <a:pt x="21" y="20"/>
                </a:cubicBezTo>
                <a:cubicBezTo>
                  <a:pt x="21" y="19"/>
                  <a:pt x="21" y="18"/>
                  <a:pt x="22" y="18"/>
                </a:cubicBezTo>
                <a:cubicBezTo>
                  <a:pt x="22" y="16"/>
                  <a:pt x="21" y="18"/>
                  <a:pt x="22" y="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54" name="Freeform 750">
            <a:extLst>
              <a:ext uri="{FF2B5EF4-FFF2-40B4-BE49-F238E27FC236}">
                <a16:creationId xmlns:a16="http://schemas.microsoft.com/office/drawing/2014/main" id="{31133148-D1A3-0443-B767-92B99E33F492}"/>
              </a:ext>
            </a:extLst>
          </p:cNvPr>
          <p:cNvSpPr>
            <a:spLocks/>
          </p:cNvSpPr>
          <p:nvPr/>
        </p:nvSpPr>
        <p:spPr bwMode="auto">
          <a:xfrm>
            <a:off x="6592522" y="4954249"/>
            <a:ext cx="51180" cy="51193"/>
          </a:xfrm>
          <a:custGeom>
            <a:avLst/>
            <a:gdLst>
              <a:gd name="T0" fmla="*/ 1 w 10"/>
              <a:gd name="T1" fmla="*/ 6 h 10"/>
              <a:gd name="T2" fmla="*/ 3 w 10"/>
              <a:gd name="T3" fmla="*/ 10 h 10"/>
              <a:gd name="T4" fmla="*/ 9 w 10"/>
              <a:gd name="T5" fmla="*/ 5 h 10"/>
              <a:gd name="T6" fmla="*/ 8 w 10"/>
              <a:gd name="T7" fmla="*/ 0 h 10"/>
              <a:gd name="T8" fmla="*/ 4 w 10"/>
              <a:gd name="T9" fmla="*/ 1 h 10"/>
              <a:gd name="T10" fmla="*/ 0 w 10"/>
              <a:gd name="T11" fmla="*/ 1 h 10"/>
              <a:gd name="T12" fmla="*/ 1 w 10"/>
              <a:gd name="T13" fmla="*/ 6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" h="10">
                <a:moveTo>
                  <a:pt x="1" y="6"/>
                </a:moveTo>
                <a:cubicBezTo>
                  <a:pt x="2" y="7"/>
                  <a:pt x="2" y="9"/>
                  <a:pt x="3" y="10"/>
                </a:cubicBezTo>
                <a:cubicBezTo>
                  <a:pt x="5" y="9"/>
                  <a:pt x="7" y="7"/>
                  <a:pt x="9" y="5"/>
                </a:cubicBezTo>
                <a:cubicBezTo>
                  <a:pt x="10" y="3"/>
                  <a:pt x="5" y="4"/>
                  <a:pt x="8" y="0"/>
                </a:cubicBezTo>
                <a:cubicBezTo>
                  <a:pt x="7" y="0"/>
                  <a:pt x="3" y="0"/>
                  <a:pt x="4" y="1"/>
                </a:cubicBezTo>
                <a:cubicBezTo>
                  <a:pt x="5" y="3"/>
                  <a:pt x="1" y="2"/>
                  <a:pt x="0" y="1"/>
                </a:cubicBezTo>
                <a:cubicBezTo>
                  <a:pt x="0" y="3"/>
                  <a:pt x="1" y="4"/>
                  <a:pt x="1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55" name="Freeform 751">
            <a:extLst>
              <a:ext uri="{FF2B5EF4-FFF2-40B4-BE49-F238E27FC236}">
                <a16:creationId xmlns:a16="http://schemas.microsoft.com/office/drawing/2014/main" id="{A8BE7927-389F-914F-8013-629185F4A36B}"/>
              </a:ext>
            </a:extLst>
          </p:cNvPr>
          <p:cNvSpPr>
            <a:spLocks/>
          </p:cNvSpPr>
          <p:nvPr/>
        </p:nvSpPr>
        <p:spPr bwMode="auto">
          <a:xfrm>
            <a:off x="6592522" y="4922474"/>
            <a:ext cx="56474" cy="47663"/>
          </a:xfrm>
          <a:custGeom>
            <a:avLst/>
            <a:gdLst>
              <a:gd name="T0" fmla="*/ 3 w 11"/>
              <a:gd name="T1" fmla="*/ 1 h 9"/>
              <a:gd name="T2" fmla="*/ 0 w 11"/>
              <a:gd name="T3" fmla="*/ 7 h 9"/>
              <a:gd name="T4" fmla="*/ 4 w 11"/>
              <a:gd name="T5" fmla="*/ 7 h 9"/>
              <a:gd name="T6" fmla="*/ 8 w 11"/>
              <a:gd name="T7" fmla="*/ 6 h 9"/>
              <a:gd name="T8" fmla="*/ 7 w 11"/>
              <a:gd name="T9" fmla="*/ 0 h 9"/>
              <a:gd name="T10" fmla="*/ 3 w 11"/>
              <a:gd name="T11" fmla="*/ 1 h 9"/>
              <a:gd name="T12" fmla="*/ 3 w 11"/>
              <a:gd name="T13" fmla="*/ 1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" h="9">
                <a:moveTo>
                  <a:pt x="3" y="1"/>
                </a:moveTo>
                <a:cubicBezTo>
                  <a:pt x="1" y="2"/>
                  <a:pt x="0" y="5"/>
                  <a:pt x="0" y="7"/>
                </a:cubicBezTo>
                <a:cubicBezTo>
                  <a:pt x="1" y="8"/>
                  <a:pt x="5" y="9"/>
                  <a:pt x="4" y="7"/>
                </a:cubicBezTo>
                <a:cubicBezTo>
                  <a:pt x="3" y="6"/>
                  <a:pt x="7" y="6"/>
                  <a:pt x="8" y="6"/>
                </a:cubicBezTo>
                <a:cubicBezTo>
                  <a:pt x="11" y="5"/>
                  <a:pt x="8" y="1"/>
                  <a:pt x="7" y="0"/>
                </a:cubicBezTo>
                <a:cubicBezTo>
                  <a:pt x="5" y="1"/>
                  <a:pt x="5" y="2"/>
                  <a:pt x="3" y="1"/>
                </a:cubicBezTo>
                <a:cubicBezTo>
                  <a:pt x="2" y="1"/>
                  <a:pt x="4" y="1"/>
                  <a:pt x="3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56" name="Freeform 752">
            <a:extLst>
              <a:ext uri="{FF2B5EF4-FFF2-40B4-BE49-F238E27FC236}">
                <a16:creationId xmlns:a16="http://schemas.microsoft.com/office/drawing/2014/main" id="{B8538638-E991-5948-BEE3-D80ECBF8CD75}"/>
              </a:ext>
            </a:extLst>
          </p:cNvPr>
          <p:cNvSpPr>
            <a:spLocks/>
          </p:cNvSpPr>
          <p:nvPr/>
        </p:nvSpPr>
        <p:spPr bwMode="auto">
          <a:xfrm>
            <a:off x="6603112" y="4906585"/>
            <a:ext cx="278846" cy="301868"/>
          </a:xfrm>
          <a:custGeom>
            <a:avLst/>
            <a:gdLst>
              <a:gd name="T0" fmla="*/ 41 w 54"/>
              <a:gd name="T1" fmla="*/ 13 h 58"/>
              <a:gd name="T2" fmla="*/ 23 w 54"/>
              <a:gd name="T3" fmla="*/ 3 h 58"/>
              <a:gd name="T4" fmla="*/ 17 w 54"/>
              <a:gd name="T5" fmla="*/ 7 h 58"/>
              <a:gd name="T6" fmla="*/ 21 w 54"/>
              <a:gd name="T7" fmla="*/ 9 h 58"/>
              <a:gd name="T8" fmla="*/ 17 w 54"/>
              <a:gd name="T9" fmla="*/ 9 h 58"/>
              <a:gd name="T10" fmla="*/ 13 w 54"/>
              <a:gd name="T11" fmla="*/ 10 h 58"/>
              <a:gd name="T12" fmla="*/ 11 w 54"/>
              <a:gd name="T13" fmla="*/ 8 h 58"/>
              <a:gd name="T14" fmla="*/ 12 w 54"/>
              <a:gd name="T15" fmla="*/ 4 h 58"/>
              <a:gd name="T16" fmla="*/ 5 w 54"/>
              <a:gd name="T17" fmla="*/ 3 h 58"/>
              <a:gd name="T18" fmla="*/ 7 w 54"/>
              <a:gd name="T19" fmla="*/ 8 h 58"/>
              <a:gd name="T20" fmla="*/ 5 w 54"/>
              <a:gd name="T21" fmla="*/ 12 h 58"/>
              <a:gd name="T22" fmla="*/ 6 w 54"/>
              <a:gd name="T23" fmla="*/ 16 h 58"/>
              <a:gd name="T24" fmla="*/ 2 w 54"/>
              <a:gd name="T25" fmla="*/ 18 h 58"/>
              <a:gd name="T26" fmla="*/ 1 w 54"/>
              <a:gd name="T27" fmla="*/ 21 h 58"/>
              <a:gd name="T28" fmla="*/ 5 w 54"/>
              <a:gd name="T29" fmla="*/ 33 h 58"/>
              <a:gd name="T30" fmla="*/ 12 w 54"/>
              <a:gd name="T31" fmla="*/ 42 h 58"/>
              <a:gd name="T32" fmla="*/ 15 w 54"/>
              <a:gd name="T33" fmla="*/ 43 h 58"/>
              <a:gd name="T34" fmla="*/ 17 w 54"/>
              <a:gd name="T35" fmla="*/ 45 h 58"/>
              <a:gd name="T36" fmla="*/ 24 w 54"/>
              <a:gd name="T37" fmla="*/ 47 h 58"/>
              <a:gd name="T38" fmla="*/ 25 w 54"/>
              <a:gd name="T39" fmla="*/ 53 h 58"/>
              <a:gd name="T40" fmla="*/ 27 w 54"/>
              <a:gd name="T41" fmla="*/ 55 h 58"/>
              <a:gd name="T42" fmla="*/ 30 w 54"/>
              <a:gd name="T43" fmla="*/ 55 h 58"/>
              <a:gd name="T44" fmla="*/ 33 w 54"/>
              <a:gd name="T45" fmla="*/ 56 h 58"/>
              <a:gd name="T46" fmla="*/ 36 w 54"/>
              <a:gd name="T47" fmla="*/ 55 h 58"/>
              <a:gd name="T48" fmla="*/ 42 w 54"/>
              <a:gd name="T49" fmla="*/ 55 h 58"/>
              <a:gd name="T50" fmla="*/ 46 w 54"/>
              <a:gd name="T51" fmla="*/ 54 h 58"/>
              <a:gd name="T52" fmla="*/ 54 w 54"/>
              <a:gd name="T53" fmla="*/ 49 h 58"/>
              <a:gd name="T54" fmla="*/ 49 w 54"/>
              <a:gd name="T55" fmla="*/ 36 h 58"/>
              <a:gd name="T56" fmla="*/ 49 w 54"/>
              <a:gd name="T57" fmla="*/ 32 h 58"/>
              <a:gd name="T58" fmla="*/ 46 w 54"/>
              <a:gd name="T59" fmla="*/ 28 h 58"/>
              <a:gd name="T60" fmla="*/ 48 w 54"/>
              <a:gd name="T61" fmla="*/ 20 h 58"/>
              <a:gd name="T62" fmla="*/ 45 w 54"/>
              <a:gd name="T63" fmla="*/ 18 h 58"/>
              <a:gd name="T64" fmla="*/ 41 w 54"/>
              <a:gd name="T65" fmla="*/ 16 h 58"/>
              <a:gd name="T66" fmla="*/ 41 w 54"/>
              <a:gd name="T67" fmla="*/ 13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4" h="58">
                <a:moveTo>
                  <a:pt x="41" y="13"/>
                </a:moveTo>
                <a:cubicBezTo>
                  <a:pt x="35" y="9"/>
                  <a:pt x="29" y="6"/>
                  <a:pt x="23" y="3"/>
                </a:cubicBezTo>
                <a:cubicBezTo>
                  <a:pt x="22" y="5"/>
                  <a:pt x="19" y="7"/>
                  <a:pt x="17" y="7"/>
                </a:cubicBezTo>
                <a:cubicBezTo>
                  <a:pt x="17" y="7"/>
                  <a:pt x="21" y="8"/>
                  <a:pt x="21" y="9"/>
                </a:cubicBezTo>
                <a:cubicBezTo>
                  <a:pt x="20" y="10"/>
                  <a:pt x="18" y="9"/>
                  <a:pt x="17" y="9"/>
                </a:cubicBezTo>
                <a:cubicBezTo>
                  <a:pt x="15" y="8"/>
                  <a:pt x="15" y="9"/>
                  <a:pt x="13" y="10"/>
                </a:cubicBezTo>
                <a:cubicBezTo>
                  <a:pt x="13" y="10"/>
                  <a:pt x="11" y="9"/>
                  <a:pt x="11" y="8"/>
                </a:cubicBezTo>
                <a:cubicBezTo>
                  <a:pt x="10" y="7"/>
                  <a:pt x="11" y="5"/>
                  <a:pt x="12" y="4"/>
                </a:cubicBezTo>
                <a:cubicBezTo>
                  <a:pt x="13" y="0"/>
                  <a:pt x="7" y="2"/>
                  <a:pt x="5" y="3"/>
                </a:cubicBezTo>
                <a:cubicBezTo>
                  <a:pt x="6" y="4"/>
                  <a:pt x="8" y="7"/>
                  <a:pt x="7" y="8"/>
                </a:cubicBezTo>
                <a:cubicBezTo>
                  <a:pt x="7" y="9"/>
                  <a:pt x="3" y="12"/>
                  <a:pt x="5" y="12"/>
                </a:cubicBezTo>
                <a:cubicBezTo>
                  <a:pt x="8" y="13"/>
                  <a:pt x="7" y="14"/>
                  <a:pt x="6" y="16"/>
                </a:cubicBezTo>
                <a:cubicBezTo>
                  <a:pt x="5" y="16"/>
                  <a:pt x="3" y="17"/>
                  <a:pt x="2" y="18"/>
                </a:cubicBezTo>
                <a:cubicBezTo>
                  <a:pt x="0" y="19"/>
                  <a:pt x="1" y="19"/>
                  <a:pt x="1" y="21"/>
                </a:cubicBezTo>
                <a:cubicBezTo>
                  <a:pt x="2" y="26"/>
                  <a:pt x="4" y="29"/>
                  <a:pt x="5" y="33"/>
                </a:cubicBezTo>
                <a:cubicBezTo>
                  <a:pt x="5" y="38"/>
                  <a:pt x="9" y="40"/>
                  <a:pt x="12" y="42"/>
                </a:cubicBezTo>
                <a:cubicBezTo>
                  <a:pt x="13" y="43"/>
                  <a:pt x="14" y="43"/>
                  <a:pt x="15" y="43"/>
                </a:cubicBezTo>
                <a:cubicBezTo>
                  <a:pt x="16" y="43"/>
                  <a:pt x="16" y="44"/>
                  <a:pt x="17" y="45"/>
                </a:cubicBezTo>
                <a:cubicBezTo>
                  <a:pt x="19" y="45"/>
                  <a:pt x="22" y="45"/>
                  <a:pt x="24" y="47"/>
                </a:cubicBezTo>
                <a:cubicBezTo>
                  <a:pt x="25" y="48"/>
                  <a:pt x="25" y="51"/>
                  <a:pt x="25" y="53"/>
                </a:cubicBezTo>
                <a:cubicBezTo>
                  <a:pt x="26" y="54"/>
                  <a:pt x="25" y="55"/>
                  <a:pt x="27" y="55"/>
                </a:cubicBezTo>
                <a:cubicBezTo>
                  <a:pt x="28" y="55"/>
                  <a:pt x="29" y="55"/>
                  <a:pt x="30" y="55"/>
                </a:cubicBezTo>
                <a:cubicBezTo>
                  <a:pt x="31" y="55"/>
                  <a:pt x="32" y="55"/>
                  <a:pt x="33" y="56"/>
                </a:cubicBezTo>
                <a:cubicBezTo>
                  <a:pt x="34" y="57"/>
                  <a:pt x="35" y="56"/>
                  <a:pt x="36" y="55"/>
                </a:cubicBezTo>
                <a:cubicBezTo>
                  <a:pt x="38" y="54"/>
                  <a:pt x="40" y="58"/>
                  <a:pt x="42" y="55"/>
                </a:cubicBezTo>
                <a:cubicBezTo>
                  <a:pt x="42" y="53"/>
                  <a:pt x="45" y="54"/>
                  <a:pt x="46" y="54"/>
                </a:cubicBezTo>
                <a:cubicBezTo>
                  <a:pt x="49" y="53"/>
                  <a:pt x="51" y="51"/>
                  <a:pt x="54" y="49"/>
                </a:cubicBezTo>
                <a:cubicBezTo>
                  <a:pt x="49" y="46"/>
                  <a:pt x="49" y="42"/>
                  <a:pt x="49" y="36"/>
                </a:cubicBezTo>
                <a:cubicBezTo>
                  <a:pt x="48" y="35"/>
                  <a:pt x="50" y="33"/>
                  <a:pt x="49" y="32"/>
                </a:cubicBezTo>
                <a:cubicBezTo>
                  <a:pt x="48" y="31"/>
                  <a:pt x="46" y="30"/>
                  <a:pt x="46" y="28"/>
                </a:cubicBezTo>
                <a:cubicBezTo>
                  <a:pt x="46" y="27"/>
                  <a:pt x="48" y="20"/>
                  <a:pt x="48" y="20"/>
                </a:cubicBezTo>
                <a:cubicBezTo>
                  <a:pt x="47" y="20"/>
                  <a:pt x="46" y="19"/>
                  <a:pt x="45" y="18"/>
                </a:cubicBezTo>
                <a:cubicBezTo>
                  <a:pt x="44" y="17"/>
                  <a:pt x="43" y="17"/>
                  <a:pt x="41" y="16"/>
                </a:cubicBezTo>
                <a:cubicBezTo>
                  <a:pt x="41" y="15"/>
                  <a:pt x="41" y="14"/>
                  <a:pt x="41" y="1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57" name="Freeform 753">
            <a:extLst>
              <a:ext uri="{FF2B5EF4-FFF2-40B4-BE49-F238E27FC236}">
                <a16:creationId xmlns:a16="http://schemas.microsoft.com/office/drawing/2014/main" id="{912638FD-432C-2340-B41F-7FFA50A0E371}"/>
              </a:ext>
            </a:extLst>
          </p:cNvPr>
          <p:cNvSpPr>
            <a:spLocks/>
          </p:cNvSpPr>
          <p:nvPr/>
        </p:nvSpPr>
        <p:spPr bwMode="auto">
          <a:xfrm>
            <a:off x="6096601" y="4834208"/>
            <a:ext cx="139423" cy="160644"/>
          </a:xfrm>
          <a:custGeom>
            <a:avLst/>
            <a:gdLst>
              <a:gd name="T0" fmla="*/ 15 w 27"/>
              <a:gd name="T1" fmla="*/ 29 h 31"/>
              <a:gd name="T2" fmla="*/ 15 w 27"/>
              <a:gd name="T3" fmla="*/ 24 h 31"/>
              <a:gd name="T4" fmla="*/ 17 w 27"/>
              <a:gd name="T5" fmla="*/ 24 h 31"/>
              <a:gd name="T6" fmla="*/ 19 w 27"/>
              <a:gd name="T7" fmla="*/ 21 h 31"/>
              <a:gd name="T8" fmla="*/ 21 w 27"/>
              <a:gd name="T9" fmla="*/ 24 h 31"/>
              <a:gd name="T10" fmla="*/ 24 w 27"/>
              <a:gd name="T11" fmla="*/ 23 h 31"/>
              <a:gd name="T12" fmla="*/ 26 w 27"/>
              <a:gd name="T13" fmla="*/ 24 h 31"/>
              <a:gd name="T14" fmla="*/ 26 w 27"/>
              <a:gd name="T15" fmla="*/ 21 h 31"/>
              <a:gd name="T16" fmla="*/ 26 w 27"/>
              <a:gd name="T17" fmla="*/ 14 h 31"/>
              <a:gd name="T18" fmla="*/ 25 w 27"/>
              <a:gd name="T19" fmla="*/ 11 h 31"/>
              <a:gd name="T20" fmla="*/ 26 w 27"/>
              <a:gd name="T21" fmla="*/ 6 h 31"/>
              <a:gd name="T22" fmla="*/ 21 w 27"/>
              <a:gd name="T23" fmla="*/ 4 h 31"/>
              <a:gd name="T24" fmla="*/ 19 w 27"/>
              <a:gd name="T25" fmla="*/ 0 h 31"/>
              <a:gd name="T26" fmla="*/ 14 w 27"/>
              <a:gd name="T27" fmla="*/ 0 h 31"/>
              <a:gd name="T28" fmla="*/ 11 w 27"/>
              <a:gd name="T29" fmla="*/ 7 h 31"/>
              <a:gd name="T30" fmla="*/ 5 w 27"/>
              <a:gd name="T31" fmla="*/ 7 h 31"/>
              <a:gd name="T32" fmla="*/ 4 w 27"/>
              <a:gd name="T33" fmla="*/ 7 h 31"/>
              <a:gd name="T34" fmla="*/ 4 w 27"/>
              <a:gd name="T35" fmla="*/ 10 h 31"/>
              <a:gd name="T36" fmla="*/ 0 w 27"/>
              <a:gd name="T37" fmla="*/ 16 h 31"/>
              <a:gd name="T38" fmla="*/ 4 w 27"/>
              <a:gd name="T39" fmla="*/ 23 h 31"/>
              <a:gd name="T40" fmla="*/ 9 w 27"/>
              <a:gd name="T41" fmla="*/ 28 h 31"/>
              <a:gd name="T42" fmla="*/ 11 w 27"/>
              <a:gd name="T43" fmla="*/ 31 h 31"/>
              <a:gd name="T44" fmla="*/ 15 w 27"/>
              <a:gd name="T45" fmla="*/ 29 h 31"/>
              <a:gd name="T46" fmla="*/ 15 w 27"/>
              <a:gd name="T47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7" h="31">
                <a:moveTo>
                  <a:pt x="15" y="29"/>
                </a:moveTo>
                <a:cubicBezTo>
                  <a:pt x="15" y="28"/>
                  <a:pt x="13" y="24"/>
                  <a:pt x="15" y="24"/>
                </a:cubicBezTo>
                <a:cubicBezTo>
                  <a:pt x="15" y="24"/>
                  <a:pt x="17" y="24"/>
                  <a:pt x="17" y="24"/>
                </a:cubicBezTo>
                <a:cubicBezTo>
                  <a:pt x="18" y="23"/>
                  <a:pt x="18" y="21"/>
                  <a:pt x="19" y="21"/>
                </a:cubicBezTo>
                <a:cubicBezTo>
                  <a:pt x="20" y="22"/>
                  <a:pt x="21" y="23"/>
                  <a:pt x="21" y="24"/>
                </a:cubicBezTo>
                <a:cubicBezTo>
                  <a:pt x="22" y="25"/>
                  <a:pt x="22" y="23"/>
                  <a:pt x="24" y="23"/>
                </a:cubicBezTo>
                <a:cubicBezTo>
                  <a:pt x="24" y="23"/>
                  <a:pt x="26" y="25"/>
                  <a:pt x="26" y="24"/>
                </a:cubicBezTo>
                <a:cubicBezTo>
                  <a:pt x="26" y="23"/>
                  <a:pt x="26" y="22"/>
                  <a:pt x="26" y="21"/>
                </a:cubicBezTo>
                <a:cubicBezTo>
                  <a:pt x="27" y="19"/>
                  <a:pt x="27" y="16"/>
                  <a:pt x="26" y="14"/>
                </a:cubicBezTo>
                <a:cubicBezTo>
                  <a:pt x="25" y="13"/>
                  <a:pt x="25" y="12"/>
                  <a:pt x="25" y="11"/>
                </a:cubicBezTo>
                <a:cubicBezTo>
                  <a:pt x="25" y="9"/>
                  <a:pt x="27" y="8"/>
                  <a:pt x="26" y="6"/>
                </a:cubicBezTo>
                <a:cubicBezTo>
                  <a:pt x="25" y="3"/>
                  <a:pt x="21" y="7"/>
                  <a:pt x="21" y="4"/>
                </a:cubicBezTo>
                <a:cubicBezTo>
                  <a:pt x="21" y="2"/>
                  <a:pt x="22" y="0"/>
                  <a:pt x="19" y="0"/>
                </a:cubicBezTo>
                <a:cubicBezTo>
                  <a:pt x="18" y="0"/>
                  <a:pt x="16" y="0"/>
                  <a:pt x="14" y="0"/>
                </a:cubicBezTo>
                <a:cubicBezTo>
                  <a:pt x="10" y="0"/>
                  <a:pt x="15" y="7"/>
                  <a:pt x="11" y="7"/>
                </a:cubicBezTo>
                <a:cubicBezTo>
                  <a:pt x="9" y="7"/>
                  <a:pt x="7" y="7"/>
                  <a:pt x="5" y="7"/>
                </a:cubicBezTo>
                <a:cubicBezTo>
                  <a:pt x="4" y="7"/>
                  <a:pt x="4" y="7"/>
                  <a:pt x="4" y="7"/>
                </a:cubicBezTo>
                <a:cubicBezTo>
                  <a:pt x="2" y="9"/>
                  <a:pt x="4" y="9"/>
                  <a:pt x="4" y="10"/>
                </a:cubicBezTo>
                <a:cubicBezTo>
                  <a:pt x="4" y="12"/>
                  <a:pt x="0" y="14"/>
                  <a:pt x="0" y="16"/>
                </a:cubicBezTo>
                <a:cubicBezTo>
                  <a:pt x="1" y="18"/>
                  <a:pt x="3" y="21"/>
                  <a:pt x="4" y="23"/>
                </a:cubicBezTo>
                <a:cubicBezTo>
                  <a:pt x="6" y="24"/>
                  <a:pt x="7" y="26"/>
                  <a:pt x="9" y="28"/>
                </a:cubicBezTo>
                <a:cubicBezTo>
                  <a:pt x="10" y="29"/>
                  <a:pt x="11" y="30"/>
                  <a:pt x="11" y="31"/>
                </a:cubicBezTo>
                <a:cubicBezTo>
                  <a:pt x="12" y="30"/>
                  <a:pt x="14" y="30"/>
                  <a:pt x="15" y="29"/>
                </a:cubicBezTo>
                <a:cubicBezTo>
                  <a:pt x="15" y="29"/>
                  <a:pt x="14" y="30"/>
                  <a:pt x="15" y="2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58" name="Freeform 754">
            <a:extLst>
              <a:ext uri="{FF2B5EF4-FFF2-40B4-BE49-F238E27FC236}">
                <a16:creationId xmlns:a16="http://schemas.microsoft.com/office/drawing/2014/main" id="{AD37AF98-6F21-F64B-9CDE-8F2A6A91ABD7}"/>
              </a:ext>
            </a:extLst>
          </p:cNvPr>
          <p:cNvSpPr>
            <a:spLocks/>
          </p:cNvSpPr>
          <p:nvPr/>
        </p:nvSpPr>
        <p:spPr bwMode="auto">
          <a:xfrm>
            <a:off x="6105425" y="4834208"/>
            <a:ext cx="58240" cy="37071"/>
          </a:xfrm>
          <a:custGeom>
            <a:avLst/>
            <a:gdLst>
              <a:gd name="T0" fmla="*/ 11 w 11"/>
              <a:gd name="T1" fmla="*/ 7 h 7"/>
              <a:gd name="T2" fmla="*/ 11 w 11"/>
              <a:gd name="T3" fmla="*/ 0 h 7"/>
              <a:gd name="T4" fmla="*/ 3 w 11"/>
              <a:gd name="T5" fmla="*/ 1 h 7"/>
              <a:gd name="T6" fmla="*/ 0 w 11"/>
              <a:gd name="T7" fmla="*/ 4 h 7"/>
              <a:gd name="T8" fmla="*/ 2 w 11"/>
              <a:gd name="T9" fmla="*/ 7 h 7"/>
              <a:gd name="T10" fmla="*/ 11 w 11"/>
              <a:gd name="T11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" h="7">
                <a:moveTo>
                  <a:pt x="11" y="7"/>
                </a:moveTo>
                <a:cubicBezTo>
                  <a:pt x="11" y="5"/>
                  <a:pt x="11" y="2"/>
                  <a:pt x="11" y="0"/>
                </a:cubicBezTo>
                <a:cubicBezTo>
                  <a:pt x="8" y="0"/>
                  <a:pt x="6" y="1"/>
                  <a:pt x="3" y="1"/>
                </a:cubicBezTo>
                <a:cubicBezTo>
                  <a:pt x="4" y="2"/>
                  <a:pt x="1" y="3"/>
                  <a:pt x="0" y="4"/>
                </a:cubicBezTo>
                <a:cubicBezTo>
                  <a:pt x="0" y="5"/>
                  <a:pt x="2" y="6"/>
                  <a:pt x="2" y="7"/>
                </a:cubicBezTo>
                <a:lnTo>
                  <a:pt x="11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59" name="Freeform 755">
            <a:extLst>
              <a:ext uri="{FF2B5EF4-FFF2-40B4-BE49-F238E27FC236}">
                <a16:creationId xmlns:a16="http://schemas.microsoft.com/office/drawing/2014/main" id="{C218133E-B0AE-3040-B25B-91FD59B21A11}"/>
              </a:ext>
            </a:extLst>
          </p:cNvPr>
          <p:cNvSpPr>
            <a:spLocks/>
          </p:cNvSpPr>
          <p:nvPr/>
        </p:nvSpPr>
        <p:spPr bwMode="auto">
          <a:xfrm>
            <a:off x="6086011" y="4555291"/>
            <a:ext cx="190604" cy="294806"/>
          </a:xfrm>
          <a:custGeom>
            <a:avLst/>
            <a:gdLst>
              <a:gd name="T0" fmla="*/ 29 w 37"/>
              <a:gd name="T1" fmla="*/ 55 h 57"/>
              <a:gd name="T2" fmla="*/ 37 w 37"/>
              <a:gd name="T3" fmla="*/ 55 h 57"/>
              <a:gd name="T4" fmla="*/ 33 w 37"/>
              <a:gd name="T5" fmla="*/ 48 h 57"/>
              <a:gd name="T6" fmla="*/ 32 w 37"/>
              <a:gd name="T7" fmla="*/ 44 h 57"/>
              <a:gd name="T8" fmla="*/ 30 w 37"/>
              <a:gd name="T9" fmla="*/ 40 h 57"/>
              <a:gd name="T10" fmla="*/ 32 w 37"/>
              <a:gd name="T11" fmla="*/ 32 h 57"/>
              <a:gd name="T12" fmla="*/ 34 w 37"/>
              <a:gd name="T13" fmla="*/ 27 h 57"/>
              <a:gd name="T14" fmla="*/ 31 w 37"/>
              <a:gd name="T15" fmla="*/ 21 h 57"/>
              <a:gd name="T16" fmla="*/ 28 w 37"/>
              <a:gd name="T17" fmla="*/ 16 h 57"/>
              <a:gd name="T18" fmla="*/ 34 w 37"/>
              <a:gd name="T19" fmla="*/ 16 h 57"/>
              <a:gd name="T20" fmla="*/ 32 w 37"/>
              <a:gd name="T21" fmla="*/ 6 h 57"/>
              <a:gd name="T22" fmla="*/ 30 w 37"/>
              <a:gd name="T23" fmla="*/ 2 h 57"/>
              <a:gd name="T24" fmla="*/ 27 w 37"/>
              <a:gd name="T25" fmla="*/ 0 h 57"/>
              <a:gd name="T26" fmla="*/ 28 w 37"/>
              <a:gd name="T27" fmla="*/ 9 h 57"/>
              <a:gd name="T28" fmla="*/ 23 w 37"/>
              <a:gd name="T29" fmla="*/ 18 h 57"/>
              <a:gd name="T30" fmla="*/ 21 w 37"/>
              <a:gd name="T31" fmla="*/ 22 h 57"/>
              <a:gd name="T32" fmla="*/ 18 w 37"/>
              <a:gd name="T33" fmla="*/ 27 h 57"/>
              <a:gd name="T34" fmla="*/ 15 w 37"/>
              <a:gd name="T35" fmla="*/ 33 h 57"/>
              <a:gd name="T36" fmla="*/ 11 w 37"/>
              <a:gd name="T37" fmla="*/ 31 h 57"/>
              <a:gd name="T38" fmla="*/ 2 w 37"/>
              <a:gd name="T39" fmla="*/ 39 h 57"/>
              <a:gd name="T40" fmla="*/ 1 w 37"/>
              <a:gd name="T41" fmla="*/ 42 h 57"/>
              <a:gd name="T42" fmla="*/ 4 w 37"/>
              <a:gd name="T43" fmla="*/ 45 h 57"/>
              <a:gd name="T44" fmla="*/ 5 w 37"/>
              <a:gd name="T45" fmla="*/ 45 h 57"/>
              <a:gd name="T46" fmla="*/ 7 w 37"/>
              <a:gd name="T47" fmla="*/ 48 h 57"/>
              <a:gd name="T48" fmla="*/ 7 w 37"/>
              <a:gd name="T49" fmla="*/ 55 h 57"/>
              <a:gd name="T50" fmla="*/ 16 w 37"/>
              <a:gd name="T51" fmla="*/ 54 h 57"/>
              <a:gd name="T52" fmla="*/ 29 w 37"/>
              <a:gd name="T53" fmla="*/ 5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7" h="57">
                <a:moveTo>
                  <a:pt x="29" y="55"/>
                </a:moveTo>
                <a:cubicBezTo>
                  <a:pt x="32" y="55"/>
                  <a:pt x="35" y="57"/>
                  <a:pt x="37" y="55"/>
                </a:cubicBezTo>
                <a:cubicBezTo>
                  <a:pt x="37" y="51"/>
                  <a:pt x="35" y="50"/>
                  <a:pt x="33" y="48"/>
                </a:cubicBezTo>
                <a:cubicBezTo>
                  <a:pt x="32" y="47"/>
                  <a:pt x="32" y="46"/>
                  <a:pt x="32" y="44"/>
                </a:cubicBezTo>
                <a:cubicBezTo>
                  <a:pt x="31" y="43"/>
                  <a:pt x="30" y="42"/>
                  <a:pt x="30" y="40"/>
                </a:cubicBezTo>
                <a:cubicBezTo>
                  <a:pt x="29" y="36"/>
                  <a:pt x="31" y="35"/>
                  <a:pt x="32" y="32"/>
                </a:cubicBezTo>
                <a:cubicBezTo>
                  <a:pt x="33" y="30"/>
                  <a:pt x="34" y="29"/>
                  <a:pt x="34" y="27"/>
                </a:cubicBezTo>
                <a:cubicBezTo>
                  <a:pt x="33" y="25"/>
                  <a:pt x="33" y="23"/>
                  <a:pt x="31" y="21"/>
                </a:cubicBezTo>
                <a:cubicBezTo>
                  <a:pt x="31" y="21"/>
                  <a:pt x="26" y="18"/>
                  <a:pt x="28" y="16"/>
                </a:cubicBezTo>
                <a:cubicBezTo>
                  <a:pt x="29" y="15"/>
                  <a:pt x="32" y="16"/>
                  <a:pt x="34" y="16"/>
                </a:cubicBezTo>
                <a:cubicBezTo>
                  <a:pt x="32" y="12"/>
                  <a:pt x="32" y="10"/>
                  <a:pt x="32" y="6"/>
                </a:cubicBezTo>
                <a:cubicBezTo>
                  <a:pt x="32" y="5"/>
                  <a:pt x="32" y="3"/>
                  <a:pt x="30" y="2"/>
                </a:cubicBezTo>
                <a:cubicBezTo>
                  <a:pt x="30" y="1"/>
                  <a:pt x="27" y="0"/>
                  <a:pt x="27" y="0"/>
                </a:cubicBezTo>
                <a:cubicBezTo>
                  <a:pt x="27" y="2"/>
                  <a:pt x="33" y="7"/>
                  <a:pt x="28" y="9"/>
                </a:cubicBezTo>
                <a:cubicBezTo>
                  <a:pt x="25" y="11"/>
                  <a:pt x="24" y="14"/>
                  <a:pt x="23" y="18"/>
                </a:cubicBezTo>
                <a:cubicBezTo>
                  <a:pt x="22" y="19"/>
                  <a:pt x="22" y="22"/>
                  <a:pt x="21" y="22"/>
                </a:cubicBezTo>
                <a:cubicBezTo>
                  <a:pt x="19" y="23"/>
                  <a:pt x="19" y="25"/>
                  <a:pt x="18" y="27"/>
                </a:cubicBezTo>
                <a:cubicBezTo>
                  <a:pt x="17" y="29"/>
                  <a:pt x="16" y="31"/>
                  <a:pt x="15" y="33"/>
                </a:cubicBezTo>
                <a:cubicBezTo>
                  <a:pt x="13" y="35"/>
                  <a:pt x="12" y="31"/>
                  <a:pt x="11" y="31"/>
                </a:cubicBezTo>
                <a:cubicBezTo>
                  <a:pt x="6" y="31"/>
                  <a:pt x="3" y="35"/>
                  <a:pt x="2" y="39"/>
                </a:cubicBezTo>
                <a:cubicBezTo>
                  <a:pt x="2" y="40"/>
                  <a:pt x="0" y="41"/>
                  <a:pt x="1" y="42"/>
                </a:cubicBezTo>
                <a:cubicBezTo>
                  <a:pt x="2" y="43"/>
                  <a:pt x="3" y="44"/>
                  <a:pt x="4" y="45"/>
                </a:cubicBezTo>
                <a:cubicBezTo>
                  <a:pt x="4" y="46"/>
                  <a:pt x="5" y="44"/>
                  <a:pt x="5" y="45"/>
                </a:cubicBezTo>
                <a:cubicBezTo>
                  <a:pt x="6" y="46"/>
                  <a:pt x="7" y="47"/>
                  <a:pt x="7" y="48"/>
                </a:cubicBezTo>
                <a:cubicBezTo>
                  <a:pt x="8" y="50"/>
                  <a:pt x="7" y="53"/>
                  <a:pt x="7" y="55"/>
                </a:cubicBezTo>
                <a:cubicBezTo>
                  <a:pt x="10" y="54"/>
                  <a:pt x="13" y="54"/>
                  <a:pt x="16" y="54"/>
                </a:cubicBezTo>
                <a:cubicBezTo>
                  <a:pt x="20" y="54"/>
                  <a:pt x="25" y="55"/>
                  <a:pt x="29" y="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60" name="Freeform 756">
            <a:extLst>
              <a:ext uri="{FF2B5EF4-FFF2-40B4-BE49-F238E27FC236}">
                <a16:creationId xmlns:a16="http://schemas.microsoft.com/office/drawing/2014/main" id="{7712314D-9BA7-B44F-B4A9-65F38C6D3669}"/>
              </a:ext>
            </a:extLst>
          </p:cNvPr>
          <p:cNvSpPr>
            <a:spLocks/>
          </p:cNvSpPr>
          <p:nvPr/>
        </p:nvSpPr>
        <p:spPr bwMode="auto">
          <a:xfrm>
            <a:off x="5883055" y="4569413"/>
            <a:ext cx="77653" cy="160644"/>
          </a:xfrm>
          <a:custGeom>
            <a:avLst/>
            <a:gdLst>
              <a:gd name="T0" fmla="*/ 11 w 15"/>
              <a:gd name="T1" fmla="*/ 0 h 31"/>
              <a:gd name="T2" fmla="*/ 9 w 15"/>
              <a:gd name="T3" fmla="*/ 4 h 31"/>
              <a:gd name="T4" fmla="*/ 4 w 15"/>
              <a:gd name="T5" fmla="*/ 5 h 31"/>
              <a:gd name="T6" fmla="*/ 1 w 15"/>
              <a:gd name="T7" fmla="*/ 8 h 31"/>
              <a:gd name="T8" fmla="*/ 3 w 15"/>
              <a:gd name="T9" fmla="*/ 13 h 31"/>
              <a:gd name="T10" fmla="*/ 6 w 15"/>
              <a:gd name="T11" fmla="*/ 31 h 31"/>
              <a:gd name="T12" fmla="*/ 11 w 15"/>
              <a:gd name="T13" fmla="*/ 30 h 31"/>
              <a:gd name="T14" fmla="*/ 11 w 15"/>
              <a:gd name="T15" fmla="*/ 27 h 31"/>
              <a:gd name="T16" fmla="*/ 11 w 15"/>
              <a:gd name="T17" fmla="*/ 18 h 31"/>
              <a:gd name="T18" fmla="*/ 15 w 15"/>
              <a:gd name="T19" fmla="*/ 9 h 31"/>
              <a:gd name="T20" fmla="*/ 14 w 15"/>
              <a:gd name="T21" fmla="*/ 3 h 31"/>
              <a:gd name="T22" fmla="*/ 11 w 15"/>
              <a:gd name="T23" fmla="*/ 0 h 31"/>
              <a:gd name="T24" fmla="*/ 11 w 15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5" h="31">
                <a:moveTo>
                  <a:pt x="11" y="0"/>
                </a:moveTo>
                <a:cubicBezTo>
                  <a:pt x="9" y="2"/>
                  <a:pt x="10" y="2"/>
                  <a:pt x="9" y="4"/>
                </a:cubicBezTo>
                <a:cubicBezTo>
                  <a:pt x="8" y="6"/>
                  <a:pt x="6" y="5"/>
                  <a:pt x="4" y="5"/>
                </a:cubicBezTo>
                <a:cubicBezTo>
                  <a:pt x="4" y="5"/>
                  <a:pt x="2" y="7"/>
                  <a:pt x="1" y="8"/>
                </a:cubicBezTo>
                <a:cubicBezTo>
                  <a:pt x="0" y="9"/>
                  <a:pt x="2" y="11"/>
                  <a:pt x="3" y="13"/>
                </a:cubicBezTo>
                <a:cubicBezTo>
                  <a:pt x="7" y="18"/>
                  <a:pt x="4" y="25"/>
                  <a:pt x="6" y="31"/>
                </a:cubicBezTo>
                <a:cubicBezTo>
                  <a:pt x="7" y="31"/>
                  <a:pt x="9" y="31"/>
                  <a:pt x="11" y="30"/>
                </a:cubicBezTo>
                <a:cubicBezTo>
                  <a:pt x="12" y="30"/>
                  <a:pt x="12" y="29"/>
                  <a:pt x="11" y="27"/>
                </a:cubicBezTo>
                <a:cubicBezTo>
                  <a:pt x="11" y="24"/>
                  <a:pt x="11" y="21"/>
                  <a:pt x="11" y="18"/>
                </a:cubicBezTo>
                <a:cubicBezTo>
                  <a:pt x="11" y="14"/>
                  <a:pt x="14" y="12"/>
                  <a:pt x="15" y="9"/>
                </a:cubicBezTo>
                <a:cubicBezTo>
                  <a:pt x="15" y="6"/>
                  <a:pt x="15" y="5"/>
                  <a:pt x="14" y="3"/>
                </a:cubicBezTo>
                <a:cubicBezTo>
                  <a:pt x="14" y="3"/>
                  <a:pt x="11" y="0"/>
                  <a:pt x="11" y="0"/>
                </a:cubicBezTo>
                <a:cubicBezTo>
                  <a:pt x="10" y="1"/>
                  <a:pt x="11" y="0"/>
                  <a:pt x="1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61" name="Freeform 757">
            <a:extLst>
              <a:ext uri="{FF2B5EF4-FFF2-40B4-BE49-F238E27FC236}">
                <a16:creationId xmlns:a16="http://schemas.microsoft.com/office/drawing/2014/main" id="{A6182B8E-4030-D341-9A15-D5DC5B0BDD1B}"/>
              </a:ext>
            </a:extLst>
          </p:cNvPr>
          <p:cNvSpPr>
            <a:spLocks/>
          </p:cNvSpPr>
          <p:nvPr/>
        </p:nvSpPr>
        <p:spPr bwMode="auto">
          <a:xfrm>
            <a:off x="5936000" y="4528809"/>
            <a:ext cx="305318" cy="264796"/>
          </a:xfrm>
          <a:custGeom>
            <a:avLst/>
            <a:gdLst>
              <a:gd name="T0" fmla="*/ 31 w 59"/>
              <a:gd name="T1" fmla="*/ 42 h 51"/>
              <a:gd name="T2" fmla="*/ 37 w 59"/>
              <a:gd name="T3" fmla="*/ 37 h 51"/>
              <a:gd name="T4" fmla="*/ 40 w 59"/>
              <a:gd name="T5" fmla="*/ 36 h 51"/>
              <a:gd name="T6" fmla="*/ 43 w 59"/>
              <a:gd name="T7" fmla="*/ 38 h 51"/>
              <a:gd name="T8" fmla="*/ 47 w 59"/>
              <a:gd name="T9" fmla="*/ 32 h 51"/>
              <a:gd name="T10" fmla="*/ 48 w 59"/>
              <a:gd name="T11" fmla="*/ 28 h 51"/>
              <a:gd name="T12" fmla="*/ 51 w 59"/>
              <a:gd name="T13" fmla="*/ 27 h 51"/>
              <a:gd name="T14" fmla="*/ 56 w 59"/>
              <a:gd name="T15" fmla="*/ 14 h 51"/>
              <a:gd name="T16" fmla="*/ 59 w 59"/>
              <a:gd name="T17" fmla="*/ 11 h 51"/>
              <a:gd name="T18" fmla="*/ 57 w 59"/>
              <a:gd name="T19" fmla="*/ 8 h 51"/>
              <a:gd name="T20" fmla="*/ 56 w 59"/>
              <a:gd name="T21" fmla="*/ 6 h 51"/>
              <a:gd name="T22" fmla="*/ 54 w 59"/>
              <a:gd name="T23" fmla="*/ 1 h 51"/>
              <a:gd name="T24" fmla="*/ 48 w 59"/>
              <a:gd name="T25" fmla="*/ 5 h 51"/>
              <a:gd name="T26" fmla="*/ 40 w 59"/>
              <a:gd name="T27" fmla="*/ 4 h 51"/>
              <a:gd name="T28" fmla="*/ 32 w 59"/>
              <a:gd name="T29" fmla="*/ 6 h 51"/>
              <a:gd name="T30" fmla="*/ 26 w 59"/>
              <a:gd name="T31" fmla="*/ 4 h 51"/>
              <a:gd name="T32" fmla="*/ 19 w 59"/>
              <a:gd name="T33" fmla="*/ 3 h 51"/>
              <a:gd name="T34" fmla="*/ 13 w 59"/>
              <a:gd name="T35" fmla="*/ 1 h 51"/>
              <a:gd name="T36" fmla="*/ 8 w 59"/>
              <a:gd name="T37" fmla="*/ 3 h 51"/>
              <a:gd name="T38" fmla="*/ 7 w 59"/>
              <a:gd name="T39" fmla="*/ 6 h 51"/>
              <a:gd name="T40" fmla="*/ 6 w 59"/>
              <a:gd name="T41" fmla="*/ 10 h 51"/>
              <a:gd name="T42" fmla="*/ 5 w 59"/>
              <a:gd name="T43" fmla="*/ 16 h 51"/>
              <a:gd name="T44" fmla="*/ 1 w 59"/>
              <a:gd name="T45" fmla="*/ 24 h 51"/>
              <a:gd name="T46" fmla="*/ 2 w 59"/>
              <a:gd name="T47" fmla="*/ 38 h 51"/>
              <a:gd name="T48" fmla="*/ 5 w 59"/>
              <a:gd name="T49" fmla="*/ 38 h 51"/>
              <a:gd name="T50" fmla="*/ 9 w 59"/>
              <a:gd name="T51" fmla="*/ 39 h 51"/>
              <a:gd name="T52" fmla="*/ 14 w 59"/>
              <a:gd name="T53" fmla="*/ 43 h 51"/>
              <a:gd name="T54" fmla="*/ 14 w 59"/>
              <a:gd name="T55" fmla="*/ 45 h 51"/>
              <a:gd name="T56" fmla="*/ 16 w 59"/>
              <a:gd name="T57" fmla="*/ 48 h 51"/>
              <a:gd name="T58" fmla="*/ 23 w 59"/>
              <a:gd name="T59" fmla="*/ 47 h 51"/>
              <a:gd name="T60" fmla="*/ 22 w 59"/>
              <a:gd name="T61" fmla="*/ 48 h 51"/>
              <a:gd name="T62" fmla="*/ 27 w 59"/>
              <a:gd name="T63" fmla="*/ 47 h 51"/>
              <a:gd name="T64" fmla="*/ 30 w 59"/>
              <a:gd name="T65" fmla="*/ 47 h 51"/>
              <a:gd name="T66" fmla="*/ 31 w 59"/>
              <a:gd name="T67" fmla="*/ 42 h 51"/>
              <a:gd name="T68" fmla="*/ 31 w 59"/>
              <a:gd name="T69" fmla="*/ 42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9" h="51">
                <a:moveTo>
                  <a:pt x="31" y="42"/>
                </a:moveTo>
                <a:cubicBezTo>
                  <a:pt x="32" y="40"/>
                  <a:pt x="35" y="37"/>
                  <a:pt x="37" y="37"/>
                </a:cubicBezTo>
                <a:cubicBezTo>
                  <a:pt x="38" y="36"/>
                  <a:pt x="40" y="36"/>
                  <a:pt x="40" y="36"/>
                </a:cubicBezTo>
                <a:cubicBezTo>
                  <a:pt x="41" y="37"/>
                  <a:pt x="42" y="39"/>
                  <a:pt x="43" y="38"/>
                </a:cubicBezTo>
                <a:cubicBezTo>
                  <a:pt x="45" y="37"/>
                  <a:pt x="46" y="34"/>
                  <a:pt x="47" y="32"/>
                </a:cubicBezTo>
                <a:cubicBezTo>
                  <a:pt x="47" y="31"/>
                  <a:pt x="48" y="29"/>
                  <a:pt x="48" y="28"/>
                </a:cubicBezTo>
                <a:cubicBezTo>
                  <a:pt x="49" y="27"/>
                  <a:pt x="50" y="28"/>
                  <a:pt x="51" y="27"/>
                </a:cubicBezTo>
                <a:cubicBezTo>
                  <a:pt x="51" y="25"/>
                  <a:pt x="53" y="14"/>
                  <a:pt x="56" y="14"/>
                </a:cubicBezTo>
                <a:cubicBezTo>
                  <a:pt x="58" y="14"/>
                  <a:pt x="59" y="12"/>
                  <a:pt x="59" y="11"/>
                </a:cubicBezTo>
                <a:cubicBezTo>
                  <a:pt x="59" y="9"/>
                  <a:pt x="57" y="9"/>
                  <a:pt x="57" y="8"/>
                </a:cubicBezTo>
                <a:cubicBezTo>
                  <a:pt x="57" y="7"/>
                  <a:pt x="56" y="7"/>
                  <a:pt x="56" y="6"/>
                </a:cubicBezTo>
                <a:cubicBezTo>
                  <a:pt x="55" y="4"/>
                  <a:pt x="55" y="3"/>
                  <a:pt x="54" y="1"/>
                </a:cubicBezTo>
                <a:cubicBezTo>
                  <a:pt x="53" y="2"/>
                  <a:pt x="50" y="5"/>
                  <a:pt x="48" y="5"/>
                </a:cubicBezTo>
                <a:cubicBezTo>
                  <a:pt x="45" y="4"/>
                  <a:pt x="43" y="4"/>
                  <a:pt x="40" y="4"/>
                </a:cubicBezTo>
                <a:cubicBezTo>
                  <a:pt x="37" y="4"/>
                  <a:pt x="35" y="6"/>
                  <a:pt x="32" y="6"/>
                </a:cubicBezTo>
                <a:cubicBezTo>
                  <a:pt x="30" y="6"/>
                  <a:pt x="28" y="3"/>
                  <a:pt x="26" y="4"/>
                </a:cubicBezTo>
                <a:cubicBezTo>
                  <a:pt x="22" y="6"/>
                  <a:pt x="21" y="5"/>
                  <a:pt x="19" y="3"/>
                </a:cubicBezTo>
                <a:cubicBezTo>
                  <a:pt x="18" y="2"/>
                  <a:pt x="15" y="0"/>
                  <a:pt x="13" y="1"/>
                </a:cubicBezTo>
                <a:cubicBezTo>
                  <a:pt x="12" y="1"/>
                  <a:pt x="9" y="2"/>
                  <a:pt x="8" y="3"/>
                </a:cubicBezTo>
                <a:cubicBezTo>
                  <a:pt x="7" y="4"/>
                  <a:pt x="8" y="5"/>
                  <a:pt x="7" y="6"/>
                </a:cubicBezTo>
                <a:cubicBezTo>
                  <a:pt x="7" y="7"/>
                  <a:pt x="6" y="9"/>
                  <a:pt x="6" y="10"/>
                </a:cubicBezTo>
                <a:cubicBezTo>
                  <a:pt x="5" y="12"/>
                  <a:pt x="5" y="14"/>
                  <a:pt x="5" y="16"/>
                </a:cubicBezTo>
                <a:cubicBezTo>
                  <a:pt x="5" y="19"/>
                  <a:pt x="2" y="21"/>
                  <a:pt x="1" y="24"/>
                </a:cubicBezTo>
                <a:cubicBezTo>
                  <a:pt x="0" y="27"/>
                  <a:pt x="1" y="34"/>
                  <a:pt x="2" y="38"/>
                </a:cubicBezTo>
                <a:cubicBezTo>
                  <a:pt x="2" y="39"/>
                  <a:pt x="4" y="38"/>
                  <a:pt x="5" y="38"/>
                </a:cubicBezTo>
                <a:cubicBezTo>
                  <a:pt x="6" y="38"/>
                  <a:pt x="8" y="39"/>
                  <a:pt x="9" y="39"/>
                </a:cubicBezTo>
                <a:cubicBezTo>
                  <a:pt x="10" y="40"/>
                  <a:pt x="14" y="42"/>
                  <a:pt x="14" y="43"/>
                </a:cubicBezTo>
                <a:cubicBezTo>
                  <a:pt x="14" y="44"/>
                  <a:pt x="14" y="44"/>
                  <a:pt x="14" y="45"/>
                </a:cubicBezTo>
                <a:cubicBezTo>
                  <a:pt x="14" y="46"/>
                  <a:pt x="15" y="47"/>
                  <a:pt x="16" y="48"/>
                </a:cubicBezTo>
                <a:cubicBezTo>
                  <a:pt x="18" y="51"/>
                  <a:pt x="21" y="46"/>
                  <a:pt x="23" y="47"/>
                </a:cubicBezTo>
                <a:cubicBezTo>
                  <a:pt x="23" y="47"/>
                  <a:pt x="22" y="48"/>
                  <a:pt x="22" y="48"/>
                </a:cubicBezTo>
                <a:cubicBezTo>
                  <a:pt x="22" y="47"/>
                  <a:pt x="27" y="47"/>
                  <a:pt x="27" y="47"/>
                </a:cubicBezTo>
                <a:cubicBezTo>
                  <a:pt x="29" y="47"/>
                  <a:pt x="29" y="45"/>
                  <a:pt x="30" y="47"/>
                </a:cubicBezTo>
                <a:cubicBezTo>
                  <a:pt x="31" y="45"/>
                  <a:pt x="31" y="44"/>
                  <a:pt x="31" y="42"/>
                </a:cubicBezTo>
                <a:cubicBezTo>
                  <a:pt x="32" y="41"/>
                  <a:pt x="31" y="43"/>
                  <a:pt x="31" y="4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62" name="Freeform 758">
            <a:extLst>
              <a:ext uri="{FF2B5EF4-FFF2-40B4-BE49-F238E27FC236}">
                <a16:creationId xmlns:a16="http://schemas.microsoft.com/office/drawing/2014/main" id="{524D2C5C-224E-5E44-9678-6F9F5A832600}"/>
              </a:ext>
            </a:extLst>
          </p:cNvPr>
          <p:cNvSpPr>
            <a:spLocks/>
          </p:cNvSpPr>
          <p:nvPr/>
        </p:nvSpPr>
        <p:spPr bwMode="auto">
          <a:xfrm>
            <a:off x="5717159" y="4497033"/>
            <a:ext cx="218841" cy="155347"/>
          </a:xfrm>
          <a:custGeom>
            <a:avLst/>
            <a:gdLst>
              <a:gd name="T0" fmla="*/ 35 w 42"/>
              <a:gd name="T1" fmla="*/ 20 h 30"/>
              <a:gd name="T2" fmla="*/ 41 w 42"/>
              <a:gd name="T3" fmla="*/ 17 h 30"/>
              <a:gd name="T4" fmla="*/ 38 w 42"/>
              <a:gd name="T5" fmla="*/ 13 h 30"/>
              <a:gd name="T6" fmla="*/ 33 w 42"/>
              <a:gd name="T7" fmla="*/ 10 h 30"/>
              <a:gd name="T8" fmla="*/ 32 w 42"/>
              <a:gd name="T9" fmla="*/ 7 h 30"/>
              <a:gd name="T10" fmla="*/ 30 w 42"/>
              <a:gd name="T11" fmla="*/ 1 h 30"/>
              <a:gd name="T12" fmla="*/ 26 w 42"/>
              <a:gd name="T13" fmla="*/ 0 h 30"/>
              <a:gd name="T14" fmla="*/ 22 w 42"/>
              <a:gd name="T15" fmla="*/ 2 h 30"/>
              <a:gd name="T16" fmla="*/ 19 w 42"/>
              <a:gd name="T17" fmla="*/ 4 h 30"/>
              <a:gd name="T18" fmla="*/ 17 w 42"/>
              <a:gd name="T19" fmla="*/ 5 h 30"/>
              <a:gd name="T20" fmla="*/ 11 w 42"/>
              <a:gd name="T21" fmla="*/ 10 h 30"/>
              <a:gd name="T22" fmla="*/ 9 w 42"/>
              <a:gd name="T23" fmla="*/ 10 h 30"/>
              <a:gd name="T24" fmla="*/ 7 w 42"/>
              <a:gd name="T25" fmla="*/ 14 h 30"/>
              <a:gd name="T26" fmla="*/ 5 w 42"/>
              <a:gd name="T27" fmla="*/ 16 h 30"/>
              <a:gd name="T28" fmla="*/ 2 w 42"/>
              <a:gd name="T29" fmla="*/ 18 h 30"/>
              <a:gd name="T30" fmla="*/ 1 w 42"/>
              <a:gd name="T31" fmla="*/ 24 h 30"/>
              <a:gd name="T32" fmla="*/ 8 w 42"/>
              <a:gd name="T33" fmla="*/ 28 h 30"/>
              <a:gd name="T34" fmla="*/ 16 w 42"/>
              <a:gd name="T35" fmla="*/ 30 h 30"/>
              <a:gd name="T36" fmla="*/ 15 w 42"/>
              <a:gd name="T37" fmla="*/ 22 h 30"/>
              <a:gd name="T38" fmla="*/ 26 w 42"/>
              <a:gd name="T39" fmla="*/ 22 h 30"/>
              <a:gd name="T40" fmla="*/ 35 w 42"/>
              <a:gd name="T41" fmla="*/ 20 h 30"/>
              <a:gd name="T42" fmla="*/ 35 w 42"/>
              <a:gd name="T43" fmla="*/ 2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2" h="30">
                <a:moveTo>
                  <a:pt x="35" y="20"/>
                </a:moveTo>
                <a:cubicBezTo>
                  <a:pt x="37" y="17"/>
                  <a:pt x="40" y="20"/>
                  <a:pt x="41" y="17"/>
                </a:cubicBezTo>
                <a:cubicBezTo>
                  <a:pt x="42" y="16"/>
                  <a:pt x="39" y="13"/>
                  <a:pt x="38" y="13"/>
                </a:cubicBezTo>
                <a:cubicBezTo>
                  <a:pt x="37" y="15"/>
                  <a:pt x="34" y="11"/>
                  <a:pt x="33" y="10"/>
                </a:cubicBezTo>
                <a:cubicBezTo>
                  <a:pt x="33" y="9"/>
                  <a:pt x="33" y="8"/>
                  <a:pt x="32" y="7"/>
                </a:cubicBezTo>
                <a:cubicBezTo>
                  <a:pt x="30" y="5"/>
                  <a:pt x="30" y="4"/>
                  <a:pt x="30" y="1"/>
                </a:cubicBezTo>
                <a:cubicBezTo>
                  <a:pt x="29" y="1"/>
                  <a:pt x="27" y="0"/>
                  <a:pt x="26" y="0"/>
                </a:cubicBezTo>
                <a:cubicBezTo>
                  <a:pt x="24" y="1"/>
                  <a:pt x="23" y="2"/>
                  <a:pt x="22" y="2"/>
                </a:cubicBezTo>
                <a:cubicBezTo>
                  <a:pt x="21" y="3"/>
                  <a:pt x="20" y="4"/>
                  <a:pt x="19" y="4"/>
                </a:cubicBezTo>
                <a:cubicBezTo>
                  <a:pt x="18" y="6"/>
                  <a:pt x="18" y="4"/>
                  <a:pt x="17" y="5"/>
                </a:cubicBezTo>
                <a:cubicBezTo>
                  <a:pt x="15" y="6"/>
                  <a:pt x="13" y="11"/>
                  <a:pt x="11" y="10"/>
                </a:cubicBezTo>
                <a:cubicBezTo>
                  <a:pt x="10" y="10"/>
                  <a:pt x="9" y="8"/>
                  <a:pt x="9" y="10"/>
                </a:cubicBezTo>
                <a:cubicBezTo>
                  <a:pt x="8" y="11"/>
                  <a:pt x="8" y="13"/>
                  <a:pt x="7" y="14"/>
                </a:cubicBezTo>
                <a:cubicBezTo>
                  <a:pt x="7" y="15"/>
                  <a:pt x="7" y="16"/>
                  <a:pt x="5" y="16"/>
                </a:cubicBezTo>
                <a:cubicBezTo>
                  <a:pt x="5" y="16"/>
                  <a:pt x="1" y="17"/>
                  <a:pt x="2" y="18"/>
                </a:cubicBezTo>
                <a:cubicBezTo>
                  <a:pt x="5" y="20"/>
                  <a:pt x="0" y="23"/>
                  <a:pt x="1" y="24"/>
                </a:cubicBezTo>
                <a:cubicBezTo>
                  <a:pt x="3" y="25"/>
                  <a:pt x="5" y="30"/>
                  <a:pt x="8" y="28"/>
                </a:cubicBezTo>
                <a:cubicBezTo>
                  <a:pt x="11" y="26"/>
                  <a:pt x="13" y="27"/>
                  <a:pt x="16" y="30"/>
                </a:cubicBezTo>
                <a:cubicBezTo>
                  <a:pt x="15" y="27"/>
                  <a:pt x="15" y="24"/>
                  <a:pt x="15" y="22"/>
                </a:cubicBezTo>
                <a:cubicBezTo>
                  <a:pt x="19" y="22"/>
                  <a:pt x="22" y="22"/>
                  <a:pt x="26" y="22"/>
                </a:cubicBezTo>
                <a:cubicBezTo>
                  <a:pt x="29" y="22"/>
                  <a:pt x="34" y="23"/>
                  <a:pt x="35" y="20"/>
                </a:cubicBezTo>
                <a:cubicBezTo>
                  <a:pt x="36" y="18"/>
                  <a:pt x="35" y="20"/>
                  <a:pt x="35" y="2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63" name="Freeform 759">
            <a:extLst>
              <a:ext uri="{FF2B5EF4-FFF2-40B4-BE49-F238E27FC236}">
                <a16:creationId xmlns:a16="http://schemas.microsoft.com/office/drawing/2014/main" id="{7C52F318-6FBF-3E48-AA92-748AAD6A7451}"/>
              </a:ext>
            </a:extLst>
          </p:cNvPr>
          <p:cNvSpPr>
            <a:spLocks/>
          </p:cNvSpPr>
          <p:nvPr/>
        </p:nvSpPr>
        <p:spPr bwMode="auto">
          <a:xfrm>
            <a:off x="5863641" y="4611778"/>
            <a:ext cx="51180" cy="123572"/>
          </a:xfrm>
          <a:custGeom>
            <a:avLst/>
            <a:gdLst>
              <a:gd name="T0" fmla="*/ 9 w 10"/>
              <a:gd name="T1" fmla="*/ 10 h 24"/>
              <a:gd name="T2" fmla="*/ 8 w 10"/>
              <a:gd name="T3" fmla="*/ 6 h 24"/>
              <a:gd name="T4" fmla="*/ 5 w 10"/>
              <a:gd name="T5" fmla="*/ 0 h 24"/>
              <a:gd name="T6" fmla="*/ 2 w 10"/>
              <a:gd name="T7" fmla="*/ 0 h 24"/>
              <a:gd name="T8" fmla="*/ 2 w 10"/>
              <a:gd name="T9" fmla="*/ 3 h 24"/>
              <a:gd name="T10" fmla="*/ 2 w 10"/>
              <a:gd name="T11" fmla="*/ 9 h 24"/>
              <a:gd name="T12" fmla="*/ 4 w 10"/>
              <a:gd name="T13" fmla="*/ 15 h 24"/>
              <a:gd name="T14" fmla="*/ 4 w 10"/>
              <a:gd name="T15" fmla="*/ 21 h 24"/>
              <a:gd name="T16" fmla="*/ 6 w 10"/>
              <a:gd name="T17" fmla="*/ 23 h 24"/>
              <a:gd name="T18" fmla="*/ 9 w 10"/>
              <a:gd name="T19" fmla="*/ 23 h 24"/>
              <a:gd name="T20" fmla="*/ 9 w 10"/>
              <a:gd name="T21" fmla="*/ 10 h 24"/>
              <a:gd name="T22" fmla="*/ 9 w 10"/>
              <a:gd name="T23" fmla="*/ 1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24">
                <a:moveTo>
                  <a:pt x="9" y="10"/>
                </a:moveTo>
                <a:cubicBezTo>
                  <a:pt x="9" y="9"/>
                  <a:pt x="9" y="7"/>
                  <a:pt x="8" y="6"/>
                </a:cubicBezTo>
                <a:cubicBezTo>
                  <a:pt x="7" y="5"/>
                  <a:pt x="4" y="1"/>
                  <a:pt x="5" y="0"/>
                </a:cubicBezTo>
                <a:cubicBezTo>
                  <a:pt x="4" y="0"/>
                  <a:pt x="3" y="0"/>
                  <a:pt x="2" y="0"/>
                </a:cubicBezTo>
                <a:cubicBezTo>
                  <a:pt x="0" y="0"/>
                  <a:pt x="2" y="2"/>
                  <a:pt x="2" y="3"/>
                </a:cubicBezTo>
                <a:cubicBezTo>
                  <a:pt x="3" y="5"/>
                  <a:pt x="2" y="7"/>
                  <a:pt x="2" y="9"/>
                </a:cubicBezTo>
                <a:cubicBezTo>
                  <a:pt x="1" y="12"/>
                  <a:pt x="3" y="12"/>
                  <a:pt x="4" y="15"/>
                </a:cubicBezTo>
                <a:cubicBezTo>
                  <a:pt x="4" y="17"/>
                  <a:pt x="3" y="19"/>
                  <a:pt x="4" y="21"/>
                </a:cubicBezTo>
                <a:cubicBezTo>
                  <a:pt x="4" y="22"/>
                  <a:pt x="5" y="23"/>
                  <a:pt x="6" y="23"/>
                </a:cubicBezTo>
                <a:cubicBezTo>
                  <a:pt x="7" y="24"/>
                  <a:pt x="10" y="24"/>
                  <a:pt x="9" y="23"/>
                </a:cubicBezTo>
                <a:cubicBezTo>
                  <a:pt x="9" y="19"/>
                  <a:pt x="9" y="15"/>
                  <a:pt x="9" y="10"/>
                </a:cubicBezTo>
                <a:cubicBezTo>
                  <a:pt x="9" y="7"/>
                  <a:pt x="9" y="13"/>
                  <a:pt x="9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64" name="Freeform 760">
            <a:extLst>
              <a:ext uri="{FF2B5EF4-FFF2-40B4-BE49-F238E27FC236}">
                <a16:creationId xmlns:a16="http://schemas.microsoft.com/office/drawing/2014/main" id="{C978B82C-14EE-1246-B586-7E709219352D}"/>
              </a:ext>
            </a:extLst>
          </p:cNvPr>
          <p:cNvSpPr>
            <a:spLocks/>
          </p:cNvSpPr>
          <p:nvPr/>
        </p:nvSpPr>
        <p:spPr bwMode="auto">
          <a:xfrm>
            <a:off x="5641270" y="4617075"/>
            <a:ext cx="164130" cy="160644"/>
          </a:xfrm>
          <a:custGeom>
            <a:avLst/>
            <a:gdLst>
              <a:gd name="T0" fmla="*/ 26 w 32"/>
              <a:gd name="T1" fmla="*/ 4 h 31"/>
              <a:gd name="T2" fmla="*/ 21 w 32"/>
              <a:gd name="T3" fmla="*/ 5 h 31"/>
              <a:gd name="T4" fmla="*/ 15 w 32"/>
              <a:gd name="T5" fmla="*/ 1 h 31"/>
              <a:gd name="T6" fmla="*/ 13 w 32"/>
              <a:gd name="T7" fmla="*/ 1 h 31"/>
              <a:gd name="T8" fmla="*/ 10 w 32"/>
              <a:gd name="T9" fmla="*/ 2 h 31"/>
              <a:gd name="T10" fmla="*/ 6 w 32"/>
              <a:gd name="T11" fmla="*/ 2 h 31"/>
              <a:gd name="T12" fmla="*/ 4 w 32"/>
              <a:gd name="T13" fmla="*/ 3 h 31"/>
              <a:gd name="T14" fmla="*/ 3 w 32"/>
              <a:gd name="T15" fmla="*/ 6 h 31"/>
              <a:gd name="T16" fmla="*/ 5 w 32"/>
              <a:gd name="T17" fmla="*/ 7 h 31"/>
              <a:gd name="T18" fmla="*/ 3 w 32"/>
              <a:gd name="T19" fmla="*/ 9 h 31"/>
              <a:gd name="T20" fmla="*/ 5 w 32"/>
              <a:gd name="T21" fmla="*/ 12 h 31"/>
              <a:gd name="T22" fmla="*/ 3 w 32"/>
              <a:gd name="T23" fmla="*/ 13 h 31"/>
              <a:gd name="T24" fmla="*/ 2 w 32"/>
              <a:gd name="T25" fmla="*/ 16 h 31"/>
              <a:gd name="T26" fmla="*/ 2 w 32"/>
              <a:gd name="T27" fmla="*/ 19 h 31"/>
              <a:gd name="T28" fmla="*/ 3 w 32"/>
              <a:gd name="T29" fmla="*/ 23 h 31"/>
              <a:gd name="T30" fmla="*/ 7 w 32"/>
              <a:gd name="T31" fmla="*/ 26 h 31"/>
              <a:gd name="T32" fmla="*/ 7 w 32"/>
              <a:gd name="T33" fmla="*/ 31 h 31"/>
              <a:gd name="T34" fmla="*/ 19 w 32"/>
              <a:gd name="T35" fmla="*/ 28 h 31"/>
              <a:gd name="T36" fmla="*/ 26 w 32"/>
              <a:gd name="T37" fmla="*/ 28 h 31"/>
              <a:gd name="T38" fmla="*/ 30 w 32"/>
              <a:gd name="T39" fmla="*/ 26 h 31"/>
              <a:gd name="T40" fmla="*/ 28 w 32"/>
              <a:gd name="T41" fmla="*/ 21 h 31"/>
              <a:gd name="T42" fmla="*/ 30 w 32"/>
              <a:gd name="T43" fmla="*/ 15 h 31"/>
              <a:gd name="T44" fmla="*/ 26 w 32"/>
              <a:gd name="T45" fmla="*/ 4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2" h="31">
                <a:moveTo>
                  <a:pt x="26" y="4"/>
                </a:moveTo>
                <a:cubicBezTo>
                  <a:pt x="24" y="4"/>
                  <a:pt x="23" y="6"/>
                  <a:pt x="21" y="5"/>
                </a:cubicBezTo>
                <a:cubicBezTo>
                  <a:pt x="19" y="5"/>
                  <a:pt x="17" y="0"/>
                  <a:pt x="15" y="1"/>
                </a:cubicBezTo>
                <a:cubicBezTo>
                  <a:pt x="14" y="2"/>
                  <a:pt x="13" y="2"/>
                  <a:pt x="13" y="1"/>
                </a:cubicBezTo>
                <a:cubicBezTo>
                  <a:pt x="12" y="0"/>
                  <a:pt x="11" y="2"/>
                  <a:pt x="10" y="2"/>
                </a:cubicBezTo>
                <a:cubicBezTo>
                  <a:pt x="8" y="3"/>
                  <a:pt x="7" y="2"/>
                  <a:pt x="6" y="2"/>
                </a:cubicBezTo>
                <a:cubicBezTo>
                  <a:pt x="5" y="1"/>
                  <a:pt x="5" y="3"/>
                  <a:pt x="4" y="3"/>
                </a:cubicBezTo>
                <a:cubicBezTo>
                  <a:pt x="3" y="3"/>
                  <a:pt x="2" y="5"/>
                  <a:pt x="3" y="6"/>
                </a:cubicBezTo>
                <a:cubicBezTo>
                  <a:pt x="3" y="7"/>
                  <a:pt x="5" y="7"/>
                  <a:pt x="5" y="7"/>
                </a:cubicBezTo>
                <a:cubicBezTo>
                  <a:pt x="5" y="8"/>
                  <a:pt x="3" y="9"/>
                  <a:pt x="3" y="9"/>
                </a:cubicBezTo>
                <a:cubicBezTo>
                  <a:pt x="3" y="10"/>
                  <a:pt x="5" y="11"/>
                  <a:pt x="5" y="12"/>
                </a:cubicBezTo>
                <a:cubicBezTo>
                  <a:pt x="5" y="12"/>
                  <a:pt x="3" y="11"/>
                  <a:pt x="3" y="13"/>
                </a:cubicBezTo>
                <a:cubicBezTo>
                  <a:pt x="3" y="14"/>
                  <a:pt x="4" y="16"/>
                  <a:pt x="2" y="16"/>
                </a:cubicBezTo>
                <a:cubicBezTo>
                  <a:pt x="3" y="17"/>
                  <a:pt x="3" y="18"/>
                  <a:pt x="2" y="19"/>
                </a:cubicBezTo>
                <a:cubicBezTo>
                  <a:pt x="2" y="21"/>
                  <a:pt x="0" y="21"/>
                  <a:pt x="3" y="23"/>
                </a:cubicBezTo>
                <a:cubicBezTo>
                  <a:pt x="4" y="23"/>
                  <a:pt x="6" y="24"/>
                  <a:pt x="7" y="26"/>
                </a:cubicBezTo>
                <a:cubicBezTo>
                  <a:pt x="8" y="27"/>
                  <a:pt x="7" y="29"/>
                  <a:pt x="7" y="31"/>
                </a:cubicBezTo>
                <a:cubicBezTo>
                  <a:pt x="11" y="30"/>
                  <a:pt x="14" y="28"/>
                  <a:pt x="19" y="28"/>
                </a:cubicBezTo>
                <a:cubicBezTo>
                  <a:pt x="21" y="27"/>
                  <a:pt x="24" y="28"/>
                  <a:pt x="26" y="28"/>
                </a:cubicBezTo>
                <a:cubicBezTo>
                  <a:pt x="28" y="28"/>
                  <a:pt x="31" y="29"/>
                  <a:pt x="30" y="26"/>
                </a:cubicBezTo>
                <a:cubicBezTo>
                  <a:pt x="30" y="24"/>
                  <a:pt x="29" y="23"/>
                  <a:pt x="28" y="21"/>
                </a:cubicBezTo>
                <a:cubicBezTo>
                  <a:pt x="28" y="19"/>
                  <a:pt x="29" y="17"/>
                  <a:pt x="30" y="15"/>
                </a:cubicBezTo>
                <a:cubicBezTo>
                  <a:pt x="31" y="11"/>
                  <a:pt x="32" y="4"/>
                  <a:pt x="26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65" name="Freeform 761">
            <a:extLst>
              <a:ext uri="{FF2B5EF4-FFF2-40B4-BE49-F238E27FC236}">
                <a16:creationId xmlns:a16="http://schemas.microsoft.com/office/drawing/2014/main" id="{BF2491C8-FBA0-214D-95CC-3E875C5DE81A}"/>
              </a:ext>
            </a:extLst>
          </p:cNvPr>
          <p:cNvSpPr>
            <a:spLocks/>
          </p:cNvSpPr>
          <p:nvPr/>
        </p:nvSpPr>
        <p:spPr bwMode="auto">
          <a:xfrm>
            <a:off x="5780693" y="4611778"/>
            <a:ext cx="118246" cy="155347"/>
          </a:xfrm>
          <a:custGeom>
            <a:avLst/>
            <a:gdLst>
              <a:gd name="T0" fmla="*/ 19 w 23"/>
              <a:gd name="T1" fmla="*/ 13 h 30"/>
              <a:gd name="T2" fmla="*/ 18 w 23"/>
              <a:gd name="T3" fmla="*/ 6 h 30"/>
              <a:gd name="T4" fmla="*/ 17 w 23"/>
              <a:gd name="T5" fmla="*/ 0 h 30"/>
              <a:gd name="T6" fmla="*/ 3 w 23"/>
              <a:gd name="T7" fmla="*/ 0 h 30"/>
              <a:gd name="T8" fmla="*/ 4 w 23"/>
              <a:gd name="T9" fmla="*/ 11 h 30"/>
              <a:gd name="T10" fmla="*/ 1 w 23"/>
              <a:gd name="T11" fmla="*/ 22 h 30"/>
              <a:gd name="T12" fmla="*/ 3 w 23"/>
              <a:gd name="T13" fmla="*/ 30 h 30"/>
              <a:gd name="T14" fmla="*/ 10 w 23"/>
              <a:gd name="T15" fmla="*/ 29 h 30"/>
              <a:gd name="T16" fmla="*/ 23 w 23"/>
              <a:gd name="T17" fmla="*/ 24 h 30"/>
              <a:gd name="T18" fmla="*/ 20 w 23"/>
              <a:gd name="T19" fmla="*/ 19 h 30"/>
              <a:gd name="T20" fmla="*/ 19 w 23"/>
              <a:gd name="T21" fmla="*/ 13 h 30"/>
              <a:gd name="T22" fmla="*/ 19 w 23"/>
              <a:gd name="T23" fmla="*/ 13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" h="30">
                <a:moveTo>
                  <a:pt x="19" y="13"/>
                </a:moveTo>
                <a:cubicBezTo>
                  <a:pt x="17" y="11"/>
                  <a:pt x="18" y="8"/>
                  <a:pt x="18" y="6"/>
                </a:cubicBezTo>
                <a:cubicBezTo>
                  <a:pt x="19" y="4"/>
                  <a:pt x="16" y="2"/>
                  <a:pt x="17" y="0"/>
                </a:cubicBezTo>
                <a:cubicBezTo>
                  <a:pt x="12" y="0"/>
                  <a:pt x="8" y="0"/>
                  <a:pt x="3" y="0"/>
                </a:cubicBezTo>
                <a:cubicBezTo>
                  <a:pt x="3" y="3"/>
                  <a:pt x="4" y="7"/>
                  <a:pt x="4" y="11"/>
                </a:cubicBezTo>
                <a:cubicBezTo>
                  <a:pt x="4" y="15"/>
                  <a:pt x="0" y="18"/>
                  <a:pt x="1" y="22"/>
                </a:cubicBezTo>
                <a:cubicBezTo>
                  <a:pt x="2" y="25"/>
                  <a:pt x="4" y="26"/>
                  <a:pt x="3" y="30"/>
                </a:cubicBezTo>
                <a:cubicBezTo>
                  <a:pt x="6" y="30"/>
                  <a:pt x="7" y="30"/>
                  <a:pt x="10" y="29"/>
                </a:cubicBezTo>
                <a:cubicBezTo>
                  <a:pt x="15" y="28"/>
                  <a:pt x="19" y="26"/>
                  <a:pt x="23" y="24"/>
                </a:cubicBezTo>
                <a:cubicBezTo>
                  <a:pt x="21" y="23"/>
                  <a:pt x="20" y="21"/>
                  <a:pt x="20" y="19"/>
                </a:cubicBezTo>
                <a:cubicBezTo>
                  <a:pt x="20" y="17"/>
                  <a:pt x="20" y="15"/>
                  <a:pt x="19" y="13"/>
                </a:cubicBezTo>
                <a:cubicBezTo>
                  <a:pt x="17" y="11"/>
                  <a:pt x="20" y="15"/>
                  <a:pt x="19" y="1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66" name="Freeform 762">
            <a:extLst>
              <a:ext uri="{FF2B5EF4-FFF2-40B4-BE49-F238E27FC236}">
                <a16:creationId xmlns:a16="http://schemas.microsoft.com/office/drawing/2014/main" id="{404A93E8-CDA1-5A46-9912-F63F64A61F76}"/>
              </a:ext>
            </a:extLst>
          </p:cNvPr>
          <p:cNvSpPr>
            <a:spLocks/>
          </p:cNvSpPr>
          <p:nvPr/>
        </p:nvSpPr>
        <p:spPr bwMode="auto">
          <a:xfrm>
            <a:off x="5521261" y="4627666"/>
            <a:ext cx="77653" cy="93562"/>
          </a:xfrm>
          <a:custGeom>
            <a:avLst/>
            <a:gdLst>
              <a:gd name="T0" fmla="*/ 12 w 15"/>
              <a:gd name="T1" fmla="*/ 14 h 18"/>
              <a:gd name="T2" fmla="*/ 14 w 15"/>
              <a:gd name="T3" fmla="*/ 6 h 18"/>
              <a:gd name="T4" fmla="*/ 5 w 15"/>
              <a:gd name="T5" fmla="*/ 3 h 18"/>
              <a:gd name="T6" fmla="*/ 1 w 15"/>
              <a:gd name="T7" fmla="*/ 8 h 18"/>
              <a:gd name="T8" fmla="*/ 4 w 15"/>
              <a:gd name="T9" fmla="*/ 12 h 18"/>
              <a:gd name="T10" fmla="*/ 7 w 15"/>
              <a:gd name="T11" fmla="*/ 16 h 18"/>
              <a:gd name="T12" fmla="*/ 10 w 15"/>
              <a:gd name="T13" fmla="*/ 16 h 18"/>
              <a:gd name="T14" fmla="*/ 12 w 15"/>
              <a:gd name="T15" fmla="*/ 14 h 18"/>
              <a:gd name="T16" fmla="*/ 12 w 15"/>
              <a:gd name="T17" fmla="*/ 14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8">
                <a:moveTo>
                  <a:pt x="12" y="14"/>
                </a:moveTo>
                <a:cubicBezTo>
                  <a:pt x="15" y="13"/>
                  <a:pt x="15" y="8"/>
                  <a:pt x="14" y="6"/>
                </a:cubicBezTo>
                <a:cubicBezTo>
                  <a:pt x="12" y="2"/>
                  <a:pt x="8" y="0"/>
                  <a:pt x="5" y="3"/>
                </a:cubicBezTo>
                <a:cubicBezTo>
                  <a:pt x="3" y="4"/>
                  <a:pt x="0" y="6"/>
                  <a:pt x="1" y="8"/>
                </a:cubicBezTo>
                <a:cubicBezTo>
                  <a:pt x="2" y="10"/>
                  <a:pt x="2" y="11"/>
                  <a:pt x="4" y="12"/>
                </a:cubicBezTo>
                <a:cubicBezTo>
                  <a:pt x="5" y="14"/>
                  <a:pt x="5" y="15"/>
                  <a:pt x="7" y="16"/>
                </a:cubicBezTo>
                <a:cubicBezTo>
                  <a:pt x="8" y="17"/>
                  <a:pt x="9" y="18"/>
                  <a:pt x="10" y="16"/>
                </a:cubicBezTo>
                <a:cubicBezTo>
                  <a:pt x="10" y="15"/>
                  <a:pt x="11" y="15"/>
                  <a:pt x="12" y="14"/>
                </a:cubicBezTo>
                <a:cubicBezTo>
                  <a:pt x="14" y="13"/>
                  <a:pt x="11" y="15"/>
                  <a:pt x="12" y="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67" name="Freeform 763">
            <a:extLst>
              <a:ext uri="{FF2B5EF4-FFF2-40B4-BE49-F238E27FC236}">
                <a16:creationId xmlns:a16="http://schemas.microsoft.com/office/drawing/2014/main" id="{20131601-9241-2349-953E-A1647DC5A155}"/>
              </a:ext>
            </a:extLst>
          </p:cNvPr>
          <p:cNvSpPr>
            <a:spLocks/>
          </p:cNvSpPr>
          <p:nvPr/>
        </p:nvSpPr>
        <p:spPr bwMode="auto">
          <a:xfrm>
            <a:off x="5567146" y="4668268"/>
            <a:ext cx="114715" cy="109450"/>
          </a:xfrm>
          <a:custGeom>
            <a:avLst/>
            <a:gdLst>
              <a:gd name="T0" fmla="*/ 21 w 22"/>
              <a:gd name="T1" fmla="*/ 17 h 21"/>
              <a:gd name="T2" fmla="*/ 19 w 22"/>
              <a:gd name="T3" fmla="*/ 13 h 21"/>
              <a:gd name="T4" fmla="*/ 16 w 22"/>
              <a:gd name="T5" fmla="*/ 11 h 21"/>
              <a:gd name="T6" fmla="*/ 16 w 22"/>
              <a:gd name="T7" fmla="*/ 6 h 21"/>
              <a:gd name="T8" fmla="*/ 13 w 22"/>
              <a:gd name="T9" fmla="*/ 8 h 21"/>
              <a:gd name="T10" fmla="*/ 9 w 22"/>
              <a:gd name="T11" fmla="*/ 1 h 21"/>
              <a:gd name="T12" fmla="*/ 5 w 22"/>
              <a:gd name="T13" fmla="*/ 4 h 21"/>
              <a:gd name="T14" fmla="*/ 0 w 22"/>
              <a:gd name="T15" fmla="*/ 9 h 21"/>
              <a:gd name="T16" fmla="*/ 12 w 22"/>
              <a:gd name="T17" fmla="*/ 18 h 21"/>
              <a:gd name="T18" fmla="*/ 19 w 22"/>
              <a:gd name="T19" fmla="*/ 21 h 21"/>
              <a:gd name="T20" fmla="*/ 21 w 22"/>
              <a:gd name="T21" fmla="*/ 17 h 21"/>
              <a:gd name="T22" fmla="*/ 21 w 22"/>
              <a:gd name="T23" fmla="*/ 17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" h="21">
                <a:moveTo>
                  <a:pt x="21" y="17"/>
                </a:moveTo>
                <a:cubicBezTo>
                  <a:pt x="22" y="15"/>
                  <a:pt x="20" y="14"/>
                  <a:pt x="19" y="13"/>
                </a:cubicBezTo>
                <a:cubicBezTo>
                  <a:pt x="18" y="13"/>
                  <a:pt x="14" y="12"/>
                  <a:pt x="16" y="11"/>
                </a:cubicBezTo>
                <a:cubicBezTo>
                  <a:pt x="17" y="10"/>
                  <a:pt x="17" y="7"/>
                  <a:pt x="16" y="6"/>
                </a:cubicBezTo>
                <a:cubicBezTo>
                  <a:pt x="15" y="4"/>
                  <a:pt x="14" y="8"/>
                  <a:pt x="13" y="8"/>
                </a:cubicBezTo>
                <a:cubicBezTo>
                  <a:pt x="10" y="8"/>
                  <a:pt x="11" y="0"/>
                  <a:pt x="9" y="1"/>
                </a:cubicBezTo>
                <a:cubicBezTo>
                  <a:pt x="8" y="2"/>
                  <a:pt x="6" y="3"/>
                  <a:pt x="5" y="4"/>
                </a:cubicBezTo>
                <a:cubicBezTo>
                  <a:pt x="4" y="6"/>
                  <a:pt x="2" y="7"/>
                  <a:pt x="0" y="9"/>
                </a:cubicBezTo>
                <a:cubicBezTo>
                  <a:pt x="5" y="12"/>
                  <a:pt x="8" y="15"/>
                  <a:pt x="12" y="18"/>
                </a:cubicBezTo>
                <a:cubicBezTo>
                  <a:pt x="14" y="20"/>
                  <a:pt x="16" y="21"/>
                  <a:pt x="19" y="21"/>
                </a:cubicBezTo>
                <a:cubicBezTo>
                  <a:pt x="22" y="21"/>
                  <a:pt x="20" y="19"/>
                  <a:pt x="21" y="17"/>
                </a:cubicBezTo>
                <a:cubicBezTo>
                  <a:pt x="22" y="15"/>
                  <a:pt x="21" y="19"/>
                  <a:pt x="21" y="1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68" name="Freeform 764">
            <a:extLst>
              <a:ext uri="{FF2B5EF4-FFF2-40B4-BE49-F238E27FC236}">
                <a16:creationId xmlns:a16="http://schemas.microsoft.com/office/drawing/2014/main" id="{FF409A37-FAD6-1A40-8B8E-7E30A3B4C2C4}"/>
              </a:ext>
            </a:extLst>
          </p:cNvPr>
          <p:cNvSpPr>
            <a:spLocks/>
          </p:cNvSpPr>
          <p:nvPr/>
        </p:nvSpPr>
        <p:spPr bwMode="auto">
          <a:xfrm>
            <a:off x="5485963" y="4564116"/>
            <a:ext cx="180015" cy="151817"/>
          </a:xfrm>
          <a:custGeom>
            <a:avLst/>
            <a:gdLst>
              <a:gd name="T0" fmla="*/ 10 w 35"/>
              <a:gd name="T1" fmla="*/ 16 h 29"/>
              <a:gd name="T2" fmla="*/ 20 w 35"/>
              <a:gd name="T3" fmla="*/ 17 h 29"/>
              <a:gd name="T4" fmla="*/ 21 w 35"/>
              <a:gd name="T5" fmla="*/ 23 h 29"/>
              <a:gd name="T6" fmla="*/ 25 w 35"/>
              <a:gd name="T7" fmla="*/ 21 h 29"/>
              <a:gd name="T8" fmla="*/ 29 w 35"/>
              <a:gd name="T9" fmla="*/ 27 h 29"/>
              <a:gd name="T10" fmla="*/ 31 w 35"/>
              <a:gd name="T11" fmla="*/ 26 h 29"/>
              <a:gd name="T12" fmla="*/ 33 w 35"/>
              <a:gd name="T13" fmla="*/ 25 h 29"/>
              <a:gd name="T14" fmla="*/ 33 w 35"/>
              <a:gd name="T15" fmla="*/ 23 h 29"/>
              <a:gd name="T16" fmla="*/ 35 w 35"/>
              <a:gd name="T17" fmla="*/ 22 h 29"/>
              <a:gd name="T18" fmla="*/ 34 w 35"/>
              <a:gd name="T19" fmla="*/ 19 h 29"/>
              <a:gd name="T20" fmla="*/ 33 w 35"/>
              <a:gd name="T21" fmla="*/ 16 h 29"/>
              <a:gd name="T22" fmla="*/ 33 w 35"/>
              <a:gd name="T23" fmla="*/ 12 h 29"/>
              <a:gd name="T24" fmla="*/ 32 w 35"/>
              <a:gd name="T25" fmla="*/ 8 h 29"/>
              <a:gd name="T26" fmla="*/ 26 w 35"/>
              <a:gd name="T27" fmla="*/ 2 h 29"/>
              <a:gd name="T28" fmla="*/ 24 w 35"/>
              <a:gd name="T29" fmla="*/ 3 h 29"/>
              <a:gd name="T30" fmla="*/ 22 w 35"/>
              <a:gd name="T31" fmla="*/ 3 h 29"/>
              <a:gd name="T32" fmla="*/ 19 w 35"/>
              <a:gd name="T33" fmla="*/ 3 h 29"/>
              <a:gd name="T34" fmla="*/ 18 w 35"/>
              <a:gd name="T35" fmla="*/ 3 h 29"/>
              <a:gd name="T36" fmla="*/ 15 w 35"/>
              <a:gd name="T37" fmla="*/ 2 h 29"/>
              <a:gd name="T38" fmla="*/ 10 w 35"/>
              <a:gd name="T39" fmla="*/ 1 h 29"/>
              <a:gd name="T40" fmla="*/ 5 w 35"/>
              <a:gd name="T41" fmla="*/ 1 h 29"/>
              <a:gd name="T42" fmla="*/ 5 w 35"/>
              <a:gd name="T43" fmla="*/ 4 h 29"/>
              <a:gd name="T44" fmla="*/ 3 w 35"/>
              <a:gd name="T45" fmla="*/ 6 h 29"/>
              <a:gd name="T46" fmla="*/ 0 w 35"/>
              <a:gd name="T47" fmla="*/ 8 h 29"/>
              <a:gd name="T48" fmla="*/ 3 w 35"/>
              <a:gd name="T49" fmla="*/ 13 h 29"/>
              <a:gd name="T50" fmla="*/ 8 w 35"/>
              <a:gd name="T51" fmla="*/ 19 h 29"/>
              <a:gd name="T52" fmla="*/ 10 w 35"/>
              <a:gd name="T53" fmla="*/ 16 h 29"/>
              <a:gd name="T54" fmla="*/ 10 w 35"/>
              <a:gd name="T55" fmla="*/ 16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5" h="29">
                <a:moveTo>
                  <a:pt x="10" y="16"/>
                </a:moveTo>
                <a:cubicBezTo>
                  <a:pt x="14" y="14"/>
                  <a:pt x="18" y="12"/>
                  <a:pt x="20" y="17"/>
                </a:cubicBezTo>
                <a:cubicBezTo>
                  <a:pt x="22" y="19"/>
                  <a:pt x="21" y="20"/>
                  <a:pt x="21" y="23"/>
                </a:cubicBezTo>
                <a:cubicBezTo>
                  <a:pt x="22" y="24"/>
                  <a:pt x="24" y="21"/>
                  <a:pt x="25" y="21"/>
                </a:cubicBezTo>
                <a:cubicBezTo>
                  <a:pt x="27" y="20"/>
                  <a:pt x="27" y="29"/>
                  <a:pt x="29" y="27"/>
                </a:cubicBezTo>
                <a:cubicBezTo>
                  <a:pt x="30" y="27"/>
                  <a:pt x="30" y="26"/>
                  <a:pt x="31" y="26"/>
                </a:cubicBezTo>
                <a:cubicBezTo>
                  <a:pt x="31" y="25"/>
                  <a:pt x="33" y="26"/>
                  <a:pt x="33" y="25"/>
                </a:cubicBezTo>
                <a:cubicBezTo>
                  <a:pt x="34" y="24"/>
                  <a:pt x="33" y="23"/>
                  <a:pt x="33" y="23"/>
                </a:cubicBezTo>
                <a:cubicBezTo>
                  <a:pt x="33" y="21"/>
                  <a:pt x="35" y="22"/>
                  <a:pt x="35" y="22"/>
                </a:cubicBezTo>
                <a:cubicBezTo>
                  <a:pt x="35" y="21"/>
                  <a:pt x="32" y="20"/>
                  <a:pt x="34" y="19"/>
                </a:cubicBezTo>
                <a:cubicBezTo>
                  <a:pt x="35" y="18"/>
                  <a:pt x="35" y="17"/>
                  <a:pt x="33" y="16"/>
                </a:cubicBezTo>
                <a:cubicBezTo>
                  <a:pt x="32" y="15"/>
                  <a:pt x="34" y="13"/>
                  <a:pt x="33" y="12"/>
                </a:cubicBezTo>
                <a:cubicBezTo>
                  <a:pt x="32" y="11"/>
                  <a:pt x="33" y="10"/>
                  <a:pt x="32" y="8"/>
                </a:cubicBezTo>
                <a:cubicBezTo>
                  <a:pt x="31" y="7"/>
                  <a:pt x="29" y="0"/>
                  <a:pt x="26" y="2"/>
                </a:cubicBezTo>
                <a:cubicBezTo>
                  <a:pt x="26" y="2"/>
                  <a:pt x="25" y="3"/>
                  <a:pt x="24" y="3"/>
                </a:cubicBezTo>
                <a:cubicBezTo>
                  <a:pt x="23" y="3"/>
                  <a:pt x="23" y="3"/>
                  <a:pt x="22" y="3"/>
                </a:cubicBezTo>
                <a:cubicBezTo>
                  <a:pt x="21" y="4"/>
                  <a:pt x="20" y="3"/>
                  <a:pt x="19" y="3"/>
                </a:cubicBezTo>
                <a:cubicBezTo>
                  <a:pt x="18" y="3"/>
                  <a:pt x="18" y="4"/>
                  <a:pt x="18" y="3"/>
                </a:cubicBezTo>
                <a:cubicBezTo>
                  <a:pt x="16" y="2"/>
                  <a:pt x="17" y="2"/>
                  <a:pt x="15" y="2"/>
                </a:cubicBezTo>
                <a:cubicBezTo>
                  <a:pt x="12" y="3"/>
                  <a:pt x="12" y="1"/>
                  <a:pt x="10" y="1"/>
                </a:cubicBezTo>
                <a:cubicBezTo>
                  <a:pt x="8" y="0"/>
                  <a:pt x="6" y="0"/>
                  <a:pt x="5" y="1"/>
                </a:cubicBezTo>
                <a:cubicBezTo>
                  <a:pt x="5" y="2"/>
                  <a:pt x="3" y="3"/>
                  <a:pt x="5" y="4"/>
                </a:cubicBezTo>
                <a:cubicBezTo>
                  <a:pt x="6" y="5"/>
                  <a:pt x="5" y="6"/>
                  <a:pt x="3" y="6"/>
                </a:cubicBezTo>
                <a:cubicBezTo>
                  <a:pt x="1" y="6"/>
                  <a:pt x="0" y="6"/>
                  <a:pt x="0" y="8"/>
                </a:cubicBezTo>
                <a:cubicBezTo>
                  <a:pt x="1" y="10"/>
                  <a:pt x="2" y="11"/>
                  <a:pt x="3" y="13"/>
                </a:cubicBezTo>
                <a:cubicBezTo>
                  <a:pt x="5" y="15"/>
                  <a:pt x="6" y="16"/>
                  <a:pt x="8" y="19"/>
                </a:cubicBezTo>
                <a:cubicBezTo>
                  <a:pt x="9" y="18"/>
                  <a:pt x="9" y="17"/>
                  <a:pt x="10" y="16"/>
                </a:cubicBezTo>
                <a:cubicBezTo>
                  <a:pt x="11" y="16"/>
                  <a:pt x="10" y="17"/>
                  <a:pt x="10" y="1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69" name="Freeform 765">
            <a:extLst>
              <a:ext uri="{FF2B5EF4-FFF2-40B4-BE49-F238E27FC236}">
                <a16:creationId xmlns:a16="http://schemas.microsoft.com/office/drawing/2014/main" id="{CBED96DB-62C4-044A-8A33-F8F049A0226C}"/>
              </a:ext>
            </a:extLst>
          </p:cNvPr>
          <p:cNvSpPr>
            <a:spLocks/>
          </p:cNvSpPr>
          <p:nvPr/>
        </p:nvSpPr>
        <p:spPr bwMode="auto">
          <a:xfrm>
            <a:off x="5438313" y="4569413"/>
            <a:ext cx="82948" cy="37071"/>
          </a:xfrm>
          <a:custGeom>
            <a:avLst/>
            <a:gdLst>
              <a:gd name="T0" fmla="*/ 10 w 16"/>
              <a:gd name="T1" fmla="*/ 5 h 7"/>
              <a:gd name="T2" fmla="*/ 14 w 16"/>
              <a:gd name="T3" fmla="*/ 3 h 7"/>
              <a:gd name="T4" fmla="*/ 14 w 16"/>
              <a:gd name="T5" fmla="*/ 0 h 7"/>
              <a:gd name="T6" fmla="*/ 7 w 16"/>
              <a:gd name="T7" fmla="*/ 0 h 7"/>
              <a:gd name="T8" fmla="*/ 4 w 16"/>
              <a:gd name="T9" fmla="*/ 0 h 7"/>
              <a:gd name="T10" fmla="*/ 0 w 16"/>
              <a:gd name="T11" fmla="*/ 1 h 7"/>
              <a:gd name="T12" fmla="*/ 3 w 16"/>
              <a:gd name="T13" fmla="*/ 3 h 7"/>
              <a:gd name="T14" fmla="*/ 7 w 16"/>
              <a:gd name="T15" fmla="*/ 3 h 7"/>
              <a:gd name="T16" fmla="*/ 9 w 16"/>
              <a:gd name="T17" fmla="*/ 7 h 7"/>
              <a:gd name="T18" fmla="*/ 10 w 16"/>
              <a:gd name="T19" fmla="*/ 5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" h="7">
                <a:moveTo>
                  <a:pt x="10" y="5"/>
                </a:moveTo>
                <a:cubicBezTo>
                  <a:pt x="11" y="5"/>
                  <a:pt x="16" y="5"/>
                  <a:pt x="14" y="3"/>
                </a:cubicBezTo>
                <a:cubicBezTo>
                  <a:pt x="12" y="2"/>
                  <a:pt x="14" y="1"/>
                  <a:pt x="14" y="0"/>
                </a:cubicBezTo>
                <a:cubicBezTo>
                  <a:pt x="12" y="0"/>
                  <a:pt x="9" y="0"/>
                  <a:pt x="7" y="0"/>
                </a:cubicBezTo>
                <a:cubicBezTo>
                  <a:pt x="5" y="0"/>
                  <a:pt x="5" y="1"/>
                  <a:pt x="4" y="0"/>
                </a:cubicBezTo>
                <a:cubicBezTo>
                  <a:pt x="2" y="0"/>
                  <a:pt x="2" y="0"/>
                  <a:pt x="0" y="1"/>
                </a:cubicBezTo>
                <a:cubicBezTo>
                  <a:pt x="1" y="2"/>
                  <a:pt x="1" y="3"/>
                  <a:pt x="3" y="3"/>
                </a:cubicBezTo>
                <a:cubicBezTo>
                  <a:pt x="4" y="3"/>
                  <a:pt x="7" y="3"/>
                  <a:pt x="7" y="3"/>
                </a:cubicBezTo>
                <a:cubicBezTo>
                  <a:pt x="5" y="5"/>
                  <a:pt x="7" y="6"/>
                  <a:pt x="9" y="7"/>
                </a:cubicBezTo>
                <a:cubicBezTo>
                  <a:pt x="9" y="7"/>
                  <a:pt x="9" y="5"/>
                  <a:pt x="10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70" name="Freeform 766">
            <a:extLst>
              <a:ext uri="{FF2B5EF4-FFF2-40B4-BE49-F238E27FC236}">
                <a16:creationId xmlns:a16="http://schemas.microsoft.com/office/drawing/2014/main" id="{674EFC72-FD20-2A4C-A132-0605814BD3DC}"/>
              </a:ext>
            </a:extLst>
          </p:cNvPr>
          <p:cNvSpPr>
            <a:spLocks/>
          </p:cNvSpPr>
          <p:nvPr/>
        </p:nvSpPr>
        <p:spPr bwMode="auto">
          <a:xfrm>
            <a:off x="5433018" y="4534105"/>
            <a:ext cx="77653" cy="21184"/>
          </a:xfrm>
          <a:custGeom>
            <a:avLst/>
            <a:gdLst>
              <a:gd name="T0" fmla="*/ 4 w 15"/>
              <a:gd name="T1" fmla="*/ 4 h 4"/>
              <a:gd name="T2" fmla="*/ 9 w 15"/>
              <a:gd name="T3" fmla="*/ 3 h 4"/>
              <a:gd name="T4" fmla="*/ 15 w 15"/>
              <a:gd name="T5" fmla="*/ 2 h 4"/>
              <a:gd name="T6" fmla="*/ 8 w 15"/>
              <a:gd name="T7" fmla="*/ 1 h 4"/>
              <a:gd name="T8" fmla="*/ 0 w 15"/>
              <a:gd name="T9" fmla="*/ 4 h 4"/>
              <a:gd name="T10" fmla="*/ 4 w 15"/>
              <a:gd name="T11" fmla="*/ 4 h 4"/>
              <a:gd name="T12" fmla="*/ 4 w 15"/>
              <a:gd name="T13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" h="4">
                <a:moveTo>
                  <a:pt x="4" y="4"/>
                </a:moveTo>
                <a:cubicBezTo>
                  <a:pt x="6" y="3"/>
                  <a:pt x="7" y="2"/>
                  <a:pt x="9" y="3"/>
                </a:cubicBezTo>
                <a:cubicBezTo>
                  <a:pt x="10" y="3"/>
                  <a:pt x="14" y="4"/>
                  <a:pt x="15" y="2"/>
                </a:cubicBezTo>
                <a:cubicBezTo>
                  <a:pt x="15" y="3"/>
                  <a:pt x="9" y="0"/>
                  <a:pt x="8" y="1"/>
                </a:cubicBezTo>
                <a:cubicBezTo>
                  <a:pt x="5" y="2"/>
                  <a:pt x="1" y="0"/>
                  <a:pt x="0" y="4"/>
                </a:cubicBezTo>
                <a:cubicBezTo>
                  <a:pt x="2" y="4"/>
                  <a:pt x="3" y="4"/>
                  <a:pt x="4" y="4"/>
                </a:cubicBezTo>
                <a:cubicBezTo>
                  <a:pt x="5" y="4"/>
                  <a:pt x="4" y="4"/>
                  <a:pt x="4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71" name="Freeform 767">
            <a:extLst>
              <a:ext uri="{FF2B5EF4-FFF2-40B4-BE49-F238E27FC236}">
                <a16:creationId xmlns:a16="http://schemas.microsoft.com/office/drawing/2014/main" id="{20A74EE3-5912-F241-8544-A5FD934B4AE8}"/>
              </a:ext>
            </a:extLst>
          </p:cNvPr>
          <p:cNvSpPr>
            <a:spLocks/>
          </p:cNvSpPr>
          <p:nvPr/>
        </p:nvSpPr>
        <p:spPr bwMode="auto">
          <a:xfrm>
            <a:off x="5422429" y="4170453"/>
            <a:ext cx="310612" cy="353060"/>
          </a:xfrm>
          <a:custGeom>
            <a:avLst/>
            <a:gdLst>
              <a:gd name="T0" fmla="*/ 5 w 60"/>
              <a:gd name="T1" fmla="*/ 57 h 68"/>
              <a:gd name="T2" fmla="*/ 15 w 60"/>
              <a:gd name="T3" fmla="*/ 57 h 68"/>
              <a:gd name="T4" fmla="*/ 18 w 60"/>
              <a:gd name="T5" fmla="*/ 59 h 68"/>
              <a:gd name="T6" fmla="*/ 21 w 60"/>
              <a:gd name="T7" fmla="*/ 63 h 68"/>
              <a:gd name="T8" fmla="*/ 27 w 60"/>
              <a:gd name="T9" fmla="*/ 64 h 68"/>
              <a:gd name="T10" fmla="*/ 32 w 60"/>
              <a:gd name="T11" fmla="*/ 64 h 68"/>
              <a:gd name="T12" fmla="*/ 35 w 60"/>
              <a:gd name="T13" fmla="*/ 62 h 68"/>
              <a:gd name="T14" fmla="*/ 39 w 60"/>
              <a:gd name="T15" fmla="*/ 62 h 68"/>
              <a:gd name="T16" fmla="*/ 44 w 60"/>
              <a:gd name="T17" fmla="*/ 61 h 68"/>
              <a:gd name="T18" fmla="*/ 53 w 60"/>
              <a:gd name="T19" fmla="*/ 61 h 68"/>
              <a:gd name="T20" fmla="*/ 58 w 60"/>
              <a:gd name="T21" fmla="*/ 61 h 68"/>
              <a:gd name="T22" fmla="*/ 58 w 60"/>
              <a:gd name="T23" fmla="*/ 54 h 68"/>
              <a:gd name="T24" fmla="*/ 56 w 60"/>
              <a:gd name="T25" fmla="*/ 38 h 68"/>
              <a:gd name="T26" fmla="*/ 52 w 60"/>
              <a:gd name="T27" fmla="*/ 12 h 68"/>
              <a:gd name="T28" fmla="*/ 60 w 60"/>
              <a:gd name="T29" fmla="*/ 12 h 68"/>
              <a:gd name="T30" fmla="*/ 43 w 60"/>
              <a:gd name="T31" fmla="*/ 0 h 68"/>
              <a:gd name="T32" fmla="*/ 42 w 60"/>
              <a:gd name="T33" fmla="*/ 7 h 68"/>
              <a:gd name="T34" fmla="*/ 37 w 60"/>
              <a:gd name="T35" fmla="*/ 7 h 68"/>
              <a:gd name="T36" fmla="*/ 29 w 60"/>
              <a:gd name="T37" fmla="*/ 7 h 68"/>
              <a:gd name="T38" fmla="*/ 26 w 60"/>
              <a:gd name="T39" fmla="*/ 7 h 68"/>
              <a:gd name="T40" fmla="*/ 26 w 60"/>
              <a:gd name="T41" fmla="*/ 12 h 68"/>
              <a:gd name="T42" fmla="*/ 26 w 60"/>
              <a:gd name="T43" fmla="*/ 19 h 68"/>
              <a:gd name="T44" fmla="*/ 20 w 60"/>
              <a:gd name="T45" fmla="*/ 25 h 68"/>
              <a:gd name="T46" fmla="*/ 20 w 60"/>
              <a:gd name="T47" fmla="*/ 32 h 68"/>
              <a:gd name="T48" fmla="*/ 16 w 60"/>
              <a:gd name="T49" fmla="*/ 32 h 68"/>
              <a:gd name="T50" fmla="*/ 3 w 60"/>
              <a:gd name="T51" fmla="*/ 32 h 68"/>
              <a:gd name="T52" fmla="*/ 1 w 60"/>
              <a:gd name="T53" fmla="*/ 33 h 68"/>
              <a:gd name="T54" fmla="*/ 4 w 60"/>
              <a:gd name="T55" fmla="*/ 36 h 68"/>
              <a:gd name="T56" fmla="*/ 3 w 60"/>
              <a:gd name="T57" fmla="*/ 41 h 68"/>
              <a:gd name="T58" fmla="*/ 6 w 60"/>
              <a:gd name="T59" fmla="*/ 48 h 68"/>
              <a:gd name="T60" fmla="*/ 3 w 60"/>
              <a:gd name="T61" fmla="*/ 58 h 68"/>
              <a:gd name="T62" fmla="*/ 5 w 60"/>
              <a:gd name="T63" fmla="*/ 57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0" h="68">
                <a:moveTo>
                  <a:pt x="5" y="57"/>
                </a:moveTo>
                <a:cubicBezTo>
                  <a:pt x="7" y="57"/>
                  <a:pt x="13" y="55"/>
                  <a:pt x="15" y="57"/>
                </a:cubicBezTo>
                <a:cubicBezTo>
                  <a:pt x="16" y="58"/>
                  <a:pt x="17" y="58"/>
                  <a:pt x="18" y="59"/>
                </a:cubicBezTo>
                <a:cubicBezTo>
                  <a:pt x="19" y="61"/>
                  <a:pt x="20" y="62"/>
                  <a:pt x="21" y="63"/>
                </a:cubicBezTo>
                <a:cubicBezTo>
                  <a:pt x="22" y="64"/>
                  <a:pt x="26" y="68"/>
                  <a:pt x="27" y="64"/>
                </a:cubicBezTo>
                <a:cubicBezTo>
                  <a:pt x="28" y="58"/>
                  <a:pt x="30" y="65"/>
                  <a:pt x="32" y="64"/>
                </a:cubicBezTo>
                <a:cubicBezTo>
                  <a:pt x="33" y="62"/>
                  <a:pt x="33" y="62"/>
                  <a:pt x="35" y="62"/>
                </a:cubicBezTo>
                <a:cubicBezTo>
                  <a:pt x="37" y="62"/>
                  <a:pt x="38" y="62"/>
                  <a:pt x="39" y="62"/>
                </a:cubicBezTo>
                <a:cubicBezTo>
                  <a:pt x="41" y="61"/>
                  <a:pt x="43" y="61"/>
                  <a:pt x="44" y="61"/>
                </a:cubicBezTo>
                <a:cubicBezTo>
                  <a:pt x="47" y="61"/>
                  <a:pt x="50" y="61"/>
                  <a:pt x="53" y="61"/>
                </a:cubicBezTo>
                <a:cubicBezTo>
                  <a:pt x="54" y="61"/>
                  <a:pt x="57" y="62"/>
                  <a:pt x="58" y="61"/>
                </a:cubicBezTo>
                <a:cubicBezTo>
                  <a:pt x="59" y="61"/>
                  <a:pt x="58" y="55"/>
                  <a:pt x="58" y="54"/>
                </a:cubicBezTo>
                <a:cubicBezTo>
                  <a:pt x="57" y="48"/>
                  <a:pt x="56" y="43"/>
                  <a:pt x="56" y="38"/>
                </a:cubicBezTo>
                <a:cubicBezTo>
                  <a:pt x="55" y="29"/>
                  <a:pt x="53" y="21"/>
                  <a:pt x="52" y="12"/>
                </a:cubicBezTo>
                <a:cubicBezTo>
                  <a:pt x="55" y="12"/>
                  <a:pt x="58" y="12"/>
                  <a:pt x="60" y="12"/>
                </a:cubicBezTo>
                <a:cubicBezTo>
                  <a:pt x="54" y="8"/>
                  <a:pt x="48" y="4"/>
                  <a:pt x="43" y="0"/>
                </a:cubicBezTo>
                <a:cubicBezTo>
                  <a:pt x="43" y="1"/>
                  <a:pt x="43" y="7"/>
                  <a:pt x="42" y="7"/>
                </a:cubicBezTo>
                <a:cubicBezTo>
                  <a:pt x="41" y="7"/>
                  <a:pt x="39" y="7"/>
                  <a:pt x="37" y="7"/>
                </a:cubicBezTo>
                <a:cubicBezTo>
                  <a:pt x="35" y="7"/>
                  <a:pt x="32" y="7"/>
                  <a:pt x="29" y="7"/>
                </a:cubicBezTo>
                <a:cubicBezTo>
                  <a:pt x="29" y="7"/>
                  <a:pt x="26" y="7"/>
                  <a:pt x="26" y="7"/>
                </a:cubicBezTo>
                <a:cubicBezTo>
                  <a:pt x="25" y="8"/>
                  <a:pt x="26" y="11"/>
                  <a:pt x="26" y="12"/>
                </a:cubicBezTo>
                <a:cubicBezTo>
                  <a:pt x="26" y="14"/>
                  <a:pt x="26" y="17"/>
                  <a:pt x="26" y="19"/>
                </a:cubicBezTo>
                <a:cubicBezTo>
                  <a:pt x="26" y="22"/>
                  <a:pt x="20" y="21"/>
                  <a:pt x="20" y="25"/>
                </a:cubicBezTo>
                <a:cubicBezTo>
                  <a:pt x="20" y="26"/>
                  <a:pt x="21" y="31"/>
                  <a:pt x="20" y="32"/>
                </a:cubicBezTo>
                <a:cubicBezTo>
                  <a:pt x="20" y="32"/>
                  <a:pt x="17" y="32"/>
                  <a:pt x="16" y="32"/>
                </a:cubicBezTo>
                <a:cubicBezTo>
                  <a:pt x="12" y="32"/>
                  <a:pt x="7" y="32"/>
                  <a:pt x="3" y="32"/>
                </a:cubicBezTo>
                <a:cubicBezTo>
                  <a:pt x="2" y="32"/>
                  <a:pt x="0" y="31"/>
                  <a:pt x="1" y="33"/>
                </a:cubicBezTo>
                <a:cubicBezTo>
                  <a:pt x="2" y="34"/>
                  <a:pt x="3" y="35"/>
                  <a:pt x="4" y="36"/>
                </a:cubicBezTo>
                <a:cubicBezTo>
                  <a:pt x="5" y="38"/>
                  <a:pt x="4" y="40"/>
                  <a:pt x="3" y="41"/>
                </a:cubicBezTo>
                <a:cubicBezTo>
                  <a:pt x="3" y="44"/>
                  <a:pt x="6" y="45"/>
                  <a:pt x="6" y="48"/>
                </a:cubicBezTo>
                <a:cubicBezTo>
                  <a:pt x="7" y="51"/>
                  <a:pt x="4" y="55"/>
                  <a:pt x="3" y="58"/>
                </a:cubicBezTo>
                <a:cubicBezTo>
                  <a:pt x="4" y="58"/>
                  <a:pt x="4" y="57"/>
                  <a:pt x="5" y="5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72" name="Freeform 768">
            <a:extLst>
              <a:ext uri="{FF2B5EF4-FFF2-40B4-BE49-F238E27FC236}">
                <a16:creationId xmlns:a16="http://schemas.microsoft.com/office/drawing/2014/main" id="{9A25740D-1464-4548-9DEA-54D39EEDD099}"/>
              </a:ext>
            </a:extLst>
          </p:cNvPr>
          <p:cNvSpPr>
            <a:spLocks/>
          </p:cNvSpPr>
          <p:nvPr/>
        </p:nvSpPr>
        <p:spPr bwMode="auto">
          <a:xfrm>
            <a:off x="5422429" y="4461728"/>
            <a:ext cx="150011" cy="118277"/>
          </a:xfrm>
          <a:custGeom>
            <a:avLst/>
            <a:gdLst>
              <a:gd name="T0" fmla="*/ 8 w 29"/>
              <a:gd name="T1" fmla="*/ 22 h 23"/>
              <a:gd name="T2" fmla="*/ 10 w 29"/>
              <a:gd name="T3" fmla="*/ 21 h 23"/>
              <a:gd name="T4" fmla="*/ 15 w 29"/>
              <a:gd name="T5" fmla="*/ 21 h 23"/>
              <a:gd name="T6" fmla="*/ 23 w 29"/>
              <a:gd name="T7" fmla="*/ 21 h 23"/>
              <a:gd name="T8" fmla="*/ 27 w 29"/>
              <a:gd name="T9" fmla="*/ 22 h 23"/>
              <a:gd name="T10" fmla="*/ 29 w 29"/>
              <a:gd name="T11" fmla="*/ 19 h 23"/>
              <a:gd name="T12" fmla="*/ 25 w 29"/>
              <a:gd name="T13" fmla="*/ 14 h 23"/>
              <a:gd name="T14" fmla="*/ 25 w 29"/>
              <a:gd name="T15" fmla="*/ 10 h 23"/>
              <a:gd name="T16" fmla="*/ 19 w 29"/>
              <a:gd name="T17" fmla="*/ 4 h 23"/>
              <a:gd name="T18" fmla="*/ 9 w 29"/>
              <a:gd name="T19" fmla="*/ 1 h 23"/>
              <a:gd name="T20" fmla="*/ 5 w 29"/>
              <a:gd name="T21" fmla="*/ 1 h 23"/>
              <a:gd name="T22" fmla="*/ 2 w 29"/>
              <a:gd name="T23" fmla="*/ 6 h 23"/>
              <a:gd name="T24" fmla="*/ 1 w 29"/>
              <a:gd name="T25" fmla="*/ 10 h 23"/>
              <a:gd name="T26" fmla="*/ 2 w 29"/>
              <a:gd name="T27" fmla="*/ 12 h 23"/>
              <a:gd name="T28" fmla="*/ 2 w 29"/>
              <a:gd name="T29" fmla="*/ 14 h 23"/>
              <a:gd name="T30" fmla="*/ 4 w 29"/>
              <a:gd name="T31" fmla="*/ 15 h 23"/>
              <a:gd name="T32" fmla="*/ 9 w 29"/>
              <a:gd name="T33" fmla="*/ 15 h 23"/>
              <a:gd name="T34" fmla="*/ 10 w 29"/>
              <a:gd name="T35" fmla="*/ 14 h 23"/>
              <a:gd name="T36" fmla="*/ 17 w 29"/>
              <a:gd name="T37" fmla="*/ 16 h 23"/>
              <a:gd name="T38" fmla="*/ 11 w 29"/>
              <a:gd name="T39" fmla="*/ 17 h 23"/>
              <a:gd name="T40" fmla="*/ 6 w 29"/>
              <a:gd name="T41" fmla="*/ 18 h 23"/>
              <a:gd name="T42" fmla="*/ 3 w 29"/>
              <a:gd name="T43" fmla="*/ 21 h 23"/>
              <a:gd name="T44" fmla="*/ 5 w 29"/>
              <a:gd name="T45" fmla="*/ 21 h 23"/>
              <a:gd name="T46" fmla="*/ 8 w 29"/>
              <a:gd name="T47" fmla="*/ 2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9" h="23">
                <a:moveTo>
                  <a:pt x="8" y="22"/>
                </a:moveTo>
                <a:cubicBezTo>
                  <a:pt x="9" y="22"/>
                  <a:pt x="9" y="21"/>
                  <a:pt x="10" y="21"/>
                </a:cubicBezTo>
                <a:cubicBezTo>
                  <a:pt x="12" y="21"/>
                  <a:pt x="13" y="21"/>
                  <a:pt x="15" y="21"/>
                </a:cubicBezTo>
                <a:cubicBezTo>
                  <a:pt x="17" y="21"/>
                  <a:pt x="20" y="20"/>
                  <a:pt x="23" y="21"/>
                </a:cubicBezTo>
                <a:cubicBezTo>
                  <a:pt x="24" y="22"/>
                  <a:pt x="25" y="23"/>
                  <a:pt x="27" y="22"/>
                </a:cubicBezTo>
                <a:cubicBezTo>
                  <a:pt x="29" y="22"/>
                  <a:pt x="29" y="21"/>
                  <a:pt x="29" y="19"/>
                </a:cubicBezTo>
                <a:cubicBezTo>
                  <a:pt x="29" y="17"/>
                  <a:pt x="25" y="16"/>
                  <a:pt x="25" y="14"/>
                </a:cubicBezTo>
                <a:cubicBezTo>
                  <a:pt x="25" y="14"/>
                  <a:pt x="25" y="10"/>
                  <a:pt x="25" y="10"/>
                </a:cubicBezTo>
                <a:cubicBezTo>
                  <a:pt x="24" y="10"/>
                  <a:pt x="20" y="5"/>
                  <a:pt x="19" y="4"/>
                </a:cubicBezTo>
                <a:cubicBezTo>
                  <a:pt x="16" y="1"/>
                  <a:pt x="13" y="0"/>
                  <a:pt x="9" y="1"/>
                </a:cubicBezTo>
                <a:cubicBezTo>
                  <a:pt x="8" y="1"/>
                  <a:pt x="5" y="0"/>
                  <a:pt x="5" y="1"/>
                </a:cubicBezTo>
                <a:cubicBezTo>
                  <a:pt x="4" y="2"/>
                  <a:pt x="2" y="4"/>
                  <a:pt x="2" y="6"/>
                </a:cubicBezTo>
                <a:cubicBezTo>
                  <a:pt x="3" y="8"/>
                  <a:pt x="3" y="9"/>
                  <a:pt x="1" y="10"/>
                </a:cubicBezTo>
                <a:cubicBezTo>
                  <a:pt x="0" y="10"/>
                  <a:pt x="3" y="12"/>
                  <a:pt x="2" y="12"/>
                </a:cubicBezTo>
                <a:cubicBezTo>
                  <a:pt x="4" y="13"/>
                  <a:pt x="2" y="13"/>
                  <a:pt x="2" y="14"/>
                </a:cubicBezTo>
                <a:cubicBezTo>
                  <a:pt x="2" y="14"/>
                  <a:pt x="3" y="15"/>
                  <a:pt x="4" y="15"/>
                </a:cubicBezTo>
                <a:cubicBezTo>
                  <a:pt x="4" y="16"/>
                  <a:pt x="8" y="15"/>
                  <a:pt x="9" y="15"/>
                </a:cubicBezTo>
                <a:cubicBezTo>
                  <a:pt x="10" y="15"/>
                  <a:pt x="10" y="14"/>
                  <a:pt x="10" y="14"/>
                </a:cubicBezTo>
                <a:cubicBezTo>
                  <a:pt x="11" y="14"/>
                  <a:pt x="17" y="17"/>
                  <a:pt x="17" y="16"/>
                </a:cubicBezTo>
                <a:cubicBezTo>
                  <a:pt x="16" y="18"/>
                  <a:pt x="12" y="17"/>
                  <a:pt x="11" y="17"/>
                </a:cubicBezTo>
                <a:cubicBezTo>
                  <a:pt x="9" y="16"/>
                  <a:pt x="8" y="18"/>
                  <a:pt x="6" y="18"/>
                </a:cubicBezTo>
                <a:cubicBezTo>
                  <a:pt x="3" y="18"/>
                  <a:pt x="1" y="18"/>
                  <a:pt x="3" y="21"/>
                </a:cubicBezTo>
                <a:cubicBezTo>
                  <a:pt x="3" y="22"/>
                  <a:pt x="4" y="21"/>
                  <a:pt x="5" y="21"/>
                </a:cubicBezTo>
                <a:cubicBezTo>
                  <a:pt x="6" y="21"/>
                  <a:pt x="7" y="22"/>
                  <a:pt x="8" y="2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73" name="Freeform 769">
            <a:extLst>
              <a:ext uri="{FF2B5EF4-FFF2-40B4-BE49-F238E27FC236}">
                <a16:creationId xmlns:a16="http://schemas.microsoft.com/office/drawing/2014/main" id="{4ACB95C9-ED67-7F4F-BB02-9AACDD2431ED}"/>
              </a:ext>
            </a:extLst>
          </p:cNvPr>
          <p:cNvSpPr>
            <a:spLocks/>
          </p:cNvSpPr>
          <p:nvPr/>
        </p:nvSpPr>
        <p:spPr bwMode="auto">
          <a:xfrm>
            <a:off x="5553028" y="4228707"/>
            <a:ext cx="434152" cy="404256"/>
          </a:xfrm>
          <a:custGeom>
            <a:avLst/>
            <a:gdLst>
              <a:gd name="T0" fmla="*/ 27 w 84"/>
              <a:gd name="T1" fmla="*/ 1 h 78"/>
              <a:gd name="T2" fmla="*/ 33 w 84"/>
              <a:gd name="T3" fmla="*/ 45 h 78"/>
              <a:gd name="T4" fmla="*/ 32 w 84"/>
              <a:gd name="T5" fmla="*/ 50 h 78"/>
              <a:gd name="T6" fmla="*/ 19 w 84"/>
              <a:gd name="T7" fmla="*/ 50 h 78"/>
              <a:gd name="T8" fmla="*/ 15 w 84"/>
              <a:gd name="T9" fmla="*/ 50 h 78"/>
              <a:gd name="T10" fmla="*/ 12 w 84"/>
              <a:gd name="T11" fmla="*/ 51 h 78"/>
              <a:gd name="T12" fmla="*/ 8 w 84"/>
              <a:gd name="T13" fmla="*/ 51 h 78"/>
              <a:gd name="T14" fmla="*/ 6 w 84"/>
              <a:gd name="T15" fmla="*/ 52 h 78"/>
              <a:gd name="T16" fmla="*/ 3 w 84"/>
              <a:gd name="T17" fmla="*/ 50 h 78"/>
              <a:gd name="T18" fmla="*/ 0 w 84"/>
              <a:gd name="T19" fmla="*/ 55 h 78"/>
              <a:gd name="T20" fmla="*/ 0 w 84"/>
              <a:gd name="T21" fmla="*/ 59 h 78"/>
              <a:gd name="T22" fmla="*/ 3 w 84"/>
              <a:gd name="T23" fmla="*/ 63 h 78"/>
              <a:gd name="T24" fmla="*/ 4 w 84"/>
              <a:gd name="T25" fmla="*/ 67 h 78"/>
              <a:gd name="T26" fmla="*/ 7 w 84"/>
              <a:gd name="T27" fmla="*/ 68 h 78"/>
              <a:gd name="T28" fmla="*/ 11 w 84"/>
              <a:gd name="T29" fmla="*/ 68 h 78"/>
              <a:gd name="T30" fmla="*/ 15 w 84"/>
              <a:gd name="T31" fmla="*/ 66 h 78"/>
              <a:gd name="T32" fmla="*/ 20 w 84"/>
              <a:gd name="T33" fmla="*/ 75 h 78"/>
              <a:gd name="T34" fmla="*/ 20 w 84"/>
              <a:gd name="T35" fmla="*/ 77 h 78"/>
              <a:gd name="T36" fmla="*/ 23 w 84"/>
              <a:gd name="T37" fmla="*/ 77 h 78"/>
              <a:gd name="T38" fmla="*/ 27 w 84"/>
              <a:gd name="T39" fmla="*/ 77 h 78"/>
              <a:gd name="T40" fmla="*/ 30 w 84"/>
              <a:gd name="T41" fmla="*/ 77 h 78"/>
              <a:gd name="T42" fmla="*/ 35 w 84"/>
              <a:gd name="T43" fmla="*/ 71 h 78"/>
              <a:gd name="T44" fmla="*/ 35 w 84"/>
              <a:gd name="T45" fmla="*/ 69 h 78"/>
              <a:gd name="T46" fmla="*/ 39 w 84"/>
              <a:gd name="T47" fmla="*/ 67 h 78"/>
              <a:gd name="T48" fmla="*/ 40 w 84"/>
              <a:gd name="T49" fmla="*/ 63 h 78"/>
              <a:gd name="T50" fmla="*/ 42 w 84"/>
              <a:gd name="T51" fmla="*/ 62 h 78"/>
              <a:gd name="T52" fmla="*/ 49 w 84"/>
              <a:gd name="T53" fmla="*/ 57 h 78"/>
              <a:gd name="T54" fmla="*/ 51 w 84"/>
              <a:gd name="T55" fmla="*/ 57 h 78"/>
              <a:gd name="T56" fmla="*/ 52 w 84"/>
              <a:gd name="T57" fmla="*/ 56 h 78"/>
              <a:gd name="T58" fmla="*/ 55 w 84"/>
              <a:gd name="T59" fmla="*/ 54 h 78"/>
              <a:gd name="T60" fmla="*/ 65 w 84"/>
              <a:gd name="T61" fmla="*/ 53 h 78"/>
              <a:gd name="T62" fmla="*/ 70 w 84"/>
              <a:gd name="T63" fmla="*/ 52 h 78"/>
              <a:gd name="T64" fmla="*/ 78 w 84"/>
              <a:gd name="T65" fmla="*/ 51 h 78"/>
              <a:gd name="T66" fmla="*/ 82 w 84"/>
              <a:gd name="T67" fmla="*/ 31 h 78"/>
              <a:gd name="T68" fmla="*/ 77 w 84"/>
              <a:gd name="T69" fmla="*/ 32 h 78"/>
              <a:gd name="T70" fmla="*/ 77 w 84"/>
              <a:gd name="T71" fmla="*/ 28 h 78"/>
              <a:gd name="T72" fmla="*/ 70 w 84"/>
              <a:gd name="T73" fmla="*/ 26 h 78"/>
              <a:gd name="T74" fmla="*/ 66 w 84"/>
              <a:gd name="T75" fmla="*/ 22 h 78"/>
              <a:gd name="T76" fmla="*/ 63 w 84"/>
              <a:gd name="T77" fmla="*/ 20 h 78"/>
              <a:gd name="T78" fmla="*/ 56 w 84"/>
              <a:gd name="T79" fmla="*/ 14 h 78"/>
              <a:gd name="T80" fmla="*/ 39 w 84"/>
              <a:gd name="T81" fmla="*/ 3 h 78"/>
              <a:gd name="T82" fmla="*/ 35 w 84"/>
              <a:gd name="T83" fmla="*/ 1 h 78"/>
              <a:gd name="T84" fmla="*/ 27 w 84"/>
              <a:gd name="T85" fmla="*/ 1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4" h="78">
                <a:moveTo>
                  <a:pt x="27" y="1"/>
                </a:moveTo>
                <a:cubicBezTo>
                  <a:pt x="29" y="16"/>
                  <a:pt x="31" y="31"/>
                  <a:pt x="33" y="45"/>
                </a:cubicBezTo>
                <a:cubicBezTo>
                  <a:pt x="33" y="47"/>
                  <a:pt x="35" y="50"/>
                  <a:pt x="32" y="50"/>
                </a:cubicBezTo>
                <a:cubicBezTo>
                  <a:pt x="28" y="50"/>
                  <a:pt x="23" y="50"/>
                  <a:pt x="19" y="50"/>
                </a:cubicBezTo>
                <a:cubicBezTo>
                  <a:pt x="17" y="50"/>
                  <a:pt x="16" y="50"/>
                  <a:pt x="15" y="50"/>
                </a:cubicBezTo>
                <a:cubicBezTo>
                  <a:pt x="14" y="50"/>
                  <a:pt x="13" y="51"/>
                  <a:pt x="12" y="51"/>
                </a:cubicBezTo>
                <a:cubicBezTo>
                  <a:pt x="11" y="52"/>
                  <a:pt x="10" y="51"/>
                  <a:pt x="8" y="51"/>
                </a:cubicBezTo>
                <a:cubicBezTo>
                  <a:pt x="7" y="51"/>
                  <a:pt x="7" y="53"/>
                  <a:pt x="6" y="52"/>
                </a:cubicBezTo>
                <a:cubicBezTo>
                  <a:pt x="5" y="52"/>
                  <a:pt x="4" y="50"/>
                  <a:pt x="3" y="50"/>
                </a:cubicBezTo>
                <a:cubicBezTo>
                  <a:pt x="2" y="50"/>
                  <a:pt x="2" y="56"/>
                  <a:pt x="0" y="55"/>
                </a:cubicBezTo>
                <a:cubicBezTo>
                  <a:pt x="0" y="56"/>
                  <a:pt x="0" y="58"/>
                  <a:pt x="0" y="59"/>
                </a:cubicBezTo>
                <a:cubicBezTo>
                  <a:pt x="0" y="61"/>
                  <a:pt x="2" y="61"/>
                  <a:pt x="3" y="63"/>
                </a:cubicBezTo>
                <a:cubicBezTo>
                  <a:pt x="4" y="64"/>
                  <a:pt x="3" y="66"/>
                  <a:pt x="4" y="67"/>
                </a:cubicBezTo>
                <a:cubicBezTo>
                  <a:pt x="5" y="69"/>
                  <a:pt x="6" y="67"/>
                  <a:pt x="7" y="68"/>
                </a:cubicBezTo>
                <a:cubicBezTo>
                  <a:pt x="7" y="69"/>
                  <a:pt x="10" y="68"/>
                  <a:pt x="11" y="68"/>
                </a:cubicBezTo>
                <a:cubicBezTo>
                  <a:pt x="12" y="68"/>
                  <a:pt x="14" y="66"/>
                  <a:pt x="15" y="66"/>
                </a:cubicBezTo>
                <a:cubicBezTo>
                  <a:pt x="17" y="68"/>
                  <a:pt x="18" y="73"/>
                  <a:pt x="20" y="75"/>
                </a:cubicBezTo>
                <a:cubicBezTo>
                  <a:pt x="20" y="75"/>
                  <a:pt x="19" y="77"/>
                  <a:pt x="20" y="77"/>
                </a:cubicBezTo>
                <a:cubicBezTo>
                  <a:pt x="21" y="78"/>
                  <a:pt x="22" y="76"/>
                  <a:pt x="23" y="77"/>
                </a:cubicBezTo>
                <a:cubicBezTo>
                  <a:pt x="24" y="78"/>
                  <a:pt x="26" y="78"/>
                  <a:pt x="27" y="77"/>
                </a:cubicBezTo>
                <a:cubicBezTo>
                  <a:pt x="29" y="75"/>
                  <a:pt x="29" y="77"/>
                  <a:pt x="30" y="77"/>
                </a:cubicBezTo>
                <a:cubicBezTo>
                  <a:pt x="33" y="77"/>
                  <a:pt x="35" y="73"/>
                  <a:pt x="35" y="71"/>
                </a:cubicBezTo>
                <a:cubicBezTo>
                  <a:pt x="35" y="70"/>
                  <a:pt x="33" y="70"/>
                  <a:pt x="35" y="69"/>
                </a:cubicBezTo>
                <a:cubicBezTo>
                  <a:pt x="36" y="68"/>
                  <a:pt x="38" y="69"/>
                  <a:pt x="39" y="67"/>
                </a:cubicBezTo>
                <a:cubicBezTo>
                  <a:pt x="39" y="66"/>
                  <a:pt x="40" y="64"/>
                  <a:pt x="40" y="63"/>
                </a:cubicBezTo>
                <a:cubicBezTo>
                  <a:pt x="41" y="61"/>
                  <a:pt x="41" y="60"/>
                  <a:pt x="42" y="62"/>
                </a:cubicBezTo>
                <a:cubicBezTo>
                  <a:pt x="45" y="64"/>
                  <a:pt x="47" y="56"/>
                  <a:pt x="49" y="57"/>
                </a:cubicBezTo>
                <a:cubicBezTo>
                  <a:pt x="50" y="57"/>
                  <a:pt x="50" y="57"/>
                  <a:pt x="51" y="57"/>
                </a:cubicBezTo>
                <a:cubicBezTo>
                  <a:pt x="51" y="57"/>
                  <a:pt x="52" y="56"/>
                  <a:pt x="52" y="56"/>
                </a:cubicBezTo>
                <a:cubicBezTo>
                  <a:pt x="53" y="55"/>
                  <a:pt x="54" y="55"/>
                  <a:pt x="55" y="54"/>
                </a:cubicBezTo>
                <a:cubicBezTo>
                  <a:pt x="58" y="51"/>
                  <a:pt x="61" y="54"/>
                  <a:pt x="65" y="53"/>
                </a:cubicBezTo>
                <a:cubicBezTo>
                  <a:pt x="67" y="53"/>
                  <a:pt x="68" y="52"/>
                  <a:pt x="70" y="52"/>
                </a:cubicBezTo>
                <a:cubicBezTo>
                  <a:pt x="73" y="52"/>
                  <a:pt x="76" y="52"/>
                  <a:pt x="78" y="51"/>
                </a:cubicBezTo>
                <a:cubicBezTo>
                  <a:pt x="84" y="49"/>
                  <a:pt x="82" y="36"/>
                  <a:pt x="82" y="31"/>
                </a:cubicBezTo>
                <a:cubicBezTo>
                  <a:pt x="81" y="32"/>
                  <a:pt x="78" y="34"/>
                  <a:pt x="77" y="32"/>
                </a:cubicBezTo>
                <a:cubicBezTo>
                  <a:pt x="76" y="31"/>
                  <a:pt x="78" y="29"/>
                  <a:pt x="77" y="28"/>
                </a:cubicBezTo>
                <a:cubicBezTo>
                  <a:pt x="76" y="26"/>
                  <a:pt x="72" y="27"/>
                  <a:pt x="70" y="26"/>
                </a:cubicBezTo>
                <a:cubicBezTo>
                  <a:pt x="68" y="26"/>
                  <a:pt x="67" y="23"/>
                  <a:pt x="66" y="22"/>
                </a:cubicBezTo>
                <a:cubicBezTo>
                  <a:pt x="66" y="21"/>
                  <a:pt x="65" y="20"/>
                  <a:pt x="63" y="20"/>
                </a:cubicBezTo>
                <a:cubicBezTo>
                  <a:pt x="61" y="18"/>
                  <a:pt x="58" y="16"/>
                  <a:pt x="56" y="14"/>
                </a:cubicBezTo>
                <a:cubicBezTo>
                  <a:pt x="50" y="11"/>
                  <a:pt x="44" y="7"/>
                  <a:pt x="39" y="3"/>
                </a:cubicBezTo>
                <a:cubicBezTo>
                  <a:pt x="38" y="3"/>
                  <a:pt x="36" y="1"/>
                  <a:pt x="35" y="1"/>
                </a:cubicBezTo>
                <a:cubicBezTo>
                  <a:pt x="33" y="0"/>
                  <a:pt x="30" y="1"/>
                  <a:pt x="27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74" name="Freeform 770">
            <a:extLst>
              <a:ext uri="{FF2B5EF4-FFF2-40B4-BE49-F238E27FC236}">
                <a16:creationId xmlns:a16="http://schemas.microsoft.com/office/drawing/2014/main" id="{CB031361-1FE1-F344-BBB7-14A7EA6F80A9}"/>
              </a:ext>
            </a:extLst>
          </p:cNvPr>
          <p:cNvSpPr>
            <a:spLocks/>
          </p:cNvSpPr>
          <p:nvPr/>
        </p:nvSpPr>
        <p:spPr bwMode="auto">
          <a:xfrm>
            <a:off x="6483102" y="4041584"/>
            <a:ext cx="285905" cy="278919"/>
          </a:xfrm>
          <a:custGeom>
            <a:avLst/>
            <a:gdLst>
              <a:gd name="T0" fmla="*/ 45 w 55"/>
              <a:gd name="T1" fmla="*/ 54 h 54"/>
              <a:gd name="T2" fmla="*/ 48 w 55"/>
              <a:gd name="T3" fmla="*/ 51 h 54"/>
              <a:gd name="T4" fmla="*/ 51 w 55"/>
              <a:gd name="T5" fmla="*/ 48 h 54"/>
              <a:gd name="T6" fmla="*/ 54 w 55"/>
              <a:gd name="T7" fmla="*/ 44 h 54"/>
              <a:gd name="T8" fmla="*/ 55 w 55"/>
              <a:gd name="T9" fmla="*/ 42 h 54"/>
              <a:gd name="T10" fmla="*/ 50 w 55"/>
              <a:gd name="T11" fmla="*/ 36 h 54"/>
              <a:gd name="T12" fmla="*/ 45 w 55"/>
              <a:gd name="T13" fmla="*/ 25 h 54"/>
              <a:gd name="T14" fmla="*/ 40 w 55"/>
              <a:gd name="T15" fmla="*/ 16 h 54"/>
              <a:gd name="T16" fmla="*/ 38 w 55"/>
              <a:gd name="T17" fmla="*/ 8 h 54"/>
              <a:gd name="T18" fmla="*/ 47 w 55"/>
              <a:gd name="T19" fmla="*/ 22 h 54"/>
              <a:gd name="T20" fmla="*/ 49 w 55"/>
              <a:gd name="T21" fmla="*/ 19 h 54"/>
              <a:gd name="T22" fmla="*/ 48 w 55"/>
              <a:gd name="T23" fmla="*/ 14 h 54"/>
              <a:gd name="T24" fmla="*/ 47 w 55"/>
              <a:gd name="T25" fmla="*/ 2 h 54"/>
              <a:gd name="T26" fmla="*/ 38 w 55"/>
              <a:gd name="T27" fmla="*/ 2 h 54"/>
              <a:gd name="T28" fmla="*/ 25 w 55"/>
              <a:gd name="T29" fmla="*/ 3 h 54"/>
              <a:gd name="T30" fmla="*/ 16 w 55"/>
              <a:gd name="T31" fmla="*/ 3 h 54"/>
              <a:gd name="T32" fmla="*/ 4 w 55"/>
              <a:gd name="T33" fmla="*/ 1 h 54"/>
              <a:gd name="T34" fmla="*/ 3 w 55"/>
              <a:gd name="T35" fmla="*/ 0 h 54"/>
              <a:gd name="T36" fmla="*/ 1 w 55"/>
              <a:gd name="T37" fmla="*/ 3 h 54"/>
              <a:gd name="T38" fmla="*/ 2 w 55"/>
              <a:gd name="T39" fmla="*/ 7 h 54"/>
              <a:gd name="T40" fmla="*/ 1 w 55"/>
              <a:gd name="T41" fmla="*/ 11 h 54"/>
              <a:gd name="T42" fmla="*/ 2 w 55"/>
              <a:gd name="T43" fmla="*/ 13 h 54"/>
              <a:gd name="T44" fmla="*/ 2 w 55"/>
              <a:gd name="T45" fmla="*/ 25 h 54"/>
              <a:gd name="T46" fmla="*/ 2 w 55"/>
              <a:gd name="T47" fmla="*/ 52 h 54"/>
              <a:gd name="T48" fmla="*/ 34 w 55"/>
              <a:gd name="T49" fmla="*/ 52 h 54"/>
              <a:gd name="T50" fmla="*/ 40 w 55"/>
              <a:gd name="T51" fmla="*/ 52 h 54"/>
              <a:gd name="T52" fmla="*/ 45 w 55"/>
              <a:gd name="T53" fmla="*/ 5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5" h="54">
                <a:moveTo>
                  <a:pt x="45" y="54"/>
                </a:moveTo>
                <a:cubicBezTo>
                  <a:pt x="46" y="54"/>
                  <a:pt x="46" y="51"/>
                  <a:pt x="48" y="51"/>
                </a:cubicBezTo>
                <a:cubicBezTo>
                  <a:pt x="51" y="51"/>
                  <a:pt x="49" y="49"/>
                  <a:pt x="51" y="48"/>
                </a:cubicBezTo>
                <a:cubicBezTo>
                  <a:pt x="54" y="47"/>
                  <a:pt x="54" y="47"/>
                  <a:pt x="54" y="44"/>
                </a:cubicBezTo>
                <a:cubicBezTo>
                  <a:pt x="53" y="42"/>
                  <a:pt x="53" y="42"/>
                  <a:pt x="55" y="42"/>
                </a:cubicBezTo>
                <a:cubicBezTo>
                  <a:pt x="54" y="42"/>
                  <a:pt x="51" y="37"/>
                  <a:pt x="50" y="36"/>
                </a:cubicBezTo>
                <a:cubicBezTo>
                  <a:pt x="49" y="32"/>
                  <a:pt x="47" y="28"/>
                  <a:pt x="45" y="25"/>
                </a:cubicBezTo>
                <a:cubicBezTo>
                  <a:pt x="43" y="22"/>
                  <a:pt x="42" y="18"/>
                  <a:pt x="40" y="16"/>
                </a:cubicBezTo>
                <a:cubicBezTo>
                  <a:pt x="39" y="15"/>
                  <a:pt x="37" y="9"/>
                  <a:pt x="38" y="8"/>
                </a:cubicBezTo>
                <a:cubicBezTo>
                  <a:pt x="38" y="8"/>
                  <a:pt x="46" y="22"/>
                  <a:pt x="47" y="22"/>
                </a:cubicBezTo>
                <a:cubicBezTo>
                  <a:pt x="48" y="22"/>
                  <a:pt x="49" y="19"/>
                  <a:pt x="49" y="19"/>
                </a:cubicBezTo>
                <a:cubicBezTo>
                  <a:pt x="49" y="17"/>
                  <a:pt x="49" y="15"/>
                  <a:pt x="48" y="14"/>
                </a:cubicBezTo>
                <a:cubicBezTo>
                  <a:pt x="48" y="10"/>
                  <a:pt x="47" y="6"/>
                  <a:pt x="47" y="2"/>
                </a:cubicBezTo>
                <a:cubicBezTo>
                  <a:pt x="45" y="4"/>
                  <a:pt x="40" y="4"/>
                  <a:pt x="38" y="2"/>
                </a:cubicBezTo>
                <a:cubicBezTo>
                  <a:pt x="34" y="0"/>
                  <a:pt x="29" y="1"/>
                  <a:pt x="25" y="3"/>
                </a:cubicBezTo>
                <a:cubicBezTo>
                  <a:pt x="22" y="5"/>
                  <a:pt x="19" y="4"/>
                  <a:pt x="16" y="3"/>
                </a:cubicBezTo>
                <a:cubicBezTo>
                  <a:pt x="12" y="2"/>
                  <a:pt x="8" y="2"/>
                  <a:pt x="4" y="1"/>
                </a:cubicBezTo>
                <a:cubicBezTo>
                  <a:pt x="4" y="1"/>
                  <a:pt x="3" y="0"/>
                  <a:pt x="3" y="0"/>
                </a:cubicBezTo>
                <a:cubicBezTo>
                  <a:pt x="2" y="1"/>
                  <a:pt x="2" y="2"/>
                  <a:pt x="1" y="3"/>
                </a:cubicBezTo>
                <a:cubicBezTo>
                  <a:pt x="0" y="4"/>
                  <a:pt x="3" y="5"/>
                  <a:pt x="2" y="7"/>
                </a:cubicBezTo>
                <a:cubicBezTo>
                  <a:pt x="1" y="8"/>
                  <a:pt x="1" y="9"/>
                  <a:pt x="1" y="11"/>
                </a:cubicBezTo>
                <a:cubicBezTo>
                  <a:pt x="2" y="11"/>
                  <a:pt x="2" y="12"/>
                  <a:pt x="2" y="13"/>
                </a:cubicBezTo>
                <a:cubicBezTo>
                  <a:pt x="2" y="17"/>
                  <a:pt x="2" y="21"/>
                  <a:pt x="2" y="25"/>
                </a:cubicBezTo>
                <a:cubicBezTo>
                  <a:pt x="2" y="28"/>
                  <a:pt x="2" y="52"/>
                  <a:pt x="2" y="52"/>
                </a:cubicBezTo>
                <a:cubicBezTo>
                  <a:pt x="13" y="52"/>
                  <a:pt x="23" y="52"/>
                  <a:pt x="34" y="52"/>
                </a:cubicBezTo>
                <a:cubicBezTo>
                  <a:pt x="36" y="52"/>
                  <a:pt x="38" y="52"/>
                  <a:pt x="40" y="52"/>
                </a:cubicBezTo>
                <a:cubicBezTo>
                  <a:pt x="42" y="52"/>
                  <a:pt x="43" y="54"/>
                  <a:pt x="45" y="5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75" name="Freeform 771">
            <a:extLst>
              <a:ext uri="{FF2B5EF4-FFF2-40B4-BE49-F238E27FC236}">
                <a16:creationId xmlns:a16="http://schemas.microsoft.com/office/drawing/2014/main" id="{8A8493A7-724D-3244-BE61-2296FC908FE2}"/>
              </a:ext>
            </a:extLst>
          </p:cNvPr>
          <p:cNvSpPr>
            <a:spLocks/>
          </p:cNvSpPr>
          <p:nvPr/>
        </p:nvSpPr>
        <p:spPr bwMode="auto">
          <a:xfrm>
            <a:off x="6059538" y="3880943"/>
            <a:ext cx="104128" cy="201245"/>
          </a:xfrm>
          <a:custGeom>
            <a:avLst/>
            <a:gdLst>
              <a:gd name="T0" fmla="*/ 14 w 20"/>
              <a:gd name="T1" fmla="*/ 34 h 39"/>
              <a:gd name="T2" fmla="*/ 17 w 20"/>
              <a:gd name="T3" fmla="*/ 30 h 39"/>
              <a:gd name="T4" fmla="*/ 20 w 20"/>
              <a:gd name="T5" fmla="*/ 27 h 39"/>
              <a:gd name="T6" fmla="*/ 20 w 20"/>
              <a:gd name="T7" fmla="*/ 24 h 39"/>
              <a:gd name="T8" fmla="*/ 19 w 20"/>
              <a:gd name="T9" fmla="*/ 23 h 39"/>
              <a:gd name="T10" fmla="*/ 17 w 20"/>
              <a:gd name="T11" fmla="*/ 20 h 39"/>
              <a:gd name="T12" fmla="*/ 14 w 20"/>
              <a:gd name="T13" fmla="*/ 20 h 39"/>
              <a:gd name="T14" fmla="*/ 16 w 20"/>
              <a:gd name="T15" fmla="*/ 16 h 39"/>
              <a:gd name="T16" fmla="*/ 17 w 20"/>
              <a:gd name="T17" fmla="*/ 10 h 39"/>
              <a:gd name="T18" fmla="*/ 15 w 20"/>
              <a:gd name="T19" fmla="*/ 6 h 39"/>
              <a:gd name="T20" fmla="*/ 18 w 20"/>
              <a:gd name="T21" fmla="*/ 4 h 39"/>
              <a:gd name="T22" fmla="*/ 18 w 20"/>
              <a:gd name="T23" fmla="*/ 1 h 39"/>
              <a:gd name="T24" fmla="*/ 15 w 20"/>
              <a:gd name="T25" fmla="*/ 3 h 39"/>
              <a:gd name="T26" fmla="*/ 14 w 20"/>
              <a:gd name="T27" fmla="*/ 2 h 39"/>
              <a:gd name="T28" fmla="*/ 11 w 20"/>
              <a:gd name="T29" fmla="*/ 0 h 39"/>
              <a:gd name="T30" fmla="*/ 5 w 20"/>
              <a:gd name="T31" fmla="*/ 4 h 39"/>
              <a:gd name="T32" fmla="*/ 2 w 20"/>
              <a:gd name="T33" fmla="*/ 17 h 39"/>
              <a:gd name="T34" fmla="*/ 1 w 20"/>
              <a:gd name="T35" fmla="*/ 21 h 39"/>
              <a:gd name="T36" fmla="*/ 4 w 20"/>
              <a:gd name="T37" fmla="*/ 26 h 39"/>
              <a:gd name="T38" fmla="*/ 8 w 20"/>
              <a:gd name="T39" fmla="*/ 30 h 39"/>
              <a:gd name="T40" fmla="*/ 10 w 20"/>
              <a:gd name="T41" fmla="*/ 39 h 39"/>
              <a:gd name="T42" fmla="*/ 14 w 20"/>
              <a:gd name="T43" fmla="*/ 34 h 39"/>
              <a:gd name="T44" fmla="*/ 14 w 20"/>
              <a:gd name="T45" fmla="*/ 34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0" h="39">
                <a:moveTo>
                  <a:pt x="14" y="34"/>
                </a:moveTo>
                <a:cubicBezTo>
                  <a:pt x="12" y="32"/>
                  <a:pt x="16" y="30"/>
                  <a:pt x="17" y="30"/>
                </a:cubicBezTo>
                <a:cubicBezTo>
                  <a:pt x="19" y="29"/>
                  <a:pt x="20" y="28"/>
                  <a:pt x="20" y="27"/>
                </a:cubicBezTo>
                <a:cubicBezTo>
                  <a:pt x="20" y="26"/>
                  <a:pt x="20" y="25"/>
                  <a:pt x="20" y="24"/>
                </a:cubicBezTo>
                <a:cubicBezTo>
                  <a:pt x="20" y="23"/>
                  <a:pt x="19" y="23"/>
                  <a:pt x="19" y="23"/>
                </a:cubicBezTo>
                <a:cubicBezTo>
                  <a:pt x="18" y="22"/>
                  <a:pt x="18" y="21"/>
                  <a:pt x="17" y="20"/>
                </a:cubicBezTo>
                <a:cubicBezTo>
                  <a:pt x="16" y="20"/>
                  <a:pt x="15" y="21"/>
                  <a:pt x="14" y="20"/>
                </a:cubicBezTo>
                <a:cubicBezTo>
                  <a:pt x="11" y="18"/>
                  <a:pt x="14" y="17"/>
                  <a:pt x="16" y="16"/>
                </a:cubicBezTo>
                <a:cubicBezTo>
                  <a:pt x="18" y="15"/>
                  <a:pt x="19" y="12"/>
                  <a:pt x="17" y="10"/>
                </a:cubicBezTo>
                <a:cubicBezTo>
                  <a:pt x="17" y="9"/>
                  <a:pt x="14" y="7"/>
                  <a:pt x="15" y="6"/>
                </a:cubicBezTo>
                <a:cubicBezTo>
                  <a:pt x="16" y="5"/>
                  <a:pt x="17" y="5"/>
                  <a:pt x="18" y="4"/>
                </a:cubicBezTo>
                <a:cubicBezTo>
                  <a:pt x="18" y="4"/>
                  <a:pt x="18" y="1"/>
                  <a:pt x="18" y="1"/>
                </a:cubicBezTo>
                <a:cubicBezTo>
                  <a:pt x="17" y="1"/>
                  <a:pt x="16" y="4"/>
                  <a:pt x="15" y="3"/>
                </a:cubicBezTo>
                <a:cubicBezTo>
                  <a:pt x="15" y="3"/>
                  <a:pt x="14" y="2"/>
                  <a:pt x="14" y="2"/>
                </a:cubicBezTo>
                <a:cubicBezTo>
                  <a:pt x="13" y="1"/>
                  <a:pt x="12" y="0"/>
                  <a:pt x="11" y="0"/>
                </a:cubicBezTo>
                <a:cubicBezTo>
                  <a:pt x="9" y="1"/>
                  <a:pt x="6" y="2"/>
                  <a:pt x="5" y="4"/>
                </a:cubicBezTo>
                <a:cubicBezTo>
                  <a:pt x="3" y="8"/>
                  <a:pt x="5" y="14"/>
                  <a:pt x="2" y="17"/>
                </a:cubicBezTo>
                <a:cubicBezTo>
                  <a:pt x="0" y="19"/>
                  <a:pt x="0" y="19"/>
                  <a:pt x="1" y="21"/>
                </a:cubicBezTo>
                <a:cubicBezTo>
                  <a:pt x="1" y="23"/>
                  <a:pt x="4" y="24"/>
                  <a:pt x="4" y="26"/>
                </a:cubicBezTo>
                <a:cubicBezTo>
                  <a:pt x="5" y="28"/>
                  <a:pt x="8" y="29"/>
                  <a:pt x="8" y="30"/>
                </a:cubicBezTo>
                <a:cubicBezTo>
                  <a:pt x="9" y="33"/>
                  <a:pt x="10" y="37"/>
                  <a:pt x="10" y="39"/>
                </a:cubicBezTo>
                <a:cubicBezTo>
                  <a:pt x="12" y="39"/>
                  <a:pt x="16" y="37"/>
                  <a:pt x="14" y="34"/>
                </a:cubicBezTo>
                <a:cubicBezTo>
                  <a:pt x="13" y="33"/>
                  <a:pt x="15" y="35"/>
                  <a:pt x="14" y="3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76" name="Freeform 772">
            <a:extLst>
              <a:ext uri="{FF2B5EF4-FFF2-40B4-BE49-F238E27FC236}">
                <a16:creationId xmlns:a16="http://schemas.microsoft.com/office/drawing/2014/main" id="{F175CEC5-D4C5-8742-92E3-EFFDB6E07C0A}"/>
              </a:ext>
            </a:extLst>
          </p:cNvPr>
          <p:cNvSpPr>
            <a:spLocks/>
          </p:cNvSpPr>
          <p:nvPr/>
        </p:nvSpPr>
        <p:spPr bwMode="auto">
          <a:xfrm>
            <a:off x="6105426" y="3999218"/>
            <a:ext cx="393562" cy="379542"/>
          </a:xfrm>
          <a:custGeom>
            <a:avLst/>
            <a:gdLst>
              <a:gd name="T0" fmla="*/ 21 w 76"/>
              <a:gd name="T1" fmla="*/ 55 h 73"/>
              <a:gd name="T2" fmla="*/ 25 w 76"/>
              <a:gd name="T3" fmla="*/ 57 h 73"/>
              <a:gd name="T4" fmla="*/ 28 w 76"/>
              <a:gd name="T5" fmla="*/ 55 h 73"/>
              <a:gd name="T6" fmla="*/ 33 w 76"/>
              <a:gd name="T7" fmla="*/ 53 h 73"/>
              <a:gd name="T8" fmla="*/ 44 w 76"/>
              <a:gd name="T9" fmla="*/ 59 h 73"/>
              <a:gd name="T10" fmla="*/ 70 w 76"/>
              <a:gd name="T11" fmla="*/ 73 h 73"/>
              <a:gd name="T12" fmla="*/ 71 w 76"/>
              <a:gd name="T13" fmla="*/ 71 h 73"/>
              <a:gd name="T14" fmla="*/ 75 w 76"/>
              <a:gd name="T15" fmla="*/ 71 h 73"/>
              <a:gd name="T16" fmla="*/ 75 w 76"/>
              <a:gd name="T17" fmla="*/ 66 h 73"/>
              <a:gd name="T18" fmla="*/ 75 w 76"/>
              <a:gd name="T19" fmla="*/ 44 h 73"/>
              <a:gd name="T20" fmla="*/ 75 w 76"/>
              <a:gd name="T21" fmla="*/ 24 h 73"/>
              <a:gd name="T22" fmla="*/ 75 w 76"/>
              <a:gd name="T23" fmla="*/ 20 h 73"/>
              <a:gd name="T24" fmla="*/ 74 w 76"/>
              <a:gd name="T25" fmla="*/ 17 h 73"/>
              <a:gd name="T26" fmla="*/ 76 w 76"/>
              <a:gd name="T27" fmla="*/ 14 h 73"/>
              <a:gd name="T28" fmla="*/ 74 w 76"/>
              <a:gd name="T29" fmla="*/ 11 h 73"/>
              <a:gd name="T30" fmla="*/ 76 w 76"/>
              <a:gd name="T31" fmla="*/ 8 h 73"/>
              <a:gd name="T32" fmla="*/ 67 w 76"/>
              <a:gd name="T33" fmla="*/ 5 h 73"/>
              <a:gd name="T34" fmla="*/ 61 w 76"/>
              <a:gd name="T35" fmla="*/ 2 h 73"/>
              <a:gd name="T36" fmla="*/ 51 w 76"/>
              <a:gd name="T37" fmla="*/ 6 h 73"/>
              <a:gd name="T38" fmla="*/ 51 w 76"/>
              <a:gd name="T39" fmla="*/ 9 h 73"/>
              <a:gd name="T40" fmla="*/ 50 w 76"/>
              <a:gd name="T41" fmla="*/ 14 h 73"/>
              <a:gd name="T42" fmla="*/ 41 w 76"/>
              <a:gd name="T43" fmla="*/ 13 h 73"/>
              <a:gd name="T44" fmla="*/ 36 w 76"/>
              <a:gd name="T45" fmla="*/ 12 h 73"/>
              <a:gd name="T46" fmla="*/ 31 w 76"/>
              <a:gd name="T47" fmla="*/ 10 h 73"/>
              <a:gd name="T48" fmla="*/ 29 w 76"/>
              <a:gd name="T49" fmla="*/ 6 h 73"/>
              <a:gd name="T50" fmla="*/ 23 w 76"/>
              <a:gd name="T51" fmla="*/ 3 h 73"/>
              <a:gd name="T52" fmla="*/ 17 w 76"/>
              <a:gd name="T53" fmla="*/ 2 h 73"/>
              <a:gd name="T54" fmla="*/ 11 w 76"/>
              <a:gd name="T55" fmla="*/ 0 h 73"/>
              <a:gd name="T56" fmla="*/ 11 w 76"/>
              <a:gd name="T57" fmla="*/ 4 h 73"/>
              <a:gd name="T58" fmla="*/ 9 w 76"/>
              <a:gd name="T59" fmla="*/ 6 h 73"/>
              <a:gd name="T60" fmla="*/ 5 w 76"/>
              <a:gd name="T61" fmla="*/ 8 h 73"/>
              <a:gd name="T62" fmla="*/ 5 w 76"/>
              <a:gd name="T63" fmla="*/ 14 h 73"/>
              <a:gd name="T64" fmla="*/ 1 w 76"/>
              <a:gd name="T65" fmla="*/ 17 h 73"/>
              <a:gd name="T66" fmla="*/ 3 w 76"/>
              <a:gd name="T67" fmla="*/ 21 h 73"/>
              <a:gd name="T68" fmla="*/ 3 w 76"/>
              <a:gd name="T69" fmla="*/ 26 h 73"/>
              <a:gd name="T70" fmla="*/ 3 w 76"/>
              <a:gd name="T71" fmla="*/ 31 h 73"/>
              <a:gd name="T72" fmla="*/ 3 w 76"/>
              <a:gd name="T73" fmla="*/ 34 h 73"/>
              <a:gd name="T74" fmla="*/ 3 w 76"/>
              <a:gd name="T75" fmla="*/ 37 h 73"/>
              <a:gd name="T76" fmla="*/ 1 w 76"/>
              <a:gd name="T77" fmla="*/ 40 h 73"/>
              <a:gd name="T78" fmla="*/ 4 w 76"/>
              <a:gd name="T79" fmla="*/ 46 h 73"/>
              <a:gd name="T80" fmla="*/ 7 w 76"/>
              <a:gd name="T81" fmla="*/ 48 h 73"/>
              <a:gd name="T82" fmla="*/ 11 w 76"/>
              <a:gd name="T83" fmla="*/ 49 h 73"/>
              <a:gd name="T84" fmla="*/ 14 w 76"/>
              <a:gd name="T85" fmla="*/ 53 h 73"/>
              <a:gd name="T86" fmla="*/ 21 w 76"/>
              <a:gd name="T87" fmla="*/ 55 h 73"/>
              <a:gd name="T88" fmla="*/ 21 w 76"/>
              <a:gd name="T89" fmla="*/ 55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76" h="73">
                <a:moveTo>
                  <a:pt x="21" y="55"/>
                </a:moveTo>
                <a:cubicBezTo>
                  <a:pt x="21" y="56"/>
                  <a:pt x="24" y="58"/>
                  <a:pt x="25" y="57"/>
                </a:cubicBezTo>
                <a:cubicBezTo>
                  <a:pt x="26" y="56"/>
                  <a:pt x="27" y="56"/>
                  <a:pt x="28" y="55"/>
                </a:cubicBezTo>
                <a:cubicBezTo>
                  <a:pt x="29" y="55"/>
                  <a:pt x="32" y="53"/>
                  <a:pt x="33" y="53"/>
                </a:cubicBezTo>
                <a:cubicBezTo>
                  <a:pt x="37" y="55"/>
                  <a:pt x="40" y="57"/>
                  <a:pt x="44" y="59"/>
                </a:cubicBezTo>
                <a:cubicBezTo>
                  <a:pt x="53" y="64"/>
                  <a:pt x="61" y="69"/>
                  <a:pt x="70" y="73"/>
                </a:cubicBezTo>
                <a:cubicBezTo>
                  <a:pt x="70" y="71"/>
                  <a:pt x="69" y="71"/>
                  <a:pt x="71" y="71"/>
                </a:cubicBezTo>
                <a:cubicBezTo>
                  <a:pt x="71" y="71"/>
                  <a:pt x="75" y="71"/>
                  <a:pt x="75" y="71"/>
                </a:cubicBezTo>
                <a:cubicBezTo>
                  <a:pt x="75" y="69"/>
                  <a:pt x="75" y="68"/>
                  <a:pt x="75" y="66"/>
                </a:cubicBezTo>
                <a:cubicBezTo>
                  <a:pt x="75" y="59"/>
                  <a:pt x="75" y="52"/>
                  <a:pt x="75" y="44"/>
                </a:cubicBezTo>
                <a:cubicBezTo>
                  <a:pt x="75" y="37"/>
                  <a:pt x="75" y="30"/>
                  <a:pt x="75" y="24"/>
                </a:cubicBezTo>
                <a:cubicBezTo>
                  <a:pt x="75" y="22"/>
                  <a:pt x="75" y="21"/>
                  <a:pt x="75" y="20"/>
                </a:cubicBezTo>
                <a:cubicBezTo>
                  <a:pt x="74" y="19"/>
                  <a:pt x="74" y="18"/>
                  <a:pt x="74" y="17"/>
                </a:cubicBezTo>
                <a:cubicBezTo>
                  <a:pt x="74" y="16"/>
                  <a:pt x="76" y="15"/>
                  <a:pt x="76" y="14"/>
                </a:cubicBezTo>
                <a:cubicBezTo>
                  <a:pt x="76" y="13"/>
                  <a:pt x="74" y="12"/>
                  <a:pt x="74" y="11"/>
                </a:cubicBezTo>
                <a:cubicBezTo>
                  <a:pt x="74" y="10"/>
                  <a:pt x="75" y="9"/>
                  <a:pt x="76" y="8"/>
                </a:cubicBezTo>
                <a:cubicBezTo>
                  <a:pt x="73" y="6"/>
                  <a:pt x="70" y="7"/>
                  <a:pt x="67" y="5"/>
                </a:cubicBezTo>
                <a:cubicBezTo>
                  <a:pt x="65" y="4"/>
                  <a:pt x="64" y="2"/>
                  <a:pt x="61" y="2"/>
                </a:cubicBezTo>
                <a:cubicBezTo>
                  <a:pt x="57" y="2"/>
                  <a:pt x="53" y="3"/>
                  <a:pt x="51" y="6"/>
                </a:cubicBezTo>
                <a:cubicBezTo>
                  <a:pt x="50" y="7"/>
                  <a:pt x="50" y="8"/>
                  <a:pt x="51" y="9"/>
                </a:cubicBezTo>
                <a:cubicBezTo>
                  <a:pt x="52" y="11"/>
                  <a:pt x="51" y="12"/>
                  <a:pt x="50" y="14"/>
                </a:cubicBezTo>
                <a:cubicBezTo>
                  <a:pt x="48" y="17"/>
                  <a:pt x="44" y="15"/>
                  <a:pt x="41" y="13"/>
                </a:cubicBezTo>
                <a:cubicBezTo>
                  <a:pt x="39" y="13"/>
                  <a:pt x="38" y="12"/>
                  <a:pt x="36" y="12"/>
                </a:cubicBezTo>
                <a:cubicBezTo>
                  <a:pt x="34" y="11"/>
                  <a:pt x="32" y="12"/>
                  <a:pt x="31" y="10"/>
                </a:cubicBezTo>
                <a:cubicBezTo>
                  <a:pt x="30" y="9"/>
                  <a:pt x="30" y="7"/>
                  <a:pt x="29" y="6"/>
                </a:cubicBezTo>
                <a:cubicBezTo>
                  <a:pt x="28" y="4"/>
                  <a:pt x="25" y="4"/>
                  <a:pt x="23" y="3"/>
                </a:cubicBezTo>
                <a:cubicBezTo>
                  <a:pt x="21" y="2"/>
                  <a:pt x="19" y="2"/>
                  <a:pt x="17" y="2"/>
                </a:cubicBezTo>
                <a:cubicBezTo>
                  <a:pt x="15" y="2"/>
                  <a:pt x="14" y="1"/>
                  <a:pt x="11" y="0"/>
                </a:cubicBezTo>
                <a:cubicBezTo>
                  <a:pt x="11" y="1"/>
                  <a:pt x="11" y="2"/>
                  <a:pt x="11" y="4"/>
                </a:cubicBezTo>
                <a:cubicBezTo>
                  <a:pt x="11" y="5"/>
                  <a:pt x="11" y="4"/>
                  <a:pt x="9" y="6"/>
                </a:cubicBezTo>
                <a:cubicBezTo>
                  <a:pt x="8" y="7"/>
                  <a:pt x="7" y="7"/>
                  <a:pt x="5" y="8"/>
                </a:cubicBezTo>
                <a:cubicBezTo>
                  <a:pt x="3" y="10"/>
                  <a:pt x="6" y="12"/>
                  <a:pt x="5" y="14"/>
                </a:cubicBezTo>
                <a:cubicBezTo>
                  <a:pt x="4" y="16"/>
                  <a:pt x="1" y="16"/>
                  <a:pt x="1" y="17"/>
                </a:cubicBezTo>
                <a:cubicBezTo>
                  <a:pt x="1" y="19"/>
                  <a:pt x="2" y="20"/>
                  <a:pt x="3" y="21"/>
                </a:cubicBezTo>
                <a:cubicBezTo>
                  <a:pt x="3" y="23"/>
                  <a:pt x="3" y="25"/>
                  <a:pt x="3" y="26"/>
                </a:cubicBezTo>
                <a:cubicBezTo>
                  <a:pt x="3" y="28"/>
                  <a:pt x="4" y="29"/>
                  <a:pt x="3" y="31"/>
                </a:cubicBezTo>
                <a:cubicBezTo>
                  <a:pt x="3" y="32"/>
                  <a:pt x="3" y="33"/>
                  <a:pt x="3" y="34"/>
                </a:cubicBezTo>
                <a:cubicBezTo>
                  <a:pt x="3" y="35"/>
                  <a:pt x="4" y="36"/>
                  <a:pt x="3" y="37"/>
                </a:cubicBezTo>
                <a:cubicBezTo>
                  <a:pt x="3" y="38"/>
                  <a:pt x="0" y="38"/>
                  <a:pt x="1" y="40"/>
                </a:cubicBezTo>
                <a:cubicBezTo>
                  <a:pt x="3" y="42"/>
                  <a:pt x="4" y="43"/>
                  <a:pt x="4" y="46"/>
                </a:cubicBezTo>
                <a:cubicBezTo>
                  <a:pt x="4" y="48"/>
                  <a:pt x="6" y="47"/>
                  <a:pt x="7" y="48"/>
                </a:cubicBezTo>
                <a:cubicBezTo>
                  <a:pt x="9" y="48"/>
                  <a:pt x="10" y="48"/>
                  <a:pt x="11" y="49"/>
                </a:cubicBezTo>
                <a:cubicBezTo>
                  <a:pt x="12" y="50"/>
                  <a:pt x="13" y="52"/>
                  <a:pt x="14" y="53"/>
                </a:cubicBezTo>
                <a:cubicBezTo>
                  <a:pt x="16" y="54"/>
                  <a:pt x="19" y="53"/>
                  <a:pt x="21" y="55"/>
                </a:cubicBezTo>
                <a:cubicBezTo>
                  <a:pt x="22" y="56"/>
                  <a:pt x="20" y="54"/>
                  <a:pt x="21" y="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77" name="Freeform 773">
            <a:extLst>
              <a:ext uri="{FF2B5EF4-FFF2-40B4-BE49-F238E27FC236}">
                <a16:creationId xmlns:a16="http://schemas.microsoft.com/office/drawing/2014/main" id="{1440E28F-0FF7-B24B-AD73-7F4374AC0C39}"/>
              </a:ext>
            </a:extLst>
          </p:cNvPr>
          <p:cNvSpPr>
            <a:spLocks/>
          </p:cNvSpPr>
          <p:nvPr/>
        </p:nvSpPr>
        <p:spPr bwMode="auto">
          <a:xfrm>
            <a:off x="5427724" y="4159862"/>
            <a:ext cx="217077" cy="176531"/>
          </a:xfrm>
          <a:custGeom>
            <a:avLst/>
            <a:gdLst>
              <a:gd name="T0" fmla="*/ 19 w 42"/>
              <a:gd name="T1" fmla="*/ 34 h 34"/>
              <a:gd name="T2" fmla="*/ 20 w 42"/>
              <a:gd name="T3" fmla="*/ 25 h 34"/>
              <a:gd name="T4" fmla="*/ 24 w 42"/>
              <a:gd name="T5" fmla="*/ 22 h 34"/>
              <a:gd name="T6" fmla="*/ 25 w 42"/>
              <a:gd name="T7" fmla="*/ 20 h 34"/>
              <a:gd name="T8" fmla="*/ 25 w 42"/>
              <a:gd name="T9" fmla="*/ 9 h 34"/>
              <a:gd name="T10" fmla="*/ 32 w 42"/>
              <a:gd name="T11" fmla="*/ 9 h 34"/>
              <a:gd name="T12" fmla="*/ 41 w 42"/>
              <a:gd name="T13" fmla="*/ 9 h 34"/>
              <a:gd name="T14" fmla="*/ 42 w 42"/>
              <a:gd name="T15" fmla="*/ 2 h 34"/>
              <a:gd name="T16" fmla="*/ 40 w 42"/>
              <a:gd name="T17" fmla="*/ 0 h 34"/>
              <a:gd name="T18" fmla="*/ 20 w 42"/>
              <a:gd name="T19" fmla="*/ 0 h 34"/>
              <a:gd name="T20" fmla="*/ 15 w 42"/>
              <a:gd name="T21" fmla="*/ 6 h 34"/>
              <a:gd name="T22" fmla="*/ 10 w 42"/>
              <a:gd name="T23" fmla="*/ 17 h 34"/>
              <a:gd name="T24" fmla="*/ 8 w 42"/>
              <a:gd name="T25" fmla="*/ 18 h 34"/>
              <a:gd name="T26" fmla="*/ 4 w 42"/>
              <a:gd name="T27" fmla="*/ 25 h 34"/>
              <a:gd name="T28" fmla="*/ 0 w 42"/>
              <a:gd name="T29" fmla="*/ 34 h 34"/>
              <a:gd name="T30" fmla="*/ 19 w 42"/>
              <a:gd name="T31" fmla="*/ 34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42" h="34">
                <a:moveTo>
                  <a:pt x="19" y="34"/>
                </a:moveTo>
                <a:cubicBezTo>
                  <a:pt x="19" y="31"/>
                  <a:pt x="18" y="26"/>
                  <a:pt x="20" y="25"/>
                </a:cubicBezTo>
                <a:cubicBezTo>
                  <a:pt x="21" y="24"/>
                  <a:pt x="23" y="23"/>
                  <a:pt x="24" y="22"/>
                </a:cubicBezTo>
                <a:cubicBezTo>
                  <a:pt x="25" y="22"/>
                  <a:pt x="25" y="20"/>
                  <a:pt x="25" y="20"/>
                </a:cubicBezTo>
                <a:cubicBezTo>
                  <a:pt x="25" y="16"/>
                  <a:pt x="25" y="13"/>
                  <a:pt x="25" y="9"/>
                </a:cubicBezTo>
                <a:cubicBezTo>
                  <a:pt x="25" y="9"/>
                  <a:pt x="31" y="9"/>
                  <a:pt x="32" y="9"/>
                </a:cubicBezTo>
                <a:cubicBezTo>
                  <a:pt x="35" y="9"/>
                  <a:pt x="38" y="9"/>
                  <a:pt x="41" y="9"/>
                </a:cubicBezTo>
                <a:cubicBezTo>
                  <a:pt x="42" y="9"/>
                  <a:pt x="42" y="3"/>
                  <a:pt x="42" y="2"/>
                </a:cubicBezTo>
                <a:cubicBezTo>
                  <a:pt x="42" y="0"/>
                  <a:pt x="42" y="0"/>
                  <a:pt x="40" y="0"/>
                </a:cubicBezTo>
                <a:cubicBezTo>
                  <a:pt x="33" y="0"/>
                  <a:pt x="27" y="0"/>
                  <a:pt x="20" y="0"/>
                </a:cubicBezTo>
                <a:cubicBezTo>
                  <a:pt x="18" y="2"/>
                  <a:pt x="17" y="4"/>
                  <a:pt x="15" y="6"/>
                </a:cubicBezTo>
                <a:cubicBezTo>
                  <a:pt x="11" y="9"/>
                  <a:pt x="11" y="12"/>
                  <a:pt x="10" y="17"/>
                </a:cubicBezTo>
                <a:cubicBezTo>
                  <a:pt x="10" y="17"/>
                  <a:pt x="9" y="18"/>
                  <a:pt x="8" y="18"/>
                </a:cubicBezTo>
                <a:cubicBezTo>
                  <a:pt x="6" y="20"/>
                  <a:pt x="5" y="22"/>
                  <a:pt x="4" y="25"/>
                </a:cubicBezTo>
                <a:cubicBezTo>
                  <a:pt x="2" y="28"/>
                  <a:pt x="0" y="30"/>
                  <a:pt x="0" y="34"/>
                </a:cubicBezTo>
                <a:cubicBezTo>
                  <a:pt x="6" y="34"/>
                  <a:pt x="13" y="34"/>
                  <a:pt x="19" y="3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78" name="Freeform 774">
            <a:extLst>
              <a:ext uri="{FF2B5EF4-FFF2-40B4-BE49-F238E27FC236}">
                <a16:creationId xmlns:a16="http://schemas.microsoft.com/office/drawing/2014/main" id="{9C8893F9-7E2E-9947-9F0C-222C925C866F}"/>
              </a:ext>
            </a:extLst>
          </p:cNvPr>
          <p:cNvSpPr>
            <a:spLocks/>
          </p:cNvSpPr>
          <p:nvPr/>
        </p:nvSpPr>
        <p:spPr bwMode="auto">
          <a:xfrm>
            <a:off x="5531849" y="3910953"/>
            <a:ext cx="310612" cy="248909"/>
          </a:xfrm>
          <a:custGeom>
            <a:avLst/>
            <a:gdLst>
              <a:gd name="T0" fmla="*/ 22 w 60"/>
              <a:gd name="T1" fmla="*/ 48 h 48"/>
              <a:gd name="T2" fmla="*/ 23 w 60"/>
              <a:gd name="T3" fmla="*/ 41 h 48"/>
              <a:gd name="T4" fmla="*/ 29 w 60"/>
              <a:gd name="T5" fmla="*/ 37 h 48"/>
              <a:gd name="T6" fmla="*/ 33 w 60"/>
              <a:gd name="T7" fmla="*/ 37 h 48"/>
              <a:gd name="T8" fmla="*/ 38 w 60"/>
              <a:gd name="T9" fmla="*/ 35 h 48"/>
              <a:gd name="T10" fmla="*/ 40 w 60"/>
              <a:gd name="T11" fmla="*/ 32 h 48"/>
              <a:gd name="T12" fmla="*/ 45 w 60"/>
              <a:gd name="T13" fmla="*/ 31 h 48"/>
              <a:gd name="T14" fmla="*/ 46 w 60"/>
              <a:gd name="T15" fmla="*/ 28 h 48"/>
              <a:gd name="T16" fmla="*/ 50 w 60"/>
              <a:gd name="T17" fmla="*/ 25 h 48"/>
              <a:gd name="T18" fmla="*/ 53 w 60"/>
              <a:gd name="T19" fmla="*/ 23 h 48"/>
              <a:gd name="T20" fmla="*/ 58 w 60"/>
              <a:gd name="T21" fmla="*/ 24 h 48"/>
              <a:gd name="T22" fmla="*/ 56 w 60"/>
              <a:gd name="T23" fmla="*/ 16 h 48"/>
              <a:gd name="T24" fmla="*/ 56 w 60"/>
              <a:gd name="T25" fmla="*/ 10 h 48"/>
              <a:gd name="T26" fmla="*/ 55 w 60"/>
              <a:gd name="T27" fmla="*/ 7 h 48"/>
              <a:gd name="T28" fmla="*/ 51 w 60"/>
              <a:gd name="T29" fmla="*/ 6 h 48"/>
              <a:gd name="T30" fmla="*/ 47 w 60"/>
              <a:gd name="T31" fmla="*/ 6 h 48"/>
              <a:gd name="T32" fmla="*/ 42 w 60"/>
              <a:gd name="T33" fmla="*/ 6 h 48"/>
              <a:gd name="T34" fmla="*/ 35 w 60"/>
              <a:gd name="T35" fmla="*/ 4 h 48"/>
              <a:gd name="T36" fmla="*/ 30 w 60"/>
              <a:gd name="T37" fmla="*/ 13 h 48"/>
              <a:gd name="T38" fmla="*/ 20 w 60"/>
              <a:gd name="T39" fmla="*/ 19 h 48"/>
              <a:gd name="T40" fmla="*/ 16 w 60"/>
              <a:gd name="T41" fmla="*/ 27 h 48"/>
              <a:gd name="T42" fmla="*/ 16 w 60"/>
              <a:gd name="T43" fmla="*/ 35 h 48"/>
              <a:gd name="T44" fmla="*/ 14 w 60"/>
              <a:gd name="T45" fmla="*/ 39 h 48"/>
              <a:gd name="T46" fmla="*/ 9 w 60"/>
              <a:gd name="T47" fmla="*/ 42 h 48"/>
              <a:gd name="T48" fmla="*/ 5 w 60"/>
              <a:gd name="T49" fmla="*/ 45 h 48"/>
              <a:gd name="T50" fmla="*/ 0 w 60"/>
              <a:gd name="T51" fmla="*/ 48 h 48"/>
              <a:gd name="T52" fmla="*/ 22 w 60"/>
              <a:gd name="T53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0" h="48">
                <a:moveTo>
                  <a:pt x="22" y="48"/>
                </a:moveTo>
                <a:cubicBezTo>
                  <a:pt x="22" y="45"/>
                  <a:pt x="21" y="43"/>
                  <a:pt x="23" y="41"/>
                </a:cubicBezTo>
                <a:cubicBezTo>
                  <a:pt x="25" y="40"/>
                  <a:pt x="28" y="39"/>
                  <a:pt x="29" y="37"/>
                </a:cubicBezTo>
                <a:cubicBezTo>
                  <a:pt x="30" y="37"/>
                  <a:pt x="32" y="37"/>
                  <a:pt x="33" y="37"/>
                </a:cubicBezTo>
                <a:cubicBezTo>
                  <a:pt x="34" y="36"/>
                  <a:pt x="36" y="36"/>
                  <a:pt x="38" y="35"/>
                </a:cubicBezTo>
                <a:cubicBezTo>
                  <a:pt x="39" y="34"/>
                  <a:pt x="39" y="33"/>
                  <a:pt x="40" y="32"/>
                </a:cubicBezTo>
                <a:cubicBezTo>
                  <a:pt x="41" y="31"/>
                  <a:pt x="44" y="32"/>
                  <a:pt x="45" y="31"/>
                </a:cubicBezTo>
                <a:cubicBezTo>
                  <a:pt x="46" y="30"/>
                  <a:pt x="46" y="29"/>
                  <a:pt x="46" y="28"/>
                </a:cubicBezTo>
                <a:cubicBezTo>
                  <a:pt x="46" y="26"/>
                  <a:pt x="49" y="26"/>
                  <a:pt x="50" y="25"/>
                </a:cubicBezTo>
                <a:cubicBezTo>
                  <a:pt x="51" y="24"/>
                  <a:pt x="51" y="23"/>
                  <a:pt x="53" y="23"/>
                </a:cubicBezTo>
                <a:cubicBezTo>
                  <a:pt x="54" y="23"/>
                  <a:pt x="57" y="24"/>
                  <a:pt x="58" y="24"/>
                </a:cubicBezTo>
                <a:cubicBezTo>
                  <a:pt x="60" y="23"/>
                  <a:pt x="56" y="17"/>
                  <a:pt x="56" y="16"/>
                </a:cubicBezTo>
                <a:cubicBezTo>
                  <a:pt x="56" y="14"/>
                  <a:pt x="56" y="12"/>
                  <a:pt x="56" y="10"/>
                </a:cubicBezTo>
                <a:cubicBezTo>
                  <a:pt x="55" y="9"/>
                  <a:pt x="55" y="8"/>
                  <a:pt x="55" y="7"/>
                </a:cubicBezTo>
                <a:cubicBezTo>
                  <a:pt x="53" y="7"/>
                  <a:pt x="52" y="6"/>
                  <a:pt x="51" y="6"/>
                </a:cubicBezTo>
                <a:cubicBezTo>
                  <a:pt x="50" y="5"/>
                  <a:pt x="48" y="6"/>
                  <a:pt x="47" y="6"/>
                </a:cubicBezTo>
                <a:cubicBezTo>
                  <a:pt x="46" y="5"/>
                  <a:pt x="44" y="6"/>
                  <a:pt x="42" y="6"/>
                </a:cubicBezTo>
                <a:cubicBezTo>
                  <a:pt x="40" y="6"/>
                  <a:pt x="36" y="0"/>
                  <a:pt x="35" y="4"/>
                </a:cubicBezTo>
                <a:cubicBezTo>
                  <a:pt x="34" y="7"/>
                  <a:pt x="33" y="10"/>
                  <a:pt x="30" y="13"/>
                </a:cubicBezTo>
                <a:cubicBezTo>
                  <a:pt x="27" y="16"/>
                  <a:pt x="23" y="16"/>
                  <a:pt x="20" y="19"/>
                </a:cubicBezTo>
                <a:cubicBezTo>
                  <a:pt x="18" y="21"/>
                  <a:pt x="17" y="24"/>
                  <a:pt x="16" y="27"/>
                </a:cubicBezTo>
                <a:cubicBezTo>
                  <a:pt x="16" y="29"/>
                  <a:pt x="17" y="32"/>
                  <a:pt x="16" y="35"/>
                </a:cubicBezTo>
                <a:cubicBezTo>
                  <a:pt x="15" y="36"/>
                  <a:pt x="14" y="38"/>
                  <a:pt x="14" y="39"/>
                </a:cubicBezTo>
                <a:cubicBezTo>
                  <a:pt x="13" y="41"/>
                  <a:pt x="11" y="41"/>
                  <a:pt x="9" y="42"/>
                </a:cubicBezTo>
                <a:cubicBezTo>
                  <a:pt x="8" y="43"/>
                  <a:pt x="7" y="44"/>
                  <a:pt x="5" y="45"/>
                </a:cubicBezTo>
                <a:cubicBezTo>
                  <a:pt x="4" y="46"/>
                  <a:pt x="2" y="46"/>
                  <a:pt x="0" y="48"/>
                </a:cubicBezTo>
                <a:lnTo>
                  <a:pt x="22" y="4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79" name="Freeform 775">
            <a:extLst>
              <a:ext uri="{FF2B5EF4-FFF2-40B4-BE49-F238E27FC236}">
                <a16:creationId xmlns:a16="http://schemas.microsoft.com/office/drawing/2014/main" id="{5E709295-37EA-B84B-A869-4FEC6A556FFB}"/>
              </a:ext>
            </a:extLst>
          </p:cNvPr>
          <p:cNvSpPr>
            <a:spLocks/>
          </p:cNvSpPr>
          <p:nvPr/>
        </p:nvSpPr>
        <p:spPr bwMode="auto">
          <a:xfrm>
            <a:off x="5641271" y="3886239"/>
            <a:ext cx="536513" cy="511938"/>
          </a:xfrm>
          <a:custGeom>
            <a:avLst/>
            <a:gdLst>
              <a:gd name="T0" fmla="*/ 35 w 104"/>
              <a:gd name="T1" fmla="*/ 22 h 99"/>
              <a:gd name="T2" fmla="*/ 36 w 104"/>
              <a:gd name="T3" fmla="*/ 29 h 99"/>
              <a:gd name="T4" fmla="*/ 31 w 104"/>
              <a:gd name="T5" fmla="*/ 28 h 99"/>
              <a:gd name="T6" fmla="*/ 29 w 104"/>
              <a:gd name="T7" fmla="*/ 30 h 99"/>
              <a:gd name="T8" fmla="*/ 26 w 104"/>
              <a:gd name="T9" fmla="*/ 31 h 99"/>
              <a:gd name="T10" fmla="*/ 24 w 104"/>
              <a:gd name="T11" fmla="*/ 35 h 99"/>
              <a:gd name="T12" fmla="*/ 20 w 104"/>
              <a:gd name="T13" fmla="*/ 37 h 99"/>
              <a:gd name="T14" fmla="*/ 17 w 104"/>
              <a:gd name="T15" fmla="*/ 40 h 99"/>
              <a:gd name="T16" fmla="*/ 11 w 104"/>
              <a:gd name="T17" fmla="*/ 42 h 99"/>
              <a:gd name="T18" fmla="*/ 8 w 104"/>
              <a:gd name="T19" fmla="*/ 43 h 99"/>
              <a:gd name="T20" fmla="*/ 4 w 104"/>
              <a:gd name="T21" fmla="*/ 45 h 99"/>
              <a:gd name="T22" fmla="*/ 1 w 104"/>
              <a:gd name="T23" fmla="*/ 52 h 99"/>
              <a:gd name="T24" fmla="*/ 2 w 104"/>
              <a:gd name="T25" fmla="*/ 56 h 99"/>
              <a:gd name="T26" fmla="*/ 6 w 104"/>
              <a:gd name="T27" fmla="*/ 59 h 99"/>
              <a:gd name="T28" fmla="*/ 37 w 104"/>
              <a:gd name="T29" fmla="*/ 79 h 99"/>
              <a:gd name="T30" fmla="*/ 48 w 104"/>
              <a:gd name="T31" fmla="*/ 86 h 99"/>
              <a:gd name="T32" fmla="*/ 49 w 104"/>
              <a:gd name="T33" fmla="*/ 87 h 99"/>
              <a:gd name="T34" fmla="*/ 58 w 104"/>
              <a:gd name="T35" fmla="*/ 93 h 99"/>
              <a:gd name="T36" fmla="*/ 61 w 104"/>
              <a:gd name="T37" fmla="*/ 99 h 99"/>
              <a:gd name="T38" fmla="*/ 67 w 104"/>
              <a:gd name="T39" fmla="*/ 97 h 99"/>
              <a:gd name="T40" fmla="*/ 72 w 104"/>
              <a:gd name="T41" fmla="*/ 96 h 99"/>
              <a:gd name="T42" fmla="*/ 85 w 104"/>
              <a:gd name="T43" fmla="*/ 87 h 99"/>
              <a:gd name="T44" fmla="*/ 100 w 104"/>
              <a:gd name="T45" fmla="*/ 77 h 99"/>
              <a:gd name="T46" fmla="*/ 104 w 104"/>
              <a:gd name="T47" fmla="*/ 75 h 99"/>
              <a:gd name="T48" fmla="*/ 97 w 104"/>
              <a:gd name="T49" fmla="*/ 69 h 99"/>
              <a:gd name="T50" fmla="*/ 94 w 104"/>
              <a:gd name="T51" fmla="*/ 69 h 99"/>
              <a:gd name="T52" fmla="*/ 92 w 104"/>
              <a:gd name="T53" fmla="*/ 63 h 99"/>
              <a:gd name="T54" fmla="*/ 92 w 104"/>
              <a:gd name="T55" fmla="*/ 60 h 99"/>
              <a:gd name="T56" fmla="*/ 93 w 104"/>
              <a:gd name="T57" fmla="*/ 55 h 99"/>
              <a:gd name="T58" fmla="*/ 93 w 104"/>
              <a:gd name="T59" fmla="*/ 50 h 99"/>
              <a:gd name="T60" fmla="*/ 93 w 104"/>
              <a:gd name="T61" fmla="*/ 46 h 99"/>
              <a:gd name="T62" fmla="*/ 92 w 104"/>
              <a:gd name="T63" fmla="*/ 42 h 99"/>
              <a:gd name="T64" fmla="*/ 91 w 104"/>
              <a:gd name="T65" fmla="*/ 37 h 99"/>
              <a:gd name="T66" fmla="*/ 87 w 104"/>
              <a:gd name="T67" fmla="*/ 27 h 99"/>
              <a:gd name="T68" fmla="*/ 82 w 104"/>
              <a:gd name="T69" fmla="*/ 20 h 99"/>
              <a:gd name="T70" fmla="*/ 85 w 104"/>
              <a:gd name="T71" fmla="*/ 13 h 99"/>
              <a:gd name="T72" fmla="*/ 86 w 104"/>
              <a:gd name="T73" fmla="*/ 2 h 99"/>
              <a:gd name="T74" fmla="*/ 84 w 104"/>
              <a:gd name="T75" fmla="*/ 1 h 99"/>
              <a:gd name="T76" fmla="*/ 81 w 104"/>
              <a:gd name="T77" fmla="*/ 0 h 99"/>
              <a:gd name="T78" fmla="*/ 79 w 104"/>
              <a:gd name="T79" fmla="*/ 1 h 99"/>
              <a:gd name="T80" fmla="*/ 75 w 104"/>
              <a:gd name="T81" fmla="*/ 0 h 99"/>
              <a:gd name="T82" fmla="*/ 72 w 104"/>
              <a:gd name="T83" fmla="*/ 2 h 99"/>
              <a:gd name="T84" fmla="*/ 68 w 104"/>
              <a:gd name="T85" fmla="*/ 1 h 99"/>
              <a:gd name="T86" fmla="*/ 61 w 104"/>
              <a:gd name="T87" fmla="*/ 2 h 99"/>
              <a:gd name="T88" fmla="*/ 46 w 104"/>
              <a:gd name="T89" fmla="*/ 5 h 99"/>
              <a:gd name="T90" fmla="*/ 43 w 104"/>
              <a:gd name="T91" fmla="*/ 7 h 99"/>
              <a:gd name="T92" fmla="*/ 39 w 104"/>
              <a:gd name="T93" fmla="*/ 8 h 99"/>
              <a:gd name="T94" fmla="*/ 34 w 104"/>
              <a:gd name="T95" fmla="*/ 12 h 99"/>
              <a:gd name="T96" fmla="*/ 35 w 104"/>
              <a:gd name="T97" fmla="*/ 22 h 99"/>
              <a:gd name="T98" fmla="*/ 35 w 104"/>
              <a:gd name="T99" fmla="*/ 22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04" h="99">
                <a:moveTo>
                  <a:pt x="35" y="22"/>
                </a:moveTo>
                <a:cubicBezTo>
                  <a:pt x="36" y="23"/>
                  <a:pt x="40" y="29"/>
                  <a:pt x="36" y="29"/>
                </a:cubicBezTo>
                <a:cubicBezTo>
                  <a:pt x="35" y="28"/>
                  <a:pt x="32" y="27"/>
                  <a:pt x="31" y="28"/>
                </a:cubicBezTo>
                <a:cubicBezTo>
                  <a:pt x="30" y="29"/>
                  <a:pt x="30" y="29"/>
                  <a:pt x="29" y="30"/>
                </a:cubicBezTo>
                <a:cubicBezTo>
                  <a:pt x="28" y="31"/>
                  <a:pt x="27" y="31"/>
                  <a:pt x="26" y="31"/>
                </a:cubicBezTo>
                <a:cubicBezTo>
                  <a:pt x="24" y="32"/>
                  <a:pt x="25" y="34"/>
                  <a:pt x="24" y="35"/>
                </a:cubicBezTo>
                <a:cubicBezTo>
                  <a:pt x="24" y="37"/>
                  <a:pt x="21" y="36"/>
                  <a:pt x="20" y="37"/>
                </a:cubicBezTo>
                <a:cubicBezTo>
                  <a:pt x="18" y="37"/>
                  <a:pt x="18" y="39"/>
                  <a:pt x="17" y="40"/>
                </a:cubicBezTo>
                <a:cubicBezTo>
                  <a:pt x="15" y="42"/>
                  <a:pt x="13" y="41"/>
                  <a:pt x="11" y="42"/>
                </a:cubicBezTo>
                <a:cubicBezTo>
                  <a:pt x="10" y="42"/>
                  <a:pt x="9" y="42"/>
                  <a:pt x="8" y="43"/>
                </a:cubicBezTo>
                <a:cubicBezTo>
                  <a:pt x="7" y="43"/>
                  <a:pt x="5" y="44"/>
                  <a:pt x="4" y="45"/>
                </a:cubicBezTo>
                <a:cubicBezTo>
                  <a:pt x="0" y="47"/>
                  <a:pt x="1" y="48"/>
                  <a:pt x="1" y="52"/>
                </a:cubicBezTo>
                <a:cubicBezTo>
                  <a:pt x="1" y="55"/>
                  <a:pt x="0" y="55"/>
                  <a:pt x="2" y="56"/>
                </a:cubicBezTo>
                <a:cubicBezTo>
                  <a:pt x="3" y="57"/>
                  <a:pt x="5" y="58"/>
                  <a:pt x="6" y="59"/>
                </a:cubicBezTo>
                <a:cubicBezTo>
                  <a:pt x="16" y="66"/>
                  <a:pt x="26" y="72"/>
                  <a:pt x="37" y="79"/>
                </a:cubicBezTo>
                <a:cubicBezTo>
                  <a:pt x="40" y="81"/>
                  <a:pt x="44" y="84"/>
                  <a:pt x="48" y="86"/>
                </a:cubicBezTo>
                <a:cubicBezTo>
                  <a:pt x="48" y="87"/>
                  <a:pt x="49" y="87"/>
                  <a:pt x="49" y="87"/>
                </a:cubicBezTo>
                <a:cubicBezTo>
                  <a:pt x="52" y="92"/>
                  <a:pt x="54" y="92"/>
                  <a:pt x="58" y="93"/>
                </a:cubicBezTo>
                <a:cubicBezTo>
                  <a:pt x="61" y="94"/>
                  <a:pt x="58" y="98"/>
                  <a:pt x="61" y="99"/>
                </a:cubicBezTo>
                <a:cubicBezTo>
                  <a:pt x="62" y="99"/>
                  <a:pt x="65" y="98"/>
                  <a:pt x="67" y="97"/>
                </a:cubicBezTo>
                <a:cubicBezTo>
                  <a:pt x="68" y="97"/>
                  <a:pt x="71" y="97"/>
                  <a:pt x="72" y="96"/>
                </a:cubicBezTo>
                <a:cubicBezTo>
                  <a:pt x="76" y="93"/>
                  <a:pt x="80" y="90"/>
                  <a:pt x="85" y="87"/>
                </a:cubicBezTo>
                <a:cubicBezTo>
                  <a:pt x="90" y="84"/>
                  <a:pt x="95" y="80"/>
                  <a:pt x="100" y="77"/>
                </a:cubicBezTo>
                <a:cubicBezTo>
                  <a:pt x="101" y="77"/>
                  <a:pt x="102" y="76"/>
                  <a:pt x="104" y="75"/>
                </a:cubicBezTo>
                <a:cubicBezTo>
                  <a:pt x="102" y="71"/>
                  <a:pt x="101" y="70"/>
                  <a:pt x="97" y="69"/>
                </a:cubicBezTo>
                <a:cubicBezTo>
                  <a:pt x="96" y="69"/>
                  <a:pt x="94" y="69"/>
                  <a:pt x="94" y="69"/>
                </a:cubicBezTo>
                <a:cubicBezTo>
                  <a:pt x="94" y="66"/>
                  <a:pt x="94" y="65"/>
                  <a:pt x="92" y="63"/>
                </a:cubicBezTo>
                <a:cubicBezTo>
                  <a:pt x="91" y="61"/>
                  <a:pt x="91" y="61"/>
                  <a:pt x="92" y="60"/>
                </a:cubicBezTo>
                <a:cubicBezTo>
                  <a:pt x="94" y="58"/>
                  <a:pt x="93" y="57"/>
                  <a:pt x="93" y="55"/>
                </a:cubicBezTo>
                <a:cubicBezTo>
                  <a:pt x="93" y="53"/>
                  <a:pt x="94" y="52"/>
                  <a:pt x="93" y="50"/>
                </a:cubicBezTo>
                <a:cubicBezTo>
                  <a:pt x="93" y="49"/>
                  <a:pt x="93" y="48"/>
                  <a:pt x="93" y="46"/>
                </a:cubicBezTo>
                <a:cubicBezTo>
                  <a:pt x="93" y="45"/>
                  <a:pt x="93" y="43"/>
                  <a:pt x="92" y="42"/>
                </a:cubicBezTo>
                <a:cubicBezTo>
                  <a:pt x="91" y="41"/>
                  <a:pt x="91" y="39"/>
                  <a:pt x="91" y="37"/>
                </a:cubicBezTo>
                <a:cubicBezTo>
                  <a:pt x="91" y="34"/>
                  <a:pt x="90" y="30"/>
                  <a:pt x="87" y="27"/>
                </a:cubicBezTo>
                <a:cubicBezTo>
                  <a:pt x="85" y="25"/>
                  <a:pt x="83" y="23"/>
                  <a:pt x="82" y="20"/>
                </a:cubicBezTo>
                <a:cubicBezTo>
                  <a:pt x="80" y="16"/>
                  <a:pt x="84" y="17"/>
                  <a:pt x="85" y="13"/>
                </a:cubicBezTo>
                <a:cubicBezTo>
                  <a:pt x="85" y="9"/>
                  <a:pt x="85" y="6"/>
                  <a:pt x="86" y="2"/>
                </a:cubicBezTo>
                <a:cubicBezTo>
                  <a:pt x="85" y="2"/>
                  <a:pt x="85" y="1"/>
                  <a:pt x="84" y="1"/>
                </a:cubicBezTo>
                <a:cubicBezTo>
                  <a:pt x="82" y="2"/>
                  <a:pt x="82" y="0"/>
                  <a:pt x="81" y="0"/>
                </a:cubicBezTo>
                <a:cubicBezTo>
                  <a:pt x="80" y="0"/>
                  <a:pt x="80" y="1"/>
                  <a:pt x="79" y="1"/>
                </a:cubicBezTo>
                <a:cubicBezTo>
                  <a:pt x="77" y="1"/>
                  <a:pt x="77" y="0"/>
                  <a:pt x="75" y="0"/>
                </a:cubicBezTo>
                <a:cubicBezTo>
                  <a:pt x="74" y="1"/>
                  <a:pt x="73" y="1"/>
                  <a:pt x="72" y="2"/>
                </a:cubicBezTo>
                <a:cubicBezTo>
                  <a:pt x="70" y="3"/>
                  <a:pt x="70" y="2"/>
                  <a:pt x="68" y="1"/>
                </a:cubicBezTo>
                <a:cubicBezTo>
                  <a:pt x="66" y="1"/>
                  <a:pt x="63" y="1"/>
                  <a:pt x="61" y="2"/>
                </a:cubicBezTo>
                <a:cubicBezTo>
                  <a:pt x="56" y="3"/>
                  <a:pt x="51" y="3"/>
                  <a:pt x="46" y="5"/>
                </a:cubicBezTo>
                <a:cubicBezTo>
                  <a:pt x="45" y="6"/>
                  <a:pt x="44" y="7"/>
                  <a:pt x="43" y="7"/>
                </a:cubicBezTo>
                <a:cubicBezTo>
                  <a:pt x="42" y="8"/>
                  <a:pt x="40" y="8"/>
                  <a:pt x="39" y="8"/>
                </a:cubicBezTo>
                <a:cubicBezTo>
                  <a:pt x="37" y="9"/>
                  <a:pt x="37" y="12"/>
                  <a:pt x="34" y="12"/>
                </a:cubicBezTo>
                <a:cubicBezTo>
                  <a:pt x="35" y="15"/>
                  <a:pt x="35" y="18"/>
                  <a:pt x="35" y="22"/>
                </a:cubicBezTo>
                <a:cubicBezTo>
                  <a:pt x="36" y="23"/>
                  <a:pt x="35" y="20"/>
                  <a:pt x="35" y="2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80" name="Freeform 776">
            <a:extLst>
              <a:ext uri="{FF2B5EF4-FFF2-40B4-BE49-F238E27FC236}">
                <a16:creationId xmlns:a16="http://schemas.microsoft.com/office/drawing/2014/main" id="{24046109-2F74-594B-9CF2-5BCF5346BBA8}"/>
              </a:ext>
            </a:extLst>
          </p:cNvPr>
          <p:cNvSpPr>
            <a:spLocks/>
          </p:cNvSpPr>
          <p:nvPr/>
        </p:nvSpPr>
        <p:spPr bwMode="auto">
          <a:xfrm>
            <a:off x="3978785" y="1946169"/>
            <a:ext cx="1579538" cy="1177459"/>
          </a:xfrm>
          <a:custGeom>
            <a:avLst/>
            <a:gdLst>
              <a:gd name="T0" fmla="*/ 33 w 305"/>
              <a:gd name="T1" fmla="*/ 54 h 227"/>
              <a:gd name="T2" fmla="*/ 1 w 305"/>
              <a:gd name="T3" fmla="*/ 63 h 227"/>
              <a:gd name="T4" fmla="*/ 19 w 305"/>
              <a:gd name="T5" fmla="*/ 72 h 227"/>
              <a:gd name="T6" fmla="*/ 24 w 305"/>
              <a:gd name="T7" fmla="*/ 75 h 227"/>
              <a:gd name="T8" fmla="*/ 20 w 305"/>
              <a:gd name="T9" fmla="*/ 81 h 227"/>
              <a:gd name="T10" fmla="*/ 36 w 305"/>
              <a:gd name="T11" fmla="*/ 86 h 227"/>
              <a:gd name="T12" fmla="*/ 73 w 305"/>
              <a:gd name="T13" fmla="*/ 93 h 227"/>
              <a:gd name="T14" fmla="*/ 87 w 305"/>
              <a:gd name="T15" fmla="*/ 112 h 227"/>
              <a:gd name="T16" fmla="*/ 88 w 305"/>
              <a:gd name="T17" fmla="*/ 122 h 227"/>
              <a:gd name="T18" fmla="*/ 89 w 305"/>
              <a:gd name="T19" fmla="*/ 131 h 227"/>
              <a:gd name="T20" fmla="*/ 104 w 305"/>
              <a:gd name="T21" fmla="*/ 129 h 227"/>
              <a:gd name="T22" fmla="*/ 106 w 305"/>
              <a:gd name="T23" fmla="*/ 135 h 227"/>
              <a:gd name="T24" fmla="*/ 106 w 305"/>
              <a:gd name="T25" fmla="*/ 144 h 227"/>
              <a:gd name="T26" fmla="*/ 109 w 305"/>
              <a:gd name="T27" fmla="*/ 155 h 227"/>
              <a:gd name="T28" fmla="*/ 106 w 305"/>
              <a:gd name="T29" fmla="*/ 160 h 227"/>
              <a:gd name="T30" fmla="*/ 100 w 305"/>
              <a:gd name="T31" fmla="*/ 162 h 227"/>
              <a:gd name="T32" fmla="*/ 112 w 305"/>
              <a:gd name="T33" fmla="*/ 165 h 227"/>
              <a:gd name="T34" fmla="*/ 112 w 305"/>
              <a:gd name="T35" fmla="*/ 169 h 227"/>
              <a:gd name="T36" fmla="*/ 107 w 305"/>
              <a:gd name="T37" fmla="*/ 172 h 227"/>
              <a:gd name="T38" fmla="*/ 107 w 305"/>
              <a:gd name="T39" fmla="*/ 180 h 227"/>
              <a:gd name="T40" fmla="*/ 110 w 305"/>
              <a:gd name="T41" fmla="*/ 192 h 227"/>
              <a:gd name="T42" fmla="*/ 114 w 305"/>
              <a:gd name="T43" fmla="*/ 193 h 227"/>
              <a:gd name="T44" fmla="*/ 120 w 305"/>
              <a:gd name="T45" fmla="*/ 210 h 227"/>
              <a:gd name="T46" fmla="*/ 138 w 305"/>
              <a:gd name="T47" fmla="*/ 219 h 227"/>
              <a:gd name="T48" fmla="*/ 142 w 305"/>
              <a:gd name="T49" fmla="*/ 224 h 227"/>
              <a:gd name="T50" fmla="*/ 151 w 305"/>
              <a:gd name="T51" fmla="*/ 214 h 227"/>
              <a:gd name="T52" fmla="*/ 156 w 305"/>
              <a:gd name="T53" fmla="*/ 200 h 227"/>
              <a:gd name="T54" fmla="*/ 163 w 305"/>
              <a:gd name="T55" fmla="*/ 192 h 227"/>
              <a:gd name="T56" fmla="*/ 173 w 305"/>
              <a:gd name="T57" fmla="*/ 179 h 227"/>
              <a:gd name="T58" fmla="*/ 193 w 305"/>
              <a:gd name="T59" fmla="*/ 173 h 227"/>
              <a:gd name="T60" fmla="*/ 216 w 305"/>
              <a:gd name="T61" fmla="*/ 160 h 227"/>
              <a:gd name="T62" fmla="*/ 232 w 305"/>
              <a:gd name="T63" fmla="*/ 142 h 227"/>
              <a:gd name="T64" fmla="*/ 234 w 305"/>
              <a:gd name="T65" fmla="*/ 130 h 227"/>
              <a:gd name="T66" fmla="*/ 253 w 305"/>
              <a:gd name="T67" fmla="*/ 129 h 227"/>
              <a:gd name="T68" fmla="*/ 233 w 305"/>
              <a:gd name="T69" fmla="*/ 119 h 227"/>
              <a:gd name="T70" fmla="*/ 238 w 305"/>
              <a:gd name="T71" fmla="*/ 113 h 227"/>
              <a:gd name="T72" fmla="*/ 262 w 305"/>
              <a:gd name="T73" fmla="*/ 112 h 227"/>
              <a:gd name="T74" fmla="*/ 258 w 305"/>
              <a:gd name="T75" fmla="*/ 106 h 227"/>
              <a:gd name="T76" fmla="*/ 266 w 305"/>
              <a:gd name="T77" fmla="*/ 95 h 227"/>
              <a:gd name="T78" fmla="*/ 253 w 305"/>
              <a:gd name="T79" fmla="*/ 80 h 227"/>
              <a:gd name="T80" fmla="*/ 263 w 305"/>
              <a:gd name="T81" fmla="*/ 66 h 227"/>
              <a:gd name="T82" fmla="*/ 268 w 305"/>
              <a:gd name="T83" fmla="*/ 51 h 227"/>
              <a:gd name="T84" fmla="*/ 283 w 305"/>
              <a:gd name="T85" fmla="*/ 38 h 227"/>
              <a:gd name="T86" fmla="*/ 291 w 305"/>
              <a:gd name="T87" fmla="*/ 33 h 227"/>
              <a:gd name="T88" fmla="*/ 259 w 305"/>
              <a:gd name="T89" fmla="*/ 28 h 227"/>
              <a:gd name="T90" fmla="*/ 238 w 305"/>
              <a:gd name="T91" fmla="*/ 21 h 227"/>
              <a:gd name="T92" fmla="*/ 256 w 305"/>
              <a:gd name="T93" fmla="*/ 14 h 227"/>
              <a:gd name="T94" fmla="*/ 206 w 305"/>
              <a:gd name="T95" fmla="*/ 8 h 227"/>
              <a:gd name="T96" fmla="*/ 213 w 305"/>
              <a:gd name="T97" fmla="*/ 0 h 227"/>
              <a:gd name="T98" fmla="*/ 173 w 305"/>
              <a:gd name="T99" fmla="*/ 8 h 227"/>
              <a:gd name="T100" fmla="*/ 155 w 305"/>
              <a:gd name="T101" fmla="*/ 10 h 227"/>
              <a:gd name="T102" fmla="*/ 154 w 305"/>
              <a:gd name="T103" fmla="*/ 11 h 227"/>
              <a:gd name="T104" fmla="*/ 140 w 305"/>
              <a:gd name="T105" fmla="*/ 14 h 227"/>
              <a:gd name="T106" fmla="*/ 111 w 305"/>
              <a:gd name="T107" fmla="*/ 14 h 227"/>
              <a:gd name="T108" fmla="*/ 98 w 305"/>
              <a:gd name="T109" fmla="*/ 23 h 227"/>
              <a:gd name="T110" fmla="*/ 73 w 305"/>
              <a:gd name="T111" fmla="*/ 21 h 227"/>
              <a:gd name="T112" fmla="*/ 55 w 305"/>
              <a:gd name="T113" fmla="*/ 30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5" h="227">
                <a:moveTo>
                  <a:pt x="32" y="37"/>
                </a:moveTo>
                <a:cubicBezTo>
                  <a:pt x="31" y="38"/>
                  <a:pt x="26" y="40"/>
                  <a:pt x="27" y="41"/>
                </a:cubicBezTo>
                <a:cubicBezTo>
                  <a:pt x="28" y="42"/>
                  <a:pt x="30" y="42"/>
                  <a:pt x="32" y="43"/>
                </a:cubicBezTo>
                <a:cubicBezTo>
                  <a:pt x="34" y="43"/>
                  <a:pt x="36" y="43"/>
                  <a:pt x="39" y="43"/>
                </a:cubicBezTo>
                <a:cubicBezTo>
                  <a:pt x="39" y="43"/>
                  <a:pt x="44" y="42"/>
                  <a:pt x="45" y="42"/>
                </a:cubicBezTo>
                <a:cubicBezTo>
                  <a:pt x="44" y="42"/>
                  <a:pt x="42" y="43"/>
                  <a:pt x="41" y="44"/>
                </a:cubicBezTo>
                <a:cubicBezTo>
                  <a:pt x="40" y="45"/>
                  <a:pt x="39" y="46"/>
                  <a:pt x="40" y="48"/>
                </a:cubicBezTo>
                <a:cubicBezTo>
                  <a:pt x="42" y="50"/>
                  <a:pt x="36" y="55"/>
                  <a:pt x="33" y="54"/>
                </a:cubicBezTo>
                <a:cubicBezTo>
                  <a:pt x="32" y="53"/>
                  <a:pt x="30" y="54"/>
                  <a:pt x="28" y="54"/>
                </a:cubicBezTo>
                <a:cubicBezTo>
                  <a:pt x="27" y="53"/>
                  <a:pt x="25" y="54"/>
                  <a:pt x="24" y="54"/>
                </a:cubicBezTo>
                <a:cubicBezTo>
                  <a:pt x="23" y="54"/>
                  <a:pt x="21" y="54"/>
                  <a:pt x="20" y="56"/>
                </a:cubicBezTo>
                <a:cubicBezTo>
                  <a:pt x="19" y="57"/>
                  <a:pt x="18" y="57"/>
                  <a:pt x="16" y="57"/>
                </a:cubicBezTo>
                <a:cubicBezTo>
                  <a:pt x="13" y="58"/>
                  <a:pt x="10" y="59"/>
                  <a:pt x="7" y="59"/>
                </a:cubicBezTo>
                <a:cubicBezTo>
                  <a:pt x="6" y="59"/>
                  <a:pt x="4" y="58"/>
                  <a:pt x="4" y="59"/>
                </a:cubicBezTo>
                <a:cubicBezTo>
                  <a:pt x="3" y="60"/>
                  <a:pt x="0" y="60"/>
                  <a:pt x="0" y="62"/>
                </a:cubicBezTo>
                <a:cubicBezTo>
                  <a:pt x="0" y="63"/>
                  <a:pt x="1" y="62"/>
                  <a:pt x="1" y="63"/>
                </a:cubicBezTo>
                <a:cubicBezTo>
                  <a:pt x="1" y="63"/>
                  <a:pt x="0" y="64"/>
                  <a:pt x="0" y="64"/>
                </a:cubicBezTo>
                <a:cubicBezTo>
                  <a:pt x="0" y="65"/>
                  <a:pt x="2" y="67"/>
                  <a:pt x="3" y="68"/>
                </a:cubicBezTo>
                <a:cubicBezTo>
                  <a:pt x="3" y="68"/>
                  <a:pt x="4" y="67"/>
                  <a:pt x="4" y="67"/>
                </a:cubicBezTo>
                <a:cubicBezTo>
                  <a:pt x="5" y="66"/>
                  <a:pt x="6" y="67"/>
                  <a:pt x="7" y="68"/>
                </a:cubicBezTo>
                <a:cubicBezTo>
                  <a:pt x="8" y="68"/>
                  <a:pt x="13" y="69"/>
                  <a:pt x="13" y="67"/>
                </a:cubicBezTo>
                <a:cubicBezTo>
                  <a:pt x="13" y="68"/>
                  <a:pt x="12" y="68"/>
                  <a:pt x="13" y="69"/>
                </a:cubicBezTo>
                <a:cubicBezTo>
                  <a:pt x="13" y="70"/>
                  <a:pt x="15" y="71"/>
                  <a:pt x="16" y="71"/>
                </a:cubicBezTo>
                <a:cubicBezTo>
                  <a:pt x="17" y="72"/>
                  <a:pt x="18" y="72"/>
                  <a:pt x="19" y="72"/>
                </a:cubicBezTo>
                <a:cubicBezTo>
                  <a:pt x="21" y="72"/>
                  <a:pt x="21" y="70"/>
                  <a:pt x="22" y="71"/>
                </a:cubicBezTo>
                <a:cubicBezTo>
                  <a:pt x="24" y="71"/>
                  <a:pt x="27" y="71"/>
                  <a:pt x="28" y="71"/>
                </a:cubicBezTo>
                <a:cubicBezTo>
                  <a:pt x="29" y="71"/>
                  <a:pt x="29" y="70"/>
                  <a:pt x="30" y="69"/>
                </a:cubicBezTo>
                <a:cubicBezTo>
                  <a:pt x="31" y="69"/>
                  <a:pt x="34" y="71"/>
                  <a:pt x="34" y="72"/>
                </a:cubicBezTo>
                <a:cubicBezTo>
                  <a:pt x="34" y="73"/>
                  <a:pt x="24" y="72"/>
                  <a:pt x="22" y="73"/>
                </a:cubicBezTo>
                <a:cubicBezTo>
                  <a:pt x="20" y="73"/>
                  <a:pt x="23" y="74"/>
                  <a:pt x="24" y="74"/>
                </a:cubicBezTo>
                <a:cubicBezTo>
                  <a:pt x="26" y="75"/>
                  <a:pt x="27" y="74"/>
                  <a:pt x="29" y="75"/>
                </a:cubicBezTo>
                <a:cubicBezTo>
                  <a:pt x="28" y="74"/>
                  <a:pt x="26" y="75"/>
                  <a:pt x="24" y="75"/>
                </a:cubicBezTo>
                <a:cubicBezTo>
                  <a:pt x="21" y="75"/>
                  <a:pt x="18" y="74"/>
                  <a:pt x="15" y="74"/>
                </a:cubicBezTo>
                <a:cubicBezTo>
                  <a:pt x="13" y="74"/>
                  <a:pt x="9" y="74"/>
                  <a:pt x="9" y="76"/>
                </a:cubicBezTo>
                <a:cubicBezTo>
                  <a:pt x="8" y="77"/>
                  <a:pt x="11" y="78"/>
                  <a:pt x="12" y="78"/>
                </a:cubicBezTo>
                <a:cubicBezTo>
                  <a:pt x="13" y="78"/>
                  <a:pt x="15" y="77"/>
                  <a:pt x="15" y="77"/>
                </a:cubicBezTo>
                <a:cubicBezTo>
                  <a:pt x="16" y="78"/>
                  <a:pt x="15" y="78"/>
                  <a:pt x="15" y="79"/>
                </a:cubicBezTo>
                <a:cubicBezTo>
                  <a:pt x="16" y="80"/>
                  <a:pt x="18" y="80"/>
                  <a:pt x="19" y="80"/>
                </a:cubicBezTo>
                <a:cubicBezTo>
                  <a:pt x="21" y="80"/>
                  <a:pt x="23" y="80"/>
                  <a:pt x="25" y="80"/>
                </a:cubicBezTo>
                <a:cubicBezTo>
                  <a:pt x="25" y="80"/>
                  <a:pt x="21" y="81"/>
                  <a:pt x="20" y="81"/>
                </a:cubicBezTo>
                <a:cubicBezTo>
                  <a:pt x="16" y="82"/>
                  <a:pt x="19" y="84"/>
                  <a:pt x="21" y="85"/>
                </a:cubicBezTo>
                <a:cubicBezTo>
                  <a:pt x="23" y="86"/>
                  <a:pt x="25" y="86"/>
                  <a:pt x="27" y="87"/>
                </a:cubicBezTo>
                <a:cubicBezTo>
                  <a:pt x="27" y="87"/>
                  <a:pt x="31" y="87"/>
                  <a:pt x="31" y="87"/>
                </a:cubicBezTo>
                <a:cubicBezTo>
                  <a:pt x="31" y="87"/>
                  <a:pt x="29" y="86"/>
                  <a:pt x="29" y="85"/>
                </a:cubicBezTo>
                <a:cubicBezTo>
                  <a:pt x="29" y="84"/>
                  <a:pt x="31" y="85"/>
                  <a:pt x="31" y="85"/>
                </a:cubicBezTo>
                <a:cubicBezTo>
                  <a:pt x="32" y="86"/>
                  <a:pt x="33" y="85"/>
                  <a:pt x="34" y="84"/>
                </a:cubicBezTo>
                <a:cubicBezTo>
                  <a:pt x="34" y="84"/>
                  <a:pt x="35" y="83"/>
                  <a:pt x="36" y="83"/>
                </a:cubicBezTo>
                <a:cubicBezTo>
                  <a:pt x="37" y="84"/>
                  <a:pt x="36" y="86"/>
                  <a:pt x="36" y="86"/>
                </a:cubicBezTo>
                <a:cubicBezTo>
                  <a:pt x="37" y="87"/>
                  <a:pt x="40" y="85"/>
                  <a:pt x="41" y="85"/>
                </a:cubicBezTo>
                <a:cubicBezTo>
                  <a:pt x="43" y="84"/>
                  <a:pt x="43" y="84"/>
                  <a:pt x="44" y="85"/>
                </a:cubicBezTo>
                <a:cubicBezTo>
                  <a:pt x="45" y="86"/>
                  <a:pt x="46" y="84"/>
                  <a:pt x="47" y="84"/>
                </a:cubicBezTo>
                <a:cubicBezTo>
                  <a:pt x="48" y="83"/>
                  <a:pt x="50" y="84"/>
                  <a:pt x="51" y="84"/>
                </a:cubicBezTo>
                <a:cubicBezTo>
                  <a:pt x="54" y="84"/>
                  <a:pt x="58" y="85"/>
                  <a:pt x="61" y="86"/>
                </a:cubicBezTo>
                <a:cubicBezTo>
                  <a:pt x="63" y="86"/>
                  <a:pt x="65" y="88"/>
                  <a:pt x="67" y="88"/>
                </a:cubicBezTo>
                <a:cubicBezTo>
                  <a:pt x="69" y="88"/>
                  <a:pt x="71" y="89"/>
                  <a:pt x="72" y="90"/>
                </a:cubicBezTo>
                <a:cubicBezTo>
                  <a:pt x="74" y="91"/>
                  <a:pt x="73" y="92"/>
                  <a:pt x="73" y="93"/>
                </a:cubicBezTo>
                <a:cubicBezTo>
                  <a:pt x="73" y="94"/>
                  <a:pt x="75" y="96"/>
                  <a:pt x="76" y="96"/>
                </a:cubicBezTo>
                <a:cubicBezTo>
                  <a:pt x="77" y="97"/>
                  <a:pt x="79" y="96"/>
                  <a:pt x="80" y="97"/>
                </a:cubicBezTo>
                <a:cubicBezTo>
                  <a:pt x="80" y="99"/>
                  <a:pt x="82" y="100"/>
                  <a:pt x="83" y="101"/>
                </a:cubicBezTo>
                <a:cubicBezTo>
                  <a:pt x="84" y="102"/>
                  <a:pt x="83" y="104"/>
                  <a:pt x="84" y="105"/>
                </a:cubicBezTo>
                <a:cubicBezTo>
                  <a:pt x="84" y="106"/>
                  <a:pt x="86" y="107"/>
                  <a:pt x="86" y="109"/>
                </a:cubicBezTo>
                <a:cubicBezTo>
                  <a:pt x="86" y="110"/>
                  <a:pt x="85" y="110"/>
                  <a:pt x="86" y="111"/>
                </a:cubicBezTo>
                <a:cubicBezTo>
                  <a:pt x="86" y="111"/>
                  <a:pt x="87" y="112"/>
                  <a:pt x="87" y="112"/>
                </a:cubicBezTo>
                <a:cubicBezTo>
                  <a:pt x="87" y="112"/>
                  <a:pt x="87" y="112"/>
                  <a:pt x="87" y="112"/>
                </a:cubicBezTo>
                <a:cubicBezTo>
                  <a:pt x="88" y="111"/>
                  <a:pt x="90" y="113"/>
                  <a:pt x="89" y="114"/>
                </a:cubicBezTo>
                <a:cubicBezTo>
                  <a:pt x="88" y="115"/>
                  <a:pt x="88" y="115"/>
                  <a:pt x="88" y="117"/>
                </a:cubicBezTo>
                <a:cubicBezTo>
                  <a:pt x="88" y="116"/>
                  <a:pt x="90" y="115"/>
                  <a:pt x="91" y="117"/>
                </a:cubicBezTo>
                <a:cubicBezTo>
                  <a:pt x="91" y="118"/>
                  <a:pt x="91" y="118"/>
                  <a:pt x="91" y="119"/>
                </a:cubicBezTo>
                <a:cubicBezTo>
                  <a:pt x="91" y="119"/>
                  <a:pt x="91" y="121"/>
                  <a:pt x="91" y="120"/>
                </a:cubicBezTo>
                <a:cubicBezTo>
                  <a:pt x="91" y="121"/>
                  <a:pt x="93" y="121"/>
                  <a:pt x="93" y="121"/>
                </a:cubicBezTo>
                <a:cubicBezTo>
                  <a:pt x="92" y="120"/>
                  <a:pt x="89" y="126"/>
                  <a:pt x="90" y="122"/>
                </a:cubicBezTo>
                <a:cubicBezTo>
                  <a:pt x="90" y="122"/>
                  <a:pt x="88" y="121"/>
                  <a:pt x="88" y="122"/>
                </a:cubicBezTo>
                <a:cubicBezTo>
                  <a:pt x="88" y="122"/>
                  <a:pt x="89" y="122"/>
                  <a:pt x="89" y="122"/>
                </a:cubicBezTo>
                <a:cubicBezTo>
                  <a:pt x="89" y="123"/>
                  <a:pt x="86" y="123"/>
                  <a:pt x="87" y="124"/>
                </a:cubicBezTo>
                <a:cubicBezTo>
                  <a:pt x="87" y="124"/>
                  <a:pt x="90" y="125"/>
                  <a:pt x="89" y="125"/>
                </a:cubicBezTo>
                <a:cubicBezTo>
                  <a:pt x="87" y="127"/>
                  <a:pt x="91" y="127"/>
                  <a:pt x="92" y="126"/>
                </a:cubicBezTo>
                <a:cubicBezTo>
                  <a:pt x="91" y="127"/>
                  <a:pt x="90" y="127"/>
                  <a:pt x="88" y="127"/>
                </a:cubicBezTo>
                <a:cubicBezTo>
                  <a:pt x="88" y="127"/>
                  <a:pt x="86" y="129"/>
                  <a:pt x="86" y="129"/>
                </a:cubicBezTo>
                <a:cubicBezTo>
                  <a:pt x="86" y="129"/>
                  <a:pt x="87" y="130"/>
                  <a:pt x="87" y="130"/>
                </a:cubicBezTo>
                <a:cubicBezTo>
                  <a:pt x="89" y="131"/>
                  <a:pt x="88" y="131"/>
                  <a:pt x="89" y="131"/>
                </a:cubicBezTo>
                <a:cubicBezTo>
                  <a:pt x="90" y="131"/>
                  <a:pt x="94" y="133"/>
                  <a:pt x="95" y="131"/>
                </a:cubicBezTo>
                <a:cubicBezTo>
                  <a:pt x="95" y="128"/>
                  <a:pt x="97" y="129"/>
                  <a:pt x="98" y="128"/>
                </a:cubicBezTo>
                <a:cubicBezTo>
                  <a:pt x="98" y="128"/>
                  <a:pt x="96" y="122"/>
                  <a:pt x="96" y="122"/>
                </a:cubicBezTo>
                <a:cubicBezTo>
                  <a:pt x="96" y="123"/>
                  <a:pt x="98" y="126"/>
                  <a:pt x="98" y="126"/>
                </a:cubicBezTo>
                <a:cubicBezTo>
                  <a:pt x="99" y="128"/>
                  <a:pt x="100" y="126"/>
                  <a:pt x="101" y="126"/>
                </a:cubicBezTo>
                <a:cubicBezTo>
                  <a:pt x="101" y="126"/>
                  <a:pt x="98" y="130"/>
                  <a:pt x="98" y="130"/>
                </a:cubicBezTo>
                <a:cubicBezTo>
                  <a:pt x="98" y="130"/>
                  <a:pt x="102" y="129"/>
                  <a:pt x="102" y="129"/>
                </a:cubicBezTo>
                <a:cubicBezTo>
                  <a:pt x="103" y="129"/>
                  <a:pt x="104" y="129"/>
                  <a:pt x="104" y="129"/>
                </a:cubicBezTo>
                <a:cubicBezTo>
                  <a:pt x="105" y="129"/>
                  <a:pt x="106" y="128"/>
                  <a:pt x="107" y="128"/>
                </a:cubicBezTo>
                <a:cubicBezTo>
                  <a:pt x="107" y="129"/>
                  <a:pt x="106" y="130"/>
                  <a:pt x="105" y="130"/>
                </a:cubicBezTo>
                <a:cubicBezTo>
                  <a:pt x="104" y="130"/>
                  <a:pt x="102" y="130"/>
                  <a:pt x="101" y="131"/>
                </a:cubicBezTo>
                <a:cubicBezTo>
                  <a:pt x="100" y="132"/>
                  <a:pt x="103" y="131"/>
                  <a:pt x="103" y="131"/>
                </a:cubicBezTo>
                <a:cubicBezTo>
                  <a:pt x="105" y="131"/>
                  <a:pt x="107" y="131"/>
                  <a:pt x="109" y="131"/>
                </a:cubicBezTo>
                <a:cubicBezTo>
                  <a:pt x="108" y="131"/>
                  <a:pt x="104" y="131"/>
                  <a:pt x="104" y="132"/>
                </a:cubicBezTo>
                <a:cubicBezTo>
                  <a:pt x="104" y="132"/>
                  <a:pt x="106" y="133"/>
                  <a:pt x="106" y="134"/>
                </a:cubicBezTo>
                <a:cubicBezTo>
                  <a:pt x="106" y="134"/>
                  <a:pt x="106" y="135"/>
                  <a:pt x="106" y="135"/>
                </a:cubicBezTo>
                <a:cubicBezTo>
                  <a:pt x="106" y="136"/>
                  <a:pt x="105" y="136"/>
                  <a:pt x="106" y="137"/>
                </a:cubicBezTo>
                <a:cubicBezTo>
                  <a:pt x="106" y="137"/>
                  <a:pt x="108" y="136"/>
                  <a:pt x="109" y="136"/>
                </a:cubicBezTo>
                <a:cubicBezTo>
                  <a:pt x="110" y="136"/>
                  <a:pt x="109" y="136"/>
                  <a:pt x="110" y="137"/>
                </a:cubicBezTo>
                <a:cubicBezTo>
                  <a:pt x="111" y="138"/>
                  <a:pt x="111" y="139"/>
                  <a:pt x="112" y="140"/>
                </a:cubicBezTo>
                <a:cubicBezTo>
                  <a:pt x="112" y="141"/>
                  <a:pt x="109" y="141"/>
                  <a:pt x="109" y="141"/>
                </a:cubicBezTo>
                <a:cubicBezTo>
                  <a:pt x="105" y="138"/>
                  <a:pt x="99" y="136"/>
                  <a:pt x="95" y="137"/>
                </a:cubicBezTo>
                <a:cubicBezTo>
                  <a:pt x="91" y="137"/>
                  <a:pt x="96" y="140"/>
                  <a:pt x="98" y="140"/>
                </a:cubicBezTo>
                <a:cubicBezTo>
                  <a:pt x="101" y="141"/>
                  <a:pt x="103" y="144"/>
                  <a:pt x="106" y="144"/>
                </a:cubicBezTo>
                <a:cubicBezTo>
                  <a:pt x="107" y="144"/>
                  <a:pt x="108" y="143"/>
                  <a:pt x="110" y="143"/>
                </a:cubicBezTo>
                <a:cubicBezTo>
                  <a:pt x="110" y="144"/>
                  <a:pt x="113" y="144"/>
                  <a:pt x="113" y="144"/>
                </a:cubicBezTo>
                <a:cubicBezTo>
                  <a:pt x="114" y="145"/>
                  <a:pt x="113" y="146"/>
                  <a:pt x="113" y="146"/>
                </a:cubicBezTo>
                <a:cubicBezTo>
                  <a:pt x="110" y="147"/>
                  <a:pt x="114" y="148"/>
                  <a:pt x="113" y="149"/>
                </a:cubicBezTo>
                <a:cubicBezTo>
                  <a:pt x="113" y="150"/>
                  <a:pt x="111" y="149"/>
                  <a:pt x="111" y="151"/>
                </a:cubicBezTo>
                <a:cubicBezTo>
                  <a:pt x="111" y="152"/>
                  <a:pt x="113" y="152"/>
                  <a:pt x="113" y="152"/>
                </a:cubicBezTo>
                <a:cubicBezTo>
                  <a:pt x="112" y="153"/>
                  <a:pt x="110" y="151"/>
                  <a:pt x="110" y="152"/>
                </a:cubicBezTo>
                <a:cubicBezTo>
                  <a:pt x="109" y="153"/>
                  <a:pt x="109" y="154"/>
                  <a:pt x="109" y="155"/>
                </a:cubicBezTo>
                <a:cubicBezTo>
                  <a:pt x="109" y="155"/>
                  <a:pt x="111" y="155"/>
                  <a:pt x="111" y="155"/>
                </a:cubicBezTo>
                <a:cubicBezTo>
                  <a:pt x="111" y="156"/>
                  <a:pt x="109" y="157"/>
                  <a:pt x="108" y="157"/>
                </a:cubicBezTo>
                <a:cubicBezTo>
                  <a:pt x="107" y="157"/>
                  <a:pt x="106" y="157"/>
                  <a:pt x="105" y="157"/>
                </a:cubicBezTo>
                <a:cubicBezTo>
                  <a:pt x="104" y="156"/>
                  <a:pt x="103" y="156"/>
                  <a:pt x="102" y="157"/>
                </a:cubicBezTo>
                <a:cubicBezTo>
                  <a:pt x="101" y="158"/>
                  <a:pt x="101" y="157"/>
                  <a:pt x="100" y="158"/>
                </a:cubicBezTo>
                <a:cubicBezTo>
                  <a:pt x="100" y="158"/>
                  <a:pt x="103" y="161"/>
                  <a:pt x="104" y="161"/>
                </a:cubicBezTo>
                <a:cubicBezTo>
                  <a:pt x="104" y="160"/>
                  <a:pt x="104" y="160"/>
                  <a:pt x="103" y="160"/>
                </a:cubicBezTo>
                <a:cubicBezTo>
                  <a:pt x="103" y="160"/>
                  <a:pt x="106" y="160"/>
                  <a:pt x="106" y="160"/>
                </a:cubicBezTo>
                <a:cubicBezTo>
                  <a:pt x="106" y="160"/>
                  <a:pt x="111" y="158"/>
                  <a:pt x="111" y="159"/>
                </a:cubicBezTo>
                <a:cubicBezTo>
                  <a:pt x="110" y="159"/>
                  <a:pt x="109" y="159"/>
                  <a:pt x="108" y="160"/>
                </a:cubicBezTo>
                <a:cubicBezTo>
                  <a:pt x="109" y="159"/>
                  <a:pt x="111" y="161"/>
                  <a:pt x="110" y="161"/>
                </a:cubicBezTo>
                <a:cubicBezTo>
                  <a:pt x="111" y="161"/>
                  <a:pt x="114" y="162"/>
                  <a:pt x="115" y="162"/>
                </a:cubicBezTo>
                <a:cubicBezTo>
                  <a:pt x="114" y="162"/>
                  <a:pt x="112" y="162"/>
                  <a:pt x="112" y="162"/>
                </a:cubicBezTo>
                <a:cubicBezTo>
                  <a:pt x="112" y="162"/>
                  <a:pt x="116" y="165"/>
                  <a:pt x="116" y="165"/>
                </a:cubicBezTo>
                <a:cubicBezTo>
                  <a:pt x="113" y="165"/>
                  <a:pt x="111" y="161"/>
                  <a:pt x="108" y="161"/>
                </a:cubicBezTo>
                <a:cubicBezTo>
                  <a:pt x="106" y="161"/>
                  <a:pt x="101" y="160"/>
                  <a:pt x="100" y="162"/>
                </a:cubicBezTo>
                <a:cubicBezTo>
                  <a:pt x="100" y="163"/>
                  <a:pt x="99" y="163"/>
                  <a:pt x="98" y="164"/>
                </a:cubicBezTo>
                <a:cubicBezTo>
                  <a:pt x="97" y="164"/>
                  <a:pt x="97" y="166"/>
                  <a:pt x="98" y="165"/>
                </a:cubicBezTo>
                <a:cubicBezTo>
                  <a:pt x="100" y="165"/>
                  <a:pt x="102" y="164"/>
                  <a:pt x="103" y="162"/>
                </a:cubicBezTo>
                <a:cubicBezTo>
                  <a:pt x="103" y="163"/>
                  <a:pt x="105" y="163"/>
                  <a:pt x="105" y="163"/>
                </a:cubicBezTo>
                <a:cubicBezTo>
                  <a:pt x="106" y="163"/>
                  <a:pt x="108" y="166"/>
                  <a:pt x="108" y="163"/>
                </a:cubicBezTo>
                <a:cubicBezTo>
                  <a:pt x="108" y="162"/>
                  <a:pt x="110" y="164"/>
                  <a:pt x="110" y="164"/>
                </a:cubicBezTo>
                <a:cubicBezTo>
                  <a:pt x="110" y="164"/>
                  <a:pt x="114" y="164"/>
                  <a:pt x="113" y="165"/>
                </a:cubicBezTo>
                <a:cubicBezTo>
                  <a:pt x="113" y="165"/>
                  <a:pt x="112" y="165"/>
                  <a:pt x="112" y="165"/>
                </a:cubicBezTo>
                <a:cubicBezTo>
                  <a:pt x="112" y="165"/>
                  <a:pt x="114" y="166"/>
                  <a:pt x="114" y="166"/>
                </a:cubicBezTo>
                <a:cubicBezTo>
                  <a:pt x="113" y="166"/>
                  <a:pt x="111" y="166"/>
                  <a:pt x="110" y="165"/>
                </a:cubicBezTo>
                <a:cubicBezTo>
                  <a:pt x="109" y="164"/>
                  <a:pt x="109" y="165"/>
                  <a:pt x="109" y="166"/>
                </a:cubicBezTo>
                <a:cubicBezTo>
                  <a:pt x="109" y="165"/>
                  <a:pt x="103" y="164"/>
                  <a:pt x="102" y="164"/>
                </a:cubicBezTo>
                <a:cubicBezTo>
                  <a:pt x="101" y="164"/>
                  <a:pt x="95" y="166"/>
                  <a:pt x="96" y="168"/>
                </a:cubicBezTo>
                <a:cubicBezTo>
                  <a:pt x="97" y="169"/>
                  <a:pt x="103" y="167"/>
                  <a:pt x="104" y="167"/>
                </a:cubicBezTo>
                <a:cubicBezTo>
                  <a:pt x="105" y="167"/>
                  <a:pt x="107" y="167"/>
                  <a:pt x="108" y="168"/>
                </a:cubicBezTo>
                <a:cubicBezTo>
                  <a:pt x="108" y="168"/>
                  <a:pt x="112" y="169"/>
                  <a:pt x="112" y="169"/>
                </a:cubicBezTo>
                <a:cubicBezTo>
                  <a:pt x="112" y="170"/>
                  <a:pt x="107" y="168"/>
                  <a:pt x="107" y="168"/>
                </a:cubicBezTo>
                <a:cubicBezTo>
                  <a:pt x="105" y="167"/>
                  <a:pt x="102" y="168"/>
                  <a:pt x="100" y="168"/>
                </a:cubicBezTo>
                <a:cubicBezTo>
                  <a:pt x="93" y="170"/>
                  <a:pt x="101" y="172"/>
                  <a:pt x="103" y="171"/>
                </a:cubicBezTo>
                <a:cubicBezTo>
                  <a:pt x="102" y="172"/>
                  <a:pt x="101" y="173"/>
                  <a:pt x="99" y="173"/>
                </a:cubicBezTo>
                <a:cubicBezTo>
                  <a:pt x="96" y="174"/>
                  <a:pt x="101" y="175"/>
                  <a:pt x="101" y="175"/>
                </a:cubicBezTo>
                <a:cubicBezTo>
                  <a:pt x="101" y="175"/>
                  <a:pt x="97" y="174"/>
                  <a:pt x="97" y="176"/>
                </a:cubicBezTo>
                <a:cubicBezTo>
                  <a:pt x="97" y="179"/>
                  <a:pt x="99" y="177"/>
                  <a:pt x="101" y="176"/>
                </a:cubicBezTo>
                <a:cubicBezTo>
                  <a:pt x="103" y="175"/>
                  <a:pt x="105" y="173"/>
                  <a:pt x="107" y="172"/>
                </a:cubicBezTo>
                <a:cubicBezTo>
                  <a:pt x="108" y="172"/>
                  <a:pt x="114" y="169"/>
                  <a:pt x="114" y="171"/>
                </a:cubicBezTo>
                <a:cubicBezTo>
                  <a:pt x="114" y="171"/>
                  <a:pt x="111" y="171"/>
                  <a:pt x="111" y="171"/>
                </a:cubicBezTo>
                <a:cubicBezTo>
                  <a:pt x="111" y="171"/>
                  <a:pt x="113" y="171"/>
                  <a:pt x="114" y="172"/>
                </a:cubicBezTo>
                <a:cubicBezTo>
                  <a:pt x="111" y="170"/>
                  <a:pt x="98" y="178"/>
                  <a:pt x="99" y="179"/>
                </a:cubicBezTo>
                <a:cubicBezTo>
                  <a:pt x="99" y="180"/>
                  <a:pt x="105" y="178"/>
                  <a:pt x="106" y="178"/>
                </a:cubicBezTo>
                <a:cubicBezTo>
                  <a:pt x="106" y="178"/>
                  <a:pt x="102" y="179"/>
                  <a:pt x="101" y="180"/>
                </a:cubicBezTo>
                <a:cubicBezTo>
                  <a:pt x="101" y="180"/>
                  <a:pt x="103" y="184"/>
                  <a:pt x="104" y="183"/>
                </a:cubicBezTo>
                <a:cubicBezTo>
                  <a:pt x="105" y="182"/>
                  <a:pt x="106" y="180"/>
                  <a:pt x="107" y="180"/>
                </a:cubicBezTo>
                <a:cubicBezTo>
                  <a:pt x="108" y="180"/>
                  <a:pt x="112" y="181"/>
                  <a:pt x="112" y="181"/>
                </a:cubicBezTo>
                <a:cubicBezTo>
                  <a:pt x="112" y="181"/>
                  <a:pt x="108" y="181"/>
                  <a:pt x="108" y="181"/>
                </a:cubicBezTo>
                <a:cubicBezTo>
                  <a:pt x="106" y="181"/>
                  <a:pt x="105" y="182"/>
                  <a:pt x="104" y="183"/>
                </a:cubicBezTo>
                <a:cubicBezTo>
                  <a:pt x="104" y="184"/>
                  <a:pt x="104" y="185"/>
                  <a:pt x="104" y="186"/>
                </a:cubicBezTo>
                <a:cubicBezTo>
                  <a:pt x="105" y="189"/>
                  <a:pt x="105" y="188"/>
                  <a:pt x="107" y="187"/>
                </a:cubicBezTo>
                <a:cubicBezTo>
                  <a:pt x="106" y="188"/>
                  <a:pt x="105" y="192"/>
                  <a:pt x="106" y="193"/>
                </a:cubicBezTo>
                <a:cubicBezTo>
                  <a:pt x="106" y="193"/>
                  <a:pt x="109" y="189"/>
                  <a:pt x="110" y="189"/>
                </a:cubicBezTo>
                <a:cubicBezTo>
                  <a:pt x="110" y="190"/>
                  <a:pt x="109" y="191"/>
                  <a:pt x="110" y="192"/>
                </a:cubicBezTo>
                <a:cubicBezTo>
                  <a:pt x="110" y="193"/>
                  <a:pt x="111" y="191"/>
                  <a:pt x="112" y="191"/>
                </a:cubicBezTo>
                <a:cubicBezTo>
                  <a:pt x="114" y="189"/>
                  <a:pt x="110" y="187"/>
                  <a:pt x="110" y="186"/>
                </a:cubicBezTo>
                <a:cubicBezTo>
                  <a:pt x="110" y="186"/>
                  <a:pt x="112" y="189"/>
                  <a:pt x="113" y="189"/>
                </a:cubicBezTo>
                <a:cubicBezTo>
                  <a:pt x="114" y="190"/>
                  <a:pt x="114" y="189"/>
                  <a:pt x="115" y="188"/>
                </a:cubicBezTo>
                <a:cubicBezTo>
                  <a:pt x="114" y="188"/>
                  <a:pt x="117" y="191"/>
                  <a:pt x="116" y="192"/>
                </a:cubicBezTo>
                <a:cubicBezTo>
                  <a:pt x="117" y="191"/>
                  <a:pt x="114" y="189"/>
                  <a:pt x="114" y="191"/>
                </a:cubicBezTo>
                <a:cubicBezTo>
                  <a:pt x="114" y="193"/>
                  <a:pt x="116" y="195"/>
                  <a:pt x="114" y="196"/>
                </a:cubicBezTo>
                <a:cubicBezTo>
                  <a:pt x="114" y="196"/>
                  <a:pt x="114" y="193"/>
                  <a:pt x="114" y="193"/>
                </a:cubicBezTo>
                <a:cubicBezTo>
                  <a:pt x="114" y="192"/>
                  <a:pt x="112" y="194"/>
                  <a:pt x="111" y="194"/>
                </a:cubicBezTo>
                <a:cubicBezTo>
                  <a:pt x="110" y="194"/>
                  <a:pt x="109" y="196"/>
                  <a:pt x="109" y="197"/>
                </a:cubicBezTo>
                <a:cubicBezTo>
                  <a:pt x="108" y="199"/>
                  <a:pt x="111" y="197"/>
                  <a:pt x="111" y="198"/>
                </a:cubicBezTo>
                <a:cubicBezTo>
                  <a:pt x="112" y="199"/>
                  <a:pt x="110" y="200"/>
                  <a:pt x="110" y="200"/>
                </a:cubicBezTo>
                <a:cubicBezTo>
                  <a:pt x="110" y="200"/>
                  <a:pt x="112" y="199"/>
                  <a:pt x="113" y="201"/>
                </a:cubicBezTo>
                <a:cubicBezTo>
                  <a:pt x="113" y="203"/>
                  <a:pt x="115" y="204"/>
                  <a:pt x="115" y="205"/>
                </a:cubicBezTo>
                <a:cubicBezTo>
                  <a:pt x="114" y="207"/>
                  <a:pt x="115" y="207"/>
                  <a:pt x="117" y="209"/>
                </a:cubicBezTo>
                <a:cubicBezTo>
                  <a:pt x="118" y="210"/>
                  <a:pt x="119" y="212"/>
                  <a:pt x="120" y="210"/>
                </a:cubicBezTo>
                <a:cubicBezTo>
                  <a:pt x="120" y="210"/>
                  <a:pt x="121" y="215"/>
                  <a:pt x="122" y="215"/>
                </a:cubicBezTo>
                <a:cubicBezTo>
                  <a:pt x="123" y="216"/>
                  <a:pt x="122" y="215"/>
                  <a:pt x="123" y="215"/>
                </a:cubicBezTo>
                <a:cubicBezTo>
                  <a:pt x="124" y="216"/>
                  <a:pt x="125" y="217"/>
                  <a:pt x="126" y="218"/>
                </a:cubicBezTo>
                <a:cubicBezTo>
                  <a:pt x="128" y="219"/>
                  <a:pt x="130" y="220"/>
                  <a:pt x="132" y="219"/>
                </a:cubicBezTo>
                <a:cubicBezTo>
                  <a:pt x="133" y="219"/>
                  <a:pt x="136" y="219"/>
                  <a:pt x="136" y="218"/>
                </a:cubicBezTo>
                <a:cubicBezTo>
                  <a:pt x="136" y="218"/>
                  <a:pt x="136" y="221"/>
                  <a:pt x="136" y="221"/>
                </a:cubicBezTo>
                <a:cubicBezTo>
                  <a:pt x="136" y="221"/>
                  <a:pt x="138" y="217"/>
                  <a:pt x="138" y="218"/>
                </a:cubicBezTo>
                <a:cubicBezTo>
                  <a:pt x="139" y="218"/>
                  <a:pt x="138" y="219"/>
                  <a:pt x="138" y="219"/>
                </a:cubicBezTo>
                <a:cubicBezTo>
                  <a:pt x="138" y="220"/>
                  <a:pt x="139" y="220"/>
                  <a:pt x="139" y="220"/>
                </a:cubicBezTo>
                <a:cubicBezTo>
                  <a:pt x="139" y="220"/>
                  <a:pt x="136" y="221"/>
                  <a:pt x="137" y="222"/>
                </a:cubicBezTo>
                <a:cubicBezTo>
                  <a:pt x="138" y="222"/>
                  <a:pt x="138" y="222"/>
                  <a:pt x="139" y="221"/>
                </a:cubicBezTo>
                <a:cubicBezTo>
                  <a:pt x="140" y="222"/>
                  <a:pt x="139" y="223"/>
                  <a:pt x="139" y="223"/>
                </a:cubicBezTo>
                <a:cubicBezTo>
                  <a:pt x="139" y="224"/>
                  <a:pt x="142" y="221"/>
                  <a:pt x="142" y="222"/>
                </a:cubicBezTo>
                <a:cubicBezTo>
                  <a:pt x="142" y="223"/>
                  <a:pt x="140" y="224"/>
                  <a:pt x="140" y="225"/>
                </a:cubicBezTo>
                <a:cubicBezTo>
                  <a:pt x="140" y="224"/>
                  <a:pt x="143" y="223"/>
                  <a:pt x="142" y="225"/>
                </a:cubicBezTo>
                <a:cubicBezTo>
                  <a:pt x="142" y="225"/>
                  <a:pt x="142" y="225"/>
                  <a:pt x="142" y="224"/>
                </a:cubicBezTo>
                <a:cubicBezTo>
                  <a:pt x="142" y="226"/>
                  <a:pt x="145" y="223"/>
                  <a:pt x="145" y="223"/>
                </a:cubicBezTo>
                <a:cubicBezTo>
                  <a:pt x="146" y="224"/>
                  <a:pt x="145" y="226"/>
                  <a:pt x="145" y="227"/>
                </a:cubicBezTo>
                <a:cubicBezTo>
                  <a:pt x="144" y="225"/>
                  <a:pt x="153" y="225"/>
                  <a:pt x="147" y="222"/>
                </a:cubicBezTo>
                <a:cubicBezTo>
                  <a:pt x="148" y="222"/>
                  <a:pt x="153" y="222"/>
                  <a:pt x="150" y="221"/>
                </a:cubicBezTo>
                <a:cubicBezTo>
                  <a:pt x="147" y="219"/>
                  <a:pt x="151" y="220"/>
                  <a:pt x="152" y="218"/>
                </a:cubicBezTo>
                <a:cubicBezTo>
                  <a:pt x="152" y="218"/>
                  <a:pt x="149" y="218"/>
                  <a:pt x="149" y="218"/>
                </a:cubicBezTo>
                <a:cubicBezTo>
                  <a:pt x="150" y="217"/>
                  <a:pt x="151" y="216"/>
                  <a:pt x="152" y="216"/>
                </a:cubicBezTo>
                <a:cubicBezTo>
                  <a:pt x="154" y="214"/>
                  <a:pt x="151" y="215"/>
                  <a:pt x="151" y="214"/>
                </a:cubicBezTo>
                <a:cubicBezTo>
                  <a:pt x="151" y="214"/>
                  <a:pt x="154" y="213"/>
                  <a:pt x="154" y="212"/>
                </a:cubicBezTo>
                <a:cubicBezTo>
                  <a:pt x="154" y="211"/>
                  <a:pt x="154" y="209"/>
                  <a:pt x="153" y="208"/>
                </a:cubicBezTo>
                <a:cubicBezTo>
                  <a:pt x="152" y="208"/>
                  <a:pt x="154" y="207"/>
                  <a:pt x="153" y="206"/>
                </a:cubicBezTo>
                <a:cubicBezTo>
                  <a:pt x="153" y="206"/>
                  <a:pt x="151" y="205"/>
                  <a:pt x="151" y="205"/>
                </a:cubicBezTo>
                <a:cubicBezTo>
                  <a:pt x="151" y="205"/>
                  <a:pt x="155" y="204"/>
                  <a:pt x="156" y="204"/>
                </a:cubicBezTo>
                <a:cubicBezTo>
                  <a:pt x="159" y="204"/>
                  <a:pt x="156" y="203"/>
                  <a:pt x="155" y="202"/>
                </a:cubicBezTo>
                <a:cubicBezTo>
                  <a:pt x="155" y="202"/>
                  <a:pt x="160" y="202"/>
                  <a:pt x="160" y="202"/>
                </a:cubicBezTo>
                <a:cubicBezTo>
                  <a:pt x="159" y="201"/>
                  <a:pt x="157" y="201"/>
                  <a:pt x="156" y="200"/>
                </a:cubicBezTo>
                <a:cubicBezTo>
                  <a:pt x="156" y="200"/>
                  <a:pt x="160" y="201"/>
                  <a:pt x="160" y="200"/>
                </a:cubicBezTo>
                <a:cubicBezTo>
                  <a:pt x="161" y="200"/>
                  <a:pt x="160" y="200"/>
                  <a:pt x="160" y="199"/>
                </a:cubicBezTo>
                <a:cubicBezTo>
                  <a:pt x="161" y="199"/>
                  <a:pt x="161" y="199"/>
                  <a:pt x="161" y="199"/>
                </a:cubicBezTo>
                <a:cubicBezTo>
                  <a:pt x="162" y="198"/>
                  <a:pt x="158" y="197"/>
                  <a:pt x="158" y="197"/>
                </a:cubicBezTo>
                <a:cubicBezTo>
                  <a:pt x="158" y="197"/>
                  <a:pt x="163" y="197"/>
                  <a:pt x="162" y="196"/>
                </a:cubicBezTo>
                <a:cubicBezTo>
                  <a:pt x="162" y="195"/>
                  <a:pt x="163" y="195"/>
                  <a:pt x="161" y="194"/>
                </a:cubicBezTo>
                <a:cubicBezTo>
                  <a:pt x="161" y="194"/>
                  <a:pt x="158" y="194"/>
                  <a:pt x="158" y="193"/>
                </a:cubicBezTo>
                <a:cubicBezTo>
                  <a:pt x="158" y="193"/>
                  <a:pt x="163" y="192"/>
                  <a:pt x="163" y="192"/>
                </a:cubicBezTo>
                <a:cubicBezTo>
                  <a:pt x="165" y="192"/>
                  <a:pt x="164" y="189"/>
                  <a:pt x="162" y="189"/>
                </a:cubicBezTo>
                <a:cubicBezTo>
                  <a:pt x="161" y="188"/>
                  <a:pt x="158" y="187"/>
                  <a:pt x="161" y="186"/>
                </a:cubicBezTo>
                <a:cubicBezTo>
                  <a:pt x="163" y="186"/>
                  <a:pt x="166" y="187"/>
                  <a:pt x="167" y="185"/>
                </a:cubicBezTo>
                <a:cubicBezTo>
                  <a:pt x="167" y="185"/>
                  <a:pt x="165" y="183"/>
                  <a:pt x="165" y="183"/>
                </a:cubicBezTo>
                <a:cubicBezTo>
                  <a:pt x="165" y="182"/>
                  <a:pt x="167" y="182"/>
                  <a:pt x="167" y="182"/>
                </a:cubicBezTo>
                <a:cubicBezTo>
                  <a:pt x="168" y="181"/>
                  <a:pt x="170" y="181"/>
                  <a:pt x="172" y="182"/>
                </a:cubicBezTo>
                <a:cubicBezTo>
                  <a:pt x="172" y="182"/>
                  <a:pt x="174" y="182"/>
                  <a:pt x="174" y="182"/>
                </a:cubicBezTo>
                <a:cubicBezTo>
                  <a:pt x="175" y="181"/>
                  <a:pt x="173" y="180"/>
                  <a:pt x="173" y="179"/>
                </a:cubicBezTo>
                <a:cubicBezTo>
                  <a:pt x="174" y="178"/>
                  <a:pt x="177" y="174"/>
                  <a:pt x="179" y="176"/>
                </a:cubicBezTo>
                <a:cubicBezTo>
                  <a:pt x="178" y="175"/>
                  <a:pt x="175" y="181"/>
                  <a:pt x="176" y="181"/>
                </a:cubicBezTo>
                <a:cubicBezTo>
                  <a:pt x="177" y="182"/>
                  <a:pt x="179" y="179"/>
                  <a:pt x="181" y="179"/>
                </a:cubicBezTo>
                <a:cubicBezTo>
                  <a:pt x="181" y="179"/>
                  <a:pt x="183" y="180"/>
                  <a:pt x="183" y="180"/>
                </a:cubicBezTo>
                <a:cubicBezTo>
                  <a:pt x="183" y="180"/>
                  <a:pt x="183" y="178"/>
                  <a:pt x="183" y="178"/>
                </a:cubicBezTo>
                <a:cubicBezTo>
                  <a:pt x="186" y="179"/>
                  <a:pt x="186" y="178"/>
                  <a:pt x="187" y="177"/>
                </a:cubicBezTo>
                <a:cubicBezTo>
                  <a:pt x="188" y="176"/>
                  <a:pt x="189" y="176"/>
                  <a:pt x="190" y="176"/>
                </a:cubicBezTo>
                <a:cubicBezTo>
                  <a:pt x="192" y="175"/>
                  <a:pt x="192" y="174"/>
                  <a:pt x="193" y="173"/>
                </a:cubicBezTo>
                <a:cubicBezTo>
                  <a:pt x="194" y="172"/>
                  <a:pt x="196" y="170"/>
                  <a:pt x="197" y="168"/>
                </a:cubicBezTo>
                <a:cubicBezTo>
                  <a:pt x="199" y="166"/>
                  <a:pt x="199" y="165"/>
                  <a:pt x="201" y="165"/>
                </a:cubicBezTo>
                <a:cubicBezTo>
                  <a:pt x="202" y="164"/>
                  <a:pt x="205" y="164"/>
                  <a:pt x="205" y="162"/>
                </a:cubicBezTo>
                <a:cubicBezTo>
                  <a:pt x="204" y="162"/>
                  <a:pt x="203" y="157"/>
                  <a:pt x="203" y="157"/>
                </a:cubicBezTo>
                <a:cubicBezTo>
                  <a:pt x="204" y="157"/>
                  <a:pt x="207" y="160"/>
                  <a:pt x="208" y="160"/>
                </a:cubicBezTo>
                <a:cubicBezTo>
                  <a:pt x="209" y="161"/>
                  <a:pt x="210" y="161"/>
                  <a:pt x="211" y="161"/>
                </a:cubicBezTo>
                <a:cubicBezTo>
                  <a:pt x="211" y="161"/>
                  <a:pt x="213" y="160"/>
                  <a:pt x="213" y="160"/>
                </a:cubicBezTo>
                <a:cubicBezTo>
                  <a:pt x="214" y="160"/>
                  <a:pt x="215" y="161"/>
                  <a:pt x="216" y="160"/>
                </a:cubicBezTo>
                <a:cubicBezTo>
                  <a:pt x="216" y="160"/>
                  <a:pt x="214" y="158"/>
                  <a:pt x="217" y="159"/>
                </a:cubicBezTo>
                <a:cubicBezTo>
                  <a:pt x="219" y="159"/>
                  <a:pt x="221" y="159"/>
                  <a:pt x="223" y="158"/>
                </a:cubicBezTo>
                <a:cubicBezTo>
                  <a:pt x="228" y="157"/>
                  <a:pt x="232" y="156"/>
                  <a:pt x="237" y="154"/>
                </a:cubicBezTo>
                <a:cubicBezTo>
                  <a:pt x="238" y="153"/>
                  <a:pt x="254" y="143"/>
                  <a:pt x="255" y="143"/>
                </a:cubicBezTo>
                <a:cubicBezTo>
                  <a:pt x="254" y="143"/>
                  <a:pt x="247" y="143"/>
                  <a:pt x="246" y="143"/>
                </a:cubicBezTo>
                <a:cubicBezTo>
                  <a:pt x="244" y="142"/>
                  <a:pt x="242" y="141"/>
                  <a:pt x="240" y="141"/>
                </a:cubicBezTo>
                <a:cubicBezTo>
                  <a:pt x="238" y="141"/>
                  <a:pt x="236" y="142"/>
                  <a:pt x="235" y="142"/>
                </a:cubicBezTo>
                <a:cubicBezTo>
                  <a:pt x="233" y="143"/>
                  <a:pt x="233" y="141"/>
                  <a:pt x="232" y="142"/>
                </a:cubicBezTo>
                <a:cubicBezTo>
                  <a:pt x="231" y="142"/>
                  <a:pt x="230" y="144"/>
                  <a:pt x="229" y="144"/>
                </a:cubicBezTo>
                <a:cubicBezTo>
                  <a:pt x="225" y="144"/>
                  <a:pt x="232" y="140"/>
                  <a:pt x="233" y="141"/>
                </a:cubicBezTo>
                <a:cubicBezTo>
                  <a:pt x="232" y="140"/>
                  <a:pt x="229" y="141"/>
                  <a:pt x="228" y="141"/>
                </a:cubicBezTo>
                <a:cubicBezTo>
                  <a:pt x="225" y="141"/>
                  <a:pt x="223" y="140"/>
                  <a:pt x="221" y="140"/>
                </a:cubicBezTo>
                <a:cubicBezTo>
                  <a:pt x="222" y="140"/>
                  <a:pt x="225" y="138"/>
                  <a:pt x="226" y="137"/>
                </a:cubicBezTo>
                <a:cubicBezTo>
                  <a:pt x="226" y="134"/>
                  <a:pt x="228" y="135"/>
                  <a:pt x="229" y="136"/>
                </a:cubicBezTo>
                <a:cubicBezTo>
                  <a:pt x="231" y="136"/>
                  <a:pt x="239" y="134"/>
                  <a:pt x="240" y="133"/>
                </a:cubicBezTo>
                <a:cubicBezTo>
                  <a:pt x="240" y="132"/>
                  <a:pt x="235" y="131"/>
                  <a:pt x="234" y="130"/>
                </a:cubicBezTo>
                <a:cubicBezTo>
                  <a:pt x="235" y="131"/>
                  <a:pt x="239" y="132"/>
                  <a:pt x="240" y="132"/>
                </a:cubicBezTo>
                <a:cubicBezTo>
                  <a:pt x="241" y="133"/>
                  <a:pt x="245" y="133"/>
                  <a:pt x="245" y="135"/>
                </a:cubicBezTo>
                <a:cubicBezTo>
                  <a:pt x="244" y="138"/>
                  <a:pt x="246" y="139"/>
                  <a:pt x="248" y="139"/>
                </a:cubicBezTo>
                <a:cubicBezTo>
                  <a:pt x="248" y="139"/>
                  <a:pt x="254" y="139"/>
                  <a:pt x="253" y="138"/>
                </a:cubicBezTo>
                <a:cubicBezTo>
                  <a:pt x="253" y="138"/>
                  <a:pt x="253" y="140"/>
                  <a:pt x="254" y="140"/>
                </a:cubicBezTo>
                <a:cubicBezTo>
                  <a:pt x="256" y="139"/>
                  <a:pt x="257" y="136"/>
                  <a:pt x="257" y="134"/>
                </a:cubicBezTo>
                <a:cubicBezTo>
                  <a:pt x="257" y="133"/>
                  <a:pt x="257" y="129"/>
                  <a:pt x="255" y="130"/>
                </a:cubicBezTo>
                <a:cubicBezTo>
                  <a:pt x="253" y="132"/>
                  <a:pt x="254" y="130"/>
                  <a:pt x="253" y="129"/>
                </a:cubicBezTo>
                <a:cubicBezTo>
                  <a:pt x="251" y="127"/>
                  <a:pt x="248" y="126"/>
                  <a:pt x="245" y="124"/>
                </a:cubicBezTo>
                <a:cubicBezTo>
                  <a:pt x="244" y="123"/>
                  <a:pt x="243" y="123"/>
                  <a:pt x="242" y="122"/>
                </a:cubicBezTo>
                <a:cubicBezTo>
                  <a:pt x="242" y="122"/>
                  <a:pt x="238" y="123"/>
                  <a:pt x="238" y="124"/>
                </a:cubicBezTo>
                <a:cubicBezTo>
                  <a:pt x="238" y="124"/>
                  <a:pt x="239" y="123"/>
                  <a:pt x="238" y="123"/>
                </a:cubicBezTo>
                <a:cubicBezTo>
                  <a:pt x="238" y="123"/>
                  <a:pt x="237" y="122"/>
                  <a:pt x="237" y="122"/>
                </a:cubicBezTo>
                <a:cubicBezTo>
                  <a:pt x="237" y="121"/>
                  <a:pt x="241" y="122"/>
                  <a:pt x="241" y="121"/>
                </a:cubicBezTo>
                <a:cubicBezTo>
                  <a:pt x="241" y="119"/>
                  <a:pt x="241" y="118"/>
                  <a:pt x="238" y="118"/>
                </a:cubicBezTo>
                <a:cubicBezTo>
                  <a:pt x="236" y="119"/>
                  <a:pt x="235" y="121"/>
                  <a:pt x="233" y="119"/>
                </a:cubicBezTo>
                <a:cubicBezTo>
                  <a:pt x="233" y="119"/>
                  <a:pt x="229" y="119"/>
                  <a:pt x="229" y="118"/>
                </a:cubicBezTo>
                <a:cubicBezTo>
                  <a:pt x="229" y="116"/>
                  <a:pt x="234" y="119"/>
                  <a:pt x="234" y="119"/>
                </a:cubicBezTo>
                <a:cubicBezTo>
                  <a:pt x="235" y="119"/>
                  <a:pt x="240" y="118"/>
                  <a:pt x="240" y="117"/>
                </a:cubicBezTo>
                <a:cubicBezTo>
                  <a:pt x="241" y="117"/>
                  <a:pt x="236" y="115"/>
                  <a:pt x="235" y="115"/>
                </a:cubicBezTo>
                <a:cubicBezTo>
                  <a:pt x="233" y="115"/>
                  <a:pt x="230" y="115"/>
                  <a:pt x="228" y="116"/>
                </a:cubicBezTo>
                <a:cubicBezTo>
                  <a:pt x="229" y="116"/>
                  <a:pt x="233" y="113"/>
                  <a:pt x="233" y="114"/>
                </a:cubicBezTo>
                <a:cubicBezTo>
                  <a:pt x="233" y="113"/>
                  <a:pt x="229" y="113"/>
                  <a:pt x="229" y="112"/>
                </a:cubicBezTo>
                <a:cubicBezTo>
                  <a:pt x="232" y="113"/>
                  <a:pt x="235" y="115"/>
                  <a:pt x="238" y="113"/>
                </a:cubicBezTo>
                <a:cubicBezTo>
                  <a:pt x="238" y="113"/>
                  <a:pt x="241" y="112"/>
                  <a:pt x="241" y="111"/>
                </a:cubicBezTo>
                <a:cubicBezTo>
                  <a:pt x="240" y="110"/>
                  <a:pt x="238" y="109"/>
                  <a:pt x="238" y="108"/>
                </a:cubicBezTo>
                <a:cubicBezTo>
                  <a:pt x="238" y="109"/>
                  <a:pt x="241" y="110"/>
                  <a:pt x="242" y="110"/>
                </a:cubicBezTo>
                <a:cubicBezTo>
                  <a:pt x="244" y="111"/>
                  <a:pt x="243" y="109"/>
                  <a:pt x="245" y="109"/>
                </a:cubicBezTo>
                <a:cubicBezTo>
                  <a:pt x="246" y="109"/>
                  <a:pt x="254" y="111"/>
                  <a:pt x="254" y="111"/>
                </a:cubicBezTo>
                <a:cubicBezTo>
                  <a:pt x="253" y="111"/>
                  <a:pt x="246" y="110"/>
                  <a:pt x="246" y="110"/>
                </a:cubicBezTo>
                <a:cubicBezTo>
                  <a:pt x="248" y="114"/>
                  <a:pt x="254" y="113"/>
                  <a:pt x="257" y="113"/>
                </a:cubicBezTo>
                <a:cubicBezTo>
                  <a:pt x="258" y="112"/>
                  <a:pt x="261" y="113"/>
                  <a:pt x="262" y="112"/>
                </a:cubicBezTo>
                <a:cubicBezTo>
                  <a:pt x="265" y="111"/>
                  <a:pt x="264" y="109"/>
                  <a:pt x="262" y="108"/>
                </a:cubicBezTo>
                <a:cubicBezTo>
                  <a:pt x="261" y="107"/>
                  <a:pt x="258" y="106"/>
                  <a:pt x="257" y="106"/>
                </a:cubicBezTo>
                <a:cubicBezTo>
                  <a:pt x="256" y="106"/>
                  <a:pt x="257" y="109"/>
                  <a:pt x="257" y="110"/>
                </a:cubicBezTo>
                <a:cubicBezTo>
                  <a:pt x="256" y="109"/>
                  <a:pt x="256" y="108"/>
                  <a:pt x="255" y="107"/>
                </a:cubicBezTo>
                <a:cubicBezTo>
                  <a:pt x="255" y="106"/>
                  <a:pt x="254" y="107"/>
                  <a:pt x="253" y="106"/>
                </a:cubicBezTo>
                <a:cubicBezTo>
                  <a:pt x="254" y="107"/>
                  <a:pt x="256" y="101"/>
                  <a:pt x="256" y="100"/>
                </a:cubicBezTo>
                <a:cubicBezTo>
                  <a:pt x="256" y="100"/>
                  <a:pt x="257" y="103"/>
                  <a:pt x="257" y="103"/>
                </a:cubicBezTo>
                <a:cubicBezTo>
                  <a:pt x="257" y="105"/>
                  <a:pt x="257" y="106"/>
                  <a:pt x="258" y="106"/>
                </a:cubicBezTo>
                <a:cubicBezTo>
                  <a:pt x="261" y="106"/>
                  <a:pt x="263" y="105"/>
                  <a:pt x="265" y="105"/>
                </a:cubicBezTo>
                <a:cubicBezTo>
                  <a:pt x="266" y="105"/>
                  <a:pt x="272" y="103"/>
                  <a:pt x="270" y="101"/>
                </a:cubicBezTo>
                <a:cubicBezTo>
                  <a:pt x="268" y="100"/>
                  <a:pt x="267" y="102"/>
                  <a:pt x="266" y="101"/>
                </a:cubicBezTo>
                <a:cubicBezTo>
                  <a:pt x="266" y="100"/>
                  <a:pt x="266" y="100"/>
                  <a:pt x="266" y="99"/>
                </a:cubicBezTo>
                <a:cubicBezTo>
                  <a:pt x="267" y="98"/>
                  <a:pt x="266" y="97"/>
                  <a:pt x="265" y="97"/>
                </a:cubicBezTo>
                <a:cubicBezTo>
                  <a:pt x="265" y="96"/>
                  <a:pt x="262" y="96"/>
                  <a:pt x="261" y="96"/>
                </a:cubicBezTo>
                <a:cubicBezTo>
                  <a:pt x="259" y="96"/>
                  <a:pt x="258" y="98"/>
                  <a:pt x="256" y="96"/>
                </a:cubicBezTo>
                <a:cubicBezTo>
                  <a:pt x="260" y="99"/>
                  <a:pt x="262" y="91"/>
                  <a:pt x="266" y="95"/>
                </a:cubicBezTo>
                <a:cubicBezTo>
                  <a:pt x="267" y="97"/>
                  <a:pt x="269" y="94"/>
                  <a:pt x="269" y="92"/>
                </a:cubicBezTo>
                <a:cubicBezTo>
                  <a:pt x="269" y="91"/>
                  <a:pt x="266" y="88"/>
                  <a:pt x="266" y="88"/>
                </a:cubicBezTo>
                <a:cubicBezTo>
                  <a:pt x="266" y="87"/>
                  <a:pt x="269" y="90"/>
                  <a:pt x="269" y="91"/>
                </a:cubicBezTo>
                <a:cubicBezTo>
                  <a:pt x="269" y="92"/>
                  <a:pt x="271" y="90"/>
                  <a:pt x="270" y="88"/>
                </a:cubicBezTo>
                <a:cubicBezTo>
                  <a:pt x="269" y="87"/>
                  <a:pt x="267" y="85"/>
                  <a:pt x="266" y="84"/>
                </a:cubicBezTo>
                <a:cubicBezTo>
                  <a:pt x="264" y="84"/>
                  <a:pt x="261" y="85"/>
                  <a:pt x="259" y="84"/>
                </a:cubicBezTo>
                <a:cubicBezTo>
                  <a:pt x="258" y="83"/>
                  <a:pt x="258" y="81"/>
                  <a:pt x="256" y="81"/>
                </a:cubicBezTo>
                <a:cubicBezTo>
                  <a:pt x="256" y="80"/>
                  <a:pt x="252" y="81"/>
                  <a:pt x="253" y="80"/>
                </a:cubicBezTo>
                <a:cubicBezTo>
                  <a:pt x="254" y="78"/>
                  <a:pt x="254" y="77"/>
                  <a:pt x="256" y="79"/>
                </a:cubicBezTo>
                <a:cubicBezTo>
                  <a:pt x="258" y="81"/>
                  <a:pt x="260" y="78"/>
                  <a:pt x="262" y="77"/>
                </a:cubicBezTo>
                <a:cubicBezTo>
                  <a:pt x="265" y="75"/>
                  <a:pt x="271" y="81"/>
                  <a:pt x="274" y="78"/>
                </a:cubicBezTo>
                <a:cubicBezTo>
                  <a:pt x="275" y="77"/>
                  <a:pt x="275" y="72"/>
                  <a:pt x="272" y="73"/>
                </a:cubicBezTo>
                <a:cubicBezTo>
                  <a:pt x="271" y="73"/>
                  <a:pt x="270" y="74"/>
                  <a:pt x="269" y="73"/>
                </a:cubicBezTo>
                <a:cubicBezTo>
                  <a:pt x="267" y="73"/>
                  <a:pt x="265" y="72"/>
                  <a:pt x="263" y="70"/>
                </a:cubicBezTo>
                <a:cubicBezTo>
                  <a:pt x="260" y="68"/>
                  <a:pt x="271" y="71"/>
                  <a:pt x="271" y="70"/>
                </a:cubicBezTo>
                <a:cubicBezTo>
                  <a:pt x="270" y="68"/>
                  <a:pt x="265" y="67"/>
                  <a:pt x="263" y="66"/>
                </a:cubicBezTo>
                <a:cubicBezTo>
                  <a:pt x="260" y="65"/>
                  <a:pt x="260" y="66"/>
                  <a:pt x="259" y="68"/>
                </a:cubicBezTo>
                <a:cubicBezTo>
                  <a:pt x="259" y="69"/>
                  <a:pt x="257" y="70"/>
                  <a:pt x="256" y="69"/>
                </a:cubicBezTo>
                <a:cubicBezTo>
                  <a:pt x="255" y="69"/>
                  <a:pt x="258" y="65"/>
                  <a:pt x="258" y="64"/>
                </a:cubicBezTo>
                <a:cubicBezTo>
                  <a:pt x="258" y="63"/>
                  <a:pt x="259" y="61"/>
                  <a:pt x="260" y="60"/>
                </a:cubicBezTo>
                <a:cubicBezTo>
                  <a:pt x="260" y="59"/>
                  <a:pt x="260" y="57"/>
                  <a:pt x="261" y="57"/>
                </a:cubicBezTo>
                <a:cubicBezTo>
                  <a:pt x="262" y="57"/>
                  <a:pt x="264" y="57"/>
                  <a:pt x="265" y="56"/>
                </a:cubicBezTo>
                <a:cubicBezTo>
                  <a:pt x="265" y="56"/>
                  <a:pt x="270" y="51"/>
                  <a:pt x="270" y="52"/>
                </a:cubicBezTo>
                <a:cubicBezTo>
                  <a:pt x="270" y="52"/>
                  <a:pt x="268" y="51"/>
                  <a:pt x="268" y="51"/>
                </a:cubicBezTo>
                <a:cubicBezTo>
                  <a:pt x="268" y="50"/>
                  <a:pt x="268" y="49"/>
                  <a:pt x="268" y="48"/>
                </a:cubicBezTo>
                <a:cubicBezTo>
                  <a:pt x="268" y="46"/>
                  <a:pt x="269" y="46"/>
                  <a:pt x="271" y="46"/>
                </a:cubicBezTo>
                <a:cubicBezTo>
                  <a:pt x="273" y="46"/>
                  <a:pt x="281" y="43"/>
                  <a:pt x="276" y="43"/>
                </a:cubicBezTo>
                <a:cubicBezTo>
                  <a:pt x="273" y="43"/>
                  <a:pt x="268" y="42"/>
                  <a:pt x="266" y="44"/>
                </a:cubicBezTo>
                <a:cubicBezTo>
                  <a:pt x="265" y="45"/>
                  <a:pt x="265" y="47"/>
                  <a:pt x="263" y="46"/>
                </a:cubicBezTo>
                <a:cubicBezTo>
                  <a:pt x="261" y="45"/>
                  <a:pt x="263" y="43"/>
                  <a:pt x="264" y="42"/>
                </a:cubicBezTo>
                <a:cubicBezTo>
                  <a:pt x="266" y="39"/>
                  <a:pt x="270" y="41"/>
                  <a:pt x="273" y="41"/>
                </a:cubicBezTo>
                <a:cubicBezTo>
                  <a:pt x="277" y="41"/>
                  <a:pt x="281" y="42"/>
                  <a:pt x="283" y="38"/>
                </a:cubicBezTo>
                <a:cubicBezTo>
                  <a:pt x="284" y="38"/>
                  <a:pt x="280" y="37"/>
                  <a:pt x="280" y="37"/>
                </a:cubicBezTo>
                <a:cubicBezTo>
                  <a:pt x="278" y="36"/>
                  <a:pt x="276" y="37"/>
                  <a:pt x="274" y="37"/>
                </a:cubicBezTo>
                <a:cubicBezTo>
                  <a:pt x="272" y="37"/>
                  <a:pt x="271" y="36"/>
                  <a:pt x="269" y="36"/>
                </a:cubicBezTo>
                <a:cubicBezTo>
                  <a:pt x="268" y="36"/>
                  <a:pt x="266" y="36"/>
                  <a:pt x="265" y="36"/>
                </a:cubicBezTo>
                <a:cubicBezTo>
                  <a:pt x="266" y="37"/>
                  <a:pt x="269" y="36"/>
                  <a:pt x="271" y="36"/>
                </a:cubicBezTo>
                <a:cubicBezTo>
                  <a:pt x="274" y="36"/>
                  <a:pt x="276" y="35"/>
                  <a:pt x="279" y="35"/>
                </a:cubicBezTo>
                <a:cubicBezTo>
                  <a:pt x="283" y="36"/>
                  <a:pt x="285" y="34"/>
                  <a:pt x="288" y="34"/>
                </a:cubicBezTo>
                <a:cubicBezTo>
                  <a:pt x="289" y="34"/>
                  <a:pt x="291" y="34"/>
                  <a:pt x="291" y="33"/>
                </a:cubicBezTo>
                <a:cubicBezTo>
                  <a:pt x="291" y="33"/>
                  <a:pt x="289" y="31"/>
                  <a:pt x="290" y="31"/>
                </a:cubicBezTo>
                <a:cubicBezTo>
                  <a:pt x="295" y="30"/>
                  <a:pt x="300" y="29"/>
                  <a:pt x="304" y="26"/>
                </a:cubicBezTo>
                <a:cubicBezTo>
                  <a:pt x="305" y="25"/>
                  <a:pt x="301" y="24"/>
                  <a:pt x="301" y="24"/>
                </a:cubicBezTo>
                <a:cubicBezTo>
                  <a:pt x="298" y="23"/>
                  <a:pt x="295" y="22"/>
                  <a:pt x="293" y="22"/>
                </a:cubicBezTo>
                <a:cubicBezTo>
                  <a:pt x="287" y="21"/>
                  <a:pt x="282" y="20"/>
                  <a:pt x="277" y="25"/>
                </a:cubicBezTo>
                <a:cubicBezTo>
                  <a:pt x="275" y="28"/>
                  <a:pt x="273" y="26"/>
                  <a:pt x="269" y="26"/>
                </a:cubicBezTo>
                <a:cubicBezTo>
                  <a:pt x="268" y="26"/>
                  <a:pt x="264" y="29"/>
                  <a:pt x="265" y="26"/>
                </a:cubicBezTo>
                <a:cubicBezTo>
                  <a:pt x="265" y="24"/>
                  <a:pt x="260" y="27"/>
                  <a:pt x="259" y="28"/>
                </a:cubicBezTo>
                <a:cubicBezTo>
                  <a:pt x="257" y="29"/>
                  <a:pt x="255" y="30"/>
                  <a:pt x="253" y="31"/>
                </a:cubicBezTo>
                <a:cubicBezTo>
                  <a:pt x="252" y="31"/>
                  <a:pt x="244" y="37"/>
                  <a:pt x="244" y="37"/>
                </a:cubicBezTo>
                <a:cubicBezTo>
                  <a:pt x="242" y="35"/>
                  <a:pt x="264" y="22"/>
                  <a:pt x="251" y="19"/>
                </a:cubicBezTo>
                <a:cubicBezTo>
                  <a:pt x="246" y="19"/>
                  <a:pt x="247" y="22"/>
                  <a:pt x="243" y="24"/>
                </a:cubicBezTo>
                <a:cubicBezTo>
                  <a:pt x="240" y="25"/>
                  <a:pt x="238" y="25"/>
                  <a:pt x="235" y="26"/>
                </a:cubicBezTo>
                <a:cubicBezTo>
                  <a:pt x="234" y="26"/>
                  <a:pt x="229" y="28"/>
                  <a:pt x="228" y="28"/>
                </a:cubicBezTo>
                <a:cubicBezTo>
                  <a:pt x="226" y="25"/>
                  <a:pt x="233" y="24"/>
                  <a:pt x="235" y="24"/>
                </a:cubicBezTo>
                <a:cubicBezTo>
                  <a:pt x="235" y="23"/>
                  <a:pt x="241" y="22"/>
                  <a:pt x="238" y="21"/>
                </a:cubicBezTo>
                <a:cubicBezTo>
                  <a:pt x="235" y="20"/>
                  <a:pt x="232" y="20"/>
                  <a:pt x="229" y="20"/>
                </a:cubicBezTo>
                <a:cubicBezTo>
                  <a:pt x="221" y="20"/>
                  <a:pt x="213" y="21"/>
                  <a:pt x="205" y="23"/>
                </a:cubicBezTo>
                <a:cubicBezTo>
                  <a:pt x="205" y="23"/>
                  <a:pt x="202" y="25"/>
                  <a:pt x="201" y="24"/>
                </a:cubicBezTo>
                <a:cubicBezTo>
                  <a:pt x="201" y="22"/>
                  <a:pt x="200" y="22"/>
                  <a:pt x="202" y="22"/>
                </a:cubicBezTo>
                <a:cubicBezTo>
                  <a:pt x="206" y="20"/>
                  <a:pt x="210" y="19"/>
                  <a:pt x="214" y="18"/>
                </a:cubicBezTo>
                <a:cubicBezTo>
                  <a:pt x="221" y="17"/>
                  <a:pt x="229" y="18"/>
                  <a:pt x="237" y="18"/>
                </a:cubicBezTo>
                <a:cubicBezTo>
                  <a:pt x="239" y="18"/>
                  <a:pt x="241" y="18"/>
                  <a:pt x="243" y="18"/>
                </a:cubicBezTo>
                <a:cubicBezTo>
                  <a:pt x="247" y="16"/>
                  <a:pt x="252" y="16"/>
                  <a:pt x="256" y="14"/>
                </a:cubicBezTo>
                <a:cubicBezTo>
                  <a:pt x="258" y="14"/>
                  <a:pt x="259" y="13"/>
                  <a:pt x="256" y="12"/>
                </a:cubicBezTo>
                <a:cubicBezTo>
                  <a:pt x="254" y="11"/>
                  <a:pt x="250" y="10"/>
                  <a:pt x="248" y="11"/>
                </a:cubicBezTo>
                <a:cubicBezTo>
                  <a:pt x="246" y="11"/>
                  <a:pt x="246" y="10"/>
                  <a:pt x="244" y="9"/>
                </a:cubicBezTo>
                <a:cubicBezTo>
                  <a:pt x="242" y="9"/>
                  <a:pt x="240" y="11"/>
                  <a:pt x="238" y="11"/>
                </a:cubicBezTo>
                <a:cubicBezTo>
                  <a:pt x="238" y="11"/>
                  <a:pt x="240" y="8"/>
                  <a:pt x="241" y="8"/>
                </a:cubicBezTo>
                <a:cubicBezTo>
                  <a:pt x="242" y="6"/>
                  <a:pt x="238" y="6"/>
                  <a:pt x="237" y="6"/>
                </a:cubicBezTo>
                <a:cubicBezTo>
                  <a:pt x="231" y="7"/>
                  <a:pt x="226" y="7"/>
                  <a:pt x="220" y="6"/>
                </a:cubicBezTo>
                <a:cubicBezTo>
                  <a:pt x="215" y="6"/>
                  <a:pt x="211" y="8"/>
                  <a:pt x="206" y="8"/>
                </a:cubicBezTo>
                <a:cubicBezTo>
                  <a:pt x="204" y="8"/>
                  <a:pt x="201" y="8"/>
                  <a:pt x="199" y="8"/>
                </a:cubicBezTo>
                <a:cubicBezTo>
                  <a:pt x="197" y="9"/>
                  <a:pt x="194" y="8"/>
                  <a:pt x="193" y="9"/>
                </a:cubicBezTo>
                <a:cubicBezTo>
                  <a:pt x="196" y="8"/>
                  <a:pt x="199" y="8"/>
                  <a:pt x="202" y="7"/>
                </a:cubicBezTo>
                <a:cubicBezTo>
                  <a:pt x="207" y="7"/>
                  <a:pt x="211" y="6"/>
                  <a:pt x="215" y="6"/>
                </a:cubicBezTo>
                <a:cubicBezTo>
                  <a:pt x="217" y="6"/>
                  <a:pt x="237" y="6"/>
                  <a:pt x="237" y="4"/>
                </a:cubicBezTo>
                <a:cubicBezTo>
                  <a:pt x="236" y="4"/>
                  <a:pt x="233" y="3"/>
                  <a:pt x="232" y="2"/>
                </a:cubicBezTo>
                <a:cubicBezTo>
                  <a:pt x="229" y="2"/>
                  <a:pt x="227" y="2"/>
                  <a:pt x="224" y="2"/>
                </a:cubicBezTo>
                <a:cubicBezTo>
                  <a:pt x="220" y="2"/>
                  <a:pt x="216" y="1"/>
                  <a:pt x="213" y="0"/>
                </a:cubicBezTo>
                <a:cubicBezTo>
                  <a:pt x="206" y="0"/>
                  <a:pt x="200" y="0"/>
                  <a:pt x="194" y="0"/>
                </a:cubicBezTo>
                <a:cubicBezTo>
                  <a:pt x="191" y="1"/>
                  <a:pt x="188" y="1"/>
                  <a:pt x="185" y="1"/>
                </a:cubicBezTo>
                <a:cubicBezTo>
                  <a:pt x="184" y="1"/>
                  <a:pt x="183" y="3"/>
                  <a:pt x="183" y="3"/>
                </a:cubicBezTo>
                <a:cubicBezTo>
                  <a:pt x="181" y="3"/>
                  <a:pt x="179" y="2"/>
                  <a:pt x="177" y="2"/>
                </a:cubicBezTo>
                <a:cubicBezTo>
                  <a:pt x="176" y="2"/>
                  <a:pt x="175" y="3"/>
                  <a:pt x="173" y="3"/>
                </a:cubicBezTo>
                <a:cubicBezTo>
                  <a:pt x="171" y="3"/>
                  <a:pt x="171" y="4"/>
                  <a:pt x="173" y="4"/>
                </a:cubicBezTo>
                <a:cubicBezTo>
                  <a:pt x="176" y="5"/>
                  <a:pt x="179" y="5"/>
                  <a:pt x="181" y="6"/>
                </a:cubicBezTo>
                <a:cubicBezTo>
                  <a:pt x="180" y="5"/>
                  <a:pt x="174" y="7"/>
                  <a:pt x="173" y="8"/>
                </a:cubicBezTo>
                <a:cubicBezTo>
                  <a:pt x="173" y="8"/>
                  <a:pt x="170" y="8"/>
                  <a:pt x="170" y="8"/>
                </a:cubicBezTo>
                <a:cubicBezTo>
                  <a:pt x="170" y="8"/>
                  <a:pt x="172" y="10"/>
                  <a:pt x="172" y="10"/>
                </a:cubicBezTo>
                <a:cubicBezTo>
                  <a:pt x="171" y="10"/>
                  <a:pt x="169" y="9"/>
                  <a:pt x="168" y="8"/>
                </a:cubicBezTo>
                <a:cubicBezTo>
                  <a:pt x="167" y="7"/>
                  <a:pt x="164" y="8"/>
                  <a:pt x="163" y="8"/>
                </a:cubicBezTo>
                <a:cubicBezTo>
                  <a:pt x="160" y="7"/>
                  <a:pt x="157" y="6"/>
                  <a:pt x="154" y="5"/>
                </a:cubicBezTo>
                <a:cubicBezTo>
                  <a:pt x="152" y="4"/>
                  <a:pt x="150" y="6"/>
                  <a:pt x="147" y="6"/>
                </a:cubicBezTo>
                <a:cubicBezTo>
                  <a:pt x="146" y="6"/>
                  <a:pt x="140" y="5"/>
                  <a:pt x="140" y="7"/>
                </a:cubicBezTo>
                <a:cubicBezTo>
                  <a:pt x="139" y="7"/>
                  <a:pt x="153" y="9"/>
                  <a:pt x="155" y="10"/>
                </a:cubicBezTo>
                <a:cubicBezTo>
                  <a:pt x="158" y="10"/>
                  <a:pt x="161" y="10"/>
                  <a:pt x="163" y="11"/>
                </a:cubicBezTo>
                <a:cubicBezTo>
                  <a:pt x="164" y="11"/>
                  <a:pt x="165" y="11"/>
                  <a:pt x="166" y="12"/>
                </a:cubicBezTo>
                <a:cubicBezTo>
                  <a:pt x="166" y="12"/>
                  <a:pt x="166" y="15"/>
                  <a:pt x="166" y="15"/>
                </a:cubicBezTo>
                <a:cubicBezTo>
                  <a:pt x="166" y="16"/>
                  <a:pt x="165" y="14"/>
                  <a:pt x="165" y="13"/>
                </a:cubicBezTo>
                <a:cubicBezTo>
                  <a:pt x="164" y="12"/>
                  <a:pt x="161" y="12"/>
                  <a:pt x="160" y="11"/>
                </a:cubicBezTo>
                <a:cubicBezTo>
                  <a:pt x="160" y="11"/>
                  <a:pt x="157" y="11"/>
                  <a:pt x="157" y="11"/>
                </a:cubicBezTo>
                <a:cubicBezTo>
                  <a:pt x="157" y="12"/>
                  <a:pt x="158" y="14"/>
                  <a:pt x="158" y="14"/>
                </a:cubicBezTo>
                <a:cubicBezTo>
                  <a:pt x="156" y="14"/>
                  <a:pt x="155" y="11"/>
                  <a:pt x="154" y="11"/>
                </a:cubicBezTo>
                <a:cubicBezTo>
                  <a:pt x="152" y="11"/>
                  <a:pt x="150" y="11"/>
                  <a:pt x="148" y="10"/>
                </a:cubicBezTo>
                <a:cubicBezTo>
                  <a:pt x="147" y="10"/>
                  <a:pt x="139" y="10"/>
                  <a:pt x="139" y="10"/>
                </a:cubicBezTo>
                <a:cubicBezTo>
                  <a:pt x="138" y="12"/>
                  <a:pt x="151" y="17"/>
                  <a:pt x="151" y="17"/>
                </a:cubicBezTo>
                <a:cubicBezTo>
                  <a:pt x="151" y="18"/>
                  <a:pt x="146" y="17"/>
                  <a:pt x="146" y="17"/>
                </a:cubicBezTo>
                <a:cubicBezTo>
                  <a:pt x="143" y="17"/>
                  <a:pt x="142" y="16"/>
                  <a:pt x="143" y="19"/>
                </a:cubicBezTo>
                <a:cubicBezTo>
                  <a:pt x="142" y="19"/>
                  <a:pt x="141" y="18"/>
                  <a:pt x="140" y="17"/>
                </a:cubicBezTo>
                <a:cubicBezTo>
                  <a:pt x="140" y="16"/>
                  <a:pt x="142" y="17"/>
                  <a:pt x="143" y="16"/>
                </a:cubicBezTo>
                <a:cubicBezTo>
                  <a:pt x="143" y="16"/>
                  <a:pt x="141" y="14"/>
                  <a:pt x="140" y="14"/>
                </a:cubicBezTo>
                <a:cubicBezTo>
                  <a:pt x="138" y="13"/>
                  <a:pt x="136" y="12"/>
                  <a:pt x="133" y="12"/>
                </a:cubicBezTo>
                <a:cubicBezTo>
                  <a:pt x="132" y="12"/>
                  <a:pt x="130" y="11"/>
                  <a:pt x="129" y="12"/>
                </a:cubicBezTo>
                <a:cubicBezTo>
                  <a:pt x="128" y="12"/>
                  <a:pt x="131" y="15"/>
                  <a:pt x="131" y="15"/>
                </a:cubicBezTo>
                <a:cubicBezTo>
                  <a:pt x="134" y="17"/>
                  <a:pt x="138" y="17"/>
                  <a:pt x="142" y="20"/>
                </a:cubicBezTo>
                <a:cubicBezTo>
                  <a:pt x="143" y="20"/>
                  <a:pt x="144" y="21"/>
                  <a:pt x="143" y="22"/>
                </a:cubicBezTo>
                <a:cubicBezTo>
                  <a:pt x="141" y="24"/>
                  <a:pt x="139" y="22"/>
                  <a:pt x="137" y="21"/>
                </a:cubicBezTo>
                <a:cubicBezTo>
                  <a:pt x="132" y="18"/>
                  <a:pt x="126" y="16"/>
                  <a:pt x="120" y="15"/>
                </a:cubicBezTo>
                <a:cubicBezTo>
                  <a:pt x="117" y="14"/>
                  <a:pt x="114" y="13"/>
                  <a:pt x="111" y="14"/>
                </a:cubicBezTo>
                <a:cubicBezTo>
                  <a:pt x="110" y="14"/>
                  <a:pt x="113" y="17"/>
                  <a:pt x="113" y="18"/>
                </a:cubicBezTo>
                <a:cubicBezTo>
                  <a:pt x="113" y="18"/>
                  <a:pt x="117" y="21"/>
                  <a:pt x="117" y="21"/>
                </a:cubicBezTo>
                <a:cubicBezTo>
                  <a:pt x="117" y="22"/>
                  <a:pt x="111" y="21"/>
                  <a:pt x="111" y="21"/>
                </a:cubicBezTo>
                <a:cubicBezTo>
                  <a:pt x="111" y="23"/>
                  <a:pt x="115" y="22"/>
                  <a:pt x="115" y="24"/>
                </a:cubicBezTo>
                <a:cubicBezTo>
                  <a:pt x="115" y="24"/>
                  <a:pt x="111" y="23"/>
                  <a:pt x="110" y="22"/>
                </a:cubicBezTo>
                <a:cubicBezTo>
                  <a:pt x="108" y="21"/>
                  <a:pt x="106" y="21"/>
                  <a:pt x="103" y="20"/>
                </a:cubicBezTo>
                <a:cubicBezTo>
                  <a:pt x="101" y="19"/>
                  <a:pt x="101" y="20"/>
                  <a:pt x="101" y="22"/>
                </a:cubicBezTo>
                <a:cubicBezTo>
                  <a:pt x="100" y="23"/>
                  <a:pt x="99" y="23"/>
                  <a:pt x="98" y="23"/>
                </a:cubicBezTo>
                <a:cubicBezTo>
                  <a:pt x="98" y="24"/>
                  <a:pt x="98" y="26"/>
                  <a:pt x="97" y="26"/>
                </a:cubicBezTo>
                <a:cubicBezTo>
                  <a:pt x="97" y="27"/>
                  <a:pt x="97" y="24"/>
                  <a:pt x="97" y="23"/>
                </a:cubicBezTo>
                <a:cubicBezTo>
                  <a:pt x="97" y="22"/>
                  <a:pt x="98" y="21"/>
                  <a:pt x="98" y="20"/>
                </a:cubicBezTo>
                <a:cubicBezTo>
                  <a:pt x="97" y="16"/>
                  <a:pt x="93" y="16"/>
                  <a:pt x="90" y="16"/>
                </a:cubicBezTo>
                <a:cubicBezTo>
                  <a:pt x="86" y="17"/>
                  <a:pt x="82" y="18"/>
                  <a:pt x="78" y="18"/>
                </a:cubicBezTo>
                <a:cubicBezTo>
                  <a:pt x="77" y="19"/>
                  <a:pt x="75" y="19"/>
                  <a:pt x="74" y="19"/>
                </a:cubicBezTo>
                <a:cubicBezTo>
                  <a:pt x="74" y="19"/>
                  <a:pt x="69" y="20"/>
                  <a:pt x="69" y="20"/>
                </a:cubicBezTo>
                <a:cubicBezTo>
                  <a:pt x="70" y="21"/>
                  <a:pt x="72" y="21"/>
                  <a:pt x="73" y="21"/>
                </a:cubicBezTo>
                <a:cubicBezTo>
                  <a:pt x="74" y="22"/>
                  <a:pt x="75" y="23"/>
                  <a:pt x="77" y="24"/>
                </a:cubicBezTo>
                <a:cubicBezTo>
                  <a:pt x="77" y="24"/>
                  <a:pt x="81" y="27"/>
                  <a:pt x="81" y="27"/>
                </a:cubicBezTo>
                <a:cubicBezTo>
                  <a:pt x="80" y="27"/>
                  <a:pt x="76" y="25"/>
                  <a:pt x="75" y="25"/>
                </a:cubicBezTo>
                <a:cubicBezTo>
                  <a:pt x="73" y="24"/>
                  <a:pt x="72" y="22"/>
                  <a:pt x="70" y="22"/>
                </a:cubicBezTo>
                <a:cubicBezTo>
                  <a:pt x="67" y="21"/>
                  <a:pt x="64" y="22"/>
                  <a:pt x="61" y="22"/>
                </a:cubicBezTo>
                <a:cubicBezTo>
                  <a:pt x="58" y="23"/>
                  <a:pt x="58" y="22"/>
                  <a:pt x="60" y="25"/>
                </a:cubicBezTo>
                <a:cubicBezTo>
                  <a:pt x="60" y="26"/>
                  <a:pt x="60" y="29"/>
                  <a:pt x="60" y="30"/>
                </a:cubicBezTo>
                <a:cubicBezTo>
                  <a:pt x="60" y="32"/>
                  <a:pt x="56" y="30"/>
                  <a:pt x="55" y="30"/>
                </a:cubicBezTo>
                <a:cubicBezTo>
                  <a:pt x="54" y="30"/>
                  <a:pt x="51" y="28"/>
                  <a:pt x="50" y="30"/>
                </a:cubicBezTo>
                <a:cubicBezTo>
                  <a:pt x="49" y="31"/>
                  <a:pt x="50" y="34"/>
                  <a:pt x="50" y="34"/>
                </a:cubicBezTo>
                <a:cubicBezTo>
                  <a:pt x="49" y="35"/>
                  <a:pt x="48" y="33"/>
                  <a:pt x="47" y="32"/>
                </a:cubicBezTo>
                <a:cubicBezTo>
                  <a:pt x="45" y="31"/>
                  <a:pt x="43" y="31"/>
                  <a:pt x="42" y="32"/>
                </a:cubicBezTo>
                <a:cubicBezTo>
                  <a:pt x="39" y="34"/>
                  <a:pt x="36" y="36"/>
                  <a:pt x="32" y="37"/>
                </a:cubicBezTo>
                <a:cubicBezTo>
                  <a:pt x="31" y="38"/>
                  <a:pt x="34" y="37"/>
                  <a:pt x="32" y="3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81" name="Freeform 777">
            <a:extLst>
              <a:ext uri="{FF2B5EF4-FFF2-40B4-BE49-F238E27FC236}">
                <a16:creationId xmlns:a16="http://schemas.microsoft.com/office/drawing/2014/main" id="{1B6B23EC-FC20-ED4A-9FB9-0EB1745FC9FF}"/>
              </a:ext>
            </a:extLst>
          </p:cNvPr>
          <p:cNvSpPr>
            <a:spLocks/>
          </p:cNvSpPr>
          <p:nvPr/>
        </p:nvSpPr>
        <p:spPr bwMode="auto">
          <a:xfrm>
            <a:off x="4444704" y="2677005"/>
            <a:ext cx="82948" cy="58256"/>
          </a:xfrm>
          <a:custGeom>
            <a:avLst/>
            <a:gdLst>
              <a:gd name="T0" fmla="*/ 16 w 16"/>
              <a:gd name="T1" fmla="*/ 6 h 11"/>
              <a:gd name="T2" fmla="*/ 11 w 16"/>
              <a:gd name="T3" fmla="*/ 3 h 11"/>
              <a:gd name="T4" fmla="*/ 5 w 16"/>
              <a:gd name="T5" fmla="*/ 1 h 11"/>
              <a:gd name="T6" fmla="*/ 1 w 16"/>
              <a:gd name="T7" fmla="*/ 1 h 11"/>
              <a:gd name="T8" fmla="*/ 3 w 16"/>
              <a:gd name="T9" fmla="*/ 3 h 11"/>
              <a:gd name="T10" fmla="*/ 1 w 16"/>
              <a:gd name="T11" fmla="*/ 7 h 11"/>
              <a:gd name="T12" fmla="*/ 5 w 16"/>
              <a:gd name="T13" fmla="*/ 7 h 11"/>
              <a:gd name="T14" fmla="*/ 5 w 16"/>
              <a:gd name="T15" fmla="*/ 9 h 11"/>
              <a:gd name="T16" fmla="*/ 16 w 16"/>
              <a:gd name="T17" fmla="*/ 6 h 11"/>
              <a:gd name="T18" fmla="*/ 16 w 16"/>
              <a:gd name="T19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" h="11">
                <a:moveTo>
                  <a:pt x="16" y="6"/>
                </a:moveTo>
                <a:cubicBezTo>
                  <a:pt x="15" y="5"/>
                  <a:pt x="11" y="3"/>
                  <a:pt x="11" y="3"/>
                </a:cubicBezTo>
                <a:cubicBezTo>
                  <a:pt x="9" y="2"/>
                  <a:pt x="7" y="1"/>
                  <a:pt x="5" y="1"/>
                </a:cubicBezTo>
                <a:cubicBezTo>
                  <a:pt x="4" y="1"/>
                  <a:pt x="2" y="0"/>
                  <a:pt x="1" y="1"/>
                </a:cubicBezTo>
                <a:cubicBezTo>
                  <a:pt x="0" y="2"/>
                  <a:pt x="3" y="3"/>
                  <a:pt x="3" y="3"/>
                </a:cubicBezTo>
                <a:cubicBezTo>
                  <a:pt x="2" y="3"/>
                  <a:pt x="0" y="6"/>
                  <a:pt x="1" y="7"/>
                </a:cubicBezTo>
                <a:cubicBezTo>
                  <a:pt x="2" y="7"/>
                  <a:pt x="4" y="6"/>
                  <a:pt x="5" y="7"/>
                </a:cubicBezTo>
                <a:cubicBezTo>
                  <a:pt x="7" y="8"/>
                  <a:pt x="5" y="8"/>
                  <a:pt x="5" y="9"/>
                </a:cubicBezTo>
                <a:cubicBezTo>
                  <a:pt x="5" y="11"/>
                  <a:pt x="16" y="8"/>
                  <a:pt x="16" y="6"/>
                </a:cubicBezTo>
                <a:cubicBezTo>
                  <a:pt x="15" y="5"/>
                  <a:pt x="16" y="7"/>
                  <a:pt x="16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82" name="Freeform 778">
            <a:extLst>
              <a:ext uri="{FF2B5EF4-FFF2-40B4-BE49-F238E27FC236}">
                <a16:creationId xmlns:a16="http://schemas.microsoft.com/office/drawing/2014/main" id="{E6527563-704E-AE41-9ED7-DD4B37B0A4E7}"/>
              </a:ext>
            </a:extLst>
          </p:cNvPr>
          <p:cNvSpPr>
            <a:spLocks/>
          </p:cNvSpPr>
          <p:nvPr/>
        </p:nvSpPr>
        <p:spPr bwMode="auto">
          <a:xfrm>
            <a:off x="4471178" y="2636403"/>
            <a:ext cx="21178" cy="10592"/>
          </a:xfrm>
          <a:custGeom>
            <a:avLst/>
            <a:gdLst>
              <a:gd name="T0" fmla="*/ 2 w 4"/>
              <a:gd name="T1" fmla="*/ 2 h 2"/>
              <a:gd name="T2" fmla="*/ 2 w 4"/>
              <a:gd name="T3" fmla="*/ 0 h 2"/>
              <a:gd name="T4" fmla="*/ 2 w 4"/>
              <a:gd name="T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" h="2">
                <a:moveTo>
                  <a:pt x="2" y="2"/>
                </a:moveTo>
                <a:cubicBezTo>
                  <a:pt x="0" y="2"/>
                  <a:pt x="1" y="0"/>
                  <a:pt x="2" y="0"/>
                </a:cubicBezTo>
                <a:cubicBezTo>
                  <a:pt x="3" y="0"/>
                  <a:pt x="4" y="2"/>
                  <a:pt x="2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83" name="Freeform 779">
            <a:extLst>
              <a:ext uri="{FF2B5EF4-FFF2-40B4-BE49-F238E27FC236}">
                <a16:creationId xmlns:a16="http://schemas.microsoft.com/office/drawing/2014/main" id="{4F99D5B0-170B-6542-994F-40F01624A67B}"/>
              </a:ext>
            </a:extLst>
          </p:cNvPr>
          <p:cNvSpPr>
            <a:spLocks/>
          </p:cNvSpPr>
          <p:nvPr/>
        </p:nvSpPr>
        <p:spPr bwMode="auto">
          <a:xfrm>
            <a:off x="4487062" y="2023842"/>
            <a:ext cx="56474" cy="31774"/>
          </a:xfrm>
          <a:custGeom>
            <a:avLst/>
            <a:gdLst>
              <a:gd name="T0" fmla="*/ 9 w 11"/>
              <a:gd name="T1" fmla="*/ 4 h 6"/>
              <a:gd name="T2" fmla="*/ 9 w 11"/>
              <a:gd name="T3" fmla="*/ 5 h 6"/>
              <a:gd name="T4" fmla="*/ 3 w 11"/>
              <a:gd name="T5" fmla="*/ 4 h 6"/>
              <a:gd name="T6" fmla="*/ 2 w 11"/>
              <a:gd name="T7" fmla="*/ 1 h 6"/>
              <a:gd name="T8" fmla="*/ 9 w 11"/>
              <a:gd name="T9" fmla="*/ 4 h 6"/>
              <a:gd name="T10" fmla="*/ 9 w 11"/>
              <a:gd name="T11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" h="6">
                <a:moveTo>
                  <a:pt x="9" y="4"/>
                </a:moveTo>
                <a:cubicBezTo>
                  <a:pt x="11" y="5"/>
                  <a:pt x="11" y="6"/>
                  <a:pt x="9" y="5"/>
                </a:cubicBezTo>
                <a:cubicBezTo>
                  <a:pt x="7" y="5"/>
                  <a:pt x="4" y="4"/>
                  <a:pt x="3" y="4"/>
                </a:cubicBezTo>
                <a:cubicBezTo>
                  <a:pt x="2" y="3"/>
                  <a:pt x="0" y="0"/>
                  <a:pt x="2" y="1"/>
                </a:cubicBezTo>
                <a:cubicBezTo>
                  <a:pt x="4" y="2"/>
                  <a:pt x="7" y="3"/>
                  <a:pt x="9" y="4"/>
                </a:cubicBezTo>
                <a:cubicBezTo>
                  <a:pt x="11" y="5"/>
                  <a:pt x="7" y="3"/>
                  <a:pt x="9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84" name="Freeform 780">
            <a:extLst>
              <a:ext uri="{FF2B5EF4-FFF2-40B4-BE49-F238E27FC236}">
                <a16:creationId xmlns:a16="http://schemas.microsoft.com/office/drawing/2014/main" id="{3F2B0EEF-AA92-7C49-BE3A-86DF1DC8D59C}"/>
              </a:ext>
            </a:extLst>
          </p:cNvPr>
          <p:cNvSpPr>
            <a:spLocks/>
          </p:cNvSpPr>
          <p:nvPr/>
        </p:nvSpPr>
        <p:spPr bwMode="auto">
          <a:xfrm>
            <a:off x="4661781" y="1977942"/>
            <a:ext cx="42356" cy="24714"/>
          </a:xfrm>
          <a:custGeom>
            <a:avLst/>
            <a:gdLst>
              <a:gd name="T0" fmla="*/ 8 w 8"/>
              <a:gd name="T1" fmla="*/ 3 h 5"/>
              <a:gd name="T2" fmla="*/ 0 w 8"/>
              <a:gd name="T3" fmla="*/ 2 h 5"/>
              <a:gd name="T4" fmla="*/ 8 w 8"/>
              <a:gd name="T5" fmla="*/ 3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" h="5">
                <a:moveTo>
                  <a:pt x="8" y="3"/>
                </a:moveTo>
                <a:cubicBezTo>
                  <a:pt x="8" y="5"/>
                  <a:pt x="0" y="4"/>
                  <a:pt x="0" y="2"/>
                </a:cubicBezTo>
                <a:cubicBezTo>
                  <a:pt x="0" y="0"/>
                  <a:pt x="8" y="1"/>
                  <a:pt x="8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85" name="Freeform 782">
            <a:extLst>
              <a:ext uri="{FF2B5EF4-FFF2-40B4-BE49-F238E27FC236}">
                <a16:creationId xmlns:a16="http://schemas.microsoft.com/office/drawing/2014/main" id="{3C5F8F9E-5C57-F749-8212-7BA95219D5D8}"/>
              </a:ext>
            </a:extLst>
          </p:cNvPr>
          <p:cNvSpPr>
            <a:spLocks/>
          </p:cNvSpPr>
          <p:nvPr/>
        </p:nvSpPr>
        <p:spPr bwMode="auto">
          <a:xfrm>
            <a:off x="5330657" y="2045026"/>
            <a:ext cx="30003" cy="21184"/>
          </a:xfrm>
          <a:custGeom>
            <a:avLst/>
            <a:gdLst>
              <a:gd name="T0" fmla="*/ 5 w 6"/>
              <a:gd name="T1" fmla="*/ 3 h 4"/>
              <a:gd name="T2" fmla="*/ 1 w 6"/>
              <a:gd name="T3" fmla="*/ 0 h 4"/>
              <a:gd name="T4" fmla="*/ 5 w 6"/>
              <a:gd name="T5" fmla="*/ 3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" h="4">
                <a:moveTo>
                  <a:pt x="5" y="3"/>
                </a:moveTo>
                <a:cubicBezTo>
                  <a:pt x="4" y="4"/>
                  <a:pt x="0" y="0"/>
                  <a:pt x="1" y="0"/>
                </a:cubicBezTo>
                <a:cubicBezTo>
                  <a:pt x="2" y="0"/>
                  <a:pt x="6" y="2"/>
                  <a:pt x="5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86" name="Freeform 783">
            <a:extLst>
              <a:ext uri="{FF2B5EF4-FFF2-40B4-BE49-F238E27FC236}">
                <a16:creationId xmlns:a16="http://schemas.microsoft.com/office/drawing/2014/main" id="{D390F02E-10BD-FD43-9CE3-1CFAE4359326}"/>
              </a:ext>
            </a:extLst>
          </p:cNvPr>
          <p:cNvSpPr>
            <a:spLocks/>
          </p:cNvSpPr>
          <p:nvPr/>
        </p:nvSpPr>
        <p:spPr bwMode="auto">
          <a:xfrm>
            <a:off x="5371250" y="2066209"/>
            <a:ext cx="26472" cy="5297"/>
          </a:xfrm>
          <a:custGeom>
            <a:avLst/>
            <a:gdLst>
              <a:gd name="T0" fmla="*/ 4 w 5"/>
              <a:gd name="T1" fmla="*/ 1 h 1"/>
              <a:gd name="T2" fmla="*/ 2 w 5"/>
              <a:gd name="T3" fmla="*/ 0 h 1"/>
              <a:gd name="T4" fmla="*/ 4 w 5"/>
              <a:gd name="T5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" h="1">
                <a:moveTo>
                  <a:pt x="4" y="1"/>
                </a:moveTo>
                <a:cubicBezTo>
                  <a:pt x="2" y="1"/>
                  <a:pt x="0" y="0"/>
                  <a:pt x="2" y="0"/>
                </a:cubicBezTo>
                <a:cubicBezTo>
                  <a:pt x="3" y="0"/>
                  <a:pt x="5" y="1"/>
                  <a:pt x="4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87" name="Freeform 784">
            <a:extLst>
              <a:ext uri="{FF2B5EF4-FFF2-40B4-BE49-F238E27FC236}">
                <a16:creationId xmlns:a16="http://schemas.microsoft.com/office/drawing/2014/main" id="{CBE1D523-4264-1244-8DB9-BF5B77C81698}"/>
              </a:ext>
            </a:extLst>
          </p:cNvPr>
          <p:cNvSpPr>
            <a:spLocks/>
          </p:cNvSpPr>
          <p:nvPr/>
        </p:nvSpPr>
        <p:spPr bwMode="auto">
          <a:xfrm>
            <a:off x="5371250" y="2361015"/>
            <a:ext cx="21178" cy="37071"/>
          </a:xfrm>
          <a:custGeom>
            <a:avLst/>
            <a:gdLst>
              <a:gd name="T0" fmla="*/ 2 w 4"/>
              <a:gd name="T1" fmla="*/ 0 h 7"/>
              <a:gd name="T2" fmla="*/ 4 w 4"/>
              <a:gd name="T3" fmla="*/ 7 h 7"/>
              <a:gd name="T4" fmla="*/ 2 w 4"/>
              <a:gd name="T5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" h="7">
                <a:moveTo>
                  <a:pt x="2" y="0"/>
                </a:moveTo>
                <a:cubicBezTo>
                  <a:pt x="0" y="0"/>
                  <a:pt x="3" y="7"/>
                  <a:pt x="4" y="7"/>
                </a:cubicBezTo>
                <a:cubicBezTo>
                  <a:pt x="4" y="7"/>
                  <a:pt x="3" y="0"/>
                  <a:pt x="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88" name="Freeform 785">
            <a:extLst>
              <a:ext uri="{FF2B5EF4-FFF2-40B4-BE49-F238E27FC236}">
                <a16:creationId xmlns:a16="http://schemas.microsoft.com/office/drawing/2014/main" id="{7BE2547A-9C4B-D544-94A1-802333B166F9}"/>
              </a:ext>
            </a:extLst>
          </p:cNvPr>
          <p:cNvSpPr>
            <a:spLocks/>
          </p:cNvSpPr>
          <p:nvPr/>
        </p:nvSpPr>
        <p:spPr bwMode="auto">
          <a:xfrm>
            <a:off x="5381839" y="2428095"/>
            <a:ext cx="35297" cy="21184"/>
          </a:xfrm>
          <a:custGeom>
            <a:avLst/>
            <a:gdLst>
              <a:gd name="T0" fmla="*/ 1 w 7"/>
              <a:gd name="T1" fmla="*/ 0 h 4"/>
              <a:gd name="T2" fmla="*/ 1 w 7"/>
              <a:gd name="T3" fmla="*/ 4 h 4"/>
              <a:gd name="T4" fmla="*/ 5 w 7"/>
              <a:gd name="T5" fmla="*/ 4 h 4"/>
              <a:gd name="T6" fmla="*/ 1 w 7"/>
              <a:gd name="T7" fmla="*/ 0 h 4"/>
              <a:gd name="T8" fmla="*/ 1 w 7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4">
                <a:moveTo>
                  <a:pt x="1" y="0"/>
                </a:moveTo>
                <a:cubicBezTo>
                  <a:pt x="0" y="1"/>
                  <a:pt x="0" y="3"/>
                  <a:pt x="1" y="4"/>
                </a:cubicBezTo>
                <a:cubicBezTo>
                  <a:pt x="2" y="4"/>
                  <a:pt x="3" y="4"/>
                  <a:pt x="5" y="4"/>
                </a:cubicBezTo>
                <a:cubicBezTo>
                  <a:pt x="7" y="4"/>
                  <a:pt x="1" y="0"/>
                  <a:pt x="1" y="0"/>
                </a:cubicBezTo>
                <a:cubicBezTo>
                  <a:pt x="0" y="1"/>
                  <a:pt x="1" y="0"/>
                  <a:pt x="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89" name="Freeform 786">
            <a:extLst>
              <a:ext uri="{FF2B5EF4-FFF2-40B4-BE49-F238E27FC236}">
                <a16:creationId xmlns:a16="http://schemas.microsoft.com/office/drawing/2014/main" id="{0BE8CB05-6DC6-C54A-A8B8-AC29AA35BF40}"/>
              </a:ext>
            </a:extLst>
          </p:cNvPr>
          <p:cNvSpPr>
            <a:spLocks/>
          </p:cNvSpPr>
          <p:nvPr/>
        </p:nvSpPr>
        <p:spPr bwMode="auto">
          <a:xfrm>
            <a:off x="5237120" y="2542841"/>
            <a:ext cx="88242" cy="51193"/>
          </a:xfrm>
          <a:custGeom>
            <a:avLst/>
            <a:gdLst>
              <a:gd name="T0" fmla="*/ 0 w 17"/>
              <a:gd name="T1" fmla="*/ 4 h 10"/>
              <a:gd name="T2" fmla="*/ 10 w 17"/>
              <a:gd name="T3" fmla="*/ 2 h 10"/>
              <a:gd name="T4" fmla="*/ 8 w 17"/>
              <a:gd name="T5" fmla="*/ 4 h 10"/>
              <a:gd name="T6" fmla="*/ 12 w 17"/>
              <a:gd name="T7" fmla="*/ 7 h 10"/>
              <a:gd name="T8" fmla="*/ 9 w 17"/>
              <a:gd name="T9" fmla="*/ 7 h 10"/>
              <a:gd name="T10" fmla="*/ 11 w 17"/>
              <a:gd name="T11" fmla="*/ 10 h 10"/>
              <a:gd name="T12" fmla="*/ 8 w 17"/>
              <a:gd name="T13" fmla="*/ 9 h 10"/>
              <a:gd name="T14" fmla="*/ 0 w 17"/>
              <a:gd name="T15" fmla="*/ 4 h 10"/>
              <a:gd name="T16" fmla="*/ 0 w 17"/>
              <a:gd name="T17" fmla="*/ 4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10">
                <a:moveTo>
                  <a:pt x="0" y="4"/>
                </a:moveTo>
                <a:cubicBezTo>
                  <a:pt x="1" y="0"/>
                  <a:pt x="7" y="2"/>
                  <a:pt x="10" y="2"/>
                </a:cubicBezTo>
                <a:cubicBezTo>
                  <a:pt x="17" y="3"/>
                  <a:pt x="8" y="4"/>
                  <a:pt x="8" y="4"/>
                </a:cubicBezTo>
                <a:cubicBezTo>
                  <a:pt x="8" y="6"/>
                  <a:pt x="12" y="5"/>
                  <a:pt x="12" y="7"/>
                </a:cubicBezTo>
                <a:cubicBezTo>
                  <a:pt x="12" y="7"/>
                  <a:pt x="10" y="6"/>
                  <a:pt x="9" y="7"/>
                </a:cubicBezTo>
                <a:cubicBezTo>
                  <a:pt x="9" y="7"/>
                  <a:pt x="12" y="10"/>
                  <a:pt x="11" y="10"/>
                </a:cubicBezTo>
                <a:cubicBezTo>
                  <a:pt x="10" y="10"/>
                  <a:pt x="9" y="9"/>
                  <a:pt x="8" y="9"/>
                </a:cubicBezTo>
                <a:cubicBezTo>
                  <a:pt x="6" y="8"/>
                  <a:pt x="0" y="7"/>
                  <a:pt x="0" y="4"/>
                </a:cubicBezTo>
                <a:cubicBezTo>
                  <a:pt x="0" y="3"/>
                  <a:pt x="0" y="7"/>
                  <a:pt x="0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90" name="Freeform 787">
            <a:extLst>
              <a:ext uri="{FF2B5EF4-FFF2-40B4-BE49-F238E27FC236}">
                <a16:creationId xmlns:a16="http://schemas.microsoft.com/office/drawing/2014/main" id="{FFD0E085-31B4-2A4A-B6D1-068657C44D54}"/>
              </a:ext>
            </a:extLst>
          </p:cNvPr>
          <p:cNvSpPr>
            <a:spLocks/>
          </p:cNvSpPr>
          <p:nvPr/>
        </p:nvSpPr>
        <p:spPr bwMode="auto">
          <a:xfrm>
            <a:off x="5221238" y="2532250"/>
            <a:ext cx="45886" cy="15889"/>
          </a:xfrm>
          <a:custGeom>
            <a:avLst/>
            <a:gdLst>
              <a:gd name="T0" fmla="*/ 8 w 9"/>
              <a:gd name="T1" fmla="*/ 1 h 3"/>
              <a:gd name="T2" fmla="*/ 5 w 9"/>
              <a:gd name="T3" fmla="*/ 0 h 3"/>
              <a:gd name="T4" fmla="*/ 0 w 9"/>
              <a:gd name="T5" fmla="*/ 0 h 3"/>
              <a:gd name="T6" fmla="*/ 8 w 9"/>
              <a:gd name="T7" fmla="*/ 1 h 3"/>
              <a:gd name="T8" fmla="*/ 8 w 9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3">
                <a:moveTo>
                  <a:pt x="8" y="1"/>
                </a:moveTo>
                <a:cubicBezTo>
                  <a:pt x="9" y="1"/>
                  <a:pt x="5" y="0"/>
                  <a:pt x="5" y="0"/>
                </a:cubicBezTo>
                <a:cubicBezTo>
                  <a:pt x="3" y="0"/>
                  <a:pt x="1" y="0"/>
                  <a:pt x="0" y="0"/>
                </a:cubicBezTo>
                <a:cubicBezTo>
                  <a:pt x="2" y="0"/>
                  <a:pt x="6" y="3"/>
                  <a:pt x="8" y="1"/>
                </a:cubicBezTo>
                <a:cubicBezTo>
                  <a:pt x="9" y="1"/>
                  <a:pt x="7" y="2"/>
                  <a:pt x="8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91" name="Freeform 788">
            <a:extLst>
              <a:ext uri="{FF2B5EF4-FFF2-40B4-BE49-F238E27FC236}">
                <a16:creationId xmlns:a16="http://schemas.microsoft.com/office/drawing/2014/main" id="{4DEEE0B4-7520-344E-B80C-4ABE41A5C567}"/>
              </a:ext>
            </a:extLst>
          </p:cNvPr>
          <p:cNvSpPr>
            <a:spLocks/>
          </p:cNvSpPr>
          <p:nvPr/>
        </p:nvSpPr>
        <p:spPr bwMode="auto">
          <a:xfrm>
            <a:off x="5148879" y="2641698"/>
            <a:ext cx="67063" cy="35306"/>
          </a:xfrm>
          <a:custGeom>
            <a:avLst/>
            <a:gdLst>
              <a:gd name="T0" fmla="*/ 12 w 13"/>
              <a:gd name="T1" fmla="*/ 4 h 7"/>
              <a:gd name="T2" fmla="*/ 12 w 13"/>
              <a:gd name="T3" fmla="*/ 1 h 7"/>
              <a:gd name="T4" fmla="*/ 7 w 13"/>
              <a:gd name="T5" fmla="*/ 2 h 7"/>
              <a:gd name="T6" fmla="*/ 3 w 13"/>
              <a:gd name="T7" fmla="*/ 3 h 7"/>
              <a:gd name="T8" fmla="*/ 0 w 13"/>
              <a:gd name="T9" fmla="*/ 5 h 7"/>
              <a:gd name="T10" fmla="*/ 12 w 13"/>
              <a:gd name="T11" fmla="*/ 4 h 7"/>
              <a:gd name="T12" fmla="*/ 12 w 13"/>
              <a:gd name="T13" fmla="*/ 4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7">
                <a:moveTo>
                  <a:pt x="12" y="4"/>
                </a:moveTo>
                <a:cubicBezTo>
                  <a:pt x="13" y="3"/>
                  <a:pt x="13" y="2"/>
                  <a:pt x="12" y="1"/>
                </a:cubicBezTo>
                <a:cubicBezTo>
                  <a:pt x="11" y="0"/>
                  <a:pt x="8" y="1"/>
                  <a:pt x="7" y="2"/>
                </a:cubicBezTo>
                <a:cubicBezTo>
                  <a:pt x="6" y="2"/>
                  <a:pt x="4" y="2"/>
                  <a:pt x="3" y="3"/>
                </a:cubicBezTo>
                <a:cubicBezTo>
                  <a:pt x="3" y="3"/>
                  <a:pt x="0" y="5"/>
                  <a:pt x="0" y="5"/>
                </a:cubicBezTo>
                <a:cubicBezTo>
                  <a:pt x="3" y="7"/>
                  <a:pt x="10" y="6"/>
                  <a:pt x="12" y="4"/>
                </a:cubicBezTo>
                <a:cubicBezTo>
                  <a:pt x="13" y="3"/>
                  <a:pt x="9" y="6"/>
                  <a:pt x="12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92" name="Freeform 789">
            <a:extLst>
              <a:ext uri="{FF2B5EF4-FFF2-40B4-BE49-F238E27FC236}">
                <a16:creationId xmlns:a16="http://schemas.microsoft.com/office/drawing/2014/main" id="{72B78C6A-B261-8B46-AB62-4BC7DAB6FC37}"/>
              </a:ext>
            </a:extLst>
          </p:cNvPr>
          <p:cNvSpPr>
            <a:spLocks/>
          </p:cNvSpPr>
          <p:nvPr/>
        </p:nvSpPr>
        <p:spPr bwMode="auto">
          <a:xfrm>
            <a:off x="4538242" y="2692893"/>
            <a:ext cx="21178" cy="31774"/>
          </a:xfrm>
          <a:custGeom>
            <a:avLst/>
            <a:gdLst>
              <a:gd name="T0" fmla="*/ 3 w 4"/>
              <a:gd name="T1" fmla="*/ 2 h 6"/>
              <a:gd name="T2" fmla="*/ 1 w 4"/>
              <a:gd name="T3" fmla="*/ 3 h 6"/>
              <a:gd name="T4" fmla="*/ 3 w 4"/>
              <a:gd name="T5" fmla="*/ 2 h 6"/>
              <a:gd name="T6" fmla="*/ 3 w 4"/>
              <a:gd name="T7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6">
                <a:moveTo>
                  <a:pt x="3" y="2"/>
                </a:moveTo>
                <a:cubicBezTo>
                  <a:pt x="2" y="0"/>
                  <a:pt x="1" y="1"/>
                  <a:pt x="1" y="3"/>
                </a:cubicBezTo>
                <a:cubicBezTo>
                  <a:pt x="0" y="6"/>
                  <a:pt x="4" y="4"/>
                  <a:pt x="3" y="2"/>
                </a:cubicBezTo>
                <a:cubicBezTo>
                  <a:pt x="3" y="2"/>
                  <a:pt x="4" y="3"/>
                  <a:pt x="3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93" name="Freeform 790">
            <a:extLst>
              <a:ext uri="{FF2B5EF4-FFF2-40B4-BE49-F238E27FC236}">
                <a16:creationId xmlns:a16="http://schemas.microsoft.com/office/drawing/2014/main" id="{97B89050-FADA-094B-833A-50EE16BF49B7}"/>
              </a:ext>
            </a:extLst>
          </p:cNvPr>
          <p:cNvSpPr>
            <a:spLocks/>
          </p:cNvSpPr>
          <p:nvPr/>
        </p:nvSpPr>
        <p:spPr bwMode="auto">
          <a:xfrm>
            <a:off x="4492356" y="2625811"/>
            <a:ext cx="19414" cy="21184"/>
          </a:xfrm>
          <a:custGeom>
            <a:avLst/>
            <a:gdLst>
              <a:gd name="T0" fmla="*/ 4 w 4"/>
              <a:gd name="T1" fmla="*/ 2 h 4"/>
              <a:gd name="T2" fmla="*/ 1 w 4"/>
              <a:gd name="T3" fmla="*/ 1 h 4"/>
              <a:gd name="T4" fmla="*/ 4 w 4"/>
              <a:gd name="T5" fmla="*/ 2 h 4"/>
              <a:gd name="T6" fmla="*/ 4 w 4"/>
              <a:gd name="T7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4">
                <a:moveTo>
                  <a:pt x="4" y="2"/>
                </a:moveTo>
                <a:cubicBezTo>
                  <a:pt x="3" y="2"/>
                  <a:pt x="1" y="0"/>
                  <a:pt x="1" y="1"/>
                </a:cubicBezTo>
                <a:cubicBezTo>
                  <a:pt x="0" y="4"/>
                  <a:pt x="4" y="2"/>
                  <a:pt x="4" y="2"/>
                </a:cubicBezTo>
                <a:cubicBezTo>
                  <a:pt x="3" y="2"/>
                  <a:pt x="4" y="2"/>
                  <a:pt x="4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94" name="Freeform 791">
            <a:extLst>
              <a:ext uri="{FF2B5EF4-FFF2-40B4-BE49-F238E27FC236}">
                <a16:creationId xmlns:a16="http://schemas.microsoft.com/office/drawing/2014/main" id="{2312F8C4-02B0-9249-ADD7-DE4B5E8CA44A}"/>
              </a:ext>
            </a:extLst>
          </p:cNvPr>
          <p:cNvSpPr>
            <a:spLocks/>
          </p:cNvSpPr>
          <p:nvPr/>
        </p:nvSpPr>
        <p:spPr bwMode="auto">
          <a:xfrm>
            <a:off x="5403016" y="2293933"/>
            <a:ext cx="10589" cy="10592"/>
          </a:xfrm>
          <a:custGeom>
            <a:avLst/>
            <a:gdLst>
              <a:gd name="T0" fmla="*/ 2 w 2"/>
              <a:gd name="T1" fmla="*/ 1 h 2"/>
              <a:gd name="T2" fmla="*/ 0 w 2"/>
              <a:gd name="T3" fmla="*/ 2 h 2"/>
              <a:gd name="T4" fmla="*/ 2 w 2"/>
              <a:gd name="T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2">
                <a:moveTo>
                  <a:pt x="2" y="1"/>
                </a:moveTo>
                <a:cubicBezTo>
                  <a:pt x="2" y="0"/>
                  <a:pt x="0" y="1"/>
                  <a:pt x="0" y="2"/>
                </a:cubicBezTo>
                <a:cubicBezTo>
                  <a:pt x="1" y="2"/>
                  <a:pt x="2" y="2"/>
                  <a:pt x="2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95" name="Freeform 792">
            <a:extLst>
              <a:ext uri="{FF2B5EF4-FFF2-40B4-BE49-F238E27FC236}">
                <a16:creationId xmlns:a16="http://schemas.microsoft.com/office/drawing/2014/main" id="{C61E0C03-C431-5446-96B3-A804B75D0F3E}"/>
              </a:ext>
            </a:extLst>
          </p:cNvPr>
          <p:cNvSpPr>
            <a:spLocks/>
          </p:cNvSpPr>
          <p:nvPr/>
        </p:nvSpPr>
        <p:spPr bwMode="auto">
          <a:xfrm>
            <a:off x="5360660" y="2237443"/>
            <a:ext cx="15884" cy="8827"/>
          </a:xfrm>
          <a:custGeom>
            <a:avLst/>
            <a:gdLst>
              <a:gd name="T0" fmla="*/ 2 w 3"/>
              <a:gd name="T1" fmla="*/ 0 h 2"/>
              <a:gd name="T2" fmla="*/ 1 w 3"/>
              <a:gd name="T3" fmla="*/ 1 h 2"/>
              <a:gd name="T4" fmla="*/ 2 w 3"/>
              <a:gd name="T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" h="2">
                <a:moveTo>
                  <a:pt x="2" y="0"/>
                </a:moveTo>
                <a:cubicBezTo>
                  <a:pt x="1" y="0"/>
                  <a:pt x="0" y="1"/>
                  <a:pt x="1" y="1"/>
                </a:cubicBezTo>
                <a:cubicBezTo>
                  <a:pt x="2" y="2"/>
                  <a:pt x="3" y="1"/>
                  <a:pt x="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96" name="Freeform 793">
            <a:extLst>
              <a:ext uri="{FF2B5EF4-FFF2-40B4-BE49-F238E27FC236}">
                <a16:creationId xmlns:a16="http://schemas.microsoft.com/office/drawing/2014/main" id="{4C30F79B-D062-154A-9D52-00D6F2BD7AE3}"/>
              </a:ext>
            </a:extLst>
          </p:cNvPr>
          <p:cNvSpPr>
            <a:spLocks/>
          </p:cNvSpPr>
          <p:nvPr/>
        </p:nvSpPr>
        <p:spPr bwMode="auto">
          <a:xfrm>
            <a:off x="5403016" y="2216259"/>
            <a:ext cx="14118" cy="15889"/>
          </a:xfrm>
          <a:custGeom>
            <a:avLst/>
            <a:gdLst>
              <a:gd name="T0" fmla="*/ 2 w 3"/>
              <a:gd name="T1" fmla="*/ 1 h 3"/>
              <a:gd name="T2" fmla="*/ 1 w 3"/>
              <a:gd name="T3" fmla="*/ 2 h 3"/>
              <a:gd name="T4" fmla="*/ 2 w 3"/>
              <a:gd name="T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" h="3">
                <a:moveTo>
                  <a:pt x="2" y="1"/>
                </a:moveTo>
                <a:cubicBezTo>
                  <a:pt x="2" y="0"/>
                  <a:pt x="0" y="1"/>
                  <a:pt x="1" y="2"/>
                </a:cubicBezTo>
                <a:cubicBezTo>
                  <a:pt x="1" y="3"/>
                  <a:pt x="3" y="1"/>
                  <a:pt x="2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97" name="Freeform 794">
            <a:extLst>
              <a:ext uri="{FF2B5EF4-FFF2-40B4-BE49-F238E27FC236}">
                <a16:creationId xmlns:a16="http://schemas.microsoft.com/office/drawing/2014/main" id="{8A19DC45-5FD6-124E-ADC9-3FBA462617F0}"/>
              </a:ext>
            </a:extLst>
          </p:cNvPr>
          <p:cNvSpPr>
            <a:spLocks/>
          </p:cNvSpPr>
          <p:nvPr/>
        </p:nvSpPr>
        <p:spPr bwMode="auto">
          <a:xfrm>
            <a:off x="3989374" y="2320413"/>
            <a:ext cx="26472" cy="3530"/>
          </a:xfrm>
          <a:custGeom>
            <a:avLst/>
            <a:gdLst>
              <a:gd name="T0" fmla="*/ 5 w 5"/>
              <a:gd name="T1" fmla="*/ 1 h 1"/>
              <a:gd name="T2" fmla="*/ 1 w 5"/>
              <a:gd name="T3" fmla="*/ 0 h 1"/>
              <a:gd name="T4" fmla="*/ 5 w 5"/>
              <a:gd name="T5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" h="1">
                <a:moveTo>
                  <a:pt x="5" y="1"/>
                </a:moveTo>
                <a:cubicBezTo>
                  <a:pt x="4" y="0"/>
                  <a:pt x="0" y="0"/>
                  <a:pt x="1" y="0"/>
                </a:cubicBezTo>
                <a:cubicBezTo>
                  <a:pt x="2" y="1"/>
                  <a:pt x="5" y="1"/>
                  <a:pt x="5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98" name="Freeform 795">
            <a:extLst>
              <a:ext uri="{FF2B5EF4-FFF2-40B4-BE49-F238E27FC236}">
                <a16:creationId xmlns:a16="http://schemas.microsoft.com/office/drawing/2014/main" id="{898FB180-A287-024A-BD78-60575A7A68A1}"/>
              </a:ext>
            </a:extLst>
          </p:cNvPr>
          <p:cNvSpPr>
            <a:spLocks/>
          </p:cNvSpPr>
          <p:nvPr/>
        </p:nvSpPr>
        <p:spPr bwMode="auto">
          <a:xfrm>
            <a:off x="4021141" y="2320413"/>
            <a:ext cx="31766" cy="0"/>
          </a:xfrm>
          <a:custGeom>
            <a:avLst/>
            <a:gdLst>
              <a:gd name="T0" fmla="*/ 5 w 6"/>
              <a:gd name="T1" fmla="*/ 1 w 6"/>
              <a:gd name="T2" fmla="*/ 5 w 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">
                <a:moveTo>
                  <a:pt x="5" y="0"/>
                </a:moveTo>
                <a:cubicBezTo>
                  <a:pt x="4" y="0"/>
                  <a:pt x="0" y="0"/>
                  <a:pt x="1" y="0"/>
                </a:cubicBezTo>
                <a:cubicBezTo>
                  <a:pt x="2" y="0"/>
                  <a:pt x="6" y="0"/>
                  <a:pt x="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99" name="Freeform 796">
            <a:extLst>
              <a:ext uri="{FF2B5EF4-FFF2-40B4-BE49-F238E27FC236}">
                <a16:creationId xmlns:a16="http://schemas.microsoft.com/office/drawing/2014/main" id="{909A8E8C-7154-C449-9FF8-EE37660A6FAB}"/>
              </a:ext>
            </a:extLst>
          </p:cNvPr>
          <p:cNvSpPr>
            <a:spLocks/>
          </p:cNvSpPr>
          <p:nvPr/>
        </p:nvSpPr>
        <p:spPr bwMode="auto">
          <a:xfrm>
            <a:off x="4615896" y="1992067"/>
            <a:ext cx="21178" cy="10592"/>
          </a:xfrm>
          <a:custGeom>
            <a:avLst/>
            <a:gdLst>
              <a:gd name="T0" fmla="*/ 3 w 4"/>
              <a:gd name="T1" fmla="*/ 2 h 2"/>
              <a:gd name="T2" fmla="*/ 2 w 4"/>
              <a:gd name="T3" fmla="*/ 0 h 2"/>
              <a:gd name="T4" fmla="*/ 3 w 4"/>
              <a:gd name="T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" h="2">
                <a:moveTo>
                  <a:pt x="3" y="2"/>
                </a:moveTo>
                <a:cubicBezTo>
                  <a:pt x="1" y="2"/>
                  <a:pt x="0" y="0"/>
                  <a:pt x="2" y="0"/>
                </a:cubicBezTo>
                <a:cubicBezTo>
                  <a:pt x="3" y="0"/>
                  <a:pt x="4" y="2"/>
                  <a:pt x="3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400" name="Freeform 797">
            <a:extLst>
              <a:ext uri="{FF2B5EF4-FFF2-40B4-BE49-F238E27FC236}">
                <a16:creationId xmlns:a16="http://schemas.microsoft.com/office/drawing/2014/main" id="{8A848685-78FA-8544-B436-2E81970D6F75}"/>
              </a:ext>
            </a:extLst>
          </p:cNvPr>
          <p:cNvSpPr>
            <a:spLocks/>
          </p:cNvSpPr>
          <p:nvPr/>
        </p:nvSpPr>
        <p:spPr bwMode="auto">
          <a:xfrm>
            <a:off x="2411596" y="3257773"/>
            <a:ext cx="47651" cy="61786"/>
          </a:xfrm>
          <a:custGeom>
            <a:avLst/>
            <a:gdLst>
              <a:gd name="T0" fmla="*/ 9 w 9"/>
              <a:gd name="T1" fmla="*/ 11 h 12"/>
              <a:gd name="T2" fmla="*/ 5 w 9"/>
              <a:gd name="T3" fmla="*/ 2 h 12"/>
              <a:gd name="T4" fmla="*/ 2 w 9"/>
              <a:gd name="T5" fmla="*/ 2 h 12"/>
              <a:gd name="T6" fmla="*/ 0 w 9"/>
              <a:gd name="T7" fmla="*/ 3 h 12"/>
              <a:gd name="T8" fmla="*/ 3 w 9"/>
              <a:gd name="T9" fmla="*/ 5 h 12"/>
              <a:gd name="T10" fmla="*/ 3 w 9"/>
              <a:gd name="T11" fmla="*/ 7 h 12"/>
              <a:gd name="T12" fmla="*/ 4 w 9"/>
              <a:gd name="T13" fmla="*/ 7 h 12"/>
              <a:gd name="T14" fmla="*/ 3 w 9"/>
              <a:gd name="T15" fmla="*/ 8 h 12"/>
              <a:gd name="T16" fmla="*/ 6 w 9"/>
              <a:gd name="T17" fmla="*/ 11 h 12"/>
              <a:gd name="T18" fmla="*/ 6 w 9"/>
              <a:gd name="T19" fmla="*/ 9 h 12"/>
              <a:gd name="T20" fmla="*/ 9 w 9"/>
              <a:gd name="T21" fmla="*/ 11 h 12"/>
              <a:gd name="T22" fmla="*/ 9 w 9"/>
              <a:gd name="T23" fmla="*/ 11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12">
                <a:moveTo>
                  <a:pt x="9" y="11"/>
                </a:moveTo>
                <a:cubicBezTo>
                  <a:pt x="8" y="8"/>
                  <a:pt x="7" y="4"/>
                  <a:pt x="5" y="2"/>
                </a:cubicBezTo>
                <a:cubicBezTo>
                  <a:pt x="4" y="1"/>
                  <a:pt x="3" y="0"/>
                  <a:pt x="2" y="2"/>
                </a:cubicBezTo>
                <a:cubicBezTo>
                  <a:pt x="2" y="2"/>
                  <a:pt x="0" y="2"/>
                  <a:pt x="0" y="3"/>
                </a:cubicBezTo>
                <a:cubicBezTo>
                  <a:pt x="1" y="4"/>
                  <a:pt x="3" y="3"/>
                  <a:pt x="3" y="5"/>
                </a:cubicBezTo>
                <a:cubicBezTo>
                  <a:pt x="3" y="6"/>
                  <a:pt x="3" y="6"/>
                  <a:pt x="3" y="7"/>
                </a:cubicBezTo>
                <a:cubicBezTo>
                  <a:pt x="3" y="8"/>
                  <a:pt x="4" y="7"/>
                  <a:pt x="4" y="7"/>
                </a:cubicBezTo>
                <a:cubicBezTo>
                  <a:pt x="5" y="8"/>
                  <a:pt x="3" y="8"/>
                  <a:pt x="3" y="8"/>
                </a:cubicBezTo>
                <a:cubicBezTo>
                  <a:pt x="3" y="9"/>
                  <a:pt x="5" y="11"/>
                  <a:pt x="6" y="11"/>
                </a:cubicBezTo>
                <a:cubicBezTo>
                  <a:pt x="6" y="11"/>
                  <a:pt x="2" y="7"/>
                  <a:pt x="6" y="9"/>
                </a:cubicBezTo>
                <a:cubicBezTo>
                  <a:pt x="7" y="9"/>
                  <a:pt x="9" y="12"/>
                  <a:pt x="9" y="11"/>
                </a:cubicBezTo>
                <a:cubicBezTo>
                  <a:pt x="8" y="10"/>
                  <a:pt x="9" y="12"/>
                  <a:pt x="9" y="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425" name="TextBox 424">
            <a:extLst>
              <a:ext uri="{FF2B5EF4-FFF2-40B4-BE49-F238E27FC236}">
                <a16:creationId xmlns:a16="http://schemas.microsoft.com/office/drawing/2014/main" id="{A15514E2-AB62-B64A-AF8D-DF501693FD63}"/>
              </a:ext>
            </a:extLst>
          </p:cNvPr>
          <p:cNvSpPr txBox="1"/>
          <p:nvPr/>
        </p:nvSpPr>
        <p:spPr>
          <a:xfrm>
            <a:off x="915012" y="1286935"/>
            <a:ext cx="10361976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Each country is an editable shape. You can change the color of each as you would for any other shape.</a:t>
            </a:r>
          </a:p>
        </p:txBody>
      </p:sp>
    </p:spTree>
    <p:extLst>
      <p:ext uri="{BB962C8B-B14F-4D97-AF65-F5344CB8AC3E}">
        <p14:creationId xmlns:p14="http://schemas.microsoft.com/office/powerpoint/2010/main" val="375182998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996B82-EA29-0B4C-8C70-63E85F94F8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12B29D-5A43-BA4C-A2F8-64A632CEDC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41D2FB-3D5A-E949-9786-EC51A9075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3FD8F17-FA96-3347-94D8-5B620B736B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3F664C6-C74C-B747-95EB-D891D34046B8}"/>
              </a:ext>
            </a:extLst>
          </p:cNvPr>
          <p:cNvGraphicFramePr>
            <a:graphicFrameLocks/>
          </p:cNvGraphicFramePr>
          <p:nvPr/>
        </p:nvGraphicFramePr>
        <p:xfrm>
          <a:off x="1425702" y="2648695"/>
          <a:ext cx="9340597" cy="36087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04BD59B0-7D0F-004C-BCAF-A0171EF2E2F1}"/>
              </a:ext>
            </a:extLst>
          </p:cNvPr>
          <p:cNvSpPr txBox="1"/>
          <p:nvPr/>
        </p:nvSpPr>
        <p:spPr>
          <a:xfrm>
            <a:off x="239233" y="2418185"/>
            <a:ext cx="1802096" cy="33855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600" dirty="0">
                <a:solidFill>
                  <a:schemeClr val="accent5"/>
                </a:solidFill>
                <a:latin typeface="+mj-lt"/>
              </a:rPr>
              <a:t>CHART TITLE GOES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23847BC-DF7E-264E-9B4B-38010F2D57F1}"/>
              </a:ext>
            </a:extLst>
          </p:cNvPr>
          <p:cNvSpPr txBox="1"/>
          <p:nvPr/>
        </p:nvSpPr>
        <p:spPr>
          <a:xfrm>
            <a:off x="239233" y="2719597"/>
            <a:ext cx="1762021" cy="307777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HART SUBTITLE GOES HER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C103781-E43B-B849-8C0C-56133A4DBD33}"/>
              </a:ext>
            </a:extLst>
          </p:cNvPr>
          <p:cNvCxnSpPr/>
          <p:nvPr/>
        </p:nvCxnSpPr>
        <p:spPr>
          <a:xfrm>
            <a:off x="239233" y="2757486"/>
            <a:ext cx="27432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B55504F-56F7-6F4E-B1A8-511DD0212DDC}"/>
              </a:ext>
            </a:extLst>
          </p:cNvPr>
          <p:cNvSpPr txBox="1"/>
          <p:nvPr/>
        </p:nvSpPr>
        <p:spPr>
          <a:xfrm>
            <a:off x="1322849" y="1286934"/>
            <a:ext cx="9546303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  <a:cs typeface="Arial"/>
              </a:rPr>
              <a:t>Description</a:t>
            </a:r>
            <a:endParaRPr lang="en-US" sz="1600" dirty="0">
              <a:solidFill>
                <a:schemeClr val="tx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787088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996B82-EA29-0B4C-8C70-63E85F94F8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F8B401-81DE-B448-96E3-E22FD460FA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41D2FB-3D5A-E949-9786-EC51A9075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683E48A-C93F-4246-A0A2-3BA01485A4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3F664C6-C74C-B747-95EB-D891D34046B8}"/>
              </a:ext>
            </a:extLst>
          </p:cNvPr>
          <p:cNvGraphicFramePr>
            <a:graphicFrameLocks/>
          </p:cNvGraphicFramePr>
          <p:nvPr/>
        </p:nvGraphicFramePr>
        <p:xfrm>
          <a:off x="227816" y="2040253"/>
          <a:ext cx="5486400" cy="421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744AE9C6-DDCA-A14F-B59E-DAEE43B48EDB}"/>
              </a:ext>
            </a:extLst>
          </p:cNvPr>
          <p:cNvGraphicFramePr>
            <a:graphicFrameLocks/>
          </p:cNvGraphicFramePr>
          <p:nvPr/>
        </p:nvGraphicFramePr>
        <p:xfrm>
          <a:off x="6096000" y="2040253"/>
          <a:ext cx="5486400" cy="421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4E01C913-F4AF-C544-8613-46D5842308D5}"/>
              </a:ext>
            </a:extLst>
          </p:cNvPr>
          <p:cNvSpPr txBox="1"/>
          <p:nvPr/>
        </p:nvSpPr>
        <p:spPr>
          <a:xfrm>
            <a:off x="244733" y="1514856"/>
            <a:ext cx="1802096" cy="33855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600" dirty="0">
                <a:solidFill>
                  <a:schemeClr val="accent5"/>
                </a:solidFill>
                <a:latin typeface="+mj-lt"/>
              </a:rPr>
              <a:t>CHART TITLE GOES HE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4751790-67C0-4041-ABEF-0DA89446F551}"/>
              </a:ext>
            </a:extLst>
          </p:cNvPr>
          <p:cNvSpPr txBox="1"/>
          <p:nvPr/>
        </p:nvSpPr>
        <p:spPr>
          <a:xfrm>
            <a:off x="244733" y="1816268"/>
            <a:ext cx="1762021" cy="307777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HART SUBTITLE GOES HER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2CF2D6A-E509-F441-9813-70555035C36B}"/>
              </a:ext>
            </a:extLst>
          </p:cNvPr>
          <p:cNvCxnSpPr/>
          <p:nvPr/>
        </p:nvCxnSpPr>
        <p:spPr>
          <a:xfrm>
            <a:off x="244733" y="1854157"/>
            <a:ext cx="27432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3A79AEC7-4597-924A-9F44-9A0EB3346794}"/>
              </a:ext>
            </a:extLst>
          </p:cNvPr>
          <p:cNvSpPr txBox="1"/>
          <p:nvPr/>
        </p:nvSpPr>
        <p:spPr>
          <a:xfrm>
            <a:off x="6223775" y="1514856"/>
            <a:ext cx="1802096" cy="33855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600" dirty="0">
                <a:solidFill>
                  <a:schemeClr val="accent5"/>
                </a:solidFill>
                <a:latin typeface="+mj-lt"/>
              </a:rPr>
              <a:t>CHART TITLE GOES HE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3761867-00A0-1145-94FC-128E8C86D2EC}"/>
              </a:ext>
            </a:extLst>
          </p:cNvPr>
          <p:cNvSpPr txBox="1"/>
          <p:nvPr/>
        </p:nvSpPr>
        <p:spPr>
          <a:xfrm>
            <a:off x="6223775" y="1816268"/>
            <a:ext cx="1762021" cy="307777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HART SUBTITLE GOES HER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CF9F279-8902-3D48-9BE5-9A9512768826}"/>
              </a:ext>
            </a:extLst>
          </p:cNvPr>
          <p:cNvCxnSpPr/>
          <p:nvPr/>
        </p:nvCxnSpPr>
        <p:spPr>
          <a:xfrm>
            <a:off x="6223775" y="1854157"/>
            <a:ext cx="27432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14331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A6C20E-BFC9-384E-92A3-955402E2CC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335904-D2D4-9A47-B807-190ED7B1C8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41D2FB-3D5A-E949-9786-EC51A9075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0E57D2-B953-DA49-84E0-4A88338108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3F664C6-C74C-B747-95EB-D891D34046B8}"/>
              </a:ext>
            </a:extLst>
          </p:cNvPr>
          <p:cNvGraphicFramePr>
            <a:graphicFrameLocks/>
          </p:cNvGraphicFramePr>
          <p:nvPr/>
        </p:nvGraphicFramePr>
        <p:xfrm>
          <a:off x="1425702" y="1728229"/>
          <a:ext cx="9340597" cy="45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6204F00-D400-B043-926E-3EDC6167C29D}"/>
              </a:ext>
            </a:extLst>
          </p:cNvPr>
          <p:cNvSpPr txBox="1"/>
          <p:nvPr/>
        </p:nvSpPr>
        <p:spPr>
          <a:xfrm>
            <a:off x="228600" y="1514856"/>
            <a:ext cx="1802096" cy="33855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600" dirty="0">
                <a:solidFill>
                  <a:schemeClr val="accent5"/>
                </a:solidFill>
                <a:latin typeface="+mj-lt"/>
              </a:rPr>
              <a:t>CHART TITLE GOES HE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C86BA56-2D35-404C-A91D-4B760E8BDCFE}"/>
              </a:ext>
            </a:extLst>
          </p:cNvPr>
          <p:cNvSpPr txBox="1"/>
          <p:nvPr/>
        </p:nvSpPr>
        <p:spPr>
          <a:xfrm>
            <a:off x="228600" y="1816268"/>
            <a:ext cx="1762021" cy="307777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HART SUBTITLE GOES HER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6481ACB-359A-F349-AE5A-019DE8796762}"/>
              </a:ext>
            </a:extLst>
          </p:cNvPr>
          <p:cNvCxnSpPr/>
          <p:nvPr/>
        </p:nvCxnSpPr>
        <p:spPr>
          <a:xfrm>
            <a:off x="228600" y="1854157"/>
            <a:ext cx="27432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900093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3B8D0B-6074-474C-85B4-4C55EFF782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B74829-BE24-DA43-A476-35BE990FCD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31" name="Title 30">
            <a:extLst>
              <a:ext uri="{FF2B5EF4-FFF2-40B4-BE49-F238E27FC236}">
                <a16:creationId xmlns:a16="http://schemas.microsoft.com/office/drawing/2014/main" id="{0A2427EF-4586-A847-A8E9-AD5AA45767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96C7C85-4139-4243-99AB-D613C6B52F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E53EA974-B5FF-EF4F-8468-8FD74C69D71A}"/>
              </a:ext>
            </a:extLst>
          </p:cNvPr>
          <p:cNvGraphicFramePr/>
          <p:nvPr/>
        </p:nvGraphicFramePr>
        <p:xfrm>
          <a:off x="289967" y="1801294"/>
          <a:ext cx="5486400" cy="43755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9692CF91-3BB2-7945-834A-EE1BCEEFC531}"/>
              </a:ext>
            </a:extLst>
          </p:cNvPr>
          <p:cNvGraphicFramePr/>
          <p:nvPr/>
        </p:nvGraphicFramePr>
        <p:xfrm>
          <a:off x="6156637" y="1801294"/>
          <a:ext cx="5486400" cy="43755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7DBE546F-AE9E-C94C-BB09-E3EE9419C58A}"/>
              </a:ext>
            </a:extLst>
          </p:cNvPr>
          <p:cNvSpPr txBox="1"/>
          <p:nvPr/>
        </p:nvSpPr>
        <p:spPr>
          <a:xfrm>
            <a:off x="249892" y="1237425"/>
            <a:ext cx="1802096" cy="33855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600" dirty="0">
                <a:solidFill>
                  <a:schemeClr val="accent5"/>
                </a:solidFill>
                <a:latin typeface="+mj-lt"/>
              </a:rPr>
              <a:t>CHART TITLE GOES HE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2C5B3F7-4F87-2748-ADBE-FA1D053B4A59}"/>
              </a:ext>
            </a:extLst>
          </p:cNvPr>
          <p:cNvSpPr txBox="1"/>
          <p:nvPr/>
        </p:nvSpPr>
        <p:spPr>
          <a:xfrm>
            <a:off x="249892" y="1538837"/>
            <a:ext cx="1762021" cy="307777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HART SUBTITLE GOES HER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D96B3D9-11F6-994D-AA2E-C58A1E6FBFF7}"/>
              </a:ext>
            </a:extLst>
          </p:cNvPr>
          <p:cNvCxnSpPr/>
          <p:nvPr/>
        </p:nvCxnSpPr>
        <p:spPr>
          <a:xfrm>
            <a:off x="249892" y="1576726"/>
            <a:ext cx="27432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A85BEC6B-6ED0-C94A-9387-6DA279AAA1DE}"/>
              </a:ext>
            </a:extLst>
          </p:cNvPr>
          <p:cNvSpPr txBox="1"/>
          <p:nvPr/>
        </p:nvSpPr>
        <p:spPr>
          <a:xfrm>
            <a:off x="6305493" y="1237422"/>
            <a:ext cx="1802096" cy="33855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600" dirty="0">
                <a:solidFill>
                  <a:schemeClr val="accent5"/>
                </a:solidFill>
                <a:latin typeface="+mj-lt"/>
              </a:rPr>
              <a:t>CHART TITLE GOES HE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E327D9A-44E0-2B45-A9B0-3F86C14D1E1F}"/>
              </a:ext>
            </a:extLst>
          </p:cNvPr>
          <p:cNvSpPr txBox="1"/>
          <p:nvPr/>
        </p:nvSpPr>
        <p:spPr>
          <a:xfrm>
            <a:off x="6305493" y="1538834"/>
            <a:ext cx="1762021" cy="307777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HART SUBTITLE GOES HER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FA0E739-C519-BD4C-9DFA-AC71FD59D03B}"/>
              </a:ext>
            </a:extLst>
          </p:cNvPr>
          <p:cNvCxnSpPr/>
          <p:nvPr/>
        </p:nvCxnSpPr>
        <p:spPr>
          <a:xfrm>
            <a:off x="6305493" y="1576723"/>
            <a:ext cx="27432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80684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D39812-BE41-B947-AF04-A3564638AD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C76973-EE9A-454E-9FBE-7CEA020009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58AAA17-0D9D-EA4C-9B87-4C05A53DB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09A2EC6-66AB-4442-91A6-B31A0FE5F2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33BB9F9E-6B43-BF4A-A36B-ECCCCD472C23}"/>
              </a:ext>
            </a:extLst>
          </p:cNvPr>
          <p:cNvGraphicFramePr>
            <a:graphicFrameLocks/>
          </p:cNvGraphicFramePr>
          <p:nvPr/>
        </p:nvGraphicFramePr>
        <p:xfrm>
          <a:off x="839569" y="1703030"/>
          <a:ext cx="5108428" cy="4568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54532627-150D-1E4D-8549-2144449EB58A}"/>
              </a:ext>
            </a:extLst>
          </p:cNvPr>
          <p:cNvGraphicFramePr>
            <a:graphicFrameLocks/>
          </p:cNvGraphicFramePr>
          <p:nvPr/>
        </p:nvGraphicFramePr>
        <p:xfrm>
          <a:off x="6054447" y="1703030"/>
          <a:ext cx="5108428" cy="4568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Pentagon 9">
            <a:extLst>
              <a:ext uri="{FF2B5EF4-FFF2-40B4-BE49-F238E27FC236}">
                <a16:creationId xmlns:a16="http://schemas.microsoft.com/office/drawing/2014/main" id="{20CD732C-B543-3945-884A-E0A902C5681B}"/>
              </a:ext>
            </a:extLst>
          </p:cNvPr>
          <p:cNvSpPr/>
          <p:nvPr/>
        </p:nvSpPr>
        <p:spPr>
          <a:xfrm flipH="1">
            <a:off x="10164809" y="1894206"/>
            <a:ext cx="1364396" cy="305945"/>
          </a:xfrm>
          <a:prstGeom prst="homePlate">
            <a:avLst/>
          </a:prstGeom>
          <a:solidFill>
            <a:schemeClr val="accent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813" tIns="44813" rIns="44813" bIns="44813" numCol="1" spcCol="38100" rtlCol="0" anchor="ctr">
            <a:noAutofit/>
          </a:bodyPr>
          <a:lstStyle/>
          <a:p>
            <a:pPr algn="ctr" defTabSz="728184" hangingPunct="0"/>
            <a:r>
              <a:rPr lang="en-US" sz="1400" dirty="0">
                <a:solidFill>
                  <a:schemeClr val="bg1"/>
                </a:solidFill>
                <a:latin typeface="+mj-lt"/>
              </a:rPr>
              <a:t>Annotation</a:t>
            </a:r>
          </a:p>
        </p:txBody>
      </p:sp>
      <p:sp>
        <p:nvSpPr>
          <p:cNvPr id="13" name="Pentagon 12">
            <a:extLst>
              <a:ext uri="{FF2B5EF4-FFF2-40B4-BE49-F238E27FC236}">
                <a16:creationId xmlns:a16="http://schemas.microsoft.com/office/drawing/2014/main" id="{DF720001-E29E-0348-890A-FC2BAD401017}"/>
              </a:ext>
            </a:extLst>
          </p:cNvPr>
          <p:cNvSpPr/>
          <p:nvPr/>
        </p:nvSpPr>
        <p:spPr>
          <a:xfrm flipH="1">
            <a:off x="4471960" y="3886049"/>
            <a:ext cx="1364396" cy="301752"/>
          </a:xfrm>
          <a:prstGeom prst="homePlat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813" tIns="44813" rIns="44813" bIns="44813" numCol="1" spcCol="38100" rtlCol="0" anchor="ctr">
            <a:noAutofit/>
          </a:bodyPr>
          <a:lstStyle/>
          <a:p>
            <a:pPr algn="ctr" defTabSz="728184" hangingPunct="0"/>
            <a:r>
              <a:rPr lang="en-US" sz="1400" dirty="0">
                <a:solidFill>
                  <a:schemeClr val="bg1"/>
                </a:solidFill>
                <a:latin typeface="+mj-lt"/>
              </a:rPr>
              <a:t>Annot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4E75180-ED38-1843-B7A0-647CC28BA930}"/>
              </a:ext>
            </a:extLst>
          </p:cNvPr>
          <p:cNvSpPr txBox="1"/>
          <p:nvPr/>
        </p:nvSpPr>
        <p:spPr>
          <a:xfrm>
            <a:off x="228600" y="1142559"/>
            <a:ext cx="1802096" cy="33855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600" dirty="0">
                <a:solidFill>
                  <a:schemeClr val="accent5"/>
                </a:solidFill>
                <a:latin typeface="+mj-lt"/>
              </a:rPr>
              <a:t>CHART TITLE GOES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12C992B-CB8F-2548-9321-06B58F5BDC95}"/>
              </a:ext>
            </a:extLst>
          </p:cNvPr>
          <p:cNvSpPr txBox="1"/>
          <p:nvPr/>
        </p:nvSpPr>
        <p:spPr>
          <a:xfrm>
            <a:off x="228600" y="1443971"/>
            <a:ext cx="1762021" cy="307777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HART SUBTITLE GOES HER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07AECA0-2ABD-B04E-91C8-93502AE862F9}"/>
              </a:ext>
            </a:extLst>
          </p:cNvPr>
          <p:cNvCxnSpPr/>
          <p:nvPr/>
        </p:nvCxnSpPr>
        <p:spPr>
          <a:xfrm>
            <a:off x="228600" y="1481860"/>
            <a:ext cx="27432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6E25C873-0356-C141-AAEB-9F6ABAB0F587}"/>
              </a:ext>
            </a:extLst>
          </p:cNvPr>
          <p:cNvSpPr txBox="1"/>
          <p:nvPr/>
        </p:nvSpPr>
        <p:spPr>
          <a:xfrm>
            <a:off x="6112426" y="1138983"/>
            <a:ext cx="1802096" cy="33855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600" dirty="0">
                <a:solidFill>
                  <a:schemeClr val="accent5"/>
                </a:solidFill>
                <a:latin typeface="+mj-lt"/>
              </a:rPr>
              <a:t>CHART TITLE GOES HER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832C0D7-323C-1B44-837D-27BE94DCD270}"/>
              </a:ext>
            </a:extLst>
          </p:cNvPr>
          <p:cNvSpPr txBox="1"/>
          <p:nvPr/>
        </p:nvSpPr>
        <p:spPr>
          <a:xfrm>
            <a:off x="6112426" y="1440395"/>
            <a:ext cx="1762021" cy="307777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HART SUBTITLE GOES HER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31227AB-E560-B043-8100-173F6DC66C6F}"/>
              </a:ext>
            </a:extLst>
          </p:cNvPr>
          <p:cNvCxnSpPr/>
          <p:nvPr/>
        </p:nvCxnSpPr>
        <p:spPr>
          <a:xfrm>
            <a:off x="6112426" y="1478284"/>
            <a:ext cx="27432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28326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CEE915-ED8C-204F-B33C-2B35EF563E8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045CB9-B373-2241-ABF0-FF15BD1138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41D2FB-3D5A-E949-9786-EC51A9075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95E721D-D8B9-2F42-B901-AA288838E5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3F664C6-C74C-B747-95EB-D891D34046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3507169"/>
              </p:ext>
            </p:extLst>
          </p:nvPr>
        </p:nvGraphicFramePr>
        <p:xfrm>
          <a:off x="508095" y="1586454"/>
          <a:ext cx="11175811" cy="4556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8D956D28-7415-5B42-A69A-03187411821E}"/>
              </a:ext>
            </a:extLst>
          </p:cNvPr>
          <p:cNvSpPr txBox="1"/>
          <p:nvPr/>
        </p:nvSpPr>
        <p:spPr>
          <a:xfrm>
            <a:off x="228600" y="1285135"/>
            <a:ext cx="1802096" cy="33855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600" dirty="0">
                <a:solidFill>
                  <a:schemeClr val="accent5"/>
                </a:solidFill>
                <a:latin typeface="+mj-lt"/>
              </a:rPr>
              <a:t>CHART TITLE GOES HE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7C7F97-C1B6-C045-A9F7-DCAEEDF84B8D}"/>
              </a:ext>
            </a:extLst>
          </p:cNvPr>
          <p:cNvSpPr txBox="1"/>
          <p:nvPr/>
        </p:nvSpPr>
        <p:spPr>
          <a:xfrm>
            <a:off x="228600" y="1586547"/>
            <a:ext cx="1762021" cy="307777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HART SUBTITLE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11E6E7-A787-8943-B75A-B38AFB656D89}"/>
              </a:ext>
            </a:extLst>
          </p:cNvPr>
          <p:cNvCxnSpPr/>
          <p:nvPr/>
        </p:nvCxnSpPr>
        <p:spPr>
          <a:xfrm>
            <a:off x="228600" y="1624436"/>
            <a:ext cx="27432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759338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A8EB4-03BE-EF48-A83C-4311593FD3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4E3B5D-D28F-0B4D-A8DF-8188DEB1AD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DE9353-8E8E-CE42-88E7-39A452D82E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6E189D-2EFB-5447-B894-450F338160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C13A450-948F-F042-9D73-8C006E3C8B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7787872"/>
              </p:ext>
            </p:extLst>
          </p:nvPr>
        </p:nvGraphicFramePr>
        <p:xfrm>
          <a:off x="1092789" y="1412777"/>
          <a:ext cx="10006422" cy="4357185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2215038">
                  <a:extLst>
                    <a:ext uri="{9D8B030D-6E8A-4147-A177-3AD203B41FA5}">
                      <a16:colId xmlns:a16="http://schemas.microsoft.com/office/drawing/2014/main" val="2273541392"/>
                    </a:ext>
                  </a:extLst>
                </a:gridCol>
                <a:gridCol w="1947846">
                  <a:extLst>
                    <a:ext uri="{9D8B030D-6E8A-4147-A177-3AD203B41FA5}">
                      <a16:colId xmlns:a16="http://schemas.microsoft.com/office/drawing/2014/main" val="1196781689"/>
                    </a:ext>
                  </a:extLst>
                </a:gridCol>
                <a:gridCol w="1947846">
                  <a:extLst>
                    <a:ext uri="{9D8B030D-6E8A-4147-A177-3AD203B41FA5}">
                      <a16:colId xmlns:a16="http://schemas.microsoft.com/office/drawing/2014/main" val="1622654462"/>
                    </a:ext>
                  </a:extLst>
                </a:gridCol>
                <a:gridCol w="1947846">
                  <a:extLst>
                    <a:ext uri="{9D8B030D-6E8A-4147-A177-3AD203B41FA5}">
                      <a16:colId xmlns:a16="http://schemas.microsoft.com/office/drawing/2014/main" val="673040853"/>
                    </a:ext>
                  </a:extLst>
                </a:gridCol>
                <a:gridCol w="1947846">
                  <a:extLst>
                    <a:ext uri="{9D8B030D-6E8A-4147-A177-3AD203B41FA5}">
                      <a16:colId xmlns:a16="http://schemas.microsoft.com/office/drawing/2014/main" val="2262842887"/>
                    </a:ext>
                  </a:extLst>
                </a:gridCol>
              </a:tblGrid>
              <a:tr h="622455"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sq" cmpd="sng" algn="ctr">
                      <a:noFill/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sq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Heading1</a:t>
                      </a:r>
                      <a:endParaRPr lang="en-US" sz="1600" b="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sq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Heading2</a:t>
                      </a:r>
                      <a:endParaRPr lang="en-US" sz="1600" b="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sq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Heading3</a:t>
                      </a:r>
                      <a:endParaRPr lang="en-US" sz="1600" b="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sq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Heading4</a:t>
                      </a:r>
                      <a:endParaRPr lang="en-US" sz="1600" b="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sq" cmpd="sng" algn="ctr">
                      <a:noFill/>
                      <a:prstDash val="solid"/>
                    </a:lnR>
                    <a:lnT w="12700" cap="sq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4543102"/>
                  </a:ext>
                </a:extLst>
              </a:tr>
              <a:tr h="622455"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orem Ipsum Dol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898D8D">
                          <a:lumMod val="20000"/>
                          <a:lumOff val="80000"/>
                        </a:srgbClr>
                      </a:fgClr>
                      <a:bgClr>
                        <a:srgbClr val="FFFFFF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4123636200"/>
                  </a:ext>
                </a:extLst>
              </a:tr>
              <a:tr h="622455"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lvl="0" indent="0" algn="r" defTabSz="914172" rtl="0" eaLnBrk="1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orem Ipsum Dol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IGHLIGHT NEG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3925422"/>
                  </a:ext>
                </a:extLst>
              </a:tr>
              <a:tr h="622455"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lvl="0" indent="0" algn="r" defTabSz="914172" rtl="0" eaLnBrk="1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orem Ipsum Dol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898D8D">
                          <a:lumMod val="20000"/>
                          <a:lumOff val="80000"/>
                        </a:srgbClr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163749"/>
                  </a:ext>
                </a:extLst>
              </a:tr>
              <a:tr h="622455"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lvl="0" indent="0" algn="r" defTabSz="914172" rtl="0" eaLnBrk="1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orem Ipsum Dol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IGHLIGHT POSI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888820"/>
                  </a:ext>
                </a:extLst>
              </a:tr>
              <a:tr h="622455"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lvl="0" indent="0" algn="r" defTabSz="914172" rtl="0" eaLnBrk="1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orem Ipsum Dol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838984"/>
                  </a:ext>
                </a:extLst>
              </a:tr>
              <a:tr h="622455"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lvl="0" indent="0" algn="r" defTabSz="914172" rtl="0" eaLnBrk="1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ighlight This Ro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1pPr>
                      <a:lvl2pPr marL="4570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2pPr>
                      <a:lvl3pPr marL="914172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3pPr>
                      <a:lvl4pPr marL="1371257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4pPr>
                      <a:lvl5pPr marL="1828343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5pPr>
                      <a:lvl6pPr marL="2285429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6pPr>
                      <a:lvl7pPr marL="2742514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7pPr>
                      <a:lvl8pPr marL="3199600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8pPr>
                      <a:lvl9pPr marL="3656686" algn="l" defTabSz="91417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ndara" panose="020E0502030303020204"/>
                        </a:defRPr>
                      </a:lvl9pPr>
                    </a:lstStyle>
                    <a:p>
                      <a:pPr marL="0" marR="0" algn="ctr" fontAlgn="base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9534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28965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68FBDDB1-57E1-8A4F-9736-57B18836909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D164C18-D28D-2741-BBCB-B61400E43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2E1DFF27-9905-EC4F-B756-D926155F60F7}"/>
              </a:ext>
            </a:extLst>
          </p:cNvPr>
          <p:cNvSpPr/>
          <p:nvPr/>
        </p:nvSpPr>
        <p:spPr>
          <a:xfrm>
            <a:off x="-2451461" y="5306666"/>
            <a:ext cx="2286722" cy="736600"/>
          </a:xfrm>
          <a:prstGeom prst="homePlate">
            <a:avLst>
              <a:gd name="adj" fmla="val 2761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SEND OVERLAY SHAPE TO BACK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>
                <a:solidFill>
                  <a:schemeClr val="bg1"/>
                </a:solidFill>
              </a:rPr>
              <a:t>DRAG/DROP </a:t>
            </a:r>
            <a:r>
              <a:rPr lang="en-US" sz="1000" b="1" dirty="0">
                <a:solidFill>
                  <a:schemeClr val="bg1"/>
                </a:solidFill>
              </a:rPr>
              <a:t>IMAGE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SEND IMAGE TO BACK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5190B295-7199-AE4E-BBF6-B6FDC7DFC2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3247E93-0F9E-ED48-B627-C8860CB978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6319BD44-016A-D740-B6D6-8B0B98C67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631909-0049-9F4A-A897-2F1D35774A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23" name="1 Título">
            <a:extLst>
              <a:ext uri="{FF2B5EF4-FFF2-40B4-BE49-F238E27FC236}">
                <a16:creationId xmlns:a16="http://schemas.microsoft.com/office/drawing/2014/main" id="{0CCD2657-EC9E-0045-AAFD-992B12E4D6CE}"/>
              </a:ext>
            </a:extLst>
          </p:cNvPr>
          <p:cNvSpPr txBox="1">
            <a:spLocks/>
          </p:cNvSpPr>
          <p:nvPr/>
        </p:nvSpPr>
        <p:spPr bwMode="auto">
          <a:xfrm flipH="1">
            <a:off x="5026075" y="6410617"/>
            <a:ext cx="2139851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b="0" i="0" dirty="0">
                <a:solidFill>
                  <a:schemeClr val="bg1"/>
                </a:solidFill>
                <a:latin typeface="+mj-lt"/>
                <a:ea typeface="Avenir Book" charset="0"/>
                <a:cs typeface="Avenir Book" charset="0"/>
              </a:rPr>
              <a:t>WWW.FOLDAX.COM</a:t>
            </a:r>
          </a:p>
        </p:txBody>
      </p:sp>
    </p:spTree>
    <p:extLst>
      <p:ext uri="{BB962C8B-B14F-4D97-AF65-F5344CB8AC3E}">
        <p14:creationId xmlns:p14="http://schemas.microsoft.com/office/powerpoint/2010/main" val="9401874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24333-1174-4340-BCBD-6C1C9E21D3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BECE15-750C-3743-AD9A-C2B611DDAB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50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24FDEDA-F601-EB4E-A142-5DBC24408C52}"/>
              </a:ext>
            </a:extLst>
          </p:cNvPr>
          <p:cNvGrpSpPr/>
          <p:nvPr/>
        </p:nvGrpSpPr>
        <p:grpSpPr>
          <a:xfrm>
            <a:off x="9659267" y="1183436"/>
            <a:ext cx="653857" cy="570584"/>
            <a:chOff x="6885153" y="7021098"/>
            <a:chExt cx="621122" cy="542018"/>
          </a:xfrm>
        </p:grpSpPr>
        <p:sp>
          <p:nvSpPr>
            <p:cNvPr id="6" name="Line 469">
              <a:extLst>
                <a:ext uri="{FF2B5EF4-FFF2-40B4-BE49-F238E27FC236}">
                  <a16:creationId xmlns:a16="http://schemas.microsoft.com/office/drawing/2014/main" id="{06A603DD-5FBD-D84C-B594-4185BAD367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73050" y="7129503"/>
              <a:ext cx="442403" cy="2929"/>
            </a:xfrm>
            <a:prstGeom prst="line">
              <a:avLst/>
            </a:prstGeom>
            <a:noFill/>
            <a:ln w="34290" cap="flat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solidFill>
                  <a:schemeClr val="tx2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7" name="Line 470">
              <a:extLst>
                <a:ext uri="{FF2B5EF4-FFF2-40B4-BE49-F238E27FC236}">
                  <a16:creationId xmlns:a16="http://schemas.microsoft.com/office/drawing/2014/main" id="{27E851EE-5637-BE4D-8621-C04C127AE1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73050" y="7229116"/>
              <a:ext cx="442403" cy="2929"/>
            </a:xfrm>
            <a:prstGeom prst="line">
              <a:avLst/>
            </a:prstGeom>
            <a:noFill/>
            <a:ln w="34290" cap="flat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solidFill>
                  <a:schemeClr val="tx2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8" name="Line 471">
              <a:extLst>
                <a:ext uri="{FF2B5EF4-FFF2-40B4-BE49-F238E27FC236}">
                  <a16:creationId xmlns:a16="http://schemas.microsoft.com/office/drawing/2014/main" id="{825EED93-1E14-9C4F-85CF-0B8AA2CD36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73050" y="7328731"/>
              <a:ext cx="442403" cy="2929"/>
            </a:xfrm>
            <a:prstGeom prst="line">
              <a:avLst/>
            </a:prstGeom>
            <a:noFill/>
            <a:ln w="34290" cap="flat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solidFill>
                  <a:schemeClr val="tx2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9" name="Freeform 472">
              <a:extLst>
                <a:ext uri="{FF2B5EF4-FFF2-40B4-BE49-F238E27FC236}">
                  <a16:creationId xmlns:a16="http://schemas.microsoft.com/office/drawing/2014/main" id="{BDE2204D-DB2F-9042-AFBB-05F0927D6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5153" y="7021098"/>
              <a:ext cx="621122" cy="542018"/>
            </a:xfrm>
            <a:custGeom>
              <a:avLst/>
              <a:gdLst>
                <a:gd name="T0" fmla="*/ 463 w 934"/>
                <a:gd name="T1" fmla="*/ 634 h 814"/>
                <a:gd name="T2" fmla="*/ 933 w 934"/>
                <a:gd name="T3" fmla="*/ 634 h 814"/>
                <a:gd name="T4" fmla="*/ 933 w 934"/>
                <a:gd name="T5" fmla="*/ 0 h 814"/>
                <a:gd name="T6" fmla="*/ 0 w 934"/>
                <a:gd name="T7" fmla="*/ 0 h 814"/>
                <a:gd name="T8" fmla="*/ 0 w 934"/>
                <a:gd name="T9" fmla="*/ 634 h 814"/>
                <a:gd name="T10" fmla="*/ 254 w 934"/>
                <a:gd name="T11" fmla="*/ 634 h 814"/>
                <a:gd name="T12" fmla="*/ 254 w 934"/>
                <a:gd name="T13" fmla="*/ 813 h 814"/>
                <a:gd name="T14" fmla="*/ 463 w 934"/>
                <a:gd name="T15" fmla="*/ 634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4" h="814">
                  <a:moveTo>
                    <a:pt x="463" y="634"/>
                  </a:moveTo>
                  <a:lnTo>
                    <a:pt x="933" y="634"/>
                  </a:lnTo>
                  <a:lnTo>
                    <a:pt x="933" y="0"/>
                  </a:lnTo>
                  <a:lnTo>
                    <a:pt x="0" y="0"/>
                  </a:lnTo>
                  <a:lnTo>
                    <a:pt x="0" y="634"/>
                  </a:lnTo>
                  <a:lnTo>
                    <a:pt x="254" y="634"/>
                  </a:lnTo>
                  <a:lnTo>
                    <a:pt x="254" y="813"/>
                  </a:lnTo>
                  <a:lnTo>
                    <a:pt x="463" y="634"/>
                  </a:lnTo>
                </a:path>
              </a:pathLst>
            </a:custGeom>
            <a:noFill/>
            <a:ln w="3429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solidFill>
                  <a:schemeClr val="tx2"/>
                </a:solidFill>
                <a:latin typeface="Corbel" panose="020B0503020204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10F4C33-B912-D049-8A3E-E95CACB078CB}"/>
              </a:ext>
            </a:extLst>
          </p:cNvPr>
          <p:cNvGrpSpPr/>
          <p:nvPr/>
        </p:nvGrpSpPr>
        <p:grpSpPr>
          <a:xfrm>
            <a:off x="5825104" y="1085899"/>
            <a:ext cx="527402" cy="675447"/>
            <a:chOff x="8218224" y="8245765"/>
            <a:chExt cx="500998" cy="641631"/>
          </a:xfrm>
        </p:grpSpPr>
        <p:sp>
          <p:nvSpPr>
            <p:cNvPr id="11" name="Line 525">
              <a:extLst>
                <a:ext uri="{FF2B5EF4-FFF2-40B4-BE49-F238E27FC236}">
                  <a16:creationId xmlns:a16="http://schemas.microsoft.com/office/drawing/2014/main" id="{1EC3B1D9-86E8-5040-A5C6-421ABDE5E6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18224" y="8245765"/>
              <a:ext cx="2929" cy="641631"/>
            </a:xfrm>
            <a:prstGeom prst="line">
              <a:avLst/>
            </a:prstGeom>
            <a:noFill/>
            <a:ln w="34290" cap="flat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solidFill>
                  <a:schemeClr val="tx2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2" name="Freeform 526">
              <a:extLst>
                <a:ext uri="{FF2B5EF4-FFF2-40B4-BE49-F238E27FC236}">
                  <a16:creationId xmlns:a16="http://schemas.microsoft.com/office/drawing/2014/main" id="{183B4C37-A2EF-AD47-A7E7-D001EB700F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11592" y="8310220"/>
              <a:ext cx="307630" cy="287123"/>
            </a:xfrm>
            <a:custGeom>
              <a:avLst/>
              <a:gdLst>
                <a:gd name="T0" fmla="*/ 89 w 464"/>
                <a:gd name="T1" fmla="*/ 0 h 433"/>
                <a:gd name="T2" fmla="*/ 0 w 464"/>
                <a:gd name="T3" fmla="*/ 74 h 433"/>
                <a:gd name="T4" fmla="*/ 0 w 464"/>
                <a:gd name="T5" fmla="*/ 432 h 433"/>
                <a:gd name="T6" fmla="*/ 463 w 464"/>
                <a:gd name="T7" fmla="*/ 432 h 433"/>
                <a:gd name="T8" fmla="*/ 373 w 464"/>
                <a:gd name="T9" fmla="*/ 253 h 433"/>
                <a:gd name="T10" fmla="*/ 463 w 464"/>
                <a:gd name="T11" fmla="*/ 74 h 433"/>
                <a:gd name="T12" fmla="*/ 0 w 464"/>
                <a:gd name="T13" fmla="*/ 74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4" h="433">
                  <a:moveTo>
                    <a:pt x="89" y="0"/>
                  </a:moveTo>
                  <a:lnTo>
                    <a:pt x="0" y="74"/>
                  </a:lnTo>
                  <a:lnTo>
                    <a:pt x="0" y="432"/>
                  </a:lnTo>
                  <a:lnTo>
                    <a:pt x="463" y="432"/>
                  </a:lnTo>
                  <a:lnTo>
                    <a:pt x="373" y="253"/>
                  </a:lnTo>
                  <a:lnTo>
                    <a:pt x="463" y="74"/>
                  </a:lnTo>
                  <a:lnTo>
                    <a:pt x="0" y="74"/>
                  </a:lnTo>
                </a:path>
              </a:pathLst>
            </a:custGeom>
            <a:noFill/>
            <a:ln w="34290" cap="flat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solidFill>
                  <a:schemeClr val="tx2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3" name="Freeform 527">
              <a:extLst>
                <a:ext uri="{FF2B5EF4-FFF2-40B4-BE49-F238E27FC236}">
                  <a16:creationId xmlns:a16="http://schemas.microsoft.com/office/drawing/2014/main" id="{F00C014E-4977-E84A-997C-B9F60F5EF2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8224" y="8310220"/>
              <a:ext cx="251964" cy="237317"/>
            </a:xfrm>
            <a:custGeom>
              <a:avLst/>
              <a:gdLst>
                <a:gd name="T0" fmla="*/ 291 w 381"/>
                <a:gd name="T1" fmla="*/ 358 h 359"/>
                <a:gd name="T2" fmla="*/ 0 w 381"/>
                <a:gd name="T3" fmla="*/ 358 h 359"/>
                <a:gd name="T4" fmla="*/ 0 w 381"/>
                <a:gd name="T5" fmla="*/ 0 h 359"/>
                <a:gd name="T6" fmla="*/ 380 w 381"/>
                <a:gd name="T7" fmla="*/ 0 h 359"/>
                <a:gd name="T8" fmla="*/ 380 w 381"/>
                <a:gd name="T9" fmla="*/ 74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1" h="359">
                  <a:moveTo>
                    <a:pt x="291" y="358"/>
                  </a:moveTo>
                  <a:lnTo>
                    <a:pt x="0" y="358"/>
                  </a:lnTo>
                  <a:lnTo>
                    <a:pt x="0" y="0"/>
                  </a:lnTo>
                  <a:lnTo>
                    <a:pt x="380" y="0"/>
                  </a:lnTo>
                  <a:lnTo>
                    <a:pt x="380" y="74"/>
                  </a:lnTo>
                </a:path>
              </a:pathLst>
            </a:custGeom>
            <a:noFill/>
            <a:ln w="34290" cap="flat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solidFill>
                  <a:schemeClr val="tx2"/>
                </a:solidFill>
                <a:latin typeface="Corbel" panose="020B0503020204020204" pitchFamily="34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C3BF5ABF-D368-A541-8A9D-6FFF06D60FDA}"/>
              </a:ext>
            </a:extLst>
          </p:cNvPr>
          <p:cNvSpPr txBox="1"/>
          <p:nvPr/>
        </p:nvSpPr>
        <p:spPr>
          <a:xfrm>
            <a:off x="8043095" y="2371715"/>
            <a:ext cx="3886200" cy="2596865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sz="1300" dirty="0">
                <a:solidFill>
                  <a:schemeClr val="bg1"/>
                </a:solidFill>
              </a:rPr>
              <a:t>Pellentesque semper, tellus eget blandit blandit, magna leo aliquet sapien, sed ornare dolor dolor id sem. Ut dictum eu lacus ut egestas. Sed lacus velit, dictum ac gravida in, tincidunt a ipsum. Duis vitae finibus est. Praesent elementum eget odio et iaculis. Suspendisse et luctus urna, pellentesque ultrices odio. Sed vel maximus nibh. Donec commodo aliquet risus, ut pulvinar </a:t>
            </a:r>
            <a:r>
              <a:rPr lang="en-US" sz="1300" dirty="0" err="1">
                <a:solidFill>
                  <a:schemeClr val="bg1"/>
                </a:solidFill>
              </a:rPr>
              <a:t>lectus</a:t>
            </a:r>
            <a:r>
              <a:rPr lang="en-US" sz="1300" dirty="0">
                <a:solidFill>
                  <a:schemeClr val="bg1"/>
                </a:solidFill>
              </a:rPr>
              <a:t> </a:t>
            </a:r>
            <a:r>
              <a:rPr lang="en-US" sz="1300" dirty="0" err="1">
                <a:solidFill>
                  <a:schemeClr val="bg1"/>
                </a:solidFill>
              </a:rPr>
              <a:t>fringilla</a:t>
            </a:r>
            <a:r>
              <a:rPr lang="en-US" sz="13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63A4B1-B553-474F-9C98-2FBF85201438}"/>
              </a:ext>
            </a:extLst>
          </p:cNvPr>
          <p:cNvSpPr txBox="1"/>
          <p:nvPr/>
        </p:nvSpPr>
        <p:spPr>
          <a:xfrm>
            <a:off x="8054285" y="1989188"/>
            <a:ext cx="3886200" cy="338554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Montserrat" charset="0"/>
                <a:cs typeface="Montserrat" charset="0"/>
              </a:rPr>
              <a:t>THING 3</a:t>
            </a:r>
            <a:endParaRPr lang="en-US" sz="3200" dirty="0">
              <a:solidFill>
                <a:schemeClr val="bg1"/>
              </a:solidFill>
              <a:ea typeface="Montserrat" charset="0"/>
              <a:cs typeface="Montserrat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CCC0039-D6B9-2844-9B70-17700D05FF93}"/>
              </a:ext>
            </a:extLst>
          </p:cNvPr>
          <p:cNvSpPr txBox="1"/>
          <p:nvPr/>
        </p:nvSpPr>
        <p:spPr>
          <a:xfrm>
            <a:off x="4134515" y="2371715"/>
            <a:ext cx="3886200" cy="2596865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sz="1300" dirty="0">
                <a:solidFill>
                  <a:schemeClr val="bg1"/>
                </a:solidFill>
              </a:rPr>
              <a:t>Pellentesque semper, tellus eget blandit blandit, magna leo aliquet sapien, sed ornare dolor dolor id sem. Ut dictum eu lacus ut egestas. Sed lacus velit, dictum ac gravida in, tincidunt a ipsum. Duis vitae finibus est. Praesent elementum eget odio et iaculis. Suspendisse et luctus urna, pellentesque ultrices odio. Sed vel maximus nibh. Donec commodo aliquet risus, ut pulvinar </a:t>
            </a:r>
            <a:r>
              <a:rPr lang="en-US" sz="1300" dirty="0" err="1">
                <a:solidFill>
                  <a:schemeClr val="bg1"/>
                </a:solidFill>
              </a:rPr>
              <a:t>lectus</a:t>
            </a:r>
            <a:r>
              <a:rPr lang="en-US" sz="1300" dirty="0">
                <a:solidFill>
                  <a:schemeClr val="bg1"/>
                </a:solidFill>
              </a:rPr>
              <a:t> </a:t>
            </a:r>
            <a:r>
              <a:rPr lang="en-US" sz="1300" dirty="0" err="1">
                <a:solidFill>
                  <a:schemeClr val="bg1"/>
                </a:solidFill>
              </a:rPr>
              <a:t>fringilla</a:t>
            </a:r>
            <a:r>
              <a:rPr lang="en-US" sz="13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D142817-7FD6-EB4A-8CD5-DE44DD90A73B}"/>
              </a:ext>
            </a:extLst>
          </p:cNvPr>
          <p:cNvSpPr txBox="1"/>
          <p:nvPr/>
        </p:nvSpPr>
        <p:spPr>
          <a:xfrm>
            <a:off x="4145705" y="1977010"/>
            <a:ext cx="3886200" cy="338554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Montserrat" charset="0"/>
                <a:cs typeface="Montserrat" charset="0"/>
              </a:rPr>
              <a:t>THING 2</a:t>
            </a:r>
            <a:endParaRPr lang="en-US" sz="3200" dirty="0">
              <a:solidFill>
                <a:schemeClr val="bg1"/>
              </a:solidFill>
              <a:ea typeface="Montserrat" charset="0"/>
              <a:cs typeface="Montserrat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FF4ECA1-8BAE-7B44-83DB-EA30601C2144}"/>
              </a:ext>
            </a:extLst>
          </p:cNvPr>
          <p:cNvGrpSpPr/>
          <p:nvPr/>
        </p:nvGrpSpPr>
        <p:grpSpPr>
          <a:xfrm>
            <a:off x="1854629" y="1227774"/>
            <a:ext cx="653857" cy="391696"/>
            <a:chOff x="1775548" y="1990598"/>
            <a:chExt cx="621122" cy="372086"/>
          </a:xfrm>
        </p:grpSpPr>
        <p:sp>
          <p:nvSpPr>
            <p:cNvPr id="20" name="Freeform 226">
              <a:extLst>
                <a:ext uri="{FF2B5EF4-FFF2-40B4-BE49-F238E27FC236}">
                  <a16:creationId xmlns:a16="http://schemas.microsoft.com/office/drawing/2014/main" id="{E4BCE589-C277-4E46-9AA9-29A7D3E34D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5548" y="1990598"/>
              <a:ext cx="621122" cy="372086"/>
            </a:xfrm>
            <a:custGeom>
              <a:avLst/>
              <a:gdLst>
                <a:gd name="T0" fmla="*/ 933 w 934"/>
                <a:gd name="T1" fmla="*/ 559 h 560"/>
                <a:gd name="T2" fmla="*/ 0 w 934"/>
                <a:gd name="T3" fmla="*/ 559 h 560"/>
                <a:gd name="T4" fmla="*/ 0 w 934"/>
                <a:gd name="T5" fmla="*/ 0 h 560"/>
                <a:gd name="T6" fmla="*/ 933 w 934"/>
                <a:gd name="T7" fmla="*/ 0 h 560"/>
                <a:gd name="T8" fmla="*/ 933 w 934"/>
                <a:gd name="T9" fmla="*/ 559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4" h="560">
                  <a:moveTo>
                    <a:pt x="933" y="559"/>
                  </a:moveTo>
                  <a:lnTo>
                    <a:pt x="0" y="559"/>
                  </a:lnTo>
                  <a:lnTo>
                    <a:pt x="0" y="0"/>
                  </a:lnTo>
                  <a:lnTo>
                    <a:pt x="933" y="0"/>
                  </a:lnTo>
                  <a:lnTo>
                    <a:pt x="933" y="559"/>
                  </a:lnTo>
                </a:path>
              </a:pathLst>
            </a:custGeom>
            <a:noFill/>
            <a:ln w="3429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solidFill>
                  <a:schemeClr val="tx2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21" name="Freeform 227">
              <a:extLst>
                <a:ext uri="{FF2B5EF4-FFF2-40B4-BE49-F238E27FC236}">
                  <a16:creationId xmlns:a16="http://schemas.microsoft.com/office/drawing/2014/main" id="{03771872-AA03-164C-AADC-72ABD67605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5548" y="1990598"/>
              <a:ext cx="621122" cy="199228"/>
            </a:xfrm>
            <a:custGeom>
              <a:avLst/>
              <a:gdLst>
                <a:gd name="T0" fmla="*/ 0 w 934"/>
                <a:gd name="T1" fmla="*/ 0 h 299"/>
                <a:gd name="T2" fmla="*/ 463 w 934"/>
                <a:gd name="T3" fmla="*/ 298 h 299"/>
                <a:gd name="T4" fmla="*/ 933 w 934"/>
                <a:gd name="T5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4" h="299">
                  <a:moveTo>
                    <a:pt x="0" y="0"/>
                  </a:moveTo>
                  <a:lnTo>
                    <a:pt x="463" y="298"/>
                  </a:lnTo>
                  <a:lnTo>
                    <a:pt x="933" y="0"/>
                  </a:lnTo>
                </a:path>
              </a:pathLst>
            </a:custGeom>
            <a:noFill/>
            <a:ln w="34290" cap="flat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solidFill>
                  <a:schemeClr val="tx2"/>
                </a:solidFill>
                <a:latin typeface="Corbel" panose="020B0503020204020204" pitchFamily="34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8121B640-EF51-DD4C-848C-442BEBEDBCBF}"/>
              </a:ext>
            </a:extLst>
          </p:cNvPr>
          <p:cNvSpPr txBox="1"/>
          <p:nvPr/>
        </p:nvSpPr>
        <p:spPr>
          <a:xfrm>
            <a:off x="228600" y="2371715"/>
            <a:ext cx="3886200" cy="1950534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sz="1300" dirty="0">
                <a:solidFill>
                  <a:schemeClr val="bg1"/>
                </a:solidFill>
              </a:rPr>
              <a:t>Each of these sections can be headed with an icon, a data point, a Big Idea, an image…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sz="1300" dirty="0" err="1">
                <a:solidFill>
                  <a:schemeClr val="bg1"/>
                </a:solidFill>
                <a:ea typeface="Montserrat Light" charset="0"/>
                <a:cs typeface="Montserrat Light" charset="0"/>
              </a:rPr>
              <a:t>sed</a:t>
            </a:r>
            <a:r>
              <a:rPr lang="en-US" sz="1300" dirty="0">
                <a:solidFill>
                  <a:schemeClr val="bg1"/>
                </a:solidFill>
                <a:ea typeface="Montserrat Light" charset="0"/>
                <a:cs typeface="Montserrat Light" charset="0"/>
              </a:rPr>
              <a:t> ornare dolor dolor id sem. Ut dictum eu lacus ut egestas. Sed lacus velit, dictum ac gravida in, tincidunt a ipsum. Duis vitae finibus est. Praesent elementum eget odio et iaculis.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5C7F16-714B-784A-94BB-348BC5C0E3BC}"/>
              </a:ext>
            </a:extLst>
          </p:cNvPr>
          <p:cNvSpPr txBox="1"/>
          <p:nvPr/>
        </p:nvSpPr>
        <p:spPr>
          <a:xfrm>
            <a:off x="239790" y="1946231"/>
            <a:ext cx="388353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+mj-lt"/>
                <a:ea typeface="Montserrat" charset="0"/>
                <a:cs typeface="Montserrat" charset="0"/>
              </a:rPr>
              <a:t>THING 1</a:t>
            </a:r>
            <a:endParaRPr lang="en-US" sz="3200" dirty="0">
              <a:solidFill>
                <a:schemeClr val="bg1"/>
              </a:solidFill>
              <a:latin typeface="+mj-lt"/>
              <a:ea typeface="Montserrat" charset="0"/>
              <a:cs typeface="Montserrat" charset="0"/>
            </a:endParaRPr>
          </a:p>
        </p:txBody>
      </p:sp>
      <p:sp>
        <p:nvSpPr>
          <p:cNvPr id="24" name="Pentagon 23">
            <a:extLst>
              <a:ext uri="{FF2B5EF4-FFF2-40B4-BE49-F238E27FC236}">
                <a16:creationId xmlns:a16="http://schemas.microsoft.com/office/drawing/2014/main" id="{896EEECA-6F18-CE44-947D-03C920E97635}"/>
              </a:ext>
            </a:extLst>
          </p:cNvPr>
          <p:cNvSpPr/>
          <p:nvPr/>
        </p:nvSpPr>
        <p:spPr>
          <a:xfrm>
            <a:off x="-1801505" y="3868787"/>
            <a:ext cx="1744629" cy="736600"/>
          </a:xfrm>
          <a:prstGeom prst="homePlate">
            <a:avLst>
              <a:gd name="adj" fmla="val 2761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b="1" dirty="0">
                <a:solidFill>
                  <a:schemeClr val="bg1"/>
                </a:solidFill>
              </a:rPr>
              <a:t>SEE ”ICONS” SECTION FOR MORE ICONS</a:t>
            </a:r>
          </a:p>
        </p:txBody>
      </p:sp>
      <p:sp>
        <p:nvSpPr>
          <p:cNvPr id="25" name="Pentagon 24">
            <a:extLst>
              <a:ext uri="{FF2B5EF4-FFF2-40B4-BE49-F238E27FC236}">
                <a16:creationId xmlns:a16="http://schemas.microsoft.com/office/drawing/2014/main" id="{3C56E988-FA1D-0042-84B1-D72400050E5C}"/>
              </a:ext>
            </a:extLst>
          </p:cNvPr>
          <p:cNvSpPr/>
          <p:nvPr/>
        </p:nvSpPr>
        <p:spPr>
          <a:xfrm>
            <a:off x="-2343597" y="4994727"/>
            <a:ext cx="2286722" cy="1015375"/>
          </a:xfrm>
          <a:prstGeom prst="homePlate">
            <a:avLst>
              <a:gd name="adj" fmla="val 2761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b="1" dirty="0">
                <a:solidFill>
                  <a:schemeClr val="bg1"/>
                </a:solidFill>
              </a:rPr>
              <a:t>HOW TO LAY OUT 3 COLUMN TEXT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USE THESE MARGINS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NOTE 12PT SPACING BETWEEN PARAGRAPHS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NOTE SPACING BETWEEN COLUMNS – VERTICAL LINES NOT NEEDED!</a:t>
            </a:r>
          </a:p>
        </p:txBody>
      </p:sp>
    </p:spTree>
    <p:extLst>
      <p:ext uri="{BB962C8B-B14F-4D97-AF65-F5344CB8AC3E}">
        <p14:creationId xmlns:p14="http://schemas.microsoft.com/office/powerpoint/2010/main" val="100232848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24333-1174-4340-BCBD-6C1C9E21D3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BECE15-750C-3743-AD9A-C2B611DDAB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CCC0039-D6B9-2844-9B70-17700D05FF93}"/>
              </a:ext>
            </a:extLst>
          </p:cNvPr>
          <p:cNvSpPr txBox="1"/>
          <p:nvPr/>
        </p:nvSpPr>
        <p:spPr>
          <a:xfrm>
            <a:off x="6198937" y="2371714"/>
            <a:ext cx="5394960" cy="2743200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sz="1300" dirty="0">
                <a:solidFill>
                  <a:schemeClr val="bg1"/>
                </a:solidFill>
              </a:rPr>
              <a:t>Pellentesque semper, tellus eget blandit blandit, magna leo aliquet sapien, sed ornare dolor dolor id sem. Ut dictum eu lacus ut egestas. Sed lacus velit, dictum ac gravida in, tincidunt a ipsum. Duis vitae finibus est. Praesent elementum eget odio et iaculis. Suspendisse et luctus urna, pellentesque ultrices odio. Sed vel maximus nibh. Donec commodo aliquet risus, ut pulvinar </a:t>
            </a:r>
            <a:r>
              <a:rPr lang="en-US" sz="1300" dirty="0" err="1">
                <a:solidFill>
                  <a:schemeClr val="bg1"/>
                </a:solidFill>
              </a:rPr>
              <a:t>lectus</a:t>
            </a:r>
            <a:r>
              <a:rPr lang="en-US" sz="1300" dirty="0">
                <a:solidFill>
                  <a:schemeClr val="bg1"/>
                </a:solidFill>
              </a:rPr>
              <a:t> </a:t>
            </a:r>
            <a:r>
              <a:rPr lang="en-US" sz="1300" dirty="0" err="1">
                <a:solidFill>
                  <a:schemeClr val="bg1"/>
                </a:solidFill>
              </a:rPr>
              <a:t>fringilla</a:t>
            </a:r>
            <a:r>
              <a:rPr lang="en-US" sz="13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D142817-7FD6-EB4A-8CD5-DE44DD90A73B}"/>
              </a:ext>
            </a:extLst>
          </p:cNvPr>
          <p:cNvSpPr txBox="1"/>
          <p:nvPr/>
        </p:nvSpPr>
        <p:spPr>
          <a:xfrm>
            <a:off x="6198937" y="1900065"/>
            <a:ext cx="5394960" cy="457200"/>
          </a:xfrm>
          <a:prstGeom prst="rect">
            <a:avLst/>
          </a:prstGeom>
          <a:noFill/>
        </p:spPr>
        <p:txBody>
          <a:bodyPr wrap="square" tIns="91440" bIns="91440" rtlCol="0" anchor="ctr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Montserrat" charset="0"/>
                <a:cs typeface="Montserrat" charset="0"/>
              </a:rPr>
              <a:t>THING 2</a:t>
            </a:r>
            <a:endParaRPr lang="en-US" sz="3200" dirty="0">
              <a:solidFill>
                <a:schemeClr val="bg1"/>
              </a:solidFill>
              <a:ea typeface="Montserrat" charset="0"/>
              <a:cs typeface="Montserrat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121B640-EF51-DD4C-848C-442BEBEDBCBF}"/>
              </a:ext>
            </a:extLst>
          </p:cNvPr>
          <p:cNvSpPr txBox="1"/>
          <p:nvPr/>
        </p:nvSpPr>
        <p:spPr>
          <a:xfrm>
            <a:off x="598105" y="2371715"/>
            <a:ext cx="5394960" cy="2743200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sz="1300" dirty="0">
                <a:solidFill>
                  <a:schemeClr val="bg1"/>
                </a:solidFill>
              </a:rPr>
              <a:t>Each of these sections can be headed with an icon, a data point, a Big Idea, an image…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sz="1300" dirty="0" err="1">
                <a:solidFill>
                  <a:schemeClr val="bg1"/>
                </a:solidFill>
                <a:ea typeface="Montserrat Light" charset="0"/>
                <a:cs typeface="Montserrat Light" charset="0"/>
              </a:rPr>
              <a:t>sed</a:t>
            </a:r>
            <a:r>
              <a:rPr lang="en-US" sz="1300" dirty="0">
                <a:solidFill>
                  <a:schemeClr val="bg1"/>
                </a:solidFill>
                <a:ea typeface="Montserrat Light" charset="0"/>
                <a:cs typeface="Montserrat Light" charset="0"/>
              </a:rPr>
              <a:t> ornare dolor dolor id sem. Ut dictum eu lacus ut egestas. Sed lacus velit, dictum ac gravida in, tincidunt a ipsum. Duis vitae finibus est. Praesent elementum eget odio et iaculis.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5C7F16-714B-784A-94BB-348BC5C0E3BC}"/>
              </a:ext>
            </a:extLst>
          </p:cNvPr>
          <p:cNvSpPr txBox="1"/>
          <p:nvPr/>
        </p:nvSpPr>
        <p:spPr>
          <a:xfrm>
            <a:off x="598105" y="1900065"/>
            <a:ext cx="5394960" cy="457200"/>
          </a:xfrm>
          <a:prstGeom prst="rect">
            <a:avLst/>
          </a:prstGeom>
          <a:noFill/>
        </p:spPr>
        <p:txBody>
          <a:bodyPr wrap="square" tIns="91440" bIns="91440" rtlCol="0" anchor="ctr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+mj-lt"/>
                <a:ea typeface="Montserrat" charset="0"/>
                <a:cs typeface="Montserrat" charset="0"/>
              </a:rPr>
              <a:t>THING 1</a:t>
            </a:r>
            <a:endParaRPr lang="en-US" sz="3200" dirty="0">
              <a:solidFill>
                <a:schemeClr val="bg1"/>
              </a:solidFill>
              <a:latin typeface="+mj-lt"/>
              <a:ea typeface="Montserrat" charset="0"/>
              <a:cs typeface="Montserrat" charset="0"/>
            </a:endParaRP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A1707551-B120-2546-B0DE-591D655F1DA2}"/>
              </a:ext>
            </a:extLst>
          </p:cNvPr>
          <p:cNvSpPr/>
          <p:nvPr/>
        </p:nvSpPr>
        <p:spPr>
          <a:xfrm>
            <a:off x="-2343597" y="4716684"/>
            <a:ext cx="2286722" cy="1015375"/>
          </a:xfrm>
          <a:prstGeom prst="homePlate">
            <a:avLst>
              <a:gd name="adj" fmla="val 2761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b="1" dirty="0">
                <a:solidFill>
                  <a:schemeClr val="bg1"/>
                </a:solidFill>
              </a:rPr>
              <a:t>HOW TO LAY OUT 2 COLUMN TEXT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USE THESE MARGINS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NOTE 12PT SPACING BETWEEN PARAGRAPHS</a:t>
            </a:r>
          </a:p>
          <a:p>
            <a:pPr marL="228600" indent="-228600" algn="ctr">
              <a:lnSpc>
                <a:spcPct val="90000"/>
              </a:lnSpc>
              <a:buAutoNum type="arabicPeriod"/>
            </a:pPr>
            <a:r>
              <a:rPr lang="en-US" sz="1000" b="1" dirty="0">
                <a:solidFill>
                  <a:schemeClr val="bg1"/>
                </a:solidFill>
              </a:rPr>
              <a:t>NOTE SPACING BETWEEN COLUMNS – VERTICAL LINE NOT NEEDED!</a:t>
            </a:r>
          </a:p>
        </p:txBody>
      </p:sp>
    </p:spTree>
    <p:extLst>
      <p:ext uri="{BB962C8B-B14F-4D97-AF65-F5344CB8AC3E}">
        <p14:creationId xmlns:p14="http://schemas.microsoft.com/office/powerpoint/2010/main" val="80596222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303215C0-0E05-1F4F-B3C9-5B4FEB5E7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A02E7FF-3772-CA4A-951B-5F41E39922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5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4012E-8092-1749-808A-94DFB1B75F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9C4AC4F-B648-6144-A706-3C7246C4479D}"/>
              </a:ext>
            </a:extLst>
          </p:cNvPr>
          <p:cNvSpPr txBox="1"/>
          <p:nvPr/>
        </p:nvSpPr>
        <p:spPr>
          <a:xfrm>
            <a:off x="7272495" y="1222625"/>
            <a:ext cx="4206240" cy="1076936"/>
          </a:xfrm>
          <a:prstGeom prst="rect">
            <a:avLst/>
          </a:prstGeom>
          <a:noFill/>
        </p:spPr>
        <p:txBody>
          <a:bodyPr wrap="square" lIns="121926" tIns="60963" rIns="121926" bIns="60963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sz="1500" dirty="0">
                <a:cs typeface="Lato Light"/>
              </a:rPr>
              <a:t>Add 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86B4F8-50B7-1547-8CA2-2F3C06630965}"/>
              </a:ext>
            </a:extLst>
          </p:cNvPr>
          <p:cNvSpPr txBox="1"/>
          <p:nvPr/>
        </p:nvSpPr>
        <p:spPr>
          <a:xfrm>
            <a:off x="7272494" y="2971800"/>
            <a:ext cx="4206240" cy="1076936"/>
          </a:xfrm>
          <a:prstGeom prst="rect">
            <a:avLst/>
          </a:prstGeom>
          <a:noFill/>
        </p:spPr>
        <p:txBody>
          <a:bodyPr wrap="square" lIns="121926" tIns="60963" rIns="121926" bIns="60963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sz="1500" dirty="0">
                <a:ea typeface="+mn-lt"/>
                <a:cs typeface="+mn-lt"/>
              </a:rPr>
              <a:t>Add text</a:t>
            </a:r>
            <a:r>
              <a:rPr lang="en-US" sz="1500" dirty="0">
                <a:solidFill>
                  <a:schemeClr val="tx2"/>
                </a:solidFill>
                <a:cs typeface="Lato Black"/>
              </a:rPr>
              <a:t>.</a:t>
            </a:r>
            <a:endParaRPr lang="en-US" sz="1500" dirty="0">
              <a:solidFill>
                <a:schemeClr val="tx2"/>
              </a:solidFill>
              <a:cs typeface="Lato Ligh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74A782B-F585-C747-AE21-F8E0DBE8CFEE}"/>
              </a:ext>
            </a:extLst>
          </p:cNvPr>
          <p:cNvSpPr txBox="1"/>
          <p:nvPr/>
        </p:nvSpPr>
        <p:spPr>
          <a:xfrm>
            <a:off x="7272494" y="4720975"/>
            <a:ext cx="4206240" cy="1076936"/>
          </a:xfrm>
          <a:prstGeom prst="rect">
            <a:avLst/>
          </a:prstGeom>
          <a:noFill/>
        </p:spPr>
        <p:txBody>
          <a:bodyPr wrap="square" lIns="121926" tIns="60963" rIns="121926" bIns="60963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sz="1500" dirty="0">
                <a:ea typeface="+mn-lt"/>
                <a:cs typeface="+mn-lt"/>
              </a:rPr>
              <a:t>Add text</a:t>
            </a:r>
            <a:endParaRPr lang="en-US" dirty="0"/>
          </a:p>
        </p:txBody>
      </p:sp>
      <p:sp>
        <p:nvSpPr>
          <p:cNvPr id="12" name="Triangle 3">
            <a:extLst>
              <a:ext uri="{FF2B5EF4-FFF2-40B4-BE49-F238E27FC236}">
                <a16:creationId xmlns:a16="http://schemas.microsoft.com/office/drawing/2014/main" id="{58EFD2C4-0758-6F46-8330-295C47493BF7}"/>
              </a:ext>
            </a:extLst>
          </p:cNvPr>
          <p:cNvSpPr>
            <a:spLocks noChangeAspect="1"/>
          </p:cNvSpPr>
          <p:nvPr/>
        </p:nvSpPr>
        <p:spPr>
          <a:xfrm rot="5400000">
            <a:off x="6429809" y="3244358"/>
            <a:ext cx="731520" cy="531820"/>
          </a:xfrm>
          <a:custGeom>
            <a:avLst/>
            <a:gdLst>
              <a:gd name="connsiteX0" fmla="*/ 0 w 1603513"/>
              <a:gd name="connsiteY0" fmla="*/ 1382339 h 1382339"/>
              <a:gd name="connsiteX1" fmla="*/ 801757 w 1603513"/>
              <a:gd name="connsiteY1" fmla="*/ 0 h 1382339"/>
              <a:gd name="connsiteX2" fmla="*/ 1603513 w 1603513"/>
              <a:gd name="connsiteY2" fmla="*/ 1382339 h 1382339"/>
              <a:gd name="connsiteX3" fmla="*/ 0 w 1603513"/>
              <a:gd name="connsiteY3" fmla="*/ 1382339 h 1382339"/>
              <a:gd name="connsiteX0" fmla="*/ 17474 w 1638461"/>
              <a:gd name="connsiteY0" fmla="*/ 1382339 h 1382339"/>
              <a:gd name="connsiteX1" fmla="*/ 819231 w 1638461"/>
              <a:gd name="connsiteY1" fmla="*/ 0 h 1382339"/>
              <a:gd name="connsiteX2" fmla="*/ 1620987 w 1638461"/>
              <a:gd name="connsiteY2" fmla="*/ 1382339 h 1382339"/>
              <a:gd name="connsiteX3" fmla="*/ 17474 w 1638461"/>
              <a:gd name="connsiteY3" fmla="*/ 1382339 h 1382339"/>
              <a:gd name="connsiteX0" fmla="*/ 17474 w 1768586"/>
              <a:gd name="connsiteY0" fmla="*/ 1382339 h 1382339"/>
              <a:gd name="connsiteX1" fmla="*/ 819231 w 1768586"/>
              <a:gd name="connsiteY1" fmla="*/ 0 h 1382339"/>
              <a:gd name="connsiteX2" fmla="*/ 1620987 w 1768586"/>
              <a:gd name="connsiteY2" fmla="*/ 1382339 h 1382339"/>
              <a:gd name="connsiteX3" fmla="*/ 17474 w 1768586"/>
              <a:gd name="connsiteY3" fmla="*/ 1382339 h 1382339"/>
              <a:gd name="connsiteX0" fmla="*/ 147599 w 1898711"/>
              <a:gd name="connsiteY0" fmla="*/ 1382339 h 1382339"/>
              <a:gd name="connsiteX1" fmla="*/ 949356 w 1898711"/>
              <a:gd name="connsiteY1" fmla="*/ 0 h 1382339"/>
              <a:gd name="connsiteX2" fmla="*/ 1751112 w 1898711"/>
              <a:gd name="connsiteY2" fmla="*/ 1382339 h 1382339"/>
              <a:gd name="connsiteX3" fmla="*/ 147599 w 1898711"/>
              <a:gd name="connsiteY3" fmla="*/ 1382339 h 138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8711" h="1382339">
                <a:moveTo>
                  <a:pt x="147599" y="1382339"/>
                </a:moveTo>
                <a:cubicBezTo>
                  <a:pt x="-386905" y="1382339"/>
                  <a:pt x="682104" y="0"/>
                  <a:pt x="949356" y="0"/>
                </a:cubicBezTo>
                <a:cubicBezTo>
                  <a:pt x="1216608" y="0"/>
                  <a:pt x="2285616" y="1382339"/>
                  <a:pt x="1751112" y="1382339"/>
                </a:cubicBezTo>
                <a:lnTo>
                  <a:pt x="147599" y="13823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riangle 3">
            <a:extLst>
              <a:ext uri="{FF2B5EF4-FFF2-40B4-BE49-F238E27FC236}">
                <a16:creationId xmlns:a16="http://schemas.microsoft.com/office/drawing/2014/main" id="{3C334182-F27B-564B-AF13-EAF9CD831703}"/>
              </a:ext>
            </a:extLst>
          </p:cNvPr>
          <p:cNvSpPr>
            <a:spLocks noChangeAspect="1"/>
          </p:cNvSpPr>
          <p:nvPr/>
        </p:nvSpPr>
        <p:spPr>
          <a:xfrm rot="5400000">
            <a:off x="6429809" y="1495183"/>
            <a:ext cx="731520" cy="531820"/>
          </a:xfrm>
          <a:custGeom>
            <a:avLst/>
            <a:gdLst>
              <a:gd name="connsiteX0" fmla="*/ 0 w 1603513"/>
              <a:gd name="connsiteY0" fmla="*/ 1382339 h 1382339"/>
              <a:gd name="connsiteX1" fmla="*/ 801757 w 1603513"/>
              <a:gd name="connsiteY1" fmla="*/ 0 h 1382339"/>
              <a:gd name="connsiteX2" fmla="*/ 1603513 w 1603513"/>
              <a:gd name="connsiteY2" fmla="*/ 1382339 h 1382339"/>
              <a:gd name="connsiteX3" fmla="*/ 0 w 1603513"/>
              <a:gd name="connsiteY3" fmla="*/ 1382339 h 1382339"/>
              <a:gd name="connsiteX0" fmla="*/ 17474 w 1638461"/>
              <a:gd name="connsiteY0" fmla="*/ 1382339 h 1382339"/>
              <a:gd name="connsiteX1" fmla="*/ 819231 w 1638461"/>
              <a:gd name="connsiteY1" fmla="*/ 0 h 1382339"/>
              <a:gd name="connsiteX2" fmla="*/ 1620987 w 1638461"/>
              <a:gd name="connsiteY2" fmla="*/ 1382339 h 1382339"/>
              <a:gd name="connsiteX3" fmla="*/ 17474 w 1638461"/>
              <a:gd name="connsiteY3" fmla="*/ 1382339 h 1382339"/>
              <a:gd name="connsiteX0" fmla="*/ 17474 w 1768586"/>
              <a:gd name="connsiteY0" fmla="*/ 1382339 h 1382339"/>
              <a:gd name="connsiteX1" fmla="*/ 819231 w 1768586"/>
              <a:gd name="connsiteY1" fmla="*/ 0 h 1382339"/>
              <a:gd name="connsiteX2" fmla="*/ 1620987 w 1768586"/>
              <a:gd name="connsiteY2" fmla="*/ 1382339 h 1382339"/>
              <a:gd name="connsiteX3" fmla="*/ 17474 w 1768586"/>
              <a:gd name="connsiteY3" fmla="*/ 1382339 h 1382339"/>
              <a:gd name="connsiteX0" fmla="*/ 147599 w 1898711"/>
              <a:gd name="connsiteY0" fmla="*/ 1382339 h 1382339"/>
              <a:gd name="connsiteX1" fmla="*/ 949356 w 1898711"/>
              <a:gd name="connsiteY1" fmla="*/ 0 h 1382339"/>
              <a:gd name="connsiteX2" fmla="*/ 1751112 w 1898711"/>
              <a:gd name="connsiteY2" fmla="*/ 1382339 h 1382339"/>
              <a:gd name="connsiteX3" fmla="*/ 147599 w 1898711"/>
              <a:gd name="connsiteY3" fmla="*/ 1382339 h 138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8711" h="1382339">
                <a:moveTo>
                  <a:pt x="147599" y="1382339"/>
                </a:moveTo>
                <a:cubicBezTo>
                  <a:pt x="-386905" y="1382339"/>
                  <a:pt x="682104" y="0"/>
                  <a:pt x="949356" y="0"/>
                </a:cubicBezTo>
                <a:cubicBezTo>
                  <a:pt x="1216608" y="0"/>
                  <a:pt x="2285616" y="1382339"/>
                  <a:pt x="1751112" y="1382339"/>
                </a:cubicBezTo>
                <a:lnTo>
                  <a:pt x="147599" y="13823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Triangle 3">
            <a:extLst>
              <a:ext uri="{FF2B5EF4-FFF2-40B4-BE49-F238E27FC236}">
                <a16:creationId xmlns:a16="http://schemas.microsoft.com/office/drawing/2014/main" id="{1FCFEF33-0AA5-5141-953F-CCF2FFC4231D}"/>
              </a:ext>
            </a:extLst>
          </p:cNvPr>
          <p:cNvSpPr>
            <a:spLocks noChangeAspect="1"/>
          </p:cNvSpPr>
          <p:nvPr/>
        </p:nvSpPr>
        <p:spPr>
          <a:xfrm rot="5400000">
            <a:off x="6429809" y="4993533"/>
            <a:ext cx="731520" cy="531820"/>
          </a:xfrm>
          <a:custGeom>
            <a:avLst/>
            <a:gdLst>
              <a:gd name="connsiteX0" fmla="*/ 0 w 1603513"/>
              <a:gd name="connsiteY0" fmla="*/ 1382339 h 1382339"/>
              <a:gd name="connsiteX1" fmla="*/ 801757 w 1603513"/>
              <a:gd name="connsiteY1" fmla="*/ 0 h 1382339"/>
              <a:gd name="connsiteX2" fmla="*/ 1603513 w 1603513"/>
              <a:gd name="connsiteY2" fmla="*/ 1382339 h 1382339"/>
              <a:gd name="connsiteX3" fmla="*/ 0 w 1603513"/>
              <a:gd name="connsiteY3" fmla="*/ 1382339 h 1382339"/>
              <a:gd name="connsiteX0" fmla="*/ 17474 w 1638461"/>
              <a:gd name="connsiteY0" fmla="*/ 1382339 h 1382339"/>
              <a:gd name="connsiteX1" fmla="*/ 819231 w 1638461"/>
              <a:gd name="connsiteY1" fmla="*/ 0 h 1382339"/>
              <a:gd name="connsiteX2" fmla="*/ 1620987 w 1638461"/>
              <a:gd name="connsiteY2" fmla="*/ 1382339 h 1382339"/>
              <a:gd name="connsiteX3" fmla="*/ 17474 w 1638461"/>
              <a:gd name="connsiteY3" fmla="*/ 1382339 h 1382339"/>
              <a:gd name="connsiteX0" fmla="*/ 17474 w 1768586"/>
              <a:gd name="connsiteY0" fmla="*/ 1382339 h 1382339"/>
              <a:gd name="connsiteX1" fmla="*/ 819231 w 1768586"/>
              <a:gd name="connsiteY1" fmla="*/ 0 h 1382339"/>
              <a:gd name="connsiteX2" fmla="*/ 1620987 w 1768586"/>
              <a:gd name="connsiteY2" fmla="*/ 1382339 h 1382339"/>
              <a:gd name="connsiteX3" fmla="*/ 17474 w 1768586"/>
              <a:gd name="connsiteY3" fmla="*/ 1382339 h 1382339"/>
              <a:gd name="connsiteX0" fmla="*/ 147599 w 1898711"/>
              <a:gd name="connsiteY0" fmla="*/ 1382339 h 1382339"/>
              <a:gd name="connsiteX1" fmla="*/ 949356 w 1898711"/>
              <a:gd name="connsiteY1" fmla="*/ 0 h 1382339"/>
              <a:gd name="connsiteX2" fmla="*/ 1751112 w 1898711"/>
              <a:gd name="connsiteY2" fmla="*/ 1382339 h 1382339"/>
              <a:gd name="connsiteX3" fmla="*/ 147599 w 1898711"/>
              <a:gd name="connsiteY3" fmla="*/ 1382339 h 138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8711" h="1382339">
                <a:moveTo>
                  <a:pt x="147599" y="1382339"/>
                </a:moveTo>
                <a:cubicBezTo>
                  <a:pt x="-386905" y="1382339"/>
                  <a:pt x="682104" y="0"/>
                  <a:pt x="949356" y="0"/>
                </a:cubicBezTo>
                <a:cubicBezTo>
                  <a:pt x="1216608" y="0"/>
                  <a:pt x="2285616" y="1382339"/>
                  <a:pt x="1751112" y="1382339"/>
                </a:cubicBezTo>
                <a:lnTo>
                  <a:pt x="147599" y="13823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49326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2871E795-1D1B-3E4B-A977-1177A497B7C2}"/>
              </a:ext>
            </a:extLst>
          </p:cNvPr>
          <p:cNvSpPr/>
          <p:nvPr/>
        </p:nvSpPr>
        <p:spPr>
          <a:xfrm>
            <a:off x="0" y="1926771"/>
            <a:ext cx="12192000" cy="31350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6A75EF1-31AA-8549-92F3-64E85286FB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694E004-D824-0445-A430-8336D0761D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53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75F4204-A714-194D-8A84-C1C29B5B0D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FBC651A-B80E-4E49-9737-6CFF9B6BDE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ry to reduce font size, rather than go to more than one 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7E2C331-4CAC-274D-911D-E0A1798C8239}"/>
              </a:ext>
            </a:extLst>
          </p:cNvPr>
          <p:cNvSpPr/>
          <p:nvPr/>
        </p:nvSpPr>
        <p:spPr>
          <a:xfrm>
            <a:off x="0" y="5389106"/>
            <a:ext cx="12192000" cy="60443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2400" dirty="0">
                <a:solidFill>
                  <a:schemeClr val="bg1"/>
                </a:solidFill>
              </a:rPr>
              <a:t>Takeaway</a:t>
            </a:r>
          </a:p>
        </p:txBody>
      </p:sp>
      <p:graphicFrame>
        <p:nvGraphicFramePr>
          <p:cNvPr id="25" name="Table 5">
            <a:extLst>
              <a:ext uri="{FF2B5EF4-FFF2-40B4-BE49-F238E27FC236}">
                <a16:creationId xmlns:a16="http://schemas.microsoft.com/office/drawing/2014/main" id="{548A4D9E-14F8-3449-B2CE-CB731FD99F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3154715"/>
              </p:ext>
            </p:extLst>
          </p:nvPr>
        </p:nvGraphicFramePr>
        <p:xfrm>
          <a:off x="522156" y="2343726"/>
          <a:ext cx="3291840" cy="2301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1840">
                  <a:extLst>
                    <a:ext uri="{9D8B030D-6E8A-4147-A177-3AD203B41FA5}">
                      <a16:colId xmlns:a16="http://schemas.microsoft.com/office/drawing/2014/main" val="2337449896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Aft>
                          <a:spcPts val="600"/>
                        </a:spcAft>
                      </a:pPr>
                      <a:r>
                        <a:rPr lang="en-US" sz="24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eading 1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3435947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1012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3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Date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036049"/>
                  </a:ext>
                </a:extLst>
              </a:tr>
            </a:tbl>
          </a:graphicData>
        </a:graphic>
      </p:graphicFrame>
      <p:graphicFrame>
        <p:nvGraphicFramePr>
          <p:cNvPr id="26" name="Table 5">
            <a:extLst>
              <a:ext uri="{FF2B5EF4-FFF2-40B4-BE49-F238E27FC236}">
                <a16:creationId xmlns:a16="http://schemas.microsoft.com/office/drawing/2014/main" id="{87AAEACD-899B-3049-A83B-7CD62583A4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4965441"/>
              </p:ext>
            </p:extLst>
          </p:nvPr>
        </p:nvGraphicFramePr>
        <p:xfrm>
          <a:off x="4450080" y="2343726"/>
          <a:ext cx="3291840" cy="2301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1840">
                  <a:extLst>
                    <a:ext uri="{9D8B030D-6E8A-4147-A177-3AD203B41FA5}">
                      <a16:colId xmlns:a16="http://schemas.microsoft.com/office/drawing/2014/main" val="2337449896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Aft>
                          <a:spcPts val="600"/>
                        </a:spcAft>
                      </a:pPr>
                      <a:r>
                        <a:rPr lang="en-US" sz="24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eading 2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3435947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1012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3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Date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036049"/>
                  </a:ext>
                </a:extLst>
              </a:tr>
            </a:tbl>
          </a:graphicData>
        </a:graphic>
      </p:graphicFrame>
      <p:graphicFrame>
        <p:nvGraphicFramePr>
          <p:cNvPr id="27" name="Table 5">
            <a:extLst>
              <a:ext uri="{FF2B5EF4-FFF2-40B4-BE49-F238E27FC236}">
                <a16:creationId xmlns:a16="http://schemas.microsoft.com/office/drawing/2014/main" id="{18A6F200-7173-2442-8548-61C5A51E10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6795063"/>
              </p:ext>
            </p:extLst>
          </p:nvPr>
        </p:nvGraphicFramePr>
        <p:xfrm>
          <a:off x="8361512" y="2343726"/>
          <a:ext cx="3291840" cy="2301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1840">
                  <a:extLst>
                    <a:ext uri="{9D8B030D-6E8A-4147-A177-3AD203B41FA5}">
                      <a16:colId xmlns:a16="http://schemas.microsoft.com/office/drawing/2014/main" val="2337449896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Aft>
                          <a:spcPts val="600"/>
                        </a:spcAft>
                      </a:pPr>
                      <a:r>
                        <a:rPr lang="en-US" sz="24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eading 3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3435947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1012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3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Date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0360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707922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2871E795-1D1B-3E4B-A977-1177A497B7C2}"/>
              </a:ext>
            </a:extLst>
          </p:cNvPr>
          <p:cNvSpPr/>
          <p:nvPr/>
        </p:nvSpPr>
        <p:spPr>
          <a:xfrm>
            <a:off x="0" y="1926771"/>
            <a:ext cx="12192000" cy="31350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6A75EF1-31AA-8549-92F3-64E85286FB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694E004-D824-0445-A430-8336D0761D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54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4DF455C-BAF7-4A4A-A841-9879827A8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FBC651A-B80E-4E49-9737-6CFF9B6BDE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ry to reduce font size, rather than go to more than one 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7E2C331-4CAC-274D-911D-E0A1798C8239}"/>
              </a:ext>
            </a:extLst>
          </p:cNvPr>
          <p:cNvSpPr/>
          <p:nvPr/>
        </p:nvSpPr>
        <p:spPr>
          <a:xfrm>
            <a:off x="0" y="5389106"/>
            <a:ext cx="12192000" cy="60443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2400" dirty="0">
                <a:solidFill>
                  <a:schemeClr val="bg1"/>
                </a:solidFill>
              </a:rPr>
              <a:t>Takeaway</a:t>
            </a:r>
          </a:p>
        </p:txBody>
      </p:sp>
      <p:graphicFrame>
        <p:nvGraphicFramePr>
          <p:cNvPr id="17" name="Table 5">
            <a:extLst>
              <a:ext uri="{FF2B5EF4-FFF2-40B4-BE49-F238E27FC236}">
                <a16:creationId xmlns:a16="http://schemas.microsoft.com/office/drawing/2014/main" id="{B90A4C4B-D110-424C-9D73-7E43FA09F4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4191694"/>
              </p:ext>
            </p:extLst>
          </p:nvPr>
        </p:nvGraphicFramePr>
        <p:xfrm>
          <a:off x="208237" y="2343726"/>
          <a:ext cx="2834640" cy="2301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4640">
                  <a:extLst>
                    <a:ext uri="{9D8B030D-6E8A-4147-A177-3AD203B41FA5}">
                      <a16:colId xmlns:a16="http://schemas.microsoft.com/office/drawing/2014/main" val="2337449896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Aft>
                          <a:spcPts val="600"/>
                        </a:spcAft>
                      </a:pPr>
                      <a:r>
                        <a:rPr lang="en-US" sz="24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eading 1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3435947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1012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3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Date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036049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5E4A3B0-36AB-2D4B-8CEC-56DAB5D9AC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5432732"/>
              </p:ext>
            </p:extLst>
          </p:nvPr>
        </p:nvGraphicFramePr>
        <p:xfrm>
          <a:off x="3147996" y="2343726"/>
          <a:ext cx="2834640" cy="2301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4640">
                  <a:extLst>
                    <a:ext uri="{9D8B030D-6E8A-4147-A177-3AD203B41FA5}">
                      <a16:colId xmlns:a16="http://schemas.microsoft.com/office/drawing/2014/main" val="3030895163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Aft>
                          <a:spcPts val="600"/>
                        </a:spcAft>
                      </a:pPr>
                      <a:r>
                        <a:rPr lang="en-US" sz="24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eading 2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1394895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60538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3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Date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0907324"/>
                  </a:ext>
                </a:extLst>
              </a:tr>
            </a:tbl>
          </a:graphicData>
        </a:graphic>
      </p:graphicFrame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38E0DBE3-69A6-504E-A7F3-3FC0B6310E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9808613"/>
              </p:ext>
            </p:extLst>
          </p:nvPr>
        </p:nvGraphicFramePr>
        <p:xfrm>
          <a:off x="6087755" y="2343726"/>
          <a:ext cx="2834640" cy="2301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4640">
                  <a:extLst>
                    <a:ext uri="{9D8B030D-6E8A-4147-A177-3AD203B41FA5}">
                      <a16:colId xmlns:a16="http://schemas.microsoft.com/office/drawing/2014/main" val="3030895163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Aft>
                          <a:spcPts val="600"/>
                        </a:spcAft>
                      </a:pPr>
                      <a:r>
                        <a:rPr lang="en-US" sz="24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eading 3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1394895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60538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3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Date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0907324"/>
                  </a:ext>
                </a:extLst>
              </a:tr>
            </a:tbl>
          </a:graphicData>
        </a:graphic>
      </p:graphicFrame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3A496B1B-3310-014C-A478-77DFCE8017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072680"/>
              </p:ext>
            </p:extLst>
          </p:nvPr>
        </p:nvGraphicFramePr>
        <p:xfrm>
          <a:off x="9027514" y="2343726"/>
          <a:ext cx="2834640" cy="2301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4640">
                  <a:extLst>
                    <a:ext uri="{9D8B030D-6E8A-4147-A177-3AD203B41FA5}">
                      <a16:colId xmlns:a16="http://schemas.microsoft.com/office/drawing/2014/main" val="3030895163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Aft>
                          <a:spcPts val="600"/>
                        </a:spcAft>
                      </a:pPr>
                      <a:r>
                        <a:rPr lang="en-US" sz="24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eading 4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1394895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60538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3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Date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09073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538225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2871E795-1D1B-3E4B-A977-1177A497B7C2}"/>
              </a:ext>
            </a:extLst>
          </p:cNvPr>
          <p:cNvSpPr/>
          <p:nvPr/>
        </p:nvSpPr>
        <p:spPr>
          <a:xfrm>
            <a:off x="0" y="1926771"/>
            <a:ext cx="12192000" cy="31350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6A75EF1-31AA-8549-92F3-64E85286FB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694E004-D824-0445-A430-8336D0761D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55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4DF455C-BAF7-4A4A-A841-9879827A8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FBC651A-B80E-4E49-9737-6CFF9B6BDE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ry to reduce font size, rather than go to more than one 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7E2C331-4CAC-274D-911D-E0A1798C8239}"/>
              </a:ext>
            </a:extLst>
          </p:cNvPr>
          <p:cNvSpPr/>
          <p:nvPr/>
        </p:nvSpPr>
        <p:spPr>
          <a:xfrm>
            <a:off x="0" y="5389106"/>
            <a:ext cx="12192000" cy="60443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2400" dirty="0">
                <a:solidFill>
                  <a:schemeClr val="bg1"/>
                </a:solidFill>
              </a:rPr>
              <a:t>Takeaway</a:t>
            </a:r>
          </a:p>
        </p:txBody>
      </p:sp>
      <p:graphicFrame>
        <p:nvGraphicFramePr>
          <p:cNvPr id="19" name="Table 5">
            <a:extLst>
              <a:ext uri="{FF2B5EF4-FFF2-40B4-BE49-F238E27FC236}">
                <a16:creationId xmlns:a16="http://schemas.microsoft.com/office/drawing/2014/main" id="{1A8DBDA2-C80E-A245-AB42-52EB4F3E09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9635490"/>
              </p:ext>
            </p:extLst>
          </p:nvPr>
        </p:nvGraphicFramePr>
        <p:xfrm>
          <a:off x="261282" y="2390938"/>
          <a:ext cx="2194560" cy="22067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2337449896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Aft>
                          <a:spcPts val="600"/>
                        </a:spcAft>
                      </a:pPr>
                      <a:r>
                        <a:rPr lang="en-US" sz="20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eading 1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3435947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1012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32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Date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036049"/>
                  </a:ext>
                </a:extLst>
              </a:tr>
            </a:tbl>
          </a:graphicData>
        </a:graphic>
      </p:graphicFrame>
      <p:graphicFrame>
        <p:nvGraphicFramePr>
          <p:cNvPr id="13" name="Table 5">
            <a:extLst>
              <a:ext uri="{FF2B5EF4-FFF2-40B4-BE49-F238E27FC236}">
                <a16:creationId xmlns:a16="http://schemas.microsoft.com/office/drawing/2014/main" id="{4A436AE9-8199-6A45-B47B-7C80D6A381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1235307"/>
              </p:ext>
            </p:extLst>
          </p:nvPr>
        </p:nvGraphicFramePr>
        <p:xfrm>
          <a:off x="2618242" y="2390938"/>
          <a:ext cx="2194560" cy="22067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2337449896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Aft>
                          <a:spcPts val="600"/>
                        </a:spcAft>
                      </a:pPr>
                      <a:r>
                        <a:rPr lang="en-US" sz="20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eading 2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3435947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1012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32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Date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036049"/>
                  </a:ext>
                </a:extLst>
              </a:tr>
            </a:tbl>
          </a:graphicData>
        </a:graphic>
      </p:graphicFrame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D35FEFCE-5C96-C042-A157-1C0C73B2CE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0732385"/>
              </p:ext>
            </p:extLst>
          </p:nvPr>
        </p:nvGraphicFramePr>
        <p:xfrm>
          <a:off x="4975202" y="2390938"/>
          <a:ext cx="2194560" cy="22067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2337449896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Aft>
                          <a:spcPts val="600"/>
                        </a:spcAft>
                      </a:pPr>
                      <a:r>
                        <a:rPr lang="en-US" sz="20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eading 3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3435947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1012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32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Date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036049"/>
                  </a:ext>
                </a:extLst>
              </a:tr>
            </a:tbl>
          </a:graphicData>
        </a:graphic>
      </p:graphicFrame>
      <p:graphicFrame>
        <p:nvGraphicFramePr>
          <p:cNvPr id="15" name="Table 5">
            <a:extLst>
              <a:ext uri="{FF2B5EF4-FFF2-40B4-BE49-F238E27FC236}">
                <a16:creationId xmlns:a16="http://schemas.microsoft.com/office/drawing/2014/main" id="{9B4560C3-6777-C147-AEF9-00A18AE732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9723743"/>
              </p:ext>
            </p:extLst>
          </p:nvPr>
        </p:nvGraphicFramePr>
        <p:xfrm>
          <a:off x="7332162" y="2390938"/>
          <a:ext cx="2194560" cy="22067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2337449896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Aft>
                          <a:spcPts val="600"/>
                        </a:spcAft>
                      </a:pPr>
                      <a:r>
                        <a:rPr lang="en-US" sz="20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eading 4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3435947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1012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32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Date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036049"/>
                  </a:ext>
                </a:extLst>
              </a:tr>
            </a:tbl>
          </a:graphicData>
        </a:graphic>
      </p:graphicFrame>
      <p:graphicFrame>
        <p:nvGraphicFramePr>
          <p:cNvPr id="16" name="Table 5">
            <a:extLst>
              <a:ext uri="{FF2B5EF4-FFF2-40B4-BE49-F238E27FC236}">
                <a16:creationId xmlns:a16="http://schemas.microsoft.com/office/drawing/2014/main" id="{61D1251D-9822-6D49-946D-3EFB507DD0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1454247"/>
              </p:ext>
            </p:extLst>
          </p:nvPr>
        </p:nvGraphicFramePr>
        <p:xfrm>
          <a:off x="9689122" y="2390938"/>
          <a:ext cx="2194560" cy="22067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2337449896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Aft>
                          <a:spcPts val="600"/>
                        </a:spcAft>
                      </a:pPr>
                      <a:r>
                        <a:rPr lang="en-US" sz="20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eading 5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3435947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1012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217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32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Date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0360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112317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0CB875-FA04-3242-A864-ED5E6C0479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7F88DEA-8F7E-754A-9349-A7ADEE156E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56</a:t>
            </a:fld>
            <a:endParaRPr lang="en-US" dirty="0"/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26FD061D-0B56-AF43-AA4E-072102E6E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55AE90B-8B42-6E49-9907-E91FF628A8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2F739474-AE04-2841-99DB-0CAAF2ED18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2CE10990-C8AD-A943-8E21-970841E0BBB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0EB4EDF8-4FFE-CD46-A757-D3E2B0D1BE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EEAE2525-1B7A-A64A-8EEB-F864B3AE5F1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25CB91C6-821A-F543-AFE0-7DF9BD1FE37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DDC0BA9E-E744-8D42-8422-2A0ABAD5ED0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3B25EB88-E161-764E-96F0-2B047657FDB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E25DC0F0-A00D-DF4F-9FEC-0435A1AF3B3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CA008DA1-0F67-D64F-8D68-0CB3FFFD50D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A618E784-0E52-C041-85F9-652DA24CC42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3C7E7034-B766-0F44-BAC2-76A217985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CE65BF03-D5C3-604B-8153-818BC993AB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B456FE6-D3EC-9348-8ED3-CD569A8B3CC2}"/>
              </a:ext>
            </a:extLst>
          </p:cNvPr>
          <p:cNvSpPr txBox="1"/>
          <p:nvPr/>
        </p:nvSpPr>
        <p:spPr>
          <a:xfrm>
            <a:off x="915012" y="1635421"/>
            <a:ext cx="10361976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  <a:cs typeface="Arial"/>
              </a:rPr>
              <a:t>Add description</a:t>
            </a:r>
            <a:endParaRPr lang="en-US" sz="1600" dirty="0">
              <a:solidFill>
                <a:schemeClr val="tx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57054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E9653DA-85BE-8646-B4C6-24F0BDEFF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200BDE-C6EC-FE4E-9B03-9E9352E298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0789F1-7575-A348-8AAC-E089FE9310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57</a:t>
            </a:fld>
            <a:endParaRPr lang="en-US" dirty="0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53C3CA14-FCDD-3340-91EB-DB70E104BE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2F7A3A13-09C3-5841-8A12-ED846051DA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Content Placeholder 36">
            <a:extLst>
              <a:ext uri="{FF2B5EF4-FFF2-40B4-BE49-F238E27FC236}">
                <a16:creationId xmlns:a16="http://schemas.microsoft.com/office/drawing/2014/main" id="{940CD7E8-67FC-7C45-A96E-A9C3A7DBE289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56DA99E-1CCB-8B46-BECC-FA3384D95C2E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91409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E9653DA-85BE-8646-B4C6-24F0BDEFF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200BDE-C6EC-FE4E-9B03-9E9352E298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0789F1-7575-A348-8AAC-E089FE9310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58</a:t>
            </a:fld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5684B0A-C36A-9C4A-A304-1E9AB0653C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7674615-0F23-0841-B1AC-7E0B960766E3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5B16AA8-F1FA-A746-B490-8CE344E6BC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AA607F51-8F99-3A48-B91B-8B6D7360F6FC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F99774F-7ABA-D84D-A983-E87422CD981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C654D947-2382-BC4B-AF9F-4B020B0E09B2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16550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C2F08671-A906-4D49-916A-094E55864B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200BDE-C6EC-FE4E-9B03-9E9352E298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0789F1-7575-A348-8AAC-E089FE9310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59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903B331-713F-AA44-A134-7DB4C2902B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EC5F7D0-FC18-4A44-ACD7-E352F058FEE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C6C29EB5-80C3-4447-8519-661800B42C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622F801-9D0B-DC4D-84DD-771E2A20DB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E93C4D9-ED36-8541-A999-04F84A8E65B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CF26F02-D151-5C4E-B61F-C33FB3DCEB7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A23C784-C3DF-7244-BD11-630C47549DA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A5468F1-A34D-0E47-BBEA-C2B170DDCD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6788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15D1D96-58CB-4349-95BF-E14A18014C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3D5844F9-61DF-2641-A13B-8D7B727D4E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8226368-54D7-144E-8220-9E1C64AE9D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41039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5" name="Shape 2525"/>
          <p:cNvSpPr/>
          <p:nvPr/>
        </p:nvSpPr>
        <p:spPr>
          <a:xfrm>
            <a:off x="880859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26" name="Shape 2526"/>
          <p:cNvSpPr/>
          <p:nvPr/>
        </p:nvSpPr>
        <p:spPr>
          <a:xfrm>
            <a:off x="1414120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4236" y="16752"/>
                </a:moveTo>
                <a:cubicBezTo>
                  <a:pt x="14001" y="16887"/>
                  <a:pt x="13921" y="17188"/>
                  <a:pt x="14057" y="17422"/>
                </a:cubicBezTo>
                <a:cubicBezTo>
                  <a:pt x="14192" y="17658"/>
                  <a:pt x="14493" y="17738"/>
                  <a:pt x="14727" y="17602"/>
                </a:cubicBezTo>
                <a:cubicBezTo>
                  <a:pt x="14962" y="17467"/>
                  <a:pt x="15042" y="17167"/>
                  <a:pt x="14907" y="16932"/>
                </a:cubicBezTo>
                <a:cubicBezTo>
                  <a:pt x="14771" y="16697"/>
                  <a:pt x="14472" y="16617"/>
                  <a:pt x="14236" y="16752"/>
                </a:cubicBezTo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5218" y="10309"/>
                </a:moveTo>
                <a:lnTo>
                  <a:pt x="12694" y="10309"/>
                </a:lnTo>
                <a:cubicBezTo>
                  <a:pt x="12515" y="9624"/>
                  <a:pt x="11978" y="9084"/>
                  <a:pt x="11291" y="8906"/>
                </a:cubicBezTo>
                <a:lnTo>
                  <a:pt x="11291" y="3436"/>
                </a:lnTo>
                <a:cubicBezTo>
                  <a:pt x="11291" y="3166"/>
                  <a:pt x="11071" y="2945"/>
                  <a:pt x="10800" y="2945"/>
                </a:cubicBezTo>
                <a:cubicBezTo>
                  <a:pt x="10529" y="2945"/>
                  <a:pt x="10309" y="3166"/>
                  <a:pt x="10309" y="3436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5218" y="11291"/>
                </a:lnTo>
                <a:cubicBezTo>
                  <a:pt x="15489" y="11291"/>
                  <a:pt x="15709" y="11072"/>
                  <a:pt x="15709" y="10800"/>
                </a:cubicBezTo>
                <a:cubicBezTo>
                  <a:pt x="15709" y="10529"/>
                  <a:pt x="15489" y="10309"/>
                  <a:pt x="15218" y="10309"/>
                </a:cubicBezTo>
                <a:moveTo>
                  <a:pt x="16932" y="6693"/>
                </a:moveTo>
                <a:cubicBezTo>
                  <a:pt x="16697" y="6829"/>
                  <a:pt x="16616" y="7129"/>
                  <a:pt x="16752" y="7364"/>
                </a:cubicBezTo>
                <a:cubicBezTo>
                  <a:pt x="16887" y="7599"/>
                  <a:pt x="17188" y="7679"/>
                  <a:pt x="17422" y="7543"/>
                </a:cubicBezTo>
                <a:cubicBezTo>
                  <a:pt x="17657" y="7408"/>
                  <a:pt x="17737" y="7108"/>
                  <a:pt x="17602" y="6873"/>
                </a:cubicBezTo>
                <a:cubicBezTo>
                  <a:pt x="17467" y="6638"/>
                  <a:pt x="17166" y="6557"/>
                  <a:pt x="16932" y="6693"/>
                </a:cubicBezTo>
                <a:moveTo>
                  <a:pt x="10800" y="17673"/>
                </a:moveTo>
                <a:cubicBezTo>
                  <a:pt x="10529" y="17673"/>
                  <a:pt x="10309" y="17893"/>
                  <a:pt x="10309" y="18164"/>
                </a:cubicBezTo>
                <a:cubicBezTo>
                  <a:pt x="10309" y="18435"/>
                  <a:pt x="10529" y="18655"/>
                  <a:pt x="10800" y="18655"/>
                </a:cubicBezTo>
                <a:cubicBezTo>
                  <a:pt x="11071" y="18655"/>
                  <a:pt x="11291" y="18435"/>
                  <a:pt x="11291" y="18164"/>
                </a:cubicBezTo>
                <a:cubicBezTo>
                  <a:pt x="11291" y="17893"/>
                  <a:pt x="11071" y="17673"/>
                  <a:pt x="10800" y="17673"/>
                </a:cubicBezTo>
                <a:moveTo>
                  <a:pt x="17422" y="14057"/>
                </a:moveTo>
                <a:cubicBezTo>
                  <a:pt x="17188" y="13921"/>
                  <a:pt x="16887" y="14001"/>
                  <a:pt x="16752" y="14236"/>
                </a:cubicBezTo>
                <a:cubicBezTo>
                  <a:pt x="16616" y="14472"/>
                  <a:pt x="16697" y="14772"/>
                  <a:pt x="16932" y="14907"/>
                </a:cubicBezTo>
                <a:cubicBezTo>
                  <a:pt x="17166" y="15043"/>
                  <a:pt x="17467" y="14962"/>
                  <a:pt x="17602" y="14727"/>
                </a:cubicBezTo>
                <a:cubicBezTo>
                  <a:pt x="17737" y="14492"/>
                  <a:pt x="17657" y="14192"/>
                  <a:pt x="17422" y="14057"/>
                </a:cubicBezTo>
                <a:moveTo>
                  <a:pt x="4668" y="6693"/>
                </a:moveTo>
                <a:cubicBezTo>
                  <a:pt x="4433" y="6557"/>
                  <a:pt x="4133" y="6638"/>
                  <a:pt x="3998" y="6873"/>
                </a:cubicBezTo>
                <a:cubicBezTo>
                  <a:pt x="3863" y="7108"/>
                  <a:pt x="3942" y="7408"/>
                  <a:pt x="4178" y="7543"/>
                </a:cubicBezTo>
                <a:cubicBezTo>
                  <a:pt x="4412" y="7679"/>
                  <a:pt x="4713" y="7599"/>
                  <a:pt x="4848" y="7364"/>
                </a:cubicBezTo>
                <a:cubicBezTo>
                  <a:pt x="4984" y="7129"/>
                  <a:pt x="4903" y="6829"/>
                  <a:pt x="4668" y="6693"/>
                </a:cubicBezTo>
                <a:moveTo>
                  <a:pt x="14236" y="4848"/>
                </a:moveTo>
                <a:cubicBezTo>
                  <a:pt x="14472" y="4984"/>
                  <a:pt x="14771" y="4903"/>
                  <a:pt x="14907" y="4669"/>
                </a:cubicBezTo>
                <a:cubicBezTo>
                  <a:pt x="15042" y="4434"/>
                  <a:pt x="14962" y="4134"/>
                  <a:pt x="14727" y="3998"/>
                </a:cubicBezTo>
                <a:cubicBezTo>
                  <a:pt x="14493" y="3863"/>
                  <a:pt x="14192" y="3943"/>
                  <a:pt x="14057" y="4178"/>
                </a:cubicBezTo>
                <a:cubicBezTo>
                  <a:pt x="13921" y="4412"/>
                  <a:pt x="14001" y="4713"/>
                  <a:pt x="14236" y="4848"/>
                </a:cubicBezTo>
                <a:moveTo>
                  <a:pt x="3436" y="10309"/>
                </a:moveTo>
                <a:cubicBezTo>
                  <a:pt x="3166" y="10309"/>
                  <a:pt x="2945" y="10529"/>
                  <a:pt x="2945" y="10800"/>
                </a:cubicBezTo>
                <a:cubicBezTo>
                  <a:pt x="2945" y="11072"/>
                  <a:pt x="3166" y="11291"/>
                  <a:pt x="3436" y="11291"/>
                </a:cubicBezTo>
                <a:cubicBezTo>
                  <a:pt x="3707" y="11291"/>
                  <a:pt x="3927" y="11072"/>
                  <a:pt x="3927" y="10800"/>
                </a:cubicBezTo>
                <a:cubicBezTo>
                  <a:pt x="3927" y="10529"/>
                  <a:pt x="3707" y="10309"/>
                  <a:pt x="3436" y="10309"/>
                </a:cubicBezTo>
                <a:moveTo>
                  <a:pt x="6873" y="3998"/>
                </a:moveTo>
                <a:cubicBezTo>
                  <a:pt x="6638" y="4134"/>
                  <a:pt x="6558" y="4434"/>
                  <a:pt x="6693" y="4669"/>
                </a:cubicBezTo>
                <a:cubicBezTo>
                  <a:pt x="6829" y="4903"/>
                  <a:pt x="7129" y="4984"/>
                  <a:pt x="7364" y="4848"/>
                </a:cubicBezTo>
                <a:cubicBezTo>
                  <a:pt x="7599" y="4713"/>
                  <a:pt x="7679" y="4412"/>
                  <a:pt x="7543" y="4178"/>
                </a:cubicBezTo>
                <a:cubicBezTo>
                  <a:pt x="7408" y="3943"/>
                  <a:pt x="7108" y="3863"/>
                  <a:pt x="6873" y="3998"/>
                </a:cubicBezTo>
                <a:moveTo>
                  <a:pt x="4178" y="14057"/>
                </a:moveTo>
                <a:cubicBezTo>
                  <a:pt x="3942" y="14192"/>
                  <a:pt x="3863" y="14492"/>
                  <a:pt x="3998" y="14727"/>
                </a:cubicBezTo>
                <a:cubicBezTo>
                  <a:pt x="4133" y="14962"/>
                  <a:pt x="4433" y="15043"/>
                  <a:pt x="4668" y="14907"/>
                </a:cubicBezTo>
                <a:cubicBezTo>
                  <a:pt x="4903" y="14772"/>
                  <a:pt x="4984" y="14472"/>
                  <a:pt x="4848" y="14236"/>
                </a:cubicBezTo>
                <a:cubicBezTo>
                  <a:pt x="4713" y="14001"/>
                  <a:pt x="4412" y="13921"/>
                  <a:pt x="4178" y="14057"/>
                </a:cubicBezTo>
                <a:moveTo>
                  <a:pt x="7364" y="16752"/>
                </a:moveTo>
                <a:cubicBezTo>
                  <a:pt x="7129" y="16617"/>
                  <a:pt x="6829" y="16697"/>
                  <a:pt x="6693" y="16932"/>
                </a:cubicBezTo>
                <a:cubicBezTo>
                  <a:pt x="6558" y="17167"/>
                  <a:pt x="6638" y="17467"/>
                  <a:pt x="6873" y="17602"/>
                </a:cubicBezTo>
                <a:cubicBezTo>
                  <a:pt x="7108" y="17738"/>
                  <a:pt x="7408" y="17658"/>
                  <a:pt x="7543" y="17422"/>
                </a:cubicBezTo>
                <a:cubicBezTo>
                  <a:pt x="7679" y="17188"/>
                  <a:pt x="7599" y="16887"/>
                  <a:pt x="7364" y="16752"/>
                </a:cubicBezTo>
                <a:moveTo>
                  <a:pt x="18164" y="10309"/>
                </a:moveTo>
                <a:cubicBezTo>
                  <a:pt x="17893" y="10309"/>
                  <a:pt x="17673" y="10529"/>
                  <a:pt x="17673" y="10800"/>
                </a:cubicBezTo>
                <a:cubicBezTo>
                  <a:pt x="17673" y="11072"/>
                  <a:pt x="17893" y="11291"/>
                  <a:pt x="18164" y="11291"/>
                </a:cubicBezTo>
                <a:cubicBezTo>
                  <a:pt x="18434" y="11291"/>
                  <a:pt x="18655" y="11072"/>
                  <a:pt x="18655" y="10800"/>
                </a:cubicBezTo>
                <a:cubicBezTo>
                  <a:pt x="18655" y="10529"/>
                  <a:pt x="18434" y="10309"/>
                  <a:pt x="18164" y="10309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27" name="Shape 2527"/>
          <p:cNvSpPr/>
          <p:nvPr/>
        </p:nvSpPr>
        <p:spPr>
          <a:xfrm>
            <a:off x="1947381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4236" y="10309"/>
                </a:moveTo>
                <a:lnTo>
                  <a:pt x="12694" y="10309"/>
                </a:lnTo>
                <a:cubicBezTo>
                  <a:pt x="12516" y="9622"/>
                  <a:pt x="11979" y="9084"/>
                  <a:pt x="11291" y="8906"/>
                </a:cubicBez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4236" y="11291"/>
                </a:lnTo>
                <a:cubicBezTo>
                  <a:pt x="14507" y="11291"/>
                  <a:pt x="14727" y="11072"/>
                  <a:pt x="14727" y="10800"/>
                </a:cubicBezTo>
                <a:cubicBezTo>
                  <a:pt x="14727" y="10529"/>
                  <a:pt x="14507" y="10309"/>
                  <a:pt x="14236" y="103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8655"/>
                </a:moveTo>
                <a:cubicBezTo>
                  <a:pt x="6462" y="18655"/>
                  <a:pt x="2945" y="15138"/>
                  <a:pt x="2945" y="10800"/>
                </a:cubicBezTo>
                <a:cubicBezTo>
                  <a:pt x="2945" y="6462"/>
                  <a:pt x="6462" y="2945"/>
                  <a:pt x="10800" y="2945"/>
                </a:cubicBezTo>
                <a:cubicBezTo>
                  <a:pt x="15138" y="2945"/>
                  <a:pt x="18655" y="6462"/>
                  <a:pt x="18655" y="10800"/>
                </a:cubicBezTo>
                <a:cubicBezTo>
                  <a:pt x="18655" y="15138"/>
                  <a:pt x="15138" y="18655"/>
                  <a:pt x="10800" y="18655"/>
                </a:cubicBezTo>
                <a:moveTo>
                  <a:pt x="10800" y="1964"/>
                </a:moveTo>
                <a:cubicBezTo>
                  <a:pt x="5920" y="1964"/>
                  <a:pt x="1964" y="5920"/>
                  <a:pt x="1964" y="10800"/>
                </a:cubicBezTo>
                <a:cubicBezTo>
                  <a:pt x="1964" y="15680"/>
                  <a:pt x="5920" y="19636"/>
                  <a:pt x="10800" y="19636"/>
                </a:cubicBezTo>
                <a:cubicBezTo>
                  <a:pt x="15680" y="19636"/>
                  <a:pt x="19636" y="15680"/>
                  <a:pt x="19636" y="10800"/>
                </a:cubicBezTo>
                <a:cubicBezTo>
                  <a:pt x="19636" y="5920"/>
                  <a:pt x="15680" y="1964"/>
                  <a:pt x="10800" y="1964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28" name="Shape 2528"/>
          <p:cNvSpPr/>
          <p:nvPr/>
        </p:nvSpPr>
        <p:spPr>
          <a:xfrm>
            <a:off x="2518732" y="1426542"/>
            <a:ext cx="20314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8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8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4050" y="5891"/>
                </a:move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4050" y="8836"/>
                </a:lnTo>
                <a:cubicBezTo>
                  <a:pt x="4050" y="8836"/>
                  <a:pt x="4050" y="5891"/>
                  <a:pt x="4050" y="5891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  <a:moveTo>
                  <a:pt x="11475" y="15573"/>
                </a:moveTo>
                <a:lnTo>
                  <a:pt x="11475" y="16200"/>
                </a:lnTo>
                <a:cubicBezTo>
                  <a:pt x="11475" y="16472"/>
                  <a:pt x="11172" y="16691"/>
                  <a:pt x="10800" y="16691"/>
                </a:cubicBezTo>
                <a:cubicBezTo>
                  <a:pt x="10428" y="16691"/>
                  <a:pt x="10125" y="16472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6"/>
                  <a:pt x="10055" y="13745"/>
                  <a:pt x="10800" y="13745"/>
                </a:cubicBezTo>
                <a:cubicBezTo>
                  <a:pt x="11545" y="13745"/>
                  <a:pt x="12150" y="14186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7"/>
                  <a:pt x="8798" y="16034"/>
                </a:cubicBezTo>
                <a:cubicBezTo>
                  <a:pt x="8789" y="16089"/>
                  <a:pt x="8775" y="16144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4"/>
                  <a:pt x="12810" y="16089"/>
                  <a:pt x="12802" y="16034"/>
                </a:cubicBezTo>
                <a:cubicBezTo>
                  <a:pt x="13231" y="15686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29" name="Shape 2529"/>
          <p:cNvSpPr/>
          <p:nvPr/>
        </p:nvSpPr>
        <p:spPr>
          <a:xfrm>
            <a:off x="3051993" y="1426542"/>
            <a:ext cx="20314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475" y="15573"/>
                </a:moveTo>
                <a:lnTo>
                  <a:pt x="11475" y="16200"/>
                </a:lnTo>
                <a:cubicBezTo>
                  <a:pt x="11475" y="16471"/>
                  <a:pt x="11172" y="16691"/>
                  <a:pt x="10800" y="16691"/>
                </a:cubicBezTo>
                <a:cubicBezTo>
                  <a:pt x="10428" y="16691"/>
                  <a:pt x="10125" y="16471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5"/>
                  <a:pt x="10055" y="13745"/>
                  <a:pt x="10800" y="13745"/>
                </a:cubicBezTo>
                <a:cubicBezTo>
                  <a:pt x="11545" y="13745"/>
                  <a:pt x="12150" y="14185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6"/>
                  <a:pt x="8798" y="16034"/>
                </a:cubicBezTo>
                <a:cubicBezTo>
                  <a:pt x="8789" y="16089"/>
                  <a:pt x="8775" y="16143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3"/>
                  <a:pt x="12810" y="16089"/>
                  <a:pt x="12802" y="16034"/>
                </a:cubicBezTo>
                <a:cubicBezTo>
                  <a:pt x="13231" y="15687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9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cubicBezTo>
                  <a:pt x="2700" y="6162"/>
                  <a:pt x="3003" y="6382"/>
                  <a:pt x="3375" y="6382"/>
                </a:cubicBezTo>
                <a:cubicBezTo>
                  <a:pt x="3747" y="6382"/>
                  <a:pt x="4050" y="6162"/>
                  <a:pt x="4050" y="5891"/>
                </a:cubicBez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30" name="Shape 2530"/>
          <p:cNvSpPr/>
          <p:nvPr/>
        </p:nvSpPr>
        <p:spPr>
          <a:xfrm>
            <a:off x="3572557" y="1426542"/>
            <a:ext cx="228541" cy="2793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6000" y="20617"/>
                </a:lnTo>
                <a:lnTo>
                  <a:pt x="6000" y="982"/>
                </a:lnTo>
                <a:lnTo>
                  <a:pt x="13200" y="982"/>
                </a:lnTo>
                <a:lnTo>
                  <a:pt x="13200" y="6872"/>
                </a:lnTo>
                <a:lnTo>
                  <a:pt x="15600" y="4909"/>
                </a:lnTo>
                <a:lnTo>
                  <a:pt x="18000" y="6872"/>
                </a:lnTo>
                <a:lnTo>
                  <a:pt x="180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4800" y="20617"/>
                </a:move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4800" y="982"/>
                </a:lnTo>
                <a:cubicBezTo>
                  <a:pt x="4800" y="982"/>
                  <a:pt x="4800" y="20617"/>
                  <a:pt x="4800" y="20617"/>
                </a:cubicBezTo>
                <a:close/>
                <a:moveTo>
                  <a:pt x="14400" y="982"/>
                </a:moveTo>
                <a:lnTo>
                  <a:pt x="16800" y="982"/>
                </a:lnTo>
                <a:lnTo>
                  <a:pt x="16800" y="4418"/>
                </a:lnTo>
                <a:lnTo>
                  <a:pt x="15600" y="3436"/>
                </a:lnTo>
                <a:lnTo>
                  <a:pt x="14400" y="4418"/>
                </a:lnTo>
                <a:cubicBezTo>
                  <a:pt x="14400" y="4418"/>
                  <a:pt x="14400" y="982"/>
                  <a:pt x="14400" y="982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31" name="Shape 2531"/>
          <p:cNvSpPr/>
          <p:nvPr/>
        </p:nvSpPr>
        <p:spPr>
          <a:xfrm>
            <a:off x="4105818" y="1426542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7200" y="20618"/>
                </a:lnTo>
                <a:lnTo>
                  <a:pt x="72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6000" y="20618"/>
                </a:moveTo>
                <a:lnTo>
                  <a:pt x="3600" y="20618"/>
                </a:lnTo>
                <a:cubicBezTo>
                  <a:pt x="2937" y="20618"/>
                  <a:pt x="2400" y="20179"/>
                  <a:pt x="2400" y="19636"/>
                </a:cubicBezTo>
                <a:lnTo>
                  <a:pt x="2400" y="18655"/>
                </a:lnTo>
                <a:lnTo>
                  <a:pt x="3000" y="18655"/>
                </a:lnTo>
                <a:cubicBezTo>
                  <a:pt x="3332" y="18655"/>
                  <a:pt x="3600" y="18435"/>
                  <a:pt x="3600" y="18164"/>
                </a:cubicBezTo>
                <a:cubicBezTo>
                  <a:pt x="3600" y="17893"/>
                  <a:pt x="3332" y="17673"/>
                  <a:pt x="3000" y="17673"/>
                </a:cubicBezTo>
                <a:lnTo>
                  <a:pt x="2400" y="17673"/>
                </a:lnTo>
                <a:lnTo>
                  <a:pt x="2400" y="15709"/>
                </a:lnTo>
                <a:lnTo>
                  <a:pt x="3000" y="15709"/>
                </a:lnTo>
                <a:cubicBezTo>
                  <a:pt x="3332" y="15709"/>
                  <a:pt x="3600" y="15490"/>
                  <a:pt x="3600" y="15218"/>
                </a:cubicBezTo>
                <a:cubicBezTo>
                  <a:pt x="3600" y="14947"/>
                  <a:pt x="3332" y="14727"/>
                  <a:pt x="3000" y="14727"/>
                </a:cubicBezTo>
                <a:lnTo>
                  <a:pt x="2400" y="14727"/>
                </a:lnTo>
                <a:lnTo>
                  <a:pt x="2400" y="12764"/>
                </a:lnTo>
                <a:lnTo>
                  <a:pt x="3000" y="12764"/>
                </a:lnTo>
                <a:cubicBezTo>
                  <a:pt x="3332" y="12764"/>
                  <a:pt x="3600" y="12544"/>
                  <a:pt x="3600" y="12273"/>
                </a:cubicBezTo>
                <a:cubicBezTo>
                  <a:pt x="3600" y="12002"/>
                  <a:pt x="3332" y="11782"/>
                  <a:pt x="3000" y="11782"/>
                </a:cubicBezTo>
                <a:lnTo>
                  <a:pt x="2400" y="11782"/>
                </a:lnTo>
                <a:lnTo>
                  <a:pt x="2400" y="9818"/>
                </a:lnTo>
                <a:lnTo>
                  <a:pt x="3000" y="9818"/>
                </a:lnTo>
                <a:cubicBezTo>
                  <a:pt x="3332" y="9818"/>
                  <a:pt x="3600" y="9599"/>
                  <a:pt x="3600" y="9327"/>
                </a:cubicBezTo>
                <a:cubicBezTo>
                  <a:pt x="3600" y="9056"/>
                  <a:pt x="3332" y="8836"/>
                  <a:pt x="3000" y="8836"/>
                </a:cubicBezTo>
                <a:lnTo>
                  <a:pt x="2400" y="8836"/>
                </a:lnTo>
                <a:lnTo>
                  <a:pt x="2400" y="6873"/>
                </a:lnTo>
                <a:lnTo>
                  <a:pt x="3000" y="6873"/>
                </a:lnTo>
                <a:cubicBezTo>
                  <a:pt x="3332" y="6873"/>
                  <a:pt x="3600" y="6653"/>
                  <a:pt x="3600" y="6382"/>
                </a:cubicBezTo>
                <a:cubicBezTo>
                  <a:pt x="3600" y="6111"/>
                  <a:pt x="3332" y="5891"/>
                  <a:pt x="3000" y="5891"/>
                </a:cubicBezTo>
                <a:lnTo>
                  <a:pt x="2400" y="5891"/>
                </a:lnTo>
                <a:lnTo>
                  <a:pt x="2400" y="3927"/>
                </a:lnTo>
                <a:lnTo>
                  <a:pt x="3000" y="3927"/>
                </a:lnTo>
                <a:cubicBezTo>
                  <a:pt x="3332" y="3927"/>
                  <a:pt x="3600" y="3708"/>
                  <a:pt x="3600" y="3436"/>
                </a:cubicBezTo>
                <a:cubicBezTo>
                  <a:pt x="3600" y="3166"/>
                  <a:pt x="3332" y="2945"/>
                  <a:pt x="3000" y="2945"/>
                </a:cubicBezTo>
                <a:lnTo>
                  <a:pt x="2400" y="2945"/>
                </a:lnTo>
                <a:lnTo>
                  <a:pt x="2400" y="1964"/>
                </a:lnTo>
                <a:cubicBezTo>
                  <a:pt x="2400" y="1422"/>
                  <a:pt x="2937" y="982"/>
                  <a:pt x="3600" y="982"/>
                </a:cubicBezTo>
                <a:lnTo>
                  <a:pt x="6000" y="982"/>
                </a:lnTo>
                <a:cubicBezTo>
                  <a:pt x="6000" y="982"/>
                  <a:pt x="6000" y="20618"/>
                  <a:pt x="6000" y="20618"/>
                </a:cubicBezTo>
                <a:close/>
                <a:moveTo>
                  <a:pt x="19200" y="0"/>
                </a:moveTo>
                <a:lnTo>
                  <a:pt x="3600" y="0"/>
                </a:lnTo>
                <a:cubicBezTo>
                  <a:pt x="2275" y="0"/>
                  <a:pt x="1200" y="879"/>
                  <a:pt x="1200" y="1964"/>
                </a:cubicBezTo>
                <a:lnTo>
                  <a:pt x="1200" y="2945"/>
                </a:lnTo>
                <a:lnTo>
                  <a:pt x="600" y="2945"/>
                </a:lnTo>
                <a:cubicBezTo>
                  <a:pt x="268" y="2945"/>
                  <a:pt x="0" y="3166"/>
                  <a:pt x="0" y="3436"/>
                </a:cubicBezTo>
                <a:cubicBezTo>
                  <a:pt x="0" y="3708"/>
                  <a:pt x="268" y="3927"/>
                  <a:pt x="600" y="3927"/>
                </a:cubicBezTo>
                <a:lnTo>
                  <a:pt x="1200" y="3927"/>
                </a:lnTo>
                <a:lnTo>
                  <a:pt x="1200" y="5891"/>
                </a:lnTo>
                <a:lnTo>
                  <a:pt x="600" y="5891"/>
                </a:lnTo>
                <a:cubicBezTo>
                  <a:pt x="268" y="5891"/>
                  <a:pt x="0" y="6111"/>
                  <a:pt x="0" y="6382"/>
                </a:cubicBezTo>
                <a:cubicBezTo>
                  <a:pt x="0" y="6653"/>
                  <a:pt x="268" y="6873"/>
                  <a:pt x="600" y="6873"/>
                </a:cubicBezTo>
                <a:lnTo>
                  <a:pt x="1200" y="6873"/>
                </a:lnTo>
                <a:lnTo>
                  <a:pt x="1200" y="8836"/>
                </a:lnTo>
                <a:lnTo>
                  <a:pt x="600" y="8836"/>
                </a:lnTo>
                <a:cubicBezTo>
                  <a:pt x="268" y="8836"/>
                  <a:pt x="0" y="9056"/>
                  <a:pt x="0" y="9327"/>
                </a:cubicBezTo>
                <a:cubicBezTo>
                  <a:pt x="0" y="9599"/>
                  <a:pt x="268" y="9818"/>
                  <a:pt x="600" y="9818"/>
                </a:cubicBezTo>
                <a:lnTo>
                  <a:pt x="1200" y="9818"/>
                </a:lnTo>
                <a:lnTo>
                  <a:pt x="1200" y="11782"/>
                </a:lnTo>
                <a:lnTo>
                  <a:pt x="600" y="11782"/>
                </a:lnTo>
                <a:cubicBezTo>
                  <a:pt x="268" y="11782"/>
                  <a:pt x="0" y="12002"/>
                  <a:pt x="0" y="12273"/>
                </a:cubicBezTo>
                <a:cubicBezTo>
                  <a:pt x="0" y="12544"/>
                  <a:pt x="268" y="12764"/>
                  <a:pt x="600" y="12764"/>
                </a:cubicBezTo>
                <a:lnTo>
                  <a:pt x="1200" y="12764"/>
                </a:lnTo>
                <a:lnTo>
                  <a:pt x="1200" y="14727"/>
                </a:lnTo>
                <a:lnTo>
                  <a:pt x="600" y="14727"/>
                </a:lnTo>
                <a:cubicBezTo>
                  <a:pt x="268" y="14727"/>
                  <a:pt x="0" y="14947"/>
                  <a:pt x="0" y="15218"/>
                </a:cubicBezTo>
                <a:cubicBezTo>
                  <a:pt x="0" y="15490"/>
                  <a:pt x="268" y="15709"/>
                  <a:pt x="600" y="15709"/>
                </a:cubicBezTo>
                <a:lnTo>
                  <a:pt x="1200" y="15709"/>
                </a:lnTo>
                <a:lnTo>
                  <a:pt x="1200" y="17673"/>
                </a:lnTo>
                <a:lnTo>
                  <a:pt x="600" y="17673"/>
                </a:lnTo>
                <a:cubicBezTo>
                  <a:pt x="268" y="17673"/>
                  <a:pt x="0" y="17893"/>
                  <a:pt x="0" y="18164"/>
                </a:cubicBezTo>
                <a:cubicBezTo>
                  <a:pt x="0" y="18435"/>
                  <a:pt x="268" y="18655"/>
                  <a:pt x="600" y="18655"/>
                </a:cubicBezTo>
                <a:lnTo>
                  <a:pt x="1200" y="18655"/>
                </a:lnTo>
                <a:lnTo>
                  <a:pt x="1200" y="19636"/>
                </a:lnTo>
                <a:cubicBezTo>
                  <a:pt x="1200" y="20721"/>
                  <a:pt x="2275" y="21600"/>
                  <a:pt x="36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32" name="Shape 2532"/>
          <p:cNvSpPr/>
          <p:nvPr/>
        </p:nvSpPr>
        <p:spPr>
          <a:xfrm>
            <a:off x="4639079" y="1426542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3"/>
                  <a:pt x="14400" y="6873"/>
                </a:cubicBezTo>
                <a:lnTo>
                  <a:pt x="20400" y="6873"/>
                </a:lnTo>
                <a:cubicBezTo>
                  <a:pt x="20400" y="6873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4800" y="8836"/>
                </a:moveTo>
                <a:cubicBezTo>
                  <a:pt x="4800" y="9108"/>
                  <a:pt x="5068" y="9327"/>
                  <a:pt x="5400" y="9327"/>
                </a:cubicBezTo>
                <a:lnTo>
                  <a:pt x="16200" y="9327"/>
                </a:lnTo>
                <a:cubicBezTo>
                  <a:pt x="16532" y="9327"/>
                  <a:pt x="16800" y="9108"/>
                  <a:pt x="16800" y="8836"/>
                </a:cubicBezTo>
                <a:cubicBezTo>
                  <a:pt x="16800" y="8566"/>
                  <a:pt x="16532" y="8345"/>
                  <a:pt x="16200" y="8345"/>
                </a:cubicBezTo>
                <a:lnTo>
                  <a:pt x="5400" y="8345"/>
                </a:lnTo>
                <a:cubicBezTo>
                  <a:pt x="5068" y="8345"/>
                  <a:pt x="4800" y="8566"/>
                  <a:pt x="4800" y="8836"/>
                </a:cubicBezTo>
                <a:moveTo>
                  <a:pt x="16200" y="12273"/>
                </a:moveTo>
                <a:lnTo>
                  <a:pt x="5400" y="12273"/>
                </a:lnTo>
                <a:cubicBezTo>
                  <a:pt x="5068" y="12273"/>
                  <a:pt x="4800" y="12493"/>
                  <a:pt x="4800" y="12764"/>
                </a:cubicBezTo>
                <a:cubicBezTo>
                  <a:pt x="4800" y="13035"/>
                  <a:pt x="5068" y="13255"/>
                  <a:pt x="5400" y="13255"/>
                </a:cubicBezTo>
                <a:lnTo>
                  <a:pt x="16200" y="13255"/>
                </a:lnTo>
                <a:cubicBezTo>
                  <a:pt x="16532" y="13255"/>
                  <a:pt x="16800" y="13035"/>
                  <a:pt x="16800" y="12764"/>
                </a:cubicBezTo>
                <a:cubicBezTo>
                  <a:pt x="16800" y="12493"/>
                  <a:pt x="16532" y="12273"/>
                  <a:pt x="16200" y="12273"/>
                </a:cubicBezTo>
                <a:moveTo>
                  <a:pt x="5400" y="5400"/>
                </a:moveTo>
                <a:lnTo>
                  <a:pt x="8400" y="5400"/>
                </a:lnTo>
                <a:cubicBezTo>
                  <a:pt x="8732" y="5400"/>
                  <a:pt x="9000" y="5181"/>
                  <a:pt x="9000" y="4909"/>
                </a:cubicBezTo>
                <a:cubicBezTo>
                  <a:pt x="9000" y="4638"/>
                  <a:pt x="8732" y="4418"/>
                  <a:pt x="8400" y="4418"/>
                </a:cubicBezTo>
                <a:lnTo>
                  <a:pt x="5400" y="4418"/>
                </a:lnTo>
                <a:cubicBezTo>
                  <a:pt x="5068" y="4418"/>
                  <a:pt x="4800" y="4638"/>
                  <a:pt x="4800" y="4909"/>
                </a:cubicBezTo>
                <a:cubicBezTo>
                  <a:pt x="4800" y="5181"/>
                  <a:pt x="5068" y="5400"/>
                  <a:pt x="5400" y="5400"/>
                </a:cubicBezTo>
                <a:moveTo>
                  <a:pt x="12600" y="16200"/>
                </a:moveTo>
                <a:lnTo>
                  <a:pt x="5400" y="16200"/>
                </a:lnTo>
                <a:cubicBezTo>
                  <a:pt x="5068" y="16200"/>
                  <a:pt x="4800" y="16420"/>
                  <a:pt x="4800" y="16691"/>
                </a:cubicBezTo>
                <a:cubicBezTo>
                  <a:pt x="4800" y="16962"/>
                  <a:pt x="5068" y="17182"/>
                  <a:pt x="5400" y="17182"/>
                </a:cubicBezTo>
                <a:lnTo>
                  <a:pt x="12600" y="17182"/>
                </a:lnTo>
                <a:cubicBezTo>
                  <a:pt x="12932" y="17182"/>
                  <a:pt x="13200" y="16962"/>
                  <a:pt x="13200" y="16691"/>
                </a:cubicBezTo>
                <a:cubicBezTo>
                  <a:pt x="13200" y="16420"/>
                  <a:pt x="12932" y="16200"/>
                  <a:pt x="12600" y="162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33" name="Shape 2533"/>
          <p:cNvSpPr/>
          <p:nvPr/>
        </p:nvSpPr>
        <p:spPr>
          <a:xfrm>
            <a:off x="5172341" y="1426542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7"/>
                </a:lnTo>
                <a:lnTo>
                  <a:pt x="13929" y="8836"/>
                </a:lnTo>
                <a:cubicBezTo>
                  <a:pt x="13929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9"/>
                  <a:pt x="13862" y="20618"/>
                  <a:pt x="13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6873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1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9" y="3927"/>
                </a:lnTo>
                <a:cubicBezTo>
                  <a:pt x="19929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8" y="3927"/>
                  <a:pt x="6600" y="3927"/>
                </a:cubicBezTo>
                <a:cubicBezTo>
                  <a:pt x="6932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8" y="15709"/>
                  <a:pt x="16800" y="15929"/>
                  <a:pt x="16800" y="16200"/>
                </a:cubicBezTo>
                <a:cubicBezTo>
                  <a:pt x="16800" y="16472"/>
                  <a:pt x="17068" y="16691"/>
                  <a:pt x="17400" y="16691"/>
                </a:cubicBezTo>
                <a:lnTo>
                  <a:pt x="19200" y="16691"/>
                </a:lnTo>
                <a:cubicBezTo>
                  <a:pt x="20525" y="16691"/>
                  <a:pt x="21600" y="15812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  <a:moveTo>
                  <a:pt x="3600" y="12273"/>
                </a:moveTo>
                <a:cubicBezTo>
                  <a:pt x="3600" y="12544"/>
                  <a:pt x="3868" y="12764"/>
                  <a:pt x="4200" y="12764"/>
                </a:cubicBezTo>
                <a:lnTo>
                  <a:pt x="11400" y="12764"/>
                </a:lnTo>
                <a:cubicBezTo>
                  <a:pt x="11732" y="12764"/>
                  <a:pt x="12000" y="12544"/>
                  <a:pt x="12000" y="12273"/>
                </a:cubicBezTo>
                <a:cubicBezTo>
                  <a:pt x="12000" y="12002"/>
                  <a:pt x="11732" y="11782"/>
                  <a:pt x="11400" y="11782"/>
                </a:cubicBezTo>
                <a:lnTo>
                  <a:pt x="4200" y="11782"/>
                </a:lnTo>
                <a:cubicBezTo>
                  <a:pt x="3868" y="11782"/>
                  <a:pt x="3600" y="12002"/>
                  <a:pt x="3600" y="12273"/>
                </a:cubicBezTo>
                <a:moveTo>
                  <a:pt x="4200" y="9818"/>
                </a:moveTo>
                <a:lnTo>
                  <a:pt x="6600" y="9818"/>
                </a:lnTo>
                <a:cubicBezTo>
                  <a:pt x="6932" y="9818"/>
                  <a:pt x="7200" y="9599"/>
                  <a:pt x="7200" y="9327"/>
                </a:cubicBezTo>
                <a:cubicBezTo>
                  <a:pt x="7200" y="9056"/>
                  <a:pt x="6932" y="8836"/>
                  <a:pt x="66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9000" y="17673"/>
                </a:moveTo>
                <a:lnTo>
                  <a:pt x="4200" y="17673"/>
                </a:lnTo>
                <a:cubicBezTo>
                  <a:pt x="3868" y="17673"/>
                  <a:pt x="3600" y="17893"/>
                  <a:pt x="3600" y="18164"/>
                </a:cubicBezTo>
                <a:cubicBezTo>
                  <a:pt x="3600" y="18435"/>
                  <a:pt x="3868" y="18655"/>
                  <a:pt x="4200" y="18655"/>
                </a:cubicBezTo>
                <a:lnTo>
                  <a:pt x="9000" y="18655"/>
                </a:lnTo>
                <a:cubicBezTo>
                  <a:pt x="9332" y="18655"/>
                  <a:pt x="9600" y="18435"/>
                  <a:pt x="9600" y="18164"/>
                </a:cubicBezTo>
                <a:cubicBezTo>
                  <a:pt x="9600" y="17893"/>
                  <a:pt x="9332" y="17673"/>
                  <a:pt x="9000" y="17673"/>
                </a:cubicBezTo>
                <a:moveTo>
                  <a:pt x="11400" y="14727"/>
                </a:moveTo>
                <a:lnTo>
                  <a:pt x="4200" y="14727"/>
                </a:lnTo>
                <a:cubicBezTo>
                  <a:pt x="3868" y="14727"/>
                  <a:pt x="3600" y="14947"/>
                  <a:pt x="3600" y="15218"/>
                </a:cubicBezTo>
                <a:cubicBezTo>
                  <a:pt x="3600" y="15490"/>
                  <a:pt x="3868" y="15709"/>
                  <a:pt x="4200" y="15709"/>
                </a:cubicBezTo>
                <a:lnTo>
                  <a:pt x="11400" y="15709"/>
                </a:lnTo>
                <a:cubicBezTo>
                  <a:pt x="11732" y="15709"/>
                  <a:pt x="12000" y="15490"/>
                  <a:pt x="12000" y="15218"/>
                </a:cubicBezTo>
                <a:cubicBezTo>
                  <a:pt x="12000" y="14947"/>
                  <a:pt x="11732" y="14727"/>
                  <a:pt x="11400" y="14727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34" name="Shape 2534"/>
          <p:cNvSpPr/>
          <p:nvPr/>
        </p:nvSpPr>
        <p:spPr>
          <a:xfrm>
            <a:off x="5705602" y="1426542"/>
            <a:ext cx="228541" cy="2793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35" name="Shape 2535"/>
          <p:cNvSpPr/>
          <p:nvPr/>
        </p:nvSpPr>
        <p:spPr>
          <a:xfrm>
            <a:off x="906252" y="1959803"/>
            <a:ext cx="228541" cy="2793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6"/>
                </a:lnTo>
                <a:lnTo>
                  <a:pt x="13928" y="8836"/>
                </a:lnTo>
                <a:cubicBezTo>
                  <a:pt x="13928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8"/>
                  <a:pt x="13862" y="20617"/>
                  <a:pt x="13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6872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2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0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8" y="3927"/>
                </a:lnTo>
                <a:cubicBezTo>
                  <a:pt x="19928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9" y="3927"/>
                  <a:pt x="6600" y="3927"/>
                </a:cubicBezTo>
                <a:cubicBezTo>
                  <a:pt x="6931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9" y="15709"/>
                  <a:pt x="16800" y="15929"/>
                  <a:pt x="16800" y="16199"/>
                </a:cubicBezTo>
                <a:cubicBezTo>
                  <a:pt x="16800" y="16471"/>
                  <a:pt x="17069" y="16690"/>
                  <a:pt x="17400" y="16690"/>
                </a:cubicBezTo>
                <a:lnTo>
                  <a:pt x="19200" y="16690"/>
                </a:lnTo>
                <a:cubicBezTo>
                  <a:pt x="20525" y="16690"/>
                  <a:pt x="21600" y="15811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36" name="Shape 2536"/>
          <p:cNvSpPr/>
          <p:nvPr/>
        </p:nvSpPr>
        <p:spPr>
          <a:xfrm>
            <a:off x="1414120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18" y="11782"/>
                </a:moveTo>
                <a:lnTo>
                  <a:pt x="14236" y="11782"/>
                </a:lnTo>
                <a:cubicBezTo>
                  <a:pt x="14507" y="11782"/>
                  <a:pt x="14727" y="11562"/>
                  <a:pt x="14727" y="11291"/>
                </a:cubicBezTo>
                <a:cubicBezTo>
                  <a:pt x="14727" y="11020"/>
                  <a:pt x="14507" y="10800"/>
                  <a:pt x="14236" y="10800"/>
                </a:cubicBezTo>
                <a:lnTo>
                  <a:pt x="4418" y="10800"/>
                </a:lnTo>
                <a:cubicBezTo>
                  <a:pt x="4147" y="10800"/>
                  <a:pt x="3927" y="11020"/>
                  <a:pt x="3927" y="11291"/>
                </a:cubicBezTo>
                <a:cubicBezTo>
                  <a:pt x="3927" y="11562"/>
                  <a:pt x="4147" y="11782"/>
                  <a:pt x="4418" y="11782"/>
                </a:cubicBezTo>
                <a:moveTo>
                  <a:pt x="20618" y="20618"/>
                </a:moveTo>
                <a:lnTo>
                  <a:pt x="5891" y="20618"/>
                </a:lnTo>
                <a:lnTo>
                  <a:pt x="5891" y="16200"/>
                </a:lnTo>
                <a:cubicBezTo>
                  <a:pt x="5891" y="15929"/>
                  <a:pt x="5671" y="15709"/>
                  <a:pt x="5400" y="15709"/>
                </a:cubicBez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0618"/>
                  <a:pt x="20618" y="20618"/>
                </a:cubicBezTo>
                <a:close/>
                <a:moveTo>
                  <a:pt x="4909" y="20127"/>
                </a:moveTo>
                <a:lnTo>
                  <a:pt x="1473" y="16691"/>
                </a:lnTo>
                <a:lnTo>
                  <a:pt x="4909" y="16691"/>
                </a:lnTo>
                <a:cubicBezTo>
                  <a:pt x="4909" y="16691"/>
                  <a:pt x="4909" y="20127"/>
                  <a:pt x="4909" y="20127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lnTo>
                  <a:pt x="4909" y="21600"/>
                </a:lnTo>
                <a:lnTo>
                  <a:pt x="20618" y="21600"/>
                </a:lnTo>
                <a:cubicBezTo>
                  <a:pt x="21160" y="21600"/>
                  <a:pt x="21600" y="21161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418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4418" y="7855"/>
                </a:lnTo>
                <a:cubicBezTo>
                  <a:pt x="4147" y="7855"/>
                  <a:pt x="3927" y="8075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4418" y="5891"/>
                </a:moveTo>
                <a:lnTo>
                  <a:pt x="10309" y="5891"/>
                </a:lnTo>
                <a:cubicBezTo>
                  <a:pt x="10580" y="5891"/>
                  <a:pt x="10800" y="5672"/>
                  <a:pt x="10800" y="5400"/>
                </a:cubicBezTo>
                <a:cubicBezTo>
                  <a:pt x="10800" y="5129"/>
                  <a:pt x="10580" y="4909"/>
                  <a:pt x="10309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cubicBezTo>
                  <a:pt x="3927" y="5672"/>
                  <a:pt x="4147" y="5891"/>
                  <a:pt x="4418" y="5891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37" name="Shape 2537"/>
          <p:cNvSpPr/>
          <p:nvPr/>
        </p:nvSpPr>
        <p:spPr>
          <a:xfrm>
            <a:off x="1972774" y="1959803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3600" y="13745"/>
                </a:lnTo>
                <a:cubicBezTo>
                  <a:pt x="3269" y="13745"/>
                  <a:pt x="3000" y="13966"/>
                  <a:pt x="3000" y="14236"/>
                </a:cubicBezTo>
                <a:cubicBezTo>
                  <a:pt x="3000" y="14508"/>
                  <a:pt x="3269" y="14727"/>
                  <a:pt x="3600" y="14727"/>
                </a:cubicBezTo>
                <a:lnTo>
                  <a:pt x="14400" y="14727"/>
                </a:lnTo>
                <a:cubicBezTo>
                  <a:pt x="14731" y="14727"/>
                  <a:pt x="15000" y="14508"/>
                  <a:pt x="15000" y="14236"/>
                </a:cubicBezTo>
                <a:cubicBezTo>
                  <a:pt x="15000" y="13966"/>
                  <a:pt x="14731" y="13745"/>
                  <a:pt x="14400" y="13745"/>
                </a:cubicBezTo>
                <a:moveTo>
                  <a:pt x="3000" y="11291"/>
                </a:moveTo>
                <a:cubicBezTo>
                  <a:pt x="3000" y="11562"/>
                  <a:pt x="3269" y="11782"/>
                  <a:pt x="3600" y="11782"/>
                </a:cubicBezTo>
                <a:lnTo>
                  <a:pt x="18000" y="11782"/>
                </a:lnTo>
                <a:cubicBezTo>
                  <a:pt x="18331" y="11782"/>
                  <a:pt x="18600" y="11562"/>
                  <a:pt x="18600" y="11291"/>
                </a:cubicBezTo>
                <a:cubicBezTo>
                  <a:pt x="18600" y="11020"/>
                  <a:pt x="18331" y="10800"/>
                  <a:pt x="18000" y="10800"/>
                </a:cubicBezTo>
                <a:lnTo>
                  <a:pt x="3600" y="10800"/>
                </a:lnTo>
                <a:cubicBezTo>
                  <a:pt x="3269" y="10800"/>
                  <a:pt x="3000" y="11020"/>
                  <a:pt x="3000" y="11291"/>
                </a:cubicBezTo>
                <a:moveTo>
                  <a:pt x="20400" y="20618"/>
                </a:moveTo>
                <a:lnTo>
                  <a:pt x="6600" y="20618"/>
                </a:lnTo>
                <a:lnTo>
                  <a:pt x="1200" y="16200"/>
                </a:lnTo>
                <a:lnTo>
                  <a:pt x="1200" y="2945"/>
                </a:lnTo>
                <a:lnTo>
                  <a:pt x="4200" y="2945"/>
                </a:lnTo>
                <a:lnTo>
                  <a:pt x="4200" y="4418"/>
                </a:lnTo>
                <a:cubicBezTo>
                  <a:pt x="4200" y="4690"/>
                  <a:pt x="4469" y="4909"/>
                  <a:pt x="4800" y="4909"/>
                </a:cubicBezTo>
                <a:cubicBezTo>
                  <a:pt x="5131" y="4909"/>
                  <a:pt x="5400" y="4690"/>
                  <a:pt x="5400" y="4418"/>
                </a:cubicBezTo>
                <a:lnTo>
                  <a:pt x="5400" y="2945"/>
                </a:lnTo>
                <a:lnTo>
                  <a:pt x="6600" y="2945"/>
                </a:lnTo>
                <a:lnTo>
                  <a:pt x="6600" y="4418"/>
                </a:lnTo>
                <a:cubicBezTo>
                  <a:pt x="6600" y="4690"/>
                  <a:pt x="6869" y="4909"/>
                  <a:pt x="7200" y="4909"/>
                </a:cubicBezTo>
                <a:cubicBezTo>
                  <a:pt x="7531" y="4909"/>
                  <a:pt x="7800" y="4690"/>
                  <a:pt x="7800" y="4418"/>
                </a:cubicBezTo>
                <a:lnTo>
                  <a:pt x="7800" y="2945"/>
                </a:lnTo>
                <a:lnTo>
                  <a:pt x="9000" y="2945"/>
                </a:lnTo>
                <a:lnTo>
                  <a:pt x="9000" y="4418"/>
                </a:lnTo>
                <a:cubicBezTo>
                  <a:pt x="9000" y="4690"/>
                  <a:pt x="9269" y="4909"/>
                  <a:pt x="9600" y="4909"/>
                </a:cubicBezTo>
                <a:cubicBezTo>
                  <a:pt x="9931" y="4909"/>
                  <a:pt x="10200" y="4690"/>
                  <a:pt x="10200" y="4418"/>
                </a:cubicBezTo>
                <a:lnTo>
                  <a:pt x="10200" y="2945"/>
                </a:lnTo>
                <a:lnTo>
                  <a:pt x="11400" y="2945"/>
                </a:lnTo>
                <a:lnTo>
                  <a:pt x="11400" y="4418"/>
                </a:lnTo>
                <a:cubicBezTo>
                  <a:pt x="11400" y="4690"/>
                  <a:pt x="11669" y="4909"/>
                  <a:pt x="12000" y="4909"/>
                </a:cubicBezTo>
                <a:cubicBezTo>
                  <a:pt x="12331" y="4909"/>
                  <a:pt x="12600" y="4690"/>
                  <a:pt x="12600" y="4418"/>
                </a:cubicBezTo>
                <a:lnTo>
                  <a:pt x="12600" y="2945"/>
                </a:lnTo>
                <a:lnTo>
                  <a:pt x="13800" y="2945"/>
                </a:lnTo>
                <a:lnTo>
                  <a:pt x="13800" y="4418"/>
                </a:lnTo>
                <a:cubicBezTo>
                  <a:pt x="13800" y="4690"/>
                  <a:pt x="14069" y="4909"/>
                  <a:pt x="14400" y="4909"/>
                </a:cubicBezTo>
                <a:cubicBezTo>
                  <a:pt x="14731" y="4909"/>
                  <a:pt x="15000" y="4690"/>
                  <a:pt x="15000" y="4418"/>
                </a:cubicBezTo>
                <a:lnTo>
                  <a:pt x="15000" y="2945"/>
                </a:lnTo>
                <a:lnTo>
                  <a:pt x="16200" y="2945"/>
                </a:lnTo>
                <a:lnTo>
                  <a:pt x="16200" y="4418"/>
                </a:lnTo>
                <a:cubicBezTo>
                  <a:pt x="16200" y="4690"/>
                  <a:pt x="16469" y="4909"/>
                  <a:pt x="16800" y="4909"/>
                </a:cubicBezTo>
                <a:cubicBezTo>
                  <a:pt x="17131" y="4909"/>
                  <a:pt x="17400" y="4690"/>
                  <a:pt x="17400" y="4418"/>
                </a:cubicBezTo>
                <a:lnTo>
                  <a:pt x="17400" y="2945"/>
                </a:lnTo>
                <a:lnTo>
                  <a:pt x="20400" y="2945"/>
                </a:lnTo>
                <a:cubicBezTo>
                  <a:pt x="20400" y="2945"/>
                  <a:pt x="20400" y="20618"/>
                  <a:pt x="20400" y="20618"/>
                </a:cubicBezTo>
                <a:close/>
                <a:moveTo>
                  <a:pt x="1200" y="20618"/>
                </a:moveTo>
                <a:lnTo>
                  <a:pt x="1200" y="17673"/>
                </a:lnTo>
                <a:lnTo>
                  <a:pt x="4800" y="20618"/>
                </a:lnTo>
                <a:cubicBezTo>
                  <a:pt x="4800" y="20618"/>
                  <a:pt x="1200" y="20618"/>
                  <a:pt x="1200" y="20618"/>
                </a:cubicBezTo>
                <a:close/>
                <a:moveTo>
                  <a:pt x="20400" y="1964"/>
                </a:moveTo>
                <a:lnTo>
                  <a:pt x="17400" y="1964"/>
                </a:lnTo>
                <a:lnTo>
                  <a:pt x="17400" y="491"/>
                </a:lnTo>
                <a:cubicBezTo>
                  <a:pt x="17400" y="220"/>
                  <a:pt x="17131" y="0"/>
                  <a:pt x="16800" y="0"/>
                </a:cubicBezTo>
                <a:cubicBezTo>
                  <a:pt x="16469" y="0"/>
                  <a:pt x="16200" y="220"/>
                  <a:pt x="16200" y="491"/>
                </a:cubicBezTo>
                <a:lnTo>
                  <a:pt x="16200" y="1964"/>
                </a:lnTo>
                <a:lnTo>
                  <a:pt x="15000" y="1964"/>
                </a:lnTo>
                <a:lnTo>
                  <a:pt x="15000" y="491"/>
                </a:lnTo>
                <a:cubicBezTo>
                  <a:pt x="15000" y="220"/>
                  <a:pt x="14731" y="0"/>
                  <a:pt x="14400" y="0"/>
                </a:cubicBezTo>
                <a:cubicBezTo>
                  <a:pt x="14069" y="0"/>
                  <a:pt x="13800" y="220"/>
                  <a:pt x="13800" y="491"/>
                </a:cubicBezTo>
                <a:lnTo>
                  <a:pt x="13800" y="1964"/>
                </a:lnTo>
                <a:lnTo>
                  <a:pt x="12600" y="1964"/>
                </a:lnTo>
                <a:lnTo>
                  <a:pt x="12600" y="491"/>
                </a:lnTo>
                <a:cubicBezTo>
                  <a:pt x="12600" y="220"/>
                  <a:pt x="12331" y="0"/>
                  <a:pt x="12000" y="0"/>
                </a:cubicBezTo>
                <a:cubicBezTo>
                  <a:pt x="11669" y="0"/>
                  <a:pt x="11400" y="220"/>
                  <a:pt x="11400" y="491"/>
                </a:cubicBezTo>
                <a:lnTo>
                  <a:pt x="11400" y="1964"/>
                </a:lnTo>
                <a:lnTo>
                  <a:pt x="10200" y="1964"/>
                </a:lnTo>
                <a:lnTo>
                  <a:pt x="10200" y="491"/>
                </a:lnTo>
                <a:cubicBezTo>
                  <a:pt x="10200" y="220"/>
                  <a:pt x="9931" y="0"/>
                  <a:pt x="9600" y="0"/>
                </a:cubicBezTo>
                <a:cubicBezTo>
                  <a:pt x="9269" y="0"/>
                  <a:pt x="9000" y="220"/>
                  <a:pt x="9000" y="491"/>
                </a:cubicBezTo>
                <a:lnTo>
                  <a:pt x="9000" y="1964"/>
                </a:lnTo>
                <a:lnTo>
                  <a:pt x="7800" y="1964"/>
                </a:lnTo>
                <a:lnTo>
                  <a:pt x="7800" y="491"/>
                </a:lnTo>
                <a:cubicBezTo>
                  <a:pt x="7800" y="220"/>
                  <a:pt x="7531" y="0"/>
                  <a:pt x="7200" y="0"/>
                </a:cubicBezTo>
                <a:cubicBezTo>
                  <a:pt x="6869" y="0"/>
                  <a:pt x="6600" y="220"/>
                  <a:pt x="6600" y="491"/>
                </a:cubicBezTo>
                <a:lnTo>
                  <a:pt x="6600" y="1964"/>
                </a:lnTo>
                <a:lnTo>
                  <a:pt x="5400" y="1964"/>
                </a:lnTo>
                <a:lnTo>
                  <a:pt x="5400" y="491"/>
                </a:lnTo>
                <a:cubicBezTo>
                  <a:pt x="5400" y="220"/>
                  <a:pt x="5131" y="0"/>
                  <a:pt x="4800" y="0"/>
                </a:cubicBezTo>
                <a:cubicBezTo>
                  <a:pt x="4469" y="0"/>
                  <a:pt x="4200" y="220"/>
                  <a:pt x="4200" y="491"/>
                </a:cubicBezTo>
                <a:lnTo>
                  <a:pt x="4200" y="1964"/>
                </a:lnTo>
                <a:lnTo>
                  <a:pt x="1200" y="1964"/>
                </a:lnTo>
                <a:cubicBezTo>
                  <a:pt x="538" y="1964"/>
                  <a:pt x="0" y="2404"/>
                  <a:pt x="0" y="2945"/>
                </a:cubicBezTo>
                <a:lnTo>
                  <a:pt x="0" y="20618"/>
                </a:lnTo>
                <a:cubicBezTo>
                  <a:pt x="0" y="21161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1"/>
                  <a:pt x="21600" y="20618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3600" y="8836"/>
                </a:moveTo>
                <a:lnTo>
                  <a:pt x="10800" y="8836"/>
                </a:lnTo>
                <a:cubicBezTo>
                  <a:pt x="11131" y="8836"/>
                  <a:pt x="11400" y="8617"/>
                  <a:pt x="11400" y="8345"/>
                </a:cubicBezTo>
                <a:cubicBezTo>
                  <a:pt x="11400" y="8075"/>
                  <a:pt x="11131" y="7855"/>
                  <a:pt x="10800" y="7855"/>
                </a:cubicBezTo>
                <a:lnTo>
                  <a:pt x="3600" y="7855"/>
                </a:lnTo>
                <a:cubicBezTo>
                  <a:pt x="3269" y="7855"/>
                  <a:pt x="3000" y="8075"/>
                  <a:pt x="3000" y="8345"/>
                </a:cubicBezTo>
                <a:cubicBezTo>
                  <a:pt x="3000" y="8617"/>
                  <a:pt x="3269" y="8836"/>
                  <a:pt x="3600" y="8836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38" name="Shape 2538"/>
          <p:cNvSpPr/>
          <p:nvPr/>
        </p:nvSpPr>
        <p:spPr>
          <a:xfrm>
            <a:off x="2506035" y="1959803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39" name="Shape 2539"/>
          <p:cNvSpPr/>
          <p:nvPr/>
        </p:nvSpPr>
        <p:spPr>
          <a:xfrm>
            <a:off x="3013903" y="2004242"/>
            <a:ext cx="279328" cy="1904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40" name="Shape 2540"/>
          <p:cNvSpPr/>
          <p:nvPr/>
        </p:nvSpPr>
        <p:spPr>
          <a:xfrm>
            <a:off x="3547164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41" name="Shape 2541"/>
          <p:cNvSpPr/>
          <p:nvPr/>
        </p:nvSpPr>
        <p:spPr>
          <a:xfrm>
            <a:off x="4105818" y="1985197"/>
            <a:ext cx="228541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42" name="Shape 2542"/>
          <p:cNvSpPr/>
          <p:nvPr/>
        </p:nvSpPr>
        <p:spPr>
          <a:xfrm>
            <a:off x="4613686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10309"/>
                </a:moveTo>
                <a:lnTo>
                  <a:pt x="4909" y="10309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10309"/>
                  <a:pt x="16691" y="10309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1291"/>
                </a:lnTo>
                <a:lnTo>
                  <a:pt x="16691" y="11291"/>
                </a:lnTo>
                <a:cubicBezTo>
                  <a:pt x="16691" y="11291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43" name="Shape 2543"/>
          <p:cNvSpPr/>
          <p:nvPr/>
        </p:nvSpPr>
        <p:spPr>
          <a:xfrm>
            <a:off x="5146947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8655"/>
                </a:moveTo>
                <a:lnTo>
                  <a:pt x="14727" y="18655"/>
                </a:lnTo>
                <a:lnTo>
                  <a:pt x="14727" y="19636"/>
                </a:lnTo>
                <a:lnTo>
                  <a:pt x="15709" y="19636"/>
                </a:lnTo>
                <a:cubicBezTo>
                  <a:pt x="15709" y="19636"/>
                  <a:pt x="15709" y="18655"/>
                  <a:pt x="15709" y="18655"/>
                </a:cubicBezTo>
                <a:close/>
                <a:moveTo>
                  <a:pt x="15709" y="14727"/>
                </a:moveTo>
                <a:lnTo>
                  <a:pt x="14727" y="14727"/>
                </a:lnTo>
                <a:lnTo>
                  <a:pt x="14727" y="15709"/>
                </a:lnTo>
                <a:lnTo>
                  <a:pt x="15709" y="15709"/>
                </a:lnTo>
                <a:cubicBezTo>
                  <a:pt x="15709" y="15709"/>
                  <a:pt x="15709" y="14727"/>
                  <a:pt x="15709" y="14727"/>
                </a:cubicBezTo>
                <a:close/>
                <a:moveTo>
                  <a:pt x="14727" y="10800"/>
                </a:moveTo>
                <a:lnTo>
                  <a:pt x="15709" y="10800"/>
                </a:lnTo>
                <a:lnTo>
                  <a:pt x="15709" y="9818"/>
                </a:lnTo>
                <a:lnTo>
                  <a:pt x="14727" y="9818"/>
                </a:lnTo>
                <a:cubicBezTo>
                  <a:pt x="14727" y="9818"/>
                  <a:pt x="14727" y="10800"/>
                  <a:pt x="14727" y="10800"/>
                </a:cubicBezTo>
                <a:close/>
                <a:moveTo>
                  <a:pt x="15709" y="16691"/>
                </a:moveTo>
                <a:lnTo>
                  <a:pt x="14727" y="16691"/>
                </a:lnTo>
                <a:lnTo>
                  <a:pt x="14727" y="17673"/>
                </a:lnTo>
                <a:lnTo>
                  <a:pt x="15709" y="17673"/>
                </a:lnTo>
                <a:cubicBezTo>
                  <a:pt x="15709" y="17673"/>
                  <a:pt x="15709" y="16691"/>
                  <a:pt x="15709" y="16691"/>
                </a:cubicBezTo>
                <a:close/>
                <a:moveTo>
                  <a:pt x="14727" y="8836"/>
                </a:moveTo>
                <a:lnTo>
                  <a:pt x="15709" y="8836"/>
                </a:lnTo>
                <a:lnTo>
                  <a:pt x="15709" y="7855"/>
                </a:lnTo>
                <a:lnTo>
                  <a:pt x="14727" y="7855"/>
                </a:lnTo>
                <a:cubicBezTo>
                  <a:pt x="14727" y="7855"/>
                  <a:pt x="14727" y="8836"/>
                  <a:pt x="14727" y="8836"/>
                </a:cubicBezTo>
                <a:close/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1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7" y="6873"/>
                </a:moveTo>
                <a:lnTo>
                  <a:pt x="15709" y="6873"/>
                </a:lnTo>
                <a:lnTo>
                  <a:pt x="15709" y="5891"/>
                </a:lnTo>
                <a:lnTo>
                  <a:pt x="14727" y="5891"/>
                </a:lnTo>
                <a:cubicBezTo>
                  <a:pt x="14727" y="5891"/>
                  <a:pt x="14727" y="6873"/>
                  <a:pt x="14727" y="6873"/>
                </a:cubicBezTo>
                <a:close/>
                <a:moveTo>
                  <a:pt x="16691" y="12273"/>
                </a:moveTo>
                <a:lnTo>
                  <a:pt x="13745" y="12273"/>
                </a:lnTo>
                <a:lnTo>
                  <a:pt x="13745" y="4909"/>
                </a:ln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2273"/>
                  <a:pt x="16691" y="12273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3745" y="20618"/>
                </a:lnTo>
                <a:lnTo>
                  <a:pt x="13745" y="13255"/>
                </a:lnTo>
                <a:lnTo>
                  <a:pt x="16691" y="13255"/>
                </a:lnTo>
                <a:cubicBezTo>
                  <a:pt x="16691" y="13255"/>
                  <a:pt x="16691" y="19636"/>
                  <a:pt x="16691" y="19636"/>
                </a:cubicBezTo>
                <a:close/>
                <a:moveTo>
                  <a:pt x="12764" y="12273"/>
                </a:moveTo>
                <a:lnTo>
                  <a:pt x="4909" y="12273"/>
                </a:lnTo>
                <a:lnTo>
                  <a:pt x="4909" y="4909"/>
                </a:lnTo>
                <a:lnTo>
                  <a:pt x="12764" y="4909"/>
                </a:lnTo>
                <a:cubicBezTo>
                  <a:pt x="12764" y="4909"/>
                  <a:pt x="12764" y="12273"/>
                  <a:pt x="12764" y="12273"/>
                </a:cubicBezTo>
                <a:close/>
                <a:moveTo>
                  <a:pt x="12764" y="20618"/>
                </a:moveTo>
                <a:lnTo>
                  <a:pt x="4909" y="20618"/>
                </a:lnTo>
                <a:lnTo>
                  <a:pt x="4909" y="13255"/>
                </a:lnTo>
                <a:lnTo>
                  <a:pt x="12764" y="13255"/>
                </a:lnTo>
                <a:cubicBezTo>
                  <a:pt x="12764" y="13255"/>
                  <a:pt x="12764" y="20618"/>
                  <a:pt x="12764" y="20618"/>
                </a:cubicBezTo>
                <a:close/>
                <a:moveTo>
                  <a:pt x="3927" y="12273"/>
                </a:moveTo>
                <a:lnTo>
                  <a:pt x="982" y="12273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3927" y="4909"/>
                </a:lnTo>
                <a:cubicBezTo>
                  <a:pt x="3927" y="4909"/>
                  <a:pt x="3927" y="12273"/>
                  <a:pt x="3927" y="12273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255"/>
                </a:lnTo>
                <a:lnTo>
                  <a:pt x="3927" y="13255"/>
                </a:lnTo>
                <a:cubicBezTo>
                  <a:pt x="3927" y="13255"/>
                  <a:pt x="3927" y="20618"/>
                  <a:pt x="3927" y="20618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1964" y="10800"/>
                </a:moveTo>
                <a:lnTo>
                  <a:pt x="2945" y="10800"/>
                </a:lnTo>
                <a:lnTo>
                  <a:pt x="2945" y="9818"/>
                </a:lnTo>
                <a:lnTo>
                  <a:pt x="1964" y="9818"/>
                </a:lnTo>
                <a:cubicBezTo>
                  <a:pt x="1964" y="9818"/>
                  <a:pt x="1964" y="10800"/>
                  <a:pt x="1964" y="10800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44" name="Shape 2544"/>
          <p:cNvSpPr/>
          <p:nvPr/>
        </p:nvSpPr>
        <p:spPr>
          <a:xfrm>
            <a:off x="5680208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8255"/>
                </a:moveTo>
                <a:lnTo>
                  <a:pt x="12837" y="10800"/>
                </a:lnTo>
                <a:lnTo>
                  <a:pt x="8836" y="13345"/>
                </a:lnTo>
                <a:cubicBezTo>
                  <a:pt x="8836" y="13345"/>
                  <a:pt x="8836" y="8255"/>
                  <a:pt x="8836" y="8255"/>
                </a:cubicBezTo>
                <a:close/>
                <a:moveTo>
                  <a:pt x="8345" y="14727"/>
                </a:moveTo>
                <a:cubicBezTo>
                  <a:pt x="8461" y="14727"/>
                  <a:pt x="8564" y="14681"/>
                  <a:pt x="8647" y="14614"/>
                </a:cubicBezTo>
                <a:lnTo>
                  <a:pt x="8652" y="14620"/>
                </a:lnTo>
                <a:lnTo>
                  <a:pt x="14052" y="11184"/>
                </a:lnTo>
                <a:lnTo>
                  <a:pt x="14047" y="11178"/>
                </a:lnTo>
                <a:cubicBezTo>
                  <a:pt x="14160" y="11088"/>
                  <a:pt x="14236" y="10955"/>
                  <a:pt x="14236" y="10800"/>
                </a:cubicBezTo>
                <a:cubicBezTo>
                  <a:pt x="14236" y="10645"/>
                  <a:pt x="14160" y="10512"/>
                  <a:pt x="14047" y="10422"/>
                </a:cubicBezTo>
                <a:lnTo>
                  <a:pt x="14052" y="10417"/>
                </a:lnTo>
                <a:lnTo>
                  <a:pt x="8652" y="6980"/>
                </a:lnTo>
                <a:lnTo>
                  <a:pt x="8647" y="6986"/>
                </a:lnTo>
                <a:cubicBezTo>
                  <a:pt x="8564" y="6919"/>
                  <a:pt x="8461" y="6873"/>
                  <a:pt x="8345" y="6873"/>
                </a:cubicBezTo>
                <a:cubicBezTo>
                  <a:pt x="8074" y="6873"/>
                  <a:pt x="7855" y="7093"/>
                  <a:pt x="7855" y="7364"/>
                </a:cubicBezTo>
                <a:lnTo>
                  <a:pt x="7855" y="14236"/>
                </a:lnTo>
                <a:cubicBezTo>
                  <a:pt x="7855" y="14507"/>
                  <a:pt x="8074" y="14727"/>
                  <a:pt x="8345" y="14727"/>
                </a:cubicBezTo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45" name="Shape 2545"/>
          <p:cNvSpPr/>
          <p:nvPr/>
        </p:nvSpPr>
        <p:spPr>
          <a:xfrm>
            <a:off x="880859" y="249306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9"/>
                </a:moveTo>
                <a:cubicBezTo>
                  <a:pt x="5377" y="20619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3336" y="982"/>
                  <a:pt x="15638" y="1950"/>
                  <a:pt x="17377" y="3529"/>
                </a:cubicBezTo>
                <a:lnTo>
                  <a:pt x="10453" y="10453"/>
                </a:lnTo>
                <a:cubicBezTo>
                  <a:pt x="10364" y="10542"/>
                  <a:pt x="10309" y="10665"/>
                  <a:pt x="10309" y="10800"/>
                </a:cubicBezTo>
                <a:cubicBezTo>
                  <a:pt x="10309" y="11072"/>
                  <a:pt x="10529" y="11291"/>
                  <a:pt x="10800" y="11291"/>
                </a:cubicBezTo>
                <a:lnTo>
                  <a:pt x="20594" y="11291"/>
                </a:lnTo>
                <a:cubicBezTo>
                  <a:pt x="20336" y="16484"/>
                  <a:pt x="16057" y="20619"/>
                  <a:pt x="10800" y="20619"/>
                </a:cubicBezTo>
                <a:moveTo>
                  <a:pt x="20594" y="10309"/>
                </a:moveTo>
                <a:lnTo>
                  <a:pt x="11985" y="10309"/>
                </a:lnTo>
                <a:lnTo>
                  <a:pt x="18071" y="4223"/>
                </a:lnTo>
                <a:cubicBezTo>
                  <a:pt x="19541" y="5852"/>
                  <a:pt x="20477" y="7971"/>
                  <a:pt x="20594" y="10309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46" name="Shape 2546"/>
          <p:cNvSpPr/>
          <p:nvPr/>
        </p:nvSpPr>
        <p:spPr>
          <a:xfrm>
            <a:off x="1414120" y="2518458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47" name="Shape 2547"/>
          <p:cNvSpPr/>
          <p:nvPr/>
        </p:nvSpPr>
        <p:spPr>
          <a:xfrm>
            <a:off x="1947381" y="249306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48" name="Shape 2548"/>
          <p:cNvSpPr/>
          <p:nvPr/>
        </p:nvSpPr>
        <p:spPr>
          <a:xfrm>
            <a:off x="2480642" y="2600986"/>
            <a:ext cx="279328" cy="634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7280"/>
                </a:moveTo>
                <a:cubicBezTo>
                  <a:pt x="18332" y="17280"/>
                  <a:pt x="17673" y="14380"/>
                  <a:pt x="17673" y="10800"/>
                </a:cubicBezTo>
                <a:cubicBezTo>
                  <a:pt x="17673" y="7224"/>
                  <a:pt x="18332" y="4320"/>
                  <a:pt x="19145" y="4320"/>
                </a:cubicBezTo>
                <a:cubicBezTo>
                  <a:pt x="19959" y="4320"/>
                  <a:pt x="20618" y="7224"/>
                  <a:pt x="20618" y="10800"/>
                </a:cubicBezTo>
                <a:cubicBezTo>
                  <a:pt x="20618" y="14380"/>
                  <a:pt x="19959" y="17280"/>
                  <a:pt x="19145" y="17280"/>
                </a:cubicBezTo>
                <a:moveTo>
                  <a:pt x="19145" y="0"/>
                </a:moveTo>
                <a:cubicBezTo>
                  <a:pt x="17790" y="0"/>
                  <a:pt x="16691" y="4837"/>
                  <a:pt x="16691" y="10800"/>
                </a:cubicBezTo>
                <a:cubicBezTo>
                  <a:pt x="16691" y="16766"/>
                  <a:pt x="17790" y="21600"/>
                  <a:pt x="19145" y="21600"/>
                </a:cubicBezTo>
                <a:cubicBezTo>
                  <a:pt x="20501" y="21600"/>
                  <a:pt x="21600" y="16766"/>
                  <a:pt x="21600" y="10800"/>
                </a:cubicBezTo>
                <a:cubicBezTo>
                  <a:pt x="21600" y="4837"/>
                  <a:pt x="20501" y="0"/>
                  <a:pt x="19145" y="0"/>
                </a:cubicBezTo>
                <a:moveTo>
                  <a:pt x="10800" y="17280"/>
                </a:moveTo>
                <a:cubicBezTo>
                  <a:pt x="9986" y="17280"/>
                  <a:pt x="9327" y="14380"/>
                  <a:pt x="9327" y="10800"/>
                </a:cubicBezTo>
                <a:cubicBezTo>
                  <a:pt x="9327" y="7224"/>
                  <a:pt x="9986" y="4320"/>
                  <a:pt x="10800" y="4320"/>
                </a:cubicBezTo>
                <a:cubicBezTo>
                  <a:pt x="11614" y="4320"/>
                  <a:pt x="12273" y="7224"/>
                  <a:pt x="12273" y="10800"/>
                </a:cubicBezTo>
                <a:cubicBezTo>
                  <a:pt x="12273" y="14380"/>
                  <a:pt x="11614" y="17280"/>
                  <a:pt x="10800" y="17280"/>
                </a:cubicBezTo>
                <a:moveTo>
                  <a:pt x="10800" y="0"/>
                </a:moveTo>
                <a:cubicBezTo>
                  <a:pt x="9444" y="0"/>
                  <a:pt x="8345" y="4837"/>
                  <a:pt x="8345" y="10800"/>
                </a:cubicBezTo>
                <a:cubicBezTo>
                  <a:pt x="8345" y="16766"/>
                  <a:pt x="9444" y="21600"/>
                  <a:pt x="10800" y="21600"/>
                </a:cubicBezTo>
                <a:cubicBezTo>
                  <a:pt x="12156" y="21600"/>
                  <a:pt x="13255" y="16766"/>
                  <a:pt x="13255" y="10800"/>
                </a:cubicBezTo>
                <a:cubicBezTo>
                  <a:pt x="13255" y="4837"/>
                  <a:pt x="12156" y="0"/>
                  <a:pt x="10800" y="0"/>
                </a:cubicBezTo>
                <a:moveTo>
                  <a:pt x="2455" y="17280"/>
                </a:moveTo>
                <a:cubicBezTo>
                  <a:pt x="1641" y="17280"/>
                  <a:pt x="982" y="14380"/>
                  <a:pt x="982" y="10800"/>
                </a:cubicBezTo>
                <a:cubicBezTo>
                  <a:pt x="982" y="7224"/>
                  <a:pt x="1641" y="4320"/>
                  <a:pt x="2455" y="4320"/>
                </a:cubicBezTo>
                <a:cubicBezTo>
                  <a:pt x="3268" y="4320"/>
                  <a:pt x="3927" y="7224"/>
                  <a:pt x="3927" y="10800"/>
                </a:cubicBezTo>
                <a:cubicBezTo>
                  <a:pt x="3927" y="14380"/>
                  <a:pt x="3268" y="17280"/>
                  <a:pt x="2455" y="17280"/>
                </a:cubicBezTo>
                <a:moveTo>
                  <a:pt x="2455" y="0"/>
                </a:moveTo>
                <a:cubicBezTo>
                  <a:pt x="1099" y="0"/>
                  <a:pt x="0" y="4837"/>
                  <a:pt x="0" y="10800"/>
                </a:cubicBezTo>
                <a:cubicBezTo>
                  <a:pt x="0" y="16766"/>
                  <a:pt x="1099" y="21600"/>
                  <a:pt x="2455" y="21600"/>
                </a:cubicBezTo>
                <a:cubicBezTo>
                  <a:pt x="3811" y="21600"/>
                  <a:pt x="4909" y="16766"/>
                  <a:pt x="4909" y="10800"/>
                </a:cubicBezTo>
                <a:cubicBezTo>
                  <a:pt x="4909" y="4837"/>
                  <a:pt x="3811" y="0"/>
                  <a:pt x="2455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49" name="Shape 2549"/>
          <p:cNvSpPr/>
          <p:nvPr/>
        </p:nvSpPr>
        <p:spPr>
          <a:xfrm>
            <a:off x="3013903" y="249306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1291"/>
                </a:moveTo>
                <a:cubicBezTo>
                  <a:pt x="10529" y="11291"/>
                  <a:pt x="10309" y="11072"/>
                  <a:pt x="10309" y="10800"/>
                </a:cubicBezTo>
                <a:cubicBezTo>
                  <a:pt x="10309" y="10529"/>
                  <a:pt x="10529" y="10309"/>
                  <a:pt x="10800" y="10309"/>
                </a:cubicBezTo>
                <a:cubicBezTo>
                  <a:pt x="11071" y="10309"/>
                  <a:pt x="11291" y="10529"/>
                  <a:pt x="11291" y="10800"/>
                </a:cubicBezTo>
                <a:cubicBezTo>
                  <a:pt x="11291" y="11072"/>
                  <a:pt x="11071" y="11291"/>
                  <a:pt x="10800" y="11291"/>
                </a:cubicBezTo>
                <a:moveTo>
                  <a:pt x="10800" y="9327"/>
                </a:moveTo>
                <a:cubicBezTo>
                  <a:pt x="9986" y="9327"/>
                  <a:pt x="9327" y="9987"/>
                  <a:pt x="9327" y="10800"/>
                </a:cubicBezTo>
                <a:cubicBezTo>
                  <a:pt x="9327" y="11614"/>
                  <a:pt x="9986" y="12273"/>
                  <a:pt x="10800" y="12273"/>
                </a:cubicBezTo>
                <a:cubicBezTo>
                  <a:pt x="11614" y="12273"/>
                  <a:pt x="12273" y="11614"/>
                  <a:pt x="12273" y="10800"/>
                </a:cubicBezTo>
                <a:cubicBezTo>
                  <a:pt x="12273" y="9987"/>
                  <a:pt x="11614" y="9327"/>
                  <a:pt x="10800" y="9327"/>
                </a:cubicBezTo>
                <a:moveTo>
                  <a:pt x="5400" y="11291"/>
                </a:moveTo>
                <a:cubicBezTo>
                  <a:pt x="5129" y="11291"/>
                  <a:pt x="4909" y="11072"/>
                  <a:pt x="4909" y="10800"/>
                </a:cubicBezTo>
                <a:cubicBezTo>
                  <a:pt x="4909" y="10529"/>
                  <a:pt x="5129" y="10309"/>
                  <a:pt x="5400" y="10309"/>
                </a:cubicBezTo>
                <a:cubicBezTo>
                  <a:pt x="5671" y="10309"/>
                  <a:pt x="5891" y="10529"/>
                  <a:pt x="5891" y="10800"/>
                </a:cubicBezTo>
                <a:cubicBezTo>
                  <a:pt x="5891" y="11072"/>
                  <a:pt x="5671" y="11291"/>
                  <a:pt x="5400" y="11291"/>
                </a:cubicBezTo>
                <a:moveTo>
                  <a:pt x="5400" y="9327"/>
                </a:moveTo>
                <a:cubicBezTo>
                  <a:pt x="4586" y="9327"/>
                  <a:pt x="3927" y="9987"/>
                  <a:pt x="3927" y="10800"/>
                </a:cubicBezTo>
                <a:cubicBezTo>
                  <a:pt x="3927" y="11614"/>
                  <a:pt x="4586" y="12273"/>
                  <a:pt x="5400" y="12273"/>
                </a:cubicBezTo>
                <a:cubicBezTo>
                  <a:pt x="6214" y="12273"/>
                  <a:pt x="6873" y="11614"/>
                  <a:pt x="6873" y="10800"/>
                </a:cubicBezTo>
                <a:cubicBezTo>
                  <a:pt x="6873" y="9987"/>
                  <a:pt x="6214" y="9327"/>
                  <a:pt x="5400" y="9327"/>
                </a:cubicBezTo>
                <a:moveTo>
                  <a:pt x="16200" y="11291"/>
                </a:moveTo>
                <a:cubicBezTo>
                  <a:pt x="15929" y="11291"/>
                  <a:pt x="15709" y="11072"/>
                  <a:pt x="15709" y="10800"/>
                </a:cubicBezTo>
                <a:cubicBezTo>
                  <a:pt x="15709" y="10529"/>
                  <a:pt x="15929" y="10309"/>
                  <a:pt x="16200" y="10309"/>
                </a:cubicBezTo>
                <a:cubicBezTo>
                  <a:pt x="16471" y="10309"/>
                  <a:pt x="16691" y="10529"/>
                  <a:pt x="16691" y="10800"/>
                </a:cubicBezTo>
                <a:cubicBezTo>
                  <a:pt x="16691" y="11072"/>
                  <a:pt x="16471" y="11291"/>
                  <a:pt x="16200" y="11291"/>
                </a:cubicBezTo>
                <a:moveTo>
                  <a:pt x="16200" y="9327"/>
                </a:moveTo>
                <a:cubicBezTo>
                  <a:pt x="15386" y="9327"/>
                  <a:pt x="14727" y="9987"/>
                  <a:pt x="14727" y="10800"/>
                </a:cubicBezTo>
                <a:cubicBezTo>
                  <a:pt x="14727" y="11614"/>
                  <a:pt x="15386" y="12273"/>
                  <a:pt x="16200" y="12273"/>
                </a:cubicBezTo>
                <a:cubicBezTo>
                  <a:pt x="17014" y="12273"/>
                  <a:pt x="17673" y="11614"/>
                  <a:pt x="17673" y="10800"/>
                </a:cubicBezTo>
                <a:cubicBezTo>
                  <a:pt x="17673" y="9987"/>
                  <a:pt x="17014" y="9327"/>
                  <a:pt x="16200" y="9327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50" name="Shape 2550"/>
          <p:cNvSpPr/>
          <p:nvPr/>
        </p:nvSpPr>
        <p:spPr>
          <a:xfrm>
            <a:off x="3547164" y="249306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51" name="Shape 2551"/>
          <p:cNvSpPr/>
          <p:nvPr/>
        </p:nvSpPr>
        <p:spPr>
          <a:xfrm>
            <a:off x="4080425" y="249306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55" y="6010"/>
                </a:moveTo>
                <a:lnTo>
                  <a:pt x="18630" y="7136"/>
                </a:lnTo>
                <a:lnTo>
                  <a:pt x="14465" y="2970"/>
                </a:lnTo>
                <a:lnTo>
                  <a:pt x="15590" y="1845"/>
                </a:lnTo>
                <a:cubicBezTo>
                  <a:pt x="15590" y="1845"/>
                  <a:pt x="16391" y="982"/>
                  <a:pt x="17673" y="982"/>
                </a:cubicBezTo>
                <a:cubicBezTo>
                  <a:pt x="19300" y="982"/>
                  <a:pt x="20618" y="2300"/>
                  <a:pt x="20618" y="3927"/>
                </a:cubicBezTo>
                <a:cubicBezTo>
                  <a:pt x="20618" y="4741"/>
                  <a:pt x="20288" y="5477"/>
                  <a:pt x="19755" y="6010"/>
                </a:cubicBezTo>
                <a:moveTo>
                  <a:pt x="7364" y="18402"/>
                </a:moveTo>
                <a:lnTo>
                  <a:pt x="7364" y="14727"/>
                </a:lnTo>
                <a:cubicBezTo>
                  <a:pt x="7364" y="14456"/>
                  <a:pt x="7144" y="14236"/>
                  <a:pt x="6873" y="14236"/>
                </a:cubicBezTo>
                <a:lnTo>
                  <a:pt x="3198" y="14236"/>
                </a:lnTo>
                <a:lnTo>
                  <a:pt x="13770" y="3665"/>
                </a:lnTo>
                <a:lnTo>
                  <a:pt x="17935" y="7830"/>
                </a:lnTo>
                <a:cubicBezTo>
                  <a:pt x="17935" y="7830"/>
                  <a:pt x="7364" y="18402"/>
                  <a:pt x="7364" y="18402"/>
                </a:cubicBezTo>
                <a:close/>
                <a:moveTo>
                  <a:pt x="6382" y="19042"/>
                </a:moveTo>
                <a:lnTo>
                  <a:pt x="2945" y="19845"/>
                </a:lnTo>
                <a:lnTo>
                  <a:pt x="2945" y="18655"/>
                </a:lnTo>
                <a:lnTo>
                  <a:pt x="1755" y="18655"/>
                </a:lnTo>
                <a:lnTo>
                  <a:pt x="2558" y="15218"/>
                </a:lnTo>
                <a:lnTo>
                  <a:pt x="6382" y="15218"/>
                </a:lnTo>
                <a:cubicBezTo>
                  <a:pt x="6382" y="15218"/>
                  <a:pt x="6382" y="19042"/>
                  <a:pt x="6382" y="19042"/>
                </a:cubicBezTo>
                <a:close/>
                <a:moveTo>
                  <a:pt x="17673" y="0"/>
                </a:moveTo>
                <a:cubicBezTo>
                  <a:pt x="16588" y="0"/>
                  <a:pt x="15606" y="439"/>
                  <a:pt x="14896" y="1151"/>
                </a:cubicBezTo>
                <a:lnTo>
                  <a:pt x="1641" y="14405"/>
                </a:lnTo>
                <a:lnTo>
                  <a:pt x="0" y="21600"/>
                </a:lnTo>
                <a:lnTo>
                  <a:pt x="7195" y="19959"/>
                </a:lnTo>
                <a:lnTo>
                  <a:pt x="20449" y="6704"/>
                </a:lnTo>
                <a:cubicBezTo>
                  <a:pt x="21160" y="5994"/>
                  <a:pt x="21600" y="5012"/>
                  <a:pt x="21600" y="3927"/>
                </a:cubicBezTo>
                <a:cubicBezTo>
                  <a:pt x="21600" y="1758"/>
                  <a:pt x="19842" y="0"/>
                  <a:pt x="17673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52" name="Shape 2552"/>
          <p:cNvSpPr/>
          <p:nvPr/>
        </p:nvSpPr>
        <p:spPr>
          <a:xfrm>
            <a:off x="4613686" y="2505761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53" name="Shape 2553"/>
          <p:cNvSpPr/>
          <p:nvPr/>
        </p:nvSpPr>
        <p:spPr>
          <a:xfrm>
            <a:off x="5146947" y="2505761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8100"/>
                </a:moveTo>
                <a:cubicBezTo>
                  <a:pt x="14896" y="8100"/>
                  <a:pt x="14236" y="8826"/>
                  <a:pt x="14236" y="9720"/>
                </a:cubicBezTo>
                <a:cubicBezTo>
                  <a:pt x="14236" y="10615"/>
                  <a:pt x="14896" y="11340"/>
                  <a:pt x="15709" y="11340"/>
                </a:cubicBezTo>
                <a:cubicBezTo>
                  <a:pt x="16522" y="11340"/>
                  <a:pt x="17182" y="10615"/>
                  <a:pt x="17182" y="9720"/>
                </a:cubicBezTo>
                <a:cubicBezTo>
                  <a:pt x="17182" y="8826"/>
                  <a:pt x="16522" y="8100"/>
                  <a:pt x="15709" y="8100"/>
                </a:cubicBezTo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  <a:moveTo>
                  <a:pt x="10800" y="8100"/>
                </a:moveTo>
                <a:cubicBezTo>
                  <a:pt x="9987" y="8100"/>
                  <a:pt x="9327" y="8826"/>
                  <a:pt x="9327" y="9720"/>
                </a:cubicBezTo>
                <a:cubicBezTo>
                  <a:pt x="9327" y="10615"/>
                  <a:pt x="9987" y="11340"/>
                  <a:pt x="10800" y="11340"/>
                </a:cubicBezTo>
                <a:cubicBezTo>
                  <a:pt x="11613" y="11340"/>
                  <a:pt x="12273" y="10615"/>
                  <a:pt x="12273" y="9720"/>
                </a:cubicBezTo>
                <a:cubicBezTo>
                  <a:pt x="12273" y="8826"/>
                  <a:pt x="11613" y="8100"/>
                  <a:pt x="10800" y="8100"/>
                </a:cubicBezTo>
                <a:moveTo>
                  <a:pt x="5891" y="8100"/>
                </a:moveTo>
                <a:cubicBezTo>
                  <a:pt x="5078" y="8100"/>
                  <a:pt x="4418" y="8826"/>
                  <a:pt x="4418" y="9720"/>
                </a:cubicBezTo>
                <a:cubicBezTo>
                  <a:pt x="4418" y="10615"/>
                  <a:pt x="5078" y="11340"/>
                  <a:pt x="5891" y="11340"/>
                </a:cubicBezTo>
                <a:cubicBezTo>
                  <a:pt x="6704" y="11340"/>
                  <a:pt x="7364" y="10615"/>
                  <a:pt x="7364" y="9720"/>
                </a:cubicBezTo>
                <a:cubicBezTo>
                  <a:pt x="7364" y="8826"/>
                  <a:pt x="6704" y="8100"/>
                  <a:pt x="5891" y="81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54" name="Shape 2554"/>
          <p:cNvSpPr/>
          <p:nvPr/>
        </p:nvSpPr>
        <p:spPr>
          <a:xfrm>
            <a:off x="5680208" y="2505761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18900"/>
                </a:moveTo>
                <a:cubicBezTo>
                  <a:pt x="7279" y="18900"/>
                  <a:pt x="6684" y="18827"/>
                  <a:pt x="6086" y="18683"/>
                </a:cubicBezTo>
                <a:cubicBezTo>
                  <a:pt x="6017" y="18666"/>
                  <a:pt x="5946" y="18658"/>
                  <a:pt x="5876" y="18658"/>
                </a:cubicBezTo>
                <a:cubicBezTo>
                  <a:pt x="5756" y="18658"/>
                  <a:pt x="5636" y="18682"/>
                  <a:pt x="5523" y="18729"/>
                </a:cubicBezTo>
                <a:lnTo>
                  <a:pt x="2957" y="19815"/>
                </a:lnTo>
                <a:lnTo>
                  <a:pt x="3365" y="18243"/>
                </a:lnTo>
                <a:cubicBezTo>
                  <a:pt x="3474" y="17827"/>
                  <a:pt x="3345" y="17380"/>
                  <a:pt x="3039" y="17108"/>
                </a:cubicBezTo>
                <a:cubicBezTo>
                  <a:pt x="1712" y="15926"/>
                  <a:pt x="982" y="14358"/>
                  <a:pt x="982" y="12690"/>
                </a:cubicBezTo>
                <a:cubicBezTo>
                  <a:pt x="982" y="9266"/>
                  <a:pt x="4065" y="6480"/>
                  <a:pt x="7855" y="6480"/>
                </a:cubicBezTo>
                <a:cubicBezTo>
                  <a:pt x="11644" y="6480"/>
                  <a:pt x="14727" y="9266"/>
                  <a:pt x="14727" y="12690"/>
                </a:cubicBezTo>
                <a:cubicBezTo>
                  <a:pt x="14727" y="16114"/>
                  <a:pt x="11644" y="18900"/>
                  <a:pt x="7855" y="18900"/>
                </a:cubicBezTo>
                <a:moveTo>
                  <a:pt x="7855" y="5400"/>
                </a:moveTo>
                <a:cubicBezTo>
                  <a:pt x="3517" y="5400"/>
                  <a:pt x="0" y="8664"/>
                  <a:pt x="0" y="12690"/>
                </a:cubicBezTo>
                <a:cubicBezTo>
                  <a:pt x="0" y="14758"/>
                  <a:pt x="932" y="16620"/>
                  <a:pt x="2422" y="17947"/>
                </a:cubicBezTo>
                <a:lnTo>
                  <a:pt x="1473" y="21600"/>
                </a:lnTo>
                <a:lnTo>
                  <a:pt x="5876" y="19738"/>
                </a:lnTo>
                <a:cubicBezTo>
                  <a:pt x="6509" y="19891"/>
                  <a:pt x="7169" y="19980"/>
                  <a:pt x="7855" y="19980"/>
                </a:cubicBezTo>
                <a:cubicBezTo>
                  <a:pt x="12192" y="19980"/>
                  <a:pt x="15709" y="16716"/>
                  <a:pt x="15709" y="12690"/>
                </a:cubicBezTo>
                <a:cubicBezTo>
                  <a:pt x="15709" y="8664"/>
                  <a:pt x="12192" y="5400"/>
                  <a:pt x="7855" y="5400"/>
                </a:cubicBezTo>
                <a:moveTo>
                  <a:pt x="21600" y="7290"/>
                </a:moveTo>
                <a:cubicBezTo>
                  <a:pt x="21600" y="3264"/>
                  <a:pt x="18084" y="0"/>
                  <a:pt x="13745" y="0"/>
                </a:cubicBezTo>
                <a:cubicBezTo>
                  <a:pt x="10506" y="0"/>
                  <a:pt x="7725" y="1821"/>
                  <a:pt x="6525" y="4422"/>
                </a:cubicBezTo>
                <a:cubicBezTo>
                  <a:pt x="6912" y="4367"/>
                  <a:pt x="7306" y="4332"/>
                  <a:pt x="7708" y="4326"/>
                </a:cubicBezTo>
                <a:cubicBezTo>
                  <a:pt x="8875" y="2394"/>
                  <a:pt x="11143" y="1080"/>
                  <a:pt x="13745" y="1080"/>
                </a:cubicBezTo>
                <a:cubicBezTo>
                  <a:pt x="17535" y="1080"/>
                  <a:pt x="20618" y="3866"/>
                  <a:pt x="20618" y="7290"/>
                </a:cubicBezTo>
                <a:cubicBezTo>
                  <a:pt x="20618" y="8958"/>
                  <a:pt x="19888" y="10526"/>
                  <a:pt x="18561" y="11707"/>
                </a:cubicBezTo>
                <a:cubicBezTo>
                  <a:pt x="18255" y="11980"/>
                  <a:pt x="18126" y="12428"/>
                  <a:pt x="18234" y="12843"/>
                </a:cubicBezTo>
                <a:lnTo>
                  <a:pt x="18643" y="14415"/>
                </a:lnTo>
                <a:lnTo>
                  <a:pt x="16613" y="13556"/>
                </a:lnTo>
                <a:cubicBezTo>
                  <a:pt x="16573" y="13922"/>
                  <a:pt x="16500" y="14278"/>
                  <a:pt x="16411" y="14628"/>
                </a:cubicBezTo>
                <a:lnTo>
                  <a:pt x="20127" y="16200"/>
                </a:lnTo>
                <a:lnTo>
                  <a:pt x="19178" y="12547"/>
                </a:lnTo>
                <a:cubicBezTo>
                  <a:pt x="20669" y="11220"/>
                  <a:pt x="21600" y="9358"/>
                  <a:pt x="21600" y="729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55" name="Shape 2555"/>
          <p:cNvSpPr/>
          <p:nvPr/>
        </p:nvSpPr>
        <p:spPr>
          <a:xfrm>
            <a:off x="880859" y="302632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35"/>
                  <a:pt x="19650" y="15637"/>
                  <a:pt x="18073" y="1737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8266"/>
                  <a:pt x="1950" y="5963"/>
                  <a:pt x="3527" y="4221"/>
                </a:cubicBezTo>
                <a:lnTo>
                  <a:pt x="17379" y="18073"/>
                </a:lnTo>
                <a:cubicBezTo>
                  <a:pt x="15637" y="19650"/>
                  <a:pt x="13334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56" name="Shape 2556"/>
          <p:cNvSpPr/>
          <p:nvPr/>
        </p:nvSpPr>
        <p:spPr>
          <a:xfrm>
            <a:off x="1414120" y="302632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874" y="5396"/>
                </a:moveTo>
                <a:cubicBezTo>
                  <a:pt x="11493" y="5396"/>
                  <a:pt x="11166" y="5519"/>
                  <a:pt x="10894" y="5766"/>
                </a:cubicBezTo>
                <a:cubicBezTo>
                  <a:pt x="10621" y="6013"/>
                  <a:pt x="10484" y="6310"/>
                  <a:pt x="10484" y="6658"/>
                </a:cubicBezTo>
                <a:cubicBezTo>
                  <a:pt x="10484" y="7005"/>
                  <a:pt x="10621" y="7301"/>
                  <a:pt x="10894" y="7545"/>
                </a:cubicBezTo>
                <a:cubicBezTo>
                  <a:pt x="11166" y="7790"/>
                  <a:pt x="11493" y="7912"/>
                  <a:pt x="11874" y="7912"/>
                </a:cubicBezTo>
                <a:cubicBezTo>
                  <a:pt x="12255" y="7912"/>
                  <a:pt x="12581" y="7790"/>
                  <a:pt x="12852" y="7545"/>
                </a:cubicBezTo>
                <a:cubicBezTo>
                  <a:pt x="13122" y="7301"/>
                  <a:pt x="13257" y="7005"/>
                  <a:pt x="13257" y="6658"/>
                </a:cubicBezTo>
                <a:cubicBezTo>
                  <a:pt x="13257" y="6310"/>
                  <a:pt x="13122" y="6013"/>
                  <a:pt x="12852" y="5766"/>
                </a:cubicBezTo>
                <a:cubicBezTo>
                  <a:pt x="12581" y="5519"/>
                  <a:pt x="12255" y="5396"/>
                  <a:pt x="11874" y="5396"/>
                </a:cubicBezTo>
                <a:moveTo>
                  <a:pt x="12242" y="15228"/>
                </a:moveTo>
                <a:cubicBezTo>
                  <a:pt x="11942" y="15228"/>
                  <a:pt x="11730" y="15180"/>
                  <a:pt x="11608" y="15083"/>
                </a:cubicBezTo>
                <a:cubicBezTo>
                  <a:pt x="11486" y="14987"/>
                  <a:pt x="11425" y="14807"/>
                  <a:pt x="11425" y="14542"/>
                </a:cubicBezTo>
                <a:cubicBezTo>
                  <a:pt x="11425" y="14436"/>
                  <a:pt x="11444" y="14281"/>
                  <a:pt x="11482" y="14076"/>
                </a:cubicBezTo>
                <a:cubicBezTo>
                  <a:pt x="11519" y="13870"/>
                  <a:pt x="11562" y="13687"/>
                  <a:pt x="11609" y="13527"/>
                </a:cubicBezTo>
                <a:lnTo>
                  <a:pt x="12189" y="11532"/>
                </a:lnTo>
                <a:cubicBezTo>
                  <a:pt x="12246" y="11349"/>
                  <a:pt x="12284" y="11148"/>
                  <a:pt x="12306" y="10929"/>
                </a:cubicBezTo>
                <a:cubicBezTo>
                  <a:pt x="12327" y="10709"/>
                  <a:pt x="12337" y="10557"/>
                  <a:pt x="12337" y="10469"/>
                </a:cubicBezTo>
                <a:cubicBezTo>
                  <a:pt x="12337" y="10049"/>
                  <a:pt x="12185" y="9707"/>
                  <a:pt x="11882" y="9444"/>
                </a:cubicBezTo>
                <a:cubicBezTo>
                  <a:pt x="11578" y="9182"/>
                  <a:pt x="11146" y="9050"/>
                  <a:pt x="10586" y="9050"/>
                </a:cubicBezTo>
                <a:cubicBezTo>
                  <a:pt x="10275" y="9050"/>
                  <a:pt x="9945" y="9104"/>
                  <a:pt x="9597" y="9211"/>
                </a:cubicBezTo>
                <a:cubicBezTo>
                  <a:pt x="9248" y="9319"/>
                  <a:pt x="8884" y="9448"/>
                  <a:pt x="8502" y="9599"/>
                </a:cubicBezTo>
                <a:lnTo>
                  <a:pt x="8347" y="10216"/>
                </a:lnTo>
                <a:cubicBezTo>
                  <a:pt x="8460" y="10175"/>
                  <a:pt x="8595" y="10131"/>
                  <a:pt x="8753" y="10085"/>
                </a:cubicBezTo>
                <a:cubicBezTo>
                  <a:pt x="8911" y="10040"/>
                  <a:pt x="9066" y="10017"/>
                  <a:pt x="9217" y="10017"/>
                </a:cubicBezTo>
                <a:cubicBezTo>
                  <a:pt x="9524" y="10017"/>
                  <a:pt x="9731" y="10068"/>
                  <a:pt x="9839" y="10168"/>
                </a:cubicBezTo>
                <a:cubicBezTo>
                  <a:pt x="9948" y="10269"/>
                  <a:pt x="10002" y="10447"/>
                  <a:pt x="10002" y="10703"/>
                </a:cubicBezTo>
                <a:cubicBezTo>
                  <a:pt x="10002" y="10844"/>
                  <a:pt x="9985" y="11001"/>
                  <a:pt x="9949" y="11172"/>
                </a:cubicBezTo>
                <a:cubicBezTo>
                  <a:pt x="9914" y="11343"/>
                  <a:pt x="9870" y="11526"/>
                  <a:pt x="9818" y="11717"/>
                </a:cubicBezTo>
                <a:lnTo>
                  <a:pt x="9235" y="13719"/>
                </a:lnTo>
                <a:cubicBezTo>
                  <a:pt x="9184" y="13929"/>
                  <a:pt x="9146" y="14118"/>
                  <a:pt x="9123" y="14285"/>
                </a:cubicBezTo>
                <a:cubicBezTo>
                  <a:pt x="9100" y="14451"/>
                  <a:pt x="9088" y="14615"/>
                  <a:pt x="9088" y="14775"/>
                </a:cubicBezTo>
                <a:cubicBezTo>
                  <a:pt x="9088" y="15186"/>
                  <a:pt x="9244" y="15526"/>
                  <a:pt x="9556" y="15793"/>
                </a:cubicBezTo>
                <a:cubicBezTo>
                  <a:pt x="9869" y="16060"/>
                  <a:pt x="10308" y="16194"/>
                  <a:pt x="10872" y="16194"/>
                </a:cubicBezTo>
                <a:cubicBezTo>
                  <a:pt x="11239" y="16194"/>
                  <a:pt x="11561" y="16147"/>
                  <a:pt x="11839" y="16053"/>
                </a:cubicBezTo>
                <a:cubicBezTo>
                  <a:pt x="12117" y="15960"/>
                  <a:pt x="12488" y="15824"/>
                  <a:pt x="12954" y="15645"/>
                </a:cubicBezTo>
                <a:lnTo>
                  <a:pt x="13109" y="15028"/>
                </a:lnTo>
                <a:cubicBezTo>
                  <a:pt x="13029" y="15065"/>
                  <a:pt x="12900" y="15107"/>
                  <a:pt x="12721" y="15155"/>
                </a:cubicBezTo>
                <a:cubicBezTo>
                  <a:pt x="12543" y="15204"/>
                  <a:pt x="12383" y="15228"/>
                  <a:pt x="12242" y="15228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57" name="Shape 2557"/>
          <p:cNvSpPr/>
          <p:nvPr/>
        </p:nvSpPr>
        <p:spPr>
          <a:xfrm>
            <a:off x="1947381" y="302632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91" y="6559"/>
                </a:moveTo>
                <a:cubicBezTo>
                  <a:pt x="12727" y="6341"/>
                  <a:pt x="12420" y="6172"/>
                  <a:pt x="12078" y="6058"/>
                </a:cubicBezTo>
                <a:cubicBezTo>
                  <a:pt x="11737" y="5946"/>
                  <a:pt x="11367" y="5889"/>
                  <a:pt x="10978" y="5889"/>
                </a:cubicBezTo>
                <a:cubicBezTo>
                  <a:pt x="10477" y="5889"/>
                  <a:pt x="10025" y="5967"/>
                  <a:pt x="9633" y="6120"/>
                </a:cubicBezTo>
                <a:cubicBezTo>
                  <a:pt x="9239" y="6275"/>
                  <a:pt x="8900" y="6494"/>
                  <a:pt x="8623" y="6771"/>
                </a:cubicBezTo>
                <a:cubicBezTo>
                  <a:pt x="8346" y="7049"/>
                  <a:pt x="8133" y="7392"/>
                  <a:pt x="7992" y="7788"/>
                </a:cubicBezTo>
                <a:cubicBezTo>
                  <a:pt x="7853" y="8180"/>
                  <a:pt x="7782" y="8620"/>
                  <a:pt x="7782" y="9096"/>
                </a:cubicBezTo>
                <a:lnTo>
                  <a:pt x="7782" y="9217"/>
                </a:lnTo>
                <a:lnTo>
                  <a:pt x="8880" y="9217"/>
                </a:lnTo>
                <a:lnTo>
                  <a:pt x="8877" y="9093"/>
                </a:lnTo>
                <a:cubicBezTo>
                  <a:pt x="8868" y="8767"/>
                  <a:pt x="8908" y="8461"/>
                  <a:pt x="8993" y="8187"/>
                </a:cubicBezTo>
                <a:cubicBezTo>
                  <a:pt x="9079" y="7914"/>
                  <a:pt x="9207" y="7675"/>
                  <a:pt x="9377" y="7473"/>
                </a:cubicBezTo>
                <a:cubicBezTo>
                  <a:pt x="9545" y="7274"/>
                  <a:pt x="9762" y="7115"/>
                  <a:pt x="10024" y="7000"/>
                </a:cubicBezTo>
                <a:cubicBezTo>
                  <a:pt x="10287" y="6884"/>
                  <a:pt x="10594" y="6827"/>
                  <a:pt x="10937" y="6827"/>
                </a:cubicBezTo>
                <a:cubicBezTo>
                  <a:pt x="11182" y="6827"/>
                  <a:pt x="11418" y="6868"/>
                  <a:pt x="11639" y="6950"/>
                </a:cubicBezTo>
                <a:cubicBezTo>
                  <a:pt x="11858" y="7032"/>
                  <a:pt x="12053" y="7146"/>
                  <a:pt x="12218" y="7289"/>
                </a:cubicBezTo>
                <a:cubicBezTo>
                  <a:pt x="12381" y="7431"/>
                  <a:pt x="12512" y="7605"/>
                  <a:pt x="12609" y="7808"/>
                </a:cubicBezTo>
                <a:cubicBezTo>
                  <a:pt x="12704" y="8011"/>
                  <a:pt x="12752" y="8236"/>
                  <a:pt x="12752" y="8478"/>
                </a:cubicBezTo>
                <a:cubicBezTo>
                  <a:pt x="12752" y="8797"/>
                  <a:pt x="12674" y="9089"/>
                  <a:pt x="12519" y="9350"/>
                </a:cubicBezTo>
                <a:cubicBezTo>
                  <a:pt x="12359" y="9618"/>
                  <a:pt x="12154" y="9865"/>
                  <a:pt x="11913" y="10082"/>
                </a:cubicBezTo>
                <a:cubicBezTo>
                  <a:pt x="11624" y="10337"/>
                  <a:pt x="11374" y="10568"/>
                  <a:pt x="11170" y="10771"/>
                </a:cubicBezTo>
                <a:cubicBezTo>
                  <a:pt x="10959" y="10979"/>
                  <a:pt x="10789" y="11200"/>
                  <a:pt x="10662" y="11428"/>
                </a:cubicBezTo>
                <a:cubicBezTo>
                  <a:pt x="10534" y="11657"/>
                  <a:pt x="10441" y="11916"/>
                  <a:pt x="10385" y="12199"/>
                </a:cubicBezTo>
                <a:cubicBezTo>
                  <a:pt x="10329" y="12478"/>
                  <a:pt x="10305" y="12827"/>
                  <a:pt x="10315" y="13237"/>
                </a:cubicBezTo>
                <a:lnTo>
                  <a:pt x="10318" y="13355"/>
                </a:lnTo>
                <a:lnTo>
                  <a:pt x="11407" y="13355"/>
                </a:lnTo>
                <a:lnTo>
                  <a:pt x="11410" y="13237"/>
                </a:lnTo>
                <a:cubicBezTo>
                  <a:pt x="11418" y="12838"/>
                  <a:pt x="11436" y="12531"/>
                  <a:pt x="11463" y="12322"/>
                </a:cubicBezTo>
                <a:cubicBezTo>
                  <a:pt x="11488" y="12125"/>
                  <a:pt x="11538" y="11956"/>
                  <a:pt x="11611" y="11821"/>
                </a:cubicBezTo>
                <a:cubicBezTo>
                  <a:pt x="11687" y="11684"/>
                  <a:pt x="11803" y="11541"/>
                  <a:pt x="11959" y="11399"/>
                </a:cubicBezTo>
                <a:cubicBezTo>
                  <a:pt x="12127" y="11245"/>
                  <a:pt x="12351" y="11031"/>
                  <a:pt x="12630" y="10762"/>
                </a:cubicBezTo>
                <a:cubicBezTo>
                  <a:pt x="12979" y="10441"/>
                  <a:pt x="13270" y="10102"/>
                  <a:pt x="13495" y="9753"/>
                </a:cubicBezTo>
                <a:cubicBezTo>
                  <a:pt x="13729" y="9393"/>
                  <a:pt x="13847" y="8952"/>
                  <a:pt x="13847" y="8439"/>
                </a:cubicBezTo>
                <a:cubicBezTo>
                  <a:pt x="13847" y="8038"/>
                  <a:pt x="13770" y="7675"/>
                  <a:pt x="13618" y="7362"/>
                </a:cubicBezTo>
                <a:cubicBezTo>
                  <a:pt x="13467" y="7050"/>
                  <a:pt x="13256" y="6780"/>
                  <a:pt x="12991" y="6559"/>
                </a:cubicBezTo>
                <a:moveTo>
                  <a:pt x="10179" y="15706"/>
                </a:moveTo>
                <a:lnTo>
                  <a:pt x="11558" y="15706"/>
                </a:lnTo>
                <a:lnTo>
                  <a:pt x="11558" y="14072"/>
                </a:lnTo>
                <a:lnTo>
                  <a:pt x="10179" y="14072"/>
                </a:lnTo>
                <a:cubicBezTo>
                  <a:pt x="10179" y="14072"/>
                  <a:pt x="10179" y="15706"/>
                  <a:pt x="10179" y="15706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58" name="Shape 2558"/>
          <p:cNvSpPr/>
          <p:nvPr/>
        </p:nvSpPr>
        <p:spPr>
          <a:xfrm>
            <a:off x="2480642" y="302632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59" name="Shape 2559"/>
          <p:cNvSpPr/>
          <p:nvPr/>
        </p:nvSpPr>
        <p:spPr>
          <a:xfrm>
            <a:off x="3013903" y="3051719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0"/>
                  <a:pt x="982" y="16800"/>
                </a:cubicBezTo>
                <a:lnTo>
                  <a:pt x="2455" y="16800"/>
                </a:lnTo>
                <a:cubicBezTo>
                  <a:pt x="2725" y="16800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20618" y="20400"/>
                </a:move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60" name="Shape 2560"/>
          <p:cNvSpPr/>
          <p:nvPr/>
        </p:nvSpPr>
        <p:spPr>
          <a:xfrm>
            <a:off x="3547164" y="302632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3745"/>
                </a:moveTo>
                <a:cubicBezTo>
                  <a:pt x="2726" y="13745"/>
                  <a:pt x="2945" y="13526"/>
                  <a:pt x="2945" y="13255"/>
                </a:cubicBezTo>
                <a:cubicBezTo>
                  <a:pt x="2945" y="12984"/>
                  <a:pt x="2726" y="12764"/>
                  <a:pt x="2455" y="12764"/>
                </a:cubicBezTo>
                <a:lnTo>
                  <a:pt x="982" y="12764"/>
                </a:lnTo>
                <a:lnTo>
                  <a:pt x="982" y="982"/>
                </a:lnTo>
                <a:lnTo>
                  <a:pt x="16691" y="982"/>
                </a:lnTo>
                <a:lnTo>
                  <a:pt x="16691" y="2455"/>
                </a:lnTo>
                <a:cubicBezTo>
                  <a:pt x="16691" y="2726"/>
                  <a:pt x="16910" y="2945"/>
                  <a:pt x="17182" y="2945"/>
                </a:cubicBezTo>
                <a:cubicBezTo>
                  <a:pt x="17453" y="2945"/>
                  <a:pt x="17673" y="2726"/>
                  <a:pt x="17673" y="2455"/>
                </a:cubicBez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cubicBezTo>
                  <a:pt x="0" y="17233"/>
                  <a:pt x="440" y="17673"/>
                  <a:pt x="982" y="17673"/>
                </a:cubicBezTo>
                <a:lnTo>
                  <a:pt x="2455" y="17673"/>
                </a:lnTo>
                <a:cubicBezTo>
                  <a:pt x="2726" y="17673"/>
                  <a:pt x="2945" y="17453"/>
                  <a:pt x="2945" y="17182"/>
                </a:cubicBezTo>
                <a:cubicBezTo>
                  <a:pt x="2945" y="16911"/>
                  <a:pt x="2726" y="16691"/>
                  <a:pt x="2455" y="16691"/>
                </a:cubicBezTo>
                <a:lnTo>
                  <a:pt x="982" y="16691"/>
                </a:lnTo>
                <a:lnTo>
                  <a:pt x="982" y="13745"/>
                </a:lnTo>
                <a:cubicBezTo>
                  <a:pt x="982" y="13745"/>
                  <a:pt x="2455" y="13745"/>
                  <a:pt x="2455" y="13745"/>
                </a:cubicBezTo>
                <a:close/>
                <a:moveTo>
                  <a:pt x="20618" y="16691"/>
                </a:moveTo>
                <a:lnTo>
                  <a:pt x="4909" y="16691"/>
                </a:lnTo>
                <a:lnTo>
                  <a:pt x="4909" y="4909"/>
                </a:lnTo>
                <a:lnTo>
                  <a:pt x="20618" y="4909"/>
                </a:lnTo>
                <a:cubicBezTo>
                  <a:pt x="20618" y="4909"/>
                  <a:pt x="20618" y="16691"/>
                  <a:pt x="20618" y="16691"/>
                </a:cubicBezTo>
                <a:close/>
                <a:moveTo>
                  <a:pt x="20618" y="20618"/>
                </a:moveTo>
                <a:lnTo>
                  <a:pt x="4909" y="20618"/>
                </a:lnTo>
                <a:lnTo>
                  <a:pt x="4909" y="17673"/>
                </a:lnTo>
                <a:lnTo>
                  <a:pt x="20618" y="17673"/>
                </a:lnTo>
                <a:cubicBezTo>
                  <a:pt x="20618" y="17673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4909" y="3927"/>
                </a:lnTo>
                <a:cubicBezTo>
                  <a:pt x="4367" y="3927"/>
                  <a:pt x="3927" y="4367"/>
                  <a:pt x="3927" y="4909"/>
                </a:cubicBezTo>
                <a:lnTo>
                  <a:pt x="3927" y="20618"/>
                </a:lnTo>
                <a:cubicBezTo>
                  <a:pt x="3927" y="21160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61" name="Shape 2561"/>
          <p:cNvSpPr/>
          <p:nvPr/>
        </p:nvSpPr>
        <p:spPr>
          <a:xfrm>
            <a:off x="4080425" y="3051719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3600"/>
                </a:moveTo>
                <a:lnTo>
                  <a:pt x="19145" y="3600"/>
                </a:lnTo>
                <a:cubicBezTo>
                  <a:pt x="19417" y="3600"/>
                  <a:pt x="19636" y="3332"/>
                  <a:pt x="19636" y="3000"/>
                </a:cubicBezTo>
                <a:cubicBezTo>
                  <a:pt x="19636" y="2669"/>
                  <a:pt x="19417" y="2400"/>
                  <a:pt x="19145" y="2400"/>
                </a:cubicBezTo>
                <a:lnTo>
                  <a:pt x="2455" y="2400"/>
                </a:lnTo>
                <a:cubicBezTo>
                  <a:pt x="2183" y="2400"/>
                  <a:pt x="1964" y="2669"/>
                  <a:pt x="1964" y="3000"/>
                </a:cubicBezTo>
                <a:cubicBezTo>
                  <a:pt x="1964" y="3332"/>
                  <a:pt x="2183" y="3600"/>
                  <a:pt x="2455" y="3600"/>
                </a:cubicBezTo>
                <a:moveTo>
                  <a:pt x="20618" y="20400"/>
                </a:moveTo>
                <a:lnTo>
                  <a:pt x="982" y="20400"/>
                </a:lnTo>
                <a:lnTo>
                  <a:pt x="982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4418" y="1200"/>
                </a:moveTo>
                <a:lnTo>
                  <a:pt x="17182" y="1200"/>
                </a:lnTo>
                <a:cubicBezTo>
                  <a:pt x="17453" y="1200"/>
                  <a:pt x="17673" y="932"/>
                  <a:pt x="17673" y="600"/>
                </a:cubicBezTo>
                <a:cubicBezTo>
                  <a:pt x="17673" y="269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269"/>
                  <a:pt x="3927" y="600"/>
                </a:cubicBezTo>
                <a:cubicBezTo>
                  <a:pt x="3927" y="932"/>
                  <a:pt x="4147" y="1200"/>
                  <a:pt x="4418" y="12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62" name="Shape 2562"/>
          <p:cNvSpPr/>
          <p:nvPr/>
        </p:nvSpPr>
        <p:spPr>
          <a:xfrm>
            <a:off x="4613686" y="302632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1" y="20619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294" y="17673"/>
                </a:moveTo>
                <a:lnTo>
                  <a:pt x="8376" y="10732"/>
                </a:lnTo>
                <a:lnTo>
                  <a:pt x="10838" y="14425"/>
                </a:lnTo>
                <a:cubicBezTo>
                  <a:pt x="10862" y="14484"/>
                  <a:pt x="10898" y="14536"/>
                  <a:pt x="10942" y="14581"/>
                </a:cubicBezTo>
                <a:lnTo>
                  <a:pt x="10944" y="14583"/>
                </a:lnTo>
                <a:cubicBezTo>
                  <a:pt x="11033" y="14673"/>
                  <a:pt x="11155" y="14727"/>
                  <a:pt x="11291" y="14727"/>
                </a:cubicBezTo>
                <a:cubicBezTo>
                  <a:pt x="11427" y="14727"/>
                  <a:pt x="11549" y="14673"/>
                  <a:pt x="11638" y="14583"/>
                </a:cubicBezTo>
                <a:lnTo>
                  <a:pt x="13686" y="12536"/>
                </a:lnTo>
                <a:lnTo>
                  <a:pt x="17242" y="17673"/>
                </a:lnTo>
                <a:cubicBezTo>
                  <a:pt x="17242" y="17673"/>
                  <a:pt x="4294" y="17673"/>
                  <a:pt x="4294" y="17673"/>
                </a:cubicBezTo>
                <a:close/>
                <a:moveTo>
                  <a:pt x="18620" y="17982"/>
                </a:moveTo>
                <a:lnTo>
                  <a:pt x="18617" y="17978"/>
                </a:lnTo>
                <a:cubicBezTo>
                  <a:pt x="18590" y="17913"/>
                  <a:pt x="18551" y="17858"/>
                  <a:pt x="18501" y="17810"/>
                </a:cubicBezTo>
                <a:lnTo>
                  <a:pt x="14201" y="11600"/>
                </a:lnTo>
                <a:lnTo>
                  <a:pt x="14200" y="11601"/>
                </a:lnTo>
                <a:cubicBezTo>
                  <a:pt x="14127" y="11420"/>
                  <a:pt x="13952" y="11291"/>
                  <a:pt x="13745" y="11291"/>
                </a:cubicBezTo>
                <a:cubicBezTo>
                  <a:pt x="13610" y="11291"/>
                  <a:pt x="13488" y="11346"/>
                  <a:pt x="13398" y="11435"/>
                </a:cubicBezTo>
                <a:lnTo>
                  <a:pt x="11360" y="13473"/>
                </a:lnTo>
                <a:lnTo>
                  <a:pt x="8798" y="9630"/>
                </a:lnTo>
                <a:cubicBezTo>
                  <a:pt x="8724" y="9453"/>
                  <a:pt x="8550" y="9327"/>
                  <a:pt x="8345" y="9327"/>
                </a:cubicBezTo>
                <a:cubicBezTo>
                  <a:pt x="8175" y="9327"/>
                  <a:pt x="8033" y="9420"/>
                  <a:pt x="7945" y="9551"/>
                </a:cubicBezTo>
                <a:lnTo>
                  <a:pt x="7937" y="9546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8164" y="18655"/>
                </a:lnTo>
                <a:cubicBezTo>
                  <a:pt x="18435" y="18655"/>
                  <a:pt x="18655" y="18435"/>
                  <a:pt x="18655" y="18164"/>
                </a:cubicBezTo>
                <a:cubicBezTo>
                  <a:pt x="18655" y="18099"/>
                  <a:pt x="18640" y="18039"/>
                  <a:pt x="18618" y="17983"/>
                </a:cubicBezTo>
                <a:cubicBezTo>
                  <a:pt x="18618" y="17983"/>
                  <a:pt x="18620" y="17982"/>
                  <a:pt x="18620" y="17982"/>
                </a:cubicBezTo>
                <a:close/>
                <a:moveTo>
                  <a:pt x="5400" y="3927"/>
                </a:moveTo>
                <a:cubicBezTo>
                  <a:pt x="6213" y="3927"/>
                  <a:pt x="6873" y="4587"/>
                  <a:pt x="6873" y="5400"/>
                </a:cubicBezTo>
                <a:cubicBezTo>
                  <a:pt x="6873" y="6214"/>
                  <a:pt x="6213" y="6873"/>
                  <a:pt x="5400" y="6873"/>
                </a:cubicBezTo>
                <a:cubicBezTo>
                  <a:pt x="4587" y="6873"/>
                  <a:pt x="3927" y="6214"/>
                  <a:pt x="3927" y="5400"/>
                </a:cubicBezTo>
                <a:cubicBezTo>
                  <a:pt x="3927" y="4587"/>
                  <a:pt x="4587" y="3927"/>
                  <a:pt x="5400" y="3927"/>
                </a:cubicBezTo>
                <a:moveTo>
                  <a:pt x="5400" y="7855"/>
                </a:moveTo>
                <a:cubicBezTo>
                  <a:pt x="6756" y="7855"/>
                  <a:pt x="7855" y="6756"/>
                  <a:pt x="7855" y="5400"/>
                </a:cubicBezTo>
                <a:cubicBezTo>
                  <a:pt x="7855" y="4045"/>
                  <a:pt x="6756" y="2945"/>
                  <a:pt x="5400" y="2945"/>
                </a:cubicBezTo>
                <a:cubicBezTo>
                  <a:pt x="4044" y="2945"/>
                  <a:pt x="2945" y="4045"/>
                  <a:pt x="2945" y="5400"/>
                </a:cubicBezTo>
                <a:cubicBezTo>
                  <a:pt x="2945" y="6756"/>
                  <a:pt x="4044" y="7855"/>
                  <a:pt x="5400" y="785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63" name="Shape 2563"/>
          <p:cNvSpPr/>
          <p:nvPr/>
        </p:nvSpPr>
        <p:spPr>
          <a:xfrm>
            <a:off x="5146947" y="302632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354" y="17673"/>
                </a:moveTo>
                <a:lnTo>
                  <a:pt x="7369" y="13149"/>
                </a:lnTo>
                <a:lnTo>
                  <a:pt x="8875" y="15407"/>
                </a:lnTo>
                <a:cubicBezTo>
                  <a:pt x="8949" y="15584"/>
                  <a:pt x="9123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1198" y="14042"/>
                </a:lnTo>
                <a:lnTo>
                  <a:pt x="13376" y="17673"/>
                </a:lnTo>
                <a:cubicBezTo>
                  <a:pt x="13376" y="17673"/>
                  <a:pt x="4354" y="17673"/>
                  <a:pt x="4354" y="17673"/>
                </a:cubicBezTo>
                <a:close/>
                <a:moveTo>
                  <a:pt x="14692" y="17982"/>
                </a:moveTo>
                <a:lnTo>
                  <a:pt x="14690" y="17977"/>
                </a:lnTo>
                <a:cubicBezTo>
                  <a:pt x="14685" y="17967"/>
                  <a:pt x="14677" y="17959"/>
                  <a:pt x="14673" y="17949"/>
                </a:cubicBezTo>
                <a:lnTo>
                  <a:pt x="11747" y="13073"/>
                </a:lnTo>
                <a:lnTo>
                  <a:pt x="11745" y="13073"/>
                </a:lnTo>
                <a:cubicBezTo>
                  <a:pt x="11673" y="12892"/>
                  <a:pt x="11498" y="12764"/>
                  <a:pt x="11291" y="12764"/>
                </a:cubicBezTo>
                <a:cubicBezTo>
                  <a:pt x="11155" y="12764"/>
                  <a:pt x="11033" y="12819"/>
                  <a:pt x="10944" y="12908"/>
                </a:cubicBezTo>
                <a:lnTo>
                  <a:pt x="9397" y="14454"/>
                </a:lnTo>
                <a:lnTo>
                  <a:pt x="7816" y="12084"/>
                </a:lnTo>
                <a:cubicBezTo>
                  <a:pt x="7742" y="11907"/>
                  <a:pt x="7568" y="11782"/>
                  <a:pt x="7364" y="11782"/>
                </a:cubicBezTo>
                <a:cubicBezTo>
                  <a:pt x="7193" y="11782"/>
                  <a:pt x="7051" y="11874"/>
                  <a:pt x="6963" y="12006"/>
                </a:cubicBezTo>
                <a:lnTo>
                  <a:pt x="6955" y="12000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8099"/>
                  <a:pt x="14713" y="18039"/>
                  <a:pt x="14691" y="17983"/>
                </a:cubicBezTo>
                <a:cubicBezTo>
                  <a:pt x="14691" y="17983"/>
                  <a:pt x="14692" y="17982"/>
                  <a:pt x="14692" y="17982"/>
                </a:cubicBezTo>
                <a:close/>
                <a:moveTo>
                  <a:pt x="4909" y="7855"/>
                </a:moveTo>
                <a:cubicBezTo>
                  <a:pt x="5451" y="7855"/>
                  <a:pt x="5891" y="8295"/>
                  <a:pt x="5891" y="8836"/>
                </a:cubicBezTo>
                <a:cubicBezTo>
                  <a:pt x="5891" y="9379"/>
                  <a:pt x="5451" y="9818"/>
                  <a:pt x="4909" y="9818"/>
                </a:cubicBezTo>
                <a:cubicBezTo>
                  <a:pt x="4367" y="9818"/>
                  <a:pt x="3927" y="9379"/>
                  <a:pt x="3927" y="8836"/>
                </a:cubicBezTo>
                <a:cubicBezTo>
                  <a:pt x="3927" y="8295"/>
                  <a:pt x="4367" y="7855"/>
                  <a:pt x="4909" y="7855"/>
                </a:cubicBezTo>
                <a:moveTo>
                  <a:pt x="4909" y="10800"/>
                </a:moveTo>
                <a:cubicBezTo>
                  <a:pt x="5994" y="10800"/>
                  <a:pt x="6873" y="9921"/>
                  <a:pt x="6873" y="8836"/>
                </a:cubicBezTo>
                <a:cubicBezTo>
                  <a:pt x="6873" y="7752"/>
                  <a:pt x="5994" y="6873"/>
                  <a:pt x="4909" y="6873"/>
                </a:cubicBezTo>
                <a:cubicBezTo>
                  <a:pt x="3825" y="6873"/>
                  <a:pt x="2945" y="7752"/>
                  <a:pt x="2945" y="8836"/>
                </a:cubicBezTo>
                <a:cubicBezTo>
                  <a:pt x="2945" y="9921"/>
                  <a:pt x="3825" y="10800"/>
                  <a:pt x="4909" y="10800"/>
                </a:cubicBezTo>
                <a:moveTo>
                  <a:pt x="16691" y="19636"/>
                </a:moveTo>
                <a:cubicBezTo>
                  <a:pt x="16691" y="20179"/>
                  <a:pt x="16251" y="20619"/>
                  <a:pt x="15709" y="20619"/>
                </a:cubicBezTo>
                <a:lnTo>
                  <a:pt x="1964" y="20619"/>
                </a:lnTo>
                <a:cubicBezTo>
                  <a:pt x="1422" y="20619"/>
                  <a:pt x="982" y="20179"/>
                  <a:pt x="982" y="19636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64" name="Shape 2564"/>
          <p:cNvSpPr/>
          <p:nvPr/>
        </p:nvSpPr>
        <p:spPr>
          <a:xfrm>
            <a:off x="5680208" y="302632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10800"/>
                </a:moveTo>
                <a:lnTo>
                  <a:pt x="11782" y="10800"/>
                </a:lnTo>
                <a:lnTo>
                  <a:pt x="11782" y="12764"/>
                </a:lnTo>
                <a:lnTo>
                  <a:pt x="9818" y="12764"/>
                </a:lnTo>
                <a:cubicBezTo>
                  <a:pt x="9818" y="12764"/>
                  <a:pt x="9818" y="10800"/>
                  <a:pt x="9818" y="10800"/>
                </a:cubicBezTo>
                <a:close/>
                <a:moveTo>
                  <a:pt x="9327" y="13745"/>
                </a:moveTo>
                <a:lnTo>
                  <a:pt x="12273" y="13745"/>
                </a:lnTo>
                <a:cubicBezTo>
                  <a:pt x="12544" y="13745"/>
                  <a:pt x="12764" y="13526"/>
                  <a:pt x="12764" y="13255"/>
                </a:cubicBezTo>
                <a:lnTo>
                  <a:pt x="12764" y="10309"/>
                </a:lnTo>
                <a:cubicBezTo>
                  <a:pt x="12764" y="10038"/>
                  <a:pt x="12544" y="9818"/>
                  <a:pt x="12273" y="9818"/>
                </a:cubicBezTo>
                <a:lnTo>
                  <a:pt x="9327" y="9818"/>
                </a:lnTo>
                <a:cubicBezTo>
                  <a:pt x="9056" y="9818"/>
                  <a:pt x="8836" y="10038"/>
                  <a:pt x="8836" y="10309"/>
                </a:cubicBezTo>
                <a:lnTo>
                  <a:pt x="8836" y="13255"/>
                </a:lnTo>
                <a:cubicBezTo>
                  <a:pt x="8836" y="13526"/>
                  <a:pt x="9056" y="13745"/>
                  <a:pt x="9327" y="13745"/>
                </a:cubicBezTo>
                <a:moveTo>
                  <a:pt x="14727" y="15709"/>
                </a:moveTo>
                <a:lnTo>
                  <a:pt x="16691" y="15709"/>
                </a:lnTo>
                <a:lnTo>
                  <a:pt x="16691" y="17673"/>
                </a:lnTo>
                <a:lnTo>
                  <a:pt x="14727" y="17673"/>
                </a:lnTo>
                <a:cubicBezTo>
                  <a:pt x="14727" y="17673"/>
                  <a:pt x="14727" y="15709"/>
                  <a:pt x="14727" y="15709"/>
                </a:cubicBezTo>
                <a:close/>
                <a:moveTo>
                  <a:pt x="14236" y="18655"/>
                </a:moveTo>
                <a:lnTo>
                  <a:pt x="17182" y="18655"/>
                </a:lnTo>
                <a:cubicBezTo>
                  <a:pt x="17453" y="18655"/>
                  <a:pt x="17673" y="18435"/>
                  <a:pt x="17673" y="18164"/>
                </a:cubicBezTo>
                <a:lnTo>
                  <a:pt x="17673" y="15218"/>
                </a:lnTo>
                <a:cubicBezTo>
                  <a:pt x="17673" y="14947"/>
                  <a:pt x="17453" y="14727"/>
                  <a:pt x="17182" y="14727"/>
                </a:cubicBezTo>
                <a:lnTo>
                  <a:pt x="14236" y="14727"/>
                </a:lnTo>
                <a:cubicBezTo>
                  <a:pt x="13965" y="14727"/>
                  <a:pt x="13745" y="14947"/>
                  <a:pt x="13745" y="15218"/>
                </a:cubicBezTo>
                <a:lnTo>
                  <a:pt x="13745" y="18164"/>
                </a:lnTo>
                <a:cubicBezTo>
                  <a:pt x="13745" y="18435"/>
                  <a:pt x="13965" y="18655"/>
                  <a:pt x="14236" y="18655"/>
                </a:cubicBezTo>
                <a:moveTo>
                  <a:pt x="9818" y="5891"/>
                </a:moveTo>
                <a:lnTo>
                  <a:pt x="11782" y="5891"/>
                </a:lnTo>
                <a:lnTo>
                  <a:pt x="11782" y="7855"/>
                </a:lnTo>
                <a:lnTo>
                  <a:pt x="9818" y="7855"/>
                </a:lnTo>
                <a:cubicBezTo>
                  <a:pt x="9818" y="7855"/>
                  <a:pt x="9818" y="5891"/>
                  <a:pt x="9818" y="5891"/>
                </a:cubicBezTo>
                <a:close/>
                <a:moveTo>
                  <a:pt x="9327" y="8836"/>
                </a:moveTo>
                <a:lnTo>
                  <a:pt x="12273" y="8836"/>
                </a:lnTo>
                <a:cubicBezTo>
                  <a:pt x="12544" y="8836"/>
                  <a:pt x="12764" y="8617"/>
                  <a:pt x="12764" y="8345"/>
                </a:cubicBezTo>
                <a:lnTo>
                  <a:pt x="12764" y="5400"/>
                </a:lnTo>
                <a:cubicBezTo>
                  <a:pt x="12764" y="5129"/>
                  <a:pt x="12544" y="4909"/>
                  <a:pt x="12273" y="4909"/>
                </a:cubicBezTo>
                <a:lnTo>
                  <a:pt x="9327" y="4909"/>
                </a:lnTo>
                <a:cubicBezTo>
                  <a:pt x="9056" y="4909"/>
                  <a:pt x="8836" y="5129"/>
                  <a:pt x="8836" y="5400"/>
                </a:cubicBezTo>
                <a:lnTo>
                  <a:pt x="8836" y="8345"/>
                </a:lnTo>
                <a:cubicBezTo>
                  <a:pt x="8836" y="8617"/>
                  <a:pt x="9056" y="8836"/>
                  <a:pt x="9327" y="8836"/>
                </a:cubicBezTo>
                <a:moveTo>
                  <a:pt x="4909" y="15709"/>
                </a:moveTo>
                <a:lnTo>
                  <a:pt x="6873" y="15709"/>
                </a:lnTo>
                <a:lnTo>
                  <a:pt x="6873" y="17673"/>
                </a:lnTo>
                <a:lnTo>
                  <a:pt x="4909" y="17673"/>
                </a:lnTo>
                <a:cubicBezTo>
                  <a:pt x="4909" y="17673"/>
                  <a:pt x="4909" y="15709"/>
                  <a:pt x="4909" y="15709"/>
                </a:cubicBezTo>
                <a:close/>
                <a:moveTo>
                  <a:pt x="4418" y="18655"/>
                </a:moveTo>
                <a:lnTo>
                  <a:pt x="7364" y="18655"/>
                </a:lnTo>
                <a:cubicBezTo>
                  <a:pt x="7635" y="18655"/>
                  <a:pt x="7855" y="18435"/>
                  <a:pt x="7855" y="18164"/>
                </a:cubicBezTo>
                <a:lnTo>
                  <a:pt x="7855" y="15218"/>
                </a:lnTo>
                <a:cubicBezTo>
                  <a:pt x="7855" y="14947"/>
                  <a:pt x="7635" y="14727"/>
                  <a:pt x="7364" y="14727"/>
                </a:cubicBezTo>
                <a:lnTo>
                  <a:pt x="4418" y="14727"/>
                </a:lnTo>
                <a:cubicBezTo>
                  <a:pt x="4147" y="14727"/>
                  <a:pt x="3927" y="14947"/>
                  <a:pt x="3927" y="15218"/>
                </a:cubicBez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moveTo>
                  <a:pt x="14727" y="10800"/>
                </a:moveTo>
                <a:lnTo>
                  <a:pt x="16691" y="10800"/>
                </a:lnTo>
                <a:lnTo>
                  <a:pt x="16691" y="12764"/>
                </a:lnTo>
                <a:lnTo>
                  <a:pt x="14727" y="12764"/>
                </a:lnTo>
                <a:cubicBezTo>
                  <a:pt x="14727" y="12764"/>
                  <a:pt x="14727" y="10800"/>
                  <a:pt x="14727" y="10800"/>
                </a:cubicBezTo>
                <a:close/>
                <a:moveTo>
                  <a:pt x="14236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lnTo>
                  <a:pt x="17673" y="10309"/>
                </a:lnTo>
                <a:cubicBezTo>
                  <a:pt x="17673" y="10038"/>
                  <a:pt x="17453" y="9818"/>
                  <a:pt x="17182" y="9818"/>
                </a:cubicBezTo>
                <a:lnTo>
                  <a:pt x="14236" y="9818"/>
                </a:lnTo>
                <a:cubicBezTo>
                  <a:pt x="13965" y="9818"/>
                  <a:pt x="13745" y="10038"/>
                  <a:pt x="13745" y="10309"/>
                </a:cubicBezTo>
                <a:lnTo>
                  <a:pt x="13745" y="13255"/>
                </a:lnTo>
                <a:cubicBezTo>
                  <a:pt x="13745" y="13526"/>
                  <a:pt x="13965" y="13745"/>
                  <a:pt x="14236" y="13745"/>
                </a:cubicBezTo>
                <a:moveTo>
                  <a:pt x="4909" y="10800"/>
                </a:moveTo>
                <a:lnTo>
                  <a:pt x="6873" y="10800"/>
                </a:lnTo>
                <a:lnTo>
                  <a:pt x="6873" y="12764"/>
                </a:lnTo>
                <a:lnTo>
                  <a:pt x="4909" y="12764"/>
                </a:lnTo>
                <a:cubicBezTo>
                  <a:pt x="4909" y="12764"/>
                  <a:pt x="4909" y="10800"/>
                  <a:pt x="4909" y="10800"/>
                </a:cubicBezTo>
                <a:close/>
                <a:moveTo>
                  <a:pt x="4418" y="13745"/>
                </a:moveTo>
                <a:lnTo>
                  <a:pt x="7364" y="13745"/>
                </a:lnTo>
                <a:cubicBezTo>
                  <a:pt x="7635" y="13745"/>
                  <a:pt x="7855" y="13526"/>
                  <a:pt x="7855" y="13255"/>
                </a:cubicBezTo>
                <a:lnTo>
                  <a:pt x="7855" y="10309"/>
                </a:lnTo>
                <a:cubicBezTo>
                  <a:pt x="7855" y="10038"/>
                  <a:pt x="7635" y="9818"/>
                  <a:pt x="7364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lnTo>
                  <a:pt x="3927" y="13255"/>
                </a:lnTo>
                <a:cubicBezTo>
                  <a:pt x="3927" y="13526"/>
                  <a:pt x="4147" y="13745"/>
                  <a:pt x="4418" y="13745"/>
                </a:cubicBezTo>
                <a:moveTo>
                  <a:pt x="4909" y="5891"/>
                </a:moveTo>
                <a:lnTo>
                  <a:pt x="6873" y="5891"/>
                </a:lnTo>
                <a:lnTo>
                  <a:pt x="6873" y="7855"/>
                </a:lnTo>
                <a:lnTo>
                  <a:pt x="4909" y="7855"/>
                </a:lnTo>
                <a:cubicBezTo>
                  <a:pt x="4909" y="7855"/>
                  <a:pt x="4909" y="5891"/>
                  <a:pt x="4909" y="5891"/>
                </a:cubicBezTo>
                <a:close/>
                <a:moveTo>
                  <a:pt x="4418" y="8836"/>
                </a:moveTo>
                <a:lnTo>
                  <a:pt x="7364" y="8836"/>
                </a:lnTo>
                <a:cubicBezTo>
                  <a:pt x="7635" y="8836"/>
                  <a:pt x="7855" y="8617"/>
                  <a:pt x="7855" y="8345"/>
                </a:cubicBezTo>
                <a:lnTo>
                  <a:pt x="7855" y="5400"/>
                </a:lnTo>
                <a:cubicBezTo>
                  <a:pt x="7855" y="5129"/>
                  <a:pt x="7635" y="4909"/>
                  <a:pt x="7364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lnTo>
                  <a:pt x="3927" y="8345"/>
                </a:lnTo>
                <a:cubicBezTo>
                  <a:pt x="3927" y="8617"/>
                  <a:pt x="4147" y="8836"/>
                  <a:pt x="4418" y="8836"/>
                </a:cubicBezTo>
                <a:moveTo>
                  <a:pt x="14727" y="5891"/>
                </a:moveTo>
                <a:lnTo>
                  <a:pt x="16691" y="5891"/>
                </a:lnTo>
                <a:lnTo>
                  <a:pt x="16691" y="7855"/>
                </a:lnTo>
                <a:lnTo>
                  <a:pt x="14727" y="7855"/>
                </a:lnTo>
                <a:cubicBezTo>
                  <a:pt x="14727" y="7855"/>
                  <a:pt x="14727" y="5891"/>
                  <a:pt x="14727" y="5891"/>
                </a:cubicBezTo>
                <a:close/>
                <a:moveTo>
                  <a:pt x="14236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lnTo>
                  <a:pt x="17673" y="5400"/>
                </a:lnTo>
                <a:cubicBezTo>
                  <a:pt x="17673" y="5129"/>
                  <a:pt x="17453" y="4909"/>
                  <a:pt x="17182" y="4909"/>
                </a:cubicBezTo>
                <a:lnTo>
                  <a:pt x="14236" y="4909"/>
                </a:lnTo>
                <a:cubicBezTo>
                  <a:pt x="13965" y="4909"/>
                  <a:pt x="13745" y="5129"/>
                  <a:pt x="13745" y="5400"/>
                </a:cubicBezTo>
                <a:lnTo>
                  <a:pt x="13745" y="8345"/>
                </a:lnTo>
                <a:cubicBezTo>
                  <a:pt x="13745" y="8617"/>
                  <a:pt x="13965" y="8836"/>
                  <a:pt x="14236" y="8836"/>
                </a:cubicBezTo>
                <a:moveTo>
                  <a:pt x="19636" y="1964"/>
                </a:moveTo>
                <a:lnTo>
                  <a:pt x="1964" y="1964"/>
                </a:lnTo>
                <a:lnTo>
                  <a:pt x="1964" y="982"/>
                </a:lnTo>
                <a:lnTo>
                  <a:pt x="19636" y="982"/>
                </a:lnTo>
                <a:cubicBezTo>
                  <a:pt x="19636" y="982"/>
                  <a:pt x="19636" y="1964"/>
                  <a:pt x="19636" y="1964"/>
                </a:cubicBezTo>
                <a:close/>
                <a:moveTo>
                  <a:pt x="19636" y="20618"/>
                </a:moveTo>
                <a:lnTo>
                  <a:pt x="12764" y="20618"/>
                </a:lnTo>
                <a:lnTo>
                  <a:pt x="12764" y="15218"/>
                </a:lnTo>
                <a:cubicBezTo>
                  <a:pt x="12764" y="14947"/>
                  <a:pt x="12544" y="14727"/>
                  <a:pt x="12273" y="14727"/>
                </a:cubicBezTo>
                <a:lnTo>
                  <a:pt x="9327" y="14727"/>
                </a:lnTo>
                <a:cubicBezTo>
                  <a:pt x="9056" y="14727"/>
                  <a:pt x="8836" y="14947"/>
                  <a:pt x="8836" y="15218"/>
                </a:cubicBezTo>
                <a:lnTo>
                  <a:pt x="8836" y="20618"/>
                </a:lnTo>
                <a:lnTo>
                  <a:pt x="1964" y="20618"/>
                </a:lnTo>
                <a:lnTo>
                  <a:pt x="1964" y="2945"/>
                </a:lnTo>
                <a:lnTo>
                  <a:pt x="19636" y="2945"/>
                </a:lnTo>
                <a:cubicBezTo>
                  <a:pt x="19636" y="2945"/>
                  <a:pt x="19636" y="20618"/>
                  <a:pt x="19636" y="20618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5709"/>
                </a:lnTo>
                <a:lnTo>
                  <a:pt x="11782" y="15709"/>
                </a:lnTo>
                <a:cubicBezTo>
                  <a:pt x="11782" y="15709"/>
                  <a:pt x="11782" y="20618"/>
                  <a:pt x="11782" y="20618"/>
                </a:cubicBezTo>
                <a:close/>
                <a:moveTo>
                  <a:pt x="21109" y="1964"/>
                </a:moveTo>
                <a:lnTo>
                  <a:pt x="20618" y="1964"/>
                </a:lnTo>
                <a:lnTo>
                  <a:pt x="20618" y="491"/>
                </a:lnTo>
                <a:cubicBezTo>
                  <a:pt x="20618" y="220"/>
                  <a:pt x="20399" y="0"/>
                  <a:pt x="20127" y="0"/>
                </a:cubicBezTo>
                <a:lnTo>
                  <a:pt x="1473" y="0"/>
                </a:lnTo>
                <a:cubicBezTo>
                  <a:pt x="1201" y="0"/>
                  <a:pt x="982" y="220"/>
                  <a:pt x="982" y="491"/>
                </a:cubicBezTo>
                <a:lnTo>
                  <a:pt x="982" y="1964"/>
                </a:lnTo>
                <a:lnTo>
                  <a:pt x="491" y="1964"/>
                </a:lnTo>
                <a:cubicBezTo>
                  <a:pt x="220" y="1964"/>
                  <a:pt x="0" y="2184"/>
                  <a:pt x="0" y="2455"/>
                </a:cubicBezTo>
                <a:cubicBezTo>
                  <a:pt x="0" y="2726"/>
                  <a:pt x="220" y="2945"/>
                  <a:pt x="491" y="2945"/>
                </a:cubicBezTo>
                <a:lnTo>
                  <a:pt x="982" y="2945"/>
                </a:lnTo>
                <a:lnTo>
                  <a:pt x="982" y="21109"/>
                </a:lnTo>
                <a:cubicBezTo>
                  <a:pt x="982" y="21381"/>
                  <a:pt x="1201" y="21600"/>
                  <a:pt x="1473" y="21600"/>
                </a:cubicBezTo>
                <a:lnTo>
                  <a:pt x="20127" y="21600"/>
                </a:lnTo>
                <a:cubicBezTo>
                  <a:pt x="20399" y="21600"/>
                  <a:pt x="20618" y="21381"/>
                  <a:pt x="20618" y="21109"/>
                </a:cubicBezTo>
                <a:lnTo>
                  <a:pt x="20618" y="2945"/>
                </a:lnTo>
                <a:lnTo>
                  <a:pt x="21109" y="2945"/>
                </a:lnTo>
                <a:cubicBezTo>
                  <a:pt x="21380" y="2945"/>
                  <a:pt x="21600" y="2726"/>
                  <a:pt x="21600" y="2455"/>
                </a:cubicBezTo>
                <a:cubicBezTo>
                  <a:pt x="21600" y="2184"/>
                  <a:pt x="21380" y="1964"/>
                  <a:pt x="21109" y="1964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65" name="Shape 2565"/>
          <p:cNvSpPr/>
          <p:nvPr/>
        </p:nvSpPr>
        <p:spPr>
          <a:xfrm>
            <a:off x="880859" y="3584980"/>
            <a:ext cx="279328" cy="2285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8400"/>
                </a:moveTo>
                <a:lnTo>
                  <a:pt x="13745" y="8400"/>
                </a:lnTo>
                <a:lnTo>
                  <a:pt x="13745" y="9600"/>
                </a:lnTo>
                <a:lnTo>
                  <a:pt x="7855" y="9600"/>
                </a:lnTo>
                <a:cubicBezTo>
                  <a:pt x="7855" y="9600"/>
                  <a:pt x="7855" y="8400"/>
                  <a:pt x="7855" y="8400"/>
                </a:cubicBezTo>
                <a:close/>
                <a:moveTo>
                  <a:pt x="7855" y="10800"/>
                </a:moveTo>
                <a:lnTo>
                  <a:pt x="13745" y="10800"/>
                </a:lnTo>
                <a:cubicBezTo>
                  <a:pt x="14287" y="10800"/>
                  <a:pt x="14727" y="10262"/>
                  <a:pt x="14727" y="9600"/>
                </a:cubicBezTo>
                <a:lnTo>
                  <a:pt x="14727" y="8400"/>
                </a:lnTo>
                <a:cubicBezTo>
                  <a:pt x="14727" y="7737"/>
                  <a:pt x="14287" y="7200"/>
                  <a:pt x="13745" y="7200"/>
                </a:cubicBezTo>
                <a:lnTo>
                  <a:pt x="7855" y="7200"/>
                </a:lnTo>
                <a:cubicBezTo>
                  <a:pt x="7313" y="7200"/>
                  <a:pt x="6873" y="7737"/>
                  <a:pt x="6873" y="8400"/>
                </a:cubicBezTo>
                <a:lnTo>
                  <a:pt x="6873" y="9600"/>
                </a:lnTo>
                <a:cubicBezTo>
                  <a:pt x="6873" y="10262"/>
                  <a:pt x="7313" y="10800"/>
                  <a:pt x="7855" y="10800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66" name="Shape 2566"/>
          <p:cNvSpPr/>
          <p:nvPr/>
        </p:nvSpPr>
        <p:spPr>
          <a:xfrm>
            <a:off x="1414120" y="3584980"/>
            <a:ext cx="279328" cy="2285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2000"/>
                </a:moveTo>
                <a:cubicBezTo>
                  <a:pt x="6653" y="12000"/>
                  <a:pt x="6873" y="12268"/>
                  <a:pt x="6873" y="12599"/>
                </a:cubicBezTo>
                <a:cubicBezTo>
                  <a:pt x="6873" y="12931"/>
                  <a:pt x="6653" y="13199"/>
                  <a:pt x="6382" y="13199"/>
                </a:cubicBezTo>
                <a:cubicBezTo>
                  <a:pt x="6111" y="13199"/>
                  <a:pt x="5891" y="12931"/>
                  <a:pt x="5891" y="12599"/>
                </a:cubicBezTo>
                <a:cubicBezTo>
                  <a:pt x="5891" y="12268"/>
                  <a:pt x="6111" y="12000"/>
                  <a:pt x="6382" y="12000"/>
                </a:cubicBezTo>
                <a:moveTo>
                  <a:pt x="6382" y="14399"/>
                </a:moveTo>
                <a:cubicBezTo>
                  <a:pt x="7195" y="14399"/>
                  <a:pt x="7855" y="13594"/>
                  <a:pt x="7855" y="12599"/>
                </a:cubicBezTo>
                <a:cubicBezTo>
                  <a:pt x="7855" y="11606"/>
                  <a:pt x="7195" y="10800"/>
                  <a:pt x="6382" y="10800"/>
                </a:cubicBezTo>
                <a:cubicBezTo>
                  <a:pt x="5568" y="10800"/>
                  <a:pt x="4909" y="11606"/>
                  <a:pt x="4909" y="12599"/>
                </a:cubicBezTo>
                <a:cubicBezTo>
                  <a:pt x="4909" y="13594"/>
                  <a:pt x="5568" y="14399"/>
                  <a:pt x="6382" y="14399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0800" y="12000"/>
                </a:moveTo>
                <a:cubicBezTo>
                  <a:pt x="11071" y="12000"/>
                  <a:pt x="11291" y="12268"/>
                  <a:pt x="11291" y="12599"/>
                </a:cubicBezTo>
                <a:cubicBezTo>
                  <a:pt x="11291" y="12931"/>
                  <a:pt x="11071" y="13199"/>
                  <a:pt x="10800" y="13199"/>
                </a:cubicBezTo>
                <a:cubicBezTo>
                  <a:pt x="10529" y="13199"/>
                  <a:pt x="10309" y="12931"/>
                  <a:pt x="10309" y="12599"/>
                </a:cubicBezTo>
                <a:cubicBezTo>
                  <a:pt x="10309" y="12268"/>
                  <a:pt x="10529" y="12000"/>
                  <a:pt x="10800" y="12000"/>
                </a:cubicBezTo>
                <a:moveTo>
                  <a:pt x="10800" y="14399"/>
                </a:moveTo>
                <a:cubicBezTo>
                  <a:pt x="11614" y="14399"/>
                  <a:pt x="12273" y="13594"/>
                  <a:pt x="12273" y="12599"/>
                </a:cubicBezTo>
                <a:cubicBezTo>
                  <a:pt x="12273" y="11606"/>
                  <a:pt x="11614" y="10800"/>
                  <a:pt x="10800" y="10800"/>
                </a:cubicBezTo>
                <a:cubicBezTo>
                  <a:pt x="9986" y="10800"/>
                  <a:pt x="9327" y="11606"/>
                  <a:pt x="9327" y="12599"/>
                </a:cubicBezTo>
                <a:cubicBezTo>
                  <a:pt x="9327" y="13594"/>
                  <a:pt x="9986" y="14399"/>
                  <a:pt x="10800" y="14399"/>
                </a:cubicBezTo>
                <a:moveTo>
                  <a:pt x="15218" y="12000"/>
                </a:moveTo>
                <a:cubicBezTo>
                  <a:pt x="15489" y="12000"/>
                  <a:pt x="15709" y="12268"/>
                  <a:pt x="15709" y="12599"/>
                </a:cubicBezTo>
                <a:cubicBezTo>
                  <a:pt x="15709" y="12931"/>
                  <a:pt x="15489" y="13199"/>
                  <a:pt x="15218" y="13199"/>
                </a:cubicBezTo>
                <a:cubicBezTo>
                  <a:pt x="14947" y="13199"/>
                  <a:pt x="14727" y="12931"/>
                  <a:pt x="14727" y="12599"/>
                </a:cubicBezTo>
                <a:cubicBezTo>
                  <a:pt x="14727" y="12268"/>
                  <a:pt x="14947" y="12000"/>
                  <a:pt x="15218" y="12000"/>
                </a:cubicBezTo>
                <a:moveTo>
                  <a:pt x="15218" y="14399"/>
                </a:moveTo>
                <a:cubicBezTo>
                  <a:pt x="16032" y="14399"/>
                  <a:pt x="16691" y="13594"/>
                  <a:pt x="16691" y="12599"/>
                </a:cubicBezTo>
                <a:cubicBezTo>
                  <a:pt x="16691" y="11606"/>
                  <a:pt x="16032" y="10800"/>
                  <a:pt x="15218" y="10800"/>
                </a:cubicBezTo>
                <a:cubicBezTo>
                  <a:pt x="14405" y="10800"/>
                  <a:pt x="13745" y="11606"/>
                  <a:pt x="13745" y="12599"/>
                </a:cubicBezTo>
                <a:cubicBezTo>
                  <a:pt x="13745" y="13594"/>
                  <a:pt x="14405" y="14399"/>
                  <a:pt x="15218" y="14399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67" name="Shape 2567"/>
          <p:cNvSpPr/>
          <p:nvPr/>
        </p:nvSpPr>
        <p:spPr>
          <a:xfrm>
            <a:off x="1947381" y="3559586"/>
            <a:ext cx="279328" cy="2793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11782"/>
                </a:moveTo>
                <a:cubicBezTo>
                  <a:pt x="7584" y="11782"/>
                  <a:pt x="7364" y="12001"/>
                  <a:pt x="7364" y="12272"/>
                </a:cubicBezTo>
                <a:cubicBezTo>
                  <a:pt x="7364" y="12408"/>
                  <a:pt x="7419" y="12531"/>
                  <a:pt x="7507" y="12619"/>
                </a:cubicBezTo>
                <a:lnTo>
                  <a:pt x="10453" y="15565"/>
                </a:lnTo>
                <a:cubicBezTo>
                  <a:pt x="10542" y="15654"/>
                  <a:pt x="10665" y="15709"/>
                  <a:pt x="10800" y="15709"/>
                </a:cubicBezTo>
                <a:cubicBezTo>
                  <a:pt x="10935" y="15709"/>
                  <a:pt x="11058" y="15654"/>
                  <a:pt x="11147" y="15565"/>
                </a:cubicBezTo>
                <a:lnTo>
                  <a:pt x="14093" y="12619"/>
                </a:lnTo>
                <a:cubicBezTo>
                  <a:pt x="14181" y="12531"/>
                  <a:pt x="14236" y="12408"/>
                  <a:pt x="14236" y="12272"/>
                </a:cubicBezTo>
                <a:cubicBezTo>
                  <a:pt x="14236" y="12001"/>
                  <a:pt x="14016" y="11782"/>
                  <a:pt x="13745" y="11782"/>
                </a:cubicBezTo>
                <a:cubicBezTo>
                  <a:pt x="13610" y="11782"/>
                  <a:pt x="13487" y="11837"/>
                  <a:pt x="13398" y="11925"/>
                </a:cubicBezTo>
                <a:lnTo>
                  <a:pt x="11291" y="14033"/>
                </a:lnTo>
                <a:lnTo>
                  <a:pt x="11291" y="492"/>
                </a:ln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4033"/>
                </a:lnTo>
                <a:lnTo>
                  <a:pt x="8202" y="11925"/>
                </a:lnTo>
                <a:cubicBezTo>
                  <a:pt x="8113" y="11837"/>
                  <a:pt x="7990" y="11782"/>
                  <a:pt x="7855" y="11782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68" name="Shape 2568"/>
          <p:cNvSpPr/>
          <p:nvPr/>
        </p:nvSpPr>
        <p:spPr>
          <a:xfrm>
            <a:off x="2480642" y="3559586"/>
            <a:ext cx="279328" cy="2793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3927"/>
                </a:moveTo>
                <a:cubicBezTo>
                  <a:pt x="7990" y="3927"/>
                  <a:pt x="8113" y="3872"/>
                  <a:pt x="8202" y="3784"/>
                </a:cubicBezTo>
                <a:lnTo>
                  <a:pt x="10309" y="1676"/>
                </a:lnTo>
                <a:lnTo>
                  <a:pt x="10309" y="15218"/>
                </a:lnTo>
                <a:lnTo>
                  <a:pt x="10309" y="15218"/>
                </a:lnTo>
                <a:cubicBezTo>
                  <a:pt x="10309" y="15489"/>
                  <a:pt x="10529" y="15709"/>
                  <a:pt x="10800" y="15709"/>
                </a:cubicBezTo>
                <a:cubicBezTo>
                  <a:pt x="11071" y="15709"/>
                  <a:pt x="11291" y="15489"/>
                  <a:pt x="11291" y="15218"/>
                </a:cubicBezTo>
                <a:lnTo>
                  <a:pt x="11291" y="1676"/>
                </a:lnTo>
                <a:lnTo>
                  <a:pt x="13398" y="3784"/>
                </a:lnTo>
                <a:cubicBezTo>
                  <a:pt x="13487" y="3872"/>
                  <a:pt x="13610" y="3927"/>
                  <a:pt x="13745" y="3927"/>
                </a:cubicBezTo>
                <a:cubicBezTo>
                  <a:pt x="14016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9" y="3178"/>
                  <a:pt x="7364" y="3301"/>
                  <a:pt x="7364" y="3436"/>
                </a:cubicBezTo>
                <a:cubicBezTo>
                  <a:pt x="7364" y="3708"/>
                  <a:pt x="7584" y="3927"/>
                  <a:pt x="7855" y="3927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69" name="Shape 2569"/>
          <p:cNvSpPr/>
          <p:nvPr/>
        </p:nvSpPr>
        <p:spPr>
          <a:xfrm>
            <a:off x="3013903" y="3559586"/>
            <a:ext cx="279328" cy="2793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18655" y="20618"/>
                </a:moveTo>
                <a:lnTo>
                  <a:pt x="2945" y="20618"/>
                </a:lnTo>
                <a:lnTo>
                  <a:pt x="2945" y="9818"/>
                </a:lnTo>
                <a:lnTo>
                  <a:pt x="18655" y="9818"/>
                </a:lnTo>
                <a:cubicBezTo>
                  <a:pt x="18655" y="9818"/>
                  <a:pt x="18655" y="20618"/>
                  <a:pt x="18655" y="20618"/>
                </a:cubicBezTo>
                <a:close/>
                <a:moveTo>
                  <a:pt x="3927" y="982"/>
                </a:moveTo>
                <a:lnTo>
                  <a:pt x="11782" y="982"/>
                </a:lnTo>
                <a:lnTo>
                  <a:pt x="11782" y="3436"/>
                </a:lnTo>
                <a:cubicBezTo>
                  <a:pt x="11782" y="3708"/>
                  <a:pt x="12002" y="3927"/>
                  <a:pt x="12273" y="3927"/>
                </a:cubicBezTo>
                <a:lnTo>
                  <a:pt x="14727" y="3927"/>
                </a:lnTo>
                <a:lnTo>
                  <a:pt x="14727" y="5891"/>
                </a:lnTo>
                <a:lnTo>
                  <a:pt x="3927" y="5891"/>
                </a:lnTo>
                <a:cubicBezTo>
                  <a:pt x="3927" y="5891"/>
                  <a:pt x="3927" y="982"/>
                  <a:pt x="3927" y="982"/>
                </a:cubicBezTo>
                <a:close/>
                <a:moveTo>
                  <a:pt x="12764" y="1473"/>
                </a:moveTo>
                <a:lnTo>
                  <a:pt x="14236" y="2945"/>
                </a:lnTo>
                <a:lnTo>
                  <a:pt x="12764" y="2945"/>
                </a:lnTo>
                <a:cubicBezTo>
                  <a:pt x="12764" y="2945"/>
                  <a:pt x="12764" y="1473"/>
                  <a:pt x="12764" y="1473"/>
                </a:cubicBezTo>
                <a:close/>
                <a:moveTo>
                  <a:pt x="17673" y="1964"/>
                </a:moveTo>
                <a:lnTo>
                  <a:pt x="17673" y="5891"/>
                </a:lnTo>
                <a:lnTo>
                  <a:pt x="15709" y="5891"/>
                </a:lnTo>
                <a:lnTo>
                  <a:pt x="15709" y="2945"/>
                </a:lnTo>
                <a:lnTo>
                  <a:pt x="14727" y="1964"/>
                </a:lnTo>
                <a:cubicBezTo>
                  <a:pt x="14727" y="1964"/>
                  <a:pt x="17673" y="1964"/>
                  <a:pt x="17673" y="1964"/>
                </a:cubicBezTo>
                <a:close/>
                <a:moveTo>
                  <a:pt x="20618" y="5891"/>
                </a:moveTo>
                <a:lnTo>
                  <a:pt x="18655" y="5891"/>
                </a:lnTo>
                <a:lnTo>
                  <a:pt x="18655" y="1964"/>
                </a:lnTo>
                <a:cubicBezTo>
                  <a:pt x="18655" y="1422"/>
                  <a:pt x="18215" y="982"/>
                  <a:pt x="17673" y="982"/>
                </a:cubicBezTo>
                <a:lnTo>
                  <a:pt x="13745" y="982"/>
                </a:lnTo>
                <a:lnTo>
                  <a:pt x="12764" y="0"/>
                </a:lnTo>
                <a:lnTo>
                  <a:pt x="3927" y="0"/>
                </a:lnTo>
                <a:cubicBezTo>
                  <a:pt x="3385" y="0"/>
                  <a:pt x="2945" y="440"/>
                  <a:pt x="2945" y="982"/>
                </a:cubicBezTo>
                <a:lnTo>
                  <a:pt x="2945" y="5891"/>
                </a:ln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9"/>
                  <a:pt x="440" y="9818"/>
                  <a:pt x="982" y="9818"/>
                </a:cubicBezTo>
                <a:lnTo>
                  <a:pt x="1964" y="9818"/>
                </a:lnTo>
                <a:lnTo>
                  <a:pt x="1964" y="20618"/>
                </a:lnTo>
                <a:cubicBezTo>
                  <a:pt x="1964" y="21160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60"/>
                  <a:pt x="19636" y="20618"/>
                </a:cubicBezTo>
                <a:lnTo>
                  <a:pt x="19636" y="9818"/>
                </a:lnTo>
                <a:lnTo>
                  <a:pt x="20618" y="9818"/>
                </a:lnTo>
                <a:cubicBezTo>
                  <a:pt x="21160" y="9818"/>
                  <a:pt x="21600" y="9379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7855" y="12763"/>
                </a:moveTo>
                <a:lnTo>
                  <a:pt x="13745" y="12763"/>
                </a:lnTo>
                <a:lnTo>
                  <a:pt x="13745" y="13745"/>
                </a:lnTo>
                <a:lnTo>
                  <a:pt x="7855" y="13745"/>
                </a:lnTo>
                <a:cubicBezTo>
                  <a:pt x="7855" y="13745"/>
                  <a:pt x="7855" y="12763"/>
                  <a:pt x="7855" y="12763"/>
                </a:cubicBezTo>
                <a:close/>
                <a:moveTo>
                  <a:pt x="7855" y="14727"/>
                </a:moveTo>
                <a:lnTo>
                  <a:pt x="13745" y="14727"/>
                </a:lnTo>
                <a:cubicBezTo>
                  <a:pt x="14287" y="14727"/>
                  <a:pt x="14727" y="14287"/>
                  <a:pt x="14727" y="13745"/>
                </a:cubicBezTo>
                <a:lnTo>
                  <a:pt x="14727" y="12763"/>
                </a:lnTo>
                <a:cubicBezTo>
                  <a:pt x="14727" y="12221"/>
                  <a:pt x="14287" y="11782"/>
                  <a:pt x="13745" y="11782"/>
                </a:cubicBezTo>
                <a:lnTo>
                  <a:pt x="7855" y="11782"/>
                </a:lnTo>
                <a:cubicBezTo>
                  <a:pt x="7313" y="11782"/>
                  <a:pt x="6873" y="12221"/>
                  <a:pt x="6873" y="12763"/>
                </a:cubicBezTo>
                <a:lnTo>
                  <a:pt x="6873" y="13745"/>
                </a:lnTo>
                <a:cubicBezTo>
                  <a:pt x="6873" y="14287"/>
                  <a:pt x="7313" y="14727"/>
                  <a:pt x="7855" y="14727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70" name="Shape 2570"/>
          <p:cNvSpPr/>
          <p:nvPr/>
        </p:nvSpPr>
        <p:spPr>
          <a:xfrm>
            <a:off x="3547164" y="3565935"/>
            <a:ext cx="279328" cy="2729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19" extrusionOk="0">
                <a:moveTo>
                  <a:pt x="7530" y="4197"/>
                </a:moveTo>
                <a:lnTo>
                  <a:pt x="6680" y="3701"/>
                </a:lnTo>
                <a:lnTo>
                  <a:pt x="6189" y="4560"/>
                </a:lnTo>
                <a:lnTo>
                  <a:pt x="7040" y="5056"/>
                </a:lnTo>
                <a:cubicBezTo>
                  <a:pt x="7040" y="5056"/>
                  <a:pt x="7530" y="4197"/>
                  <a:pt x="7530" y="4197"/>
                </a:cubicBezTo>
                <a:close/>
                <a:moveTo>
                  <a:pt x="8512" y="2479"/>
                </a:moveTo>
                <a:lnTo>
                  <a:pt x="7662" y="1984"/>
                </a:lnTo>
                <a:lnTo>
                  <a:pt x="7171" y="2843"/>
                </a:lnTo>
                <a:lnTo>
                  <a:pt x="8021" y="3339"/>
                </a:lnTo>
                <a:cubicBezTo>
                  <a:pt x="8021" y="3339"/>
                  <a:pt x="8512" y="2479"/>
                  <a:pt x="8512" y="2479"/>
                </a:cubicBezTo>
                <a:close/>
                <a:moveTo>
                  <a:pt x="20618" y="8428"/>
                </a:moveTo>
                <a:lnTo>
                  <a:pt x="982" y="8428"/>
                </a:lnTo>
                <a:lnTo>
                  <a:pt x="982" y="6445"/>
                </a:lnTo>
                <a:lnTo>
                  <a:pt x="20618" y="6445"/>
                </a:lnTo>
                <a:cubicBezTo>
                  <a:pt x="20618" y="6445"/>
                  <a:pt x="20618" y="8428"/>
                  <a:pt x="20618" y="8428"/>
                </a:cubicBezTo>
                <a:close/>
                <a:moveTo>
                  <a:pt x="18655" y="20327"/>
                </a:moveTo>
                <a:lnTo>
                  <a:pt x="2945" y="20327"/>
                </a:lnTo>
                <a:lnTo>
                  <a:pt x="2945" y="9420"/>
                </a:lnTo>
                <a:lnTo>
                  <a:pt x="18655" y="9420"/>
                </a:lnTo>
                <a:cubicBezTo>
                  <a:pt x="18655" y="9420"/>
                  <a:pt x="18655" y="20327"/>
                  <a:pt x="18655" y="20327"/>
                </a:cubicBezTo>
                <a:close/>
                <a:moveTo>
                  <a:pt x="6811" y="1488"/>
                </a:moveTo>
                <a:cubicBezTo>
                  <a:pt x="7083" y="1014"/>
                  <a:pt x="7683" y="851"/>
                  <a:pt x="8153" y="1125"/>
                </a:cubicBezTo>
                <a:lnTo>
                  <a:pt x="9854" y="2117"/>
                </a:lnTo>
                <a:lnTo>
                  <a:pt x="7946" y="5454"/>
                </a:lnTo>
                <a:lnTo>
                  <a:pt x="5759" y="5454"/>
                </a:lnTo>
                <a:lnTo>
                  <a:pt x="5698" y="5419"/>
                </a:lnTo>
                <a:lnTo>
                  <a:pt x="5678" y="5454"/>
                </a:lnTo>
                <a:lnTo>
                  <a:pt x="4545" y="5454"/>
                </a:lnTo>
                <a:cubicBezTo>
                  <a:pt x="4545" y="5454"/>
                  <a:pt x="6811" y="1488"/>
                  <a:pt x="6811" y="1488"/>
                </a:cubicBezTo>
                <a:close/>
                <a:moveTo>
                  <a:pt x="15577" y="5454"/>
                </a:moveTo>
                <a:lnTo>
                  <a:pt x="9079" y="5454"/>
                </a:lnTo>
                <a:lnTo>
                  <a:pt x="10704" y="2612"/>
                </a:lnTo>
                <a:cubicBezTo>
                  <a:pt x="10704" y="2612"/>
                  <a:pt x="15577" y="5454"/>
                  <a:pt x="15577" y="5454"/>
                </a:cubicBezTo>
                <a:close/>
                <a:moveTo>
                  <a:pt x="15930" y="2759"/>
                </a:moveTo>
                <a:cubicBezTo>
                  <a:pt x="16454" y="2617"/>
                  <a:pt x="16991" y="2931"/>
                  <a:pt x="17132" y="3460"/>
                </a:cubicBezTo>
                <a:lnTo>
                  <a:pt x="17661" y="5454"/>
                </a:lnTo>
                <a:lnTo>
                  <a:pt x="17540" y="5454"/>
                </a:lnTo>
                <a:lnTo>
                  <a:pt x="16279" y="4718"/>
                </a:lnTo>
                <a:lnTo>
                  <a:pt x="16438" y="4674"/>
                </a:lnTo>
                <a:lnTo>
                  <a:pt x="16184" y="3716"/>
                </a:lnTo>
                <a:lnTo>
                  <a:pt x="15236" y="3973"/>
                </a:lnTo>
                <a:lnTo>
                  <a:pt x="15279" y="4135"/>
                </a:lnTo>
                <a:lnTo>
                  <a:pt x="14076" y="3434"/>
                </a:lnTo>
                <a:lnTo>
                  <a:pt x="14033" y="3272"/>
                </a:lnTo>
                <a:cubicBezTo>
                  <a:pt x="14033" y="3272"/>
                  <a:pt x="15930" y="2759"/>
                  <a:pt x="15930" y="2759"/>
                </a:cubicBezTo>
                <a:close/>
                <a:moveTo>
                  <a:pt x="20618" y="5454"/>
                </a:moveTo>
                <a:lnTo>
                  <a:pt x="18678" y="5454"/>
                </a:lnTo>
                <a:lnTo>
                  <a:pt x="18081" y="3203"/>
                </a:lnTo>
                <a:cubicBezTo>
                  <a:pt x="17800" y="2145"/>
                  <a:pt x="16724" y="1518"/>
                  <a:pt x="15676" y="1801"/>
                </a:cubicBezTo>
                <a:lnTo>
                  <a:pt x="12671" y="2615"/>
                </a:lnTo>
                <a:lnTo>
                  <a:pt x="8644" y="266"/>
                </a:lnTo>
                <a:cubicBezTo>
                  <a:pt x="7704" y="-281"/>
                  <a:pt x="6504" y="44"/>
                  <a:pt x="5961" y="992"/>
                </a:cubicBezTo>
                <a:lnTo>
                  <a:pt x="3410" y="5454"/>
                </a:lnTo>
                <a:lnTo>
                  <a:pt x="982" y="5454"/>
                </a:lnTo>
                <a:cubicBezTo>
                  <a:pt x="440" y="5454"/>
                  <a:pt x="0" y="5898"/>
                  <a:pt x="0" y="6445"/>
                </a:cubicBezTo>
                <a:lnTo>
                  <a:pt x="0" y="8428"/>
                </a:lnTo>
                <a:cubicBezTo>
                  <a:pt x="0" y="8977"/>
                  <a:pt x="440" y="9420"/>
                  <a:pt x="982" y="9420"/>
                </a:cubicBezTo>
                <a:lnTo>
                  <a:pt x="1964" y="9420"/>
                </a:lnTo>
                <a:lnTo>
                  <a:pt x="1964" y="20327"/>
                </a:lnTo>
                <a:cubicBezTo>
                  <a:pt x="1964" y="20875"/>
                  <a:pt x="2403" y="21319"/>
                  <a:pt x="2945" y="21319"/>
                </a:cubicBezTo>
                <a:lnTo>
                  <a:pt x="18655" y="21319"/>
                </a:lnTo>
                <a:cubicBezTo>
                  <a:pt x="19197" y="21319"/>
                  <a:pt x="19636" y="20875"/>
                  <a:pt x="19636" y="20327"/>
                </a:cubicBezTo>
                <a:lnTo>
                  <a:pt x="19636" y="9420"/>
                </a:lnTo>
                <a:lnTo>
                  <a:pt x="20618" y="9420"/>
                </a:lnTo>
                <a:cubicBezTo>
                  <a:pt x="21160" y="9420"/>
                  <a:pt x="21600" y="8977"/>
                  <a:pt x="21600" y="8428"/>
                </a:cubicBezTo>
                <a:lnTo>
                  <a:pt x="21600" y="6445"/>
                </a:lnTo>
                <a:cubicBezTo>
                  <a:pt x="21600" y="5898"/>
                  <a:pt x="21160" y="5454"/>
                  <a:pt x="20618" y="5454"/>
                </a:cubicBezTo>
                <a:moveTo>
                  <a:pt x="7855" y="12395"/>
                </a:moveTo>
                <a:lnTo>
                  <a:pt x="13745" y="12395"/>
                </a:lnTo>
                <a:lnTo>
                  <a:pt x="13745" y="13386"/>
                </a:lnTo>
                <a:lnTo>
                  <a:pt x="7855" y="13386"/>
                </a:lnTo>
                <a:cubicBezTo>
                  <a:pt x="7855" y="13386"/>
                  <a:pt x="7855" y="12395"/>
                  <a:pt x="7855" y="12395"/>
                </a:cubicBezTo>
                <a:close/>
                <a:moveTo>
                  <a:pt x="7855" y="14378"/>
                </a:moveTo>
                <a:lnTo>
                  <a:pt x="13745" y="14378"/>
                </a:lnTo>
                <a:cubicBezTo>
                  <a:pt x="14288" y="14378"/>
                  <a:pt x="14727" y="13934"/>
                  <a:pt x="14727" y="13386"/>
                </a:cubicBezTo>
                <a:lnTo>
                  <a:pt x="14727" y="12395"/>
                </a:lnTo>
                <a:cubicBezTo>
                  <a:pt x="14727" y="11847"/>
                  <a:pt x="14288" y="11403"/>
                  <a:pt x="13745" y="11403"/>
                </a:cubicBezTo>
                <a:lnTo>
                  <a:pt x="7855" y="11403"/>
                </a:lnTo>
                <a:cubicBezTo>
                  <a:pt x="7312" y="11403"/>
                  <a:pt x="6873" y="11847"/>
                  <a:pt x="6873" y="12395"/>
                </a:cubicBezTo>
                <a:lnTo>
                  <a:pt x="6873" y="13386"/>
                </a:lnTo>
                <a:cubicBezTo>
                  <a:pt x="6873" y="13934"/>
                  <a:pt x="7312" y="14378"/>
                  <a:pt x="7855" y="14378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71" name="Shape 2571"/>
          <p:cNvSpPr/>
          <p:nvPr/>
        </p:nvSpPr>
        <p:spPr>
          <a:xfrm>
            <a:off x="4080425" y="355958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72" name="Shape 2572"/>
          <p:cNvSpPr/>
          <p:nvPr/>
        </p:nvSpPr>
        <p:spPr>
          <a:xfrm>
            <a:off x="4613686" y="355958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9818" y="8836"/>
                </a:lnTo>
                <a:lnTo>
                  <a:pt x="9818" y="4909"/>
                </a:lnTo>
                <a:cubicBezTo>
                  <a:pt x="9818" y="4638"/>
                  <a:pt x="9599" y="4418"/>
                  <a:pt x="9327" y="4418"/>
                </a:cubicBezTo>
                <a:cubicBezTo>
                  <a:pt x="9056" y="4418"/>
                  <a:pt x="8836" y="4638"/>
                  <a:pt x="8836" y="4909"/>
                </a:cubicBezTo>
                <a:lnTo>
                  <a:pt x="8836" y="8836"/>
                </a:ln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8836" y="9818"/>
                </a:lnTo>
                <a:lnTo>
                  <a:pt x="8836" y="13745"/>
                </a:lnTo>
                <a:cubicBezTo>
                  <a:pt x="8836" y="14017"/>
                  <a:pt x="9056" y="14236"/>
                  <a:pt x="9327" y="14236"/>
                </a:cubicBezTo>
                <a:cubicBezTo>
                  <a:pt x="9599" y="14236"/>
                  <a:pt x="9818" y="14017"/>
                  <a:pt x="9818" y="13745"/>
                </a:cubicBezTo>
                <a:lnTo>
                  <a:pt x="9818" y="9818"/>
                </a:ln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73" name="Shape 2573"/>
          <p:cNvSpPr/>
          <p:nvPr/>
        </p:nvSpPr>
        <p:spPr>
          <a:xfrm>
            <a:off x="5146947" y="355958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74" name="Shape 2574"/>
          <p:cNvSpPr/>
          <p:nvPr/>
        </p:nvSpPr>
        <p:spPr>
          <a:xfrm>
            <a:off x="5692905" y="3559587"/>
            <a:ext cx="253935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32" y="4909"/>
                  <a:pt x="1080" y="4030"/>
                  <a:pt x="1080" y="2945"/>
                </a:cubicBezTo>
                <a:cubicBezTo>
                  <a:pt x="1080" y="1861"/>
                  <a:pt x="5432" y="982"/>
                  <a:pt x="10800" y="982"/>
                </a:cubicBezTo>
                <a:cubicBezTo>
                  <a:pt x="16168" y="982"/>
                  <a:pt x="20520" y="1861"/>
                  <a:pt x="20520" y="2945"/>
                </a:cubicBezTo>
                <a:cubicBezTo>
                  <a:pt x="20520" y="4030"/>
                  <a:pt x="16168" y="4909"/>
                  <a:pt x="10800" y="4909"/>
                </a:cubicBezTo>
                <a:moveTo>
                  <a:pt x="16305" y="8659"/>
                </a:moveTo>
                <a:cubicBezTo>
                  <a:pt x="14130" y="10260"/>
                  <a:pt x="11880" y="11916"/>
                  <a:pt x="11880" y="14727"/>
                </a:cubicBezTo>
                <a:cubicBezTo>
                  <a:pt x="11880" y="17561"/>
                  <a:pt x="11880" y="19270"/>
                  <a:pt x="11642" y="20135"/>
                </a:cubicBezTo>
                <a:cubicBezTo>
                  <a:pt x="11522" y="20573"/>
                  <a:pt x="11509" y="20618"/>
                  <a:pt x="10800" y="20618"/>
                </a:cubicBezTo>
                <a:cubicBezTo>
                  <a:pt x="10091" y="20618"/>
                  <a:pt x="10078" y="20573"/>
                  <a:pt x="9957" y="20135"/>
                </a:cubicBezTo>
                <a:cubicBezTo>
                  <a:pt x="9818" y="19627"/>
                  <a:pt x="9761" y="18820"/>
                  <a:pt x="9738" y="17673"/>
                </a:cubicBezTo>
                <a:lnTo>
                  <a:pt x="10260" y="17673"/>
                </a:lnTo>
                <a:cubicBezTo>
                  <a:pt x="10558" y="17673"/>
                  <a:pt x="10800" y="17453"/>
                  <a:pt x="10800" y="17182"/>
                </a:cubicBezTo>
                <a:cubicBezTo>
                  <a:pt x="10800" y="16911"/>
                  <a:pt x="10558" y="16691"/>
                  <a:pt x="10260" y="16691"/>
                </a:cubicBezTo>
                <a:lnTo>
                  <a:pt x="9724" y="16691"/>
                </a:lnTo>
                <a:cubicBezTo>
                  <a:pt x="9722" y="16381"/>
                  <a:pt x="9721" y="16059"/>
                  <a:pt x="9721" y="15709"/>
                </a:cubicBezTo>
                <a:lnTo>
                  <a:pt x="10260" y="15709"/>
                </a:lnTo>
                <a:cubicBezTo>
                  <a:pt x="10558" y="15709"/>
                  <a:pt x="10800" y="15489"/>
                  <a:pt x="10800" y="15218"/>
                </a:cubicBezTo>
                <a:cubicBezTo>
                  <a:pt x="10800" y="14947"/>
                  <a:pt x="10558" y="14727"/>
                  <a:pt x="10260" y="14727"/>
                </a:cubicBezTo>
                <a:lnTo>
                  <a:pt x="9720" y="14727"/>
                </a:lnTo>
                <a:cubicBezTo>
                  <a:pt x="9720" y="11916"/>
                  <a:pt x="7470" y="10260"/>
                  <a:pt x="5295" y="8659"/>
                </a:cubicBezTo>
                <a:cubicBezTo>
                  <a:pt x="3543" y="7370"/>
                  <a:pt x="1872" y="6139"/>
                  <a:pt x="1294" y="4344"/>
                </a:cubicBezTo>
                <a:cubicBezTo>
                  <a:pt x="3119" y="5266"/>
                  <a:pt x="6691" y="5891"/>
                  <a:pt x="10800" y="5891"/>
                </a:cubicBezTo>
                <a:cubicBezTo>
                  <a:pt x="14905" y="5891"/>
                  <a:pt x="18475" y="5266"/>
                  <a:pt x="20302" y="4347"/>
                </a:cubicBezTo>
                <a:cubicBezTo>
                  <a:pt x="19721" y="6143"/>
                  <a:pt x="18053" y="7373"/>
                  <a:pt x="16305" y="8659"/>
                </a:cubicBezTo>
                <a:moveTo>
                  <a:pt x="10800" y="0"/>
                </a:moveTo>
                <a:cubicBezTo>
                  <a:pt x="4835" y="0"/>
                  <a:pt x="0" y="1319"/>
                  <a:pt x="0" y="2945"/>
                </a:cubicBezTo>
                <a:cubicBezTo>
                  <a:pt x="0" y="8836"/>
                  <a:pt x="8640" y="9818"/>
                  <a:pt x="8640" y="14727"/>
                </a:cubicBezTo>
                <a:lnTo>
                  <a:pt x="8640" y="15217"/>
                </a:lnTo>
                <a:lnTo>
                  <a:pt x="8640" y="15218"/>
                </a:lnTo>
                <a:lnTo>
                  <a:pt x="8640" y="15219"/>
                </a:lnTo>
                <a:cubicBezTo>
                  <a:pt x="8641" y="15938"/>
                  <a:pt x="8642" y="16572"/>
                  <a:pt x="8649" y="17142"/>
                </a:cubicBezTo>
                <a:cubicBezTo>
                  <a:pt x="8647" y="17155"/>
                  <a:pt x="8640" y="17168"/>
                  <a:pt x="8640" y="17182"/>
                </a:cubicBezTo>
                <a:cubicBezTo>
                  <a:pt x="8640" y="17199"/>
                  <a:pt x="8648" y="17212"/>
                  <a:pt x="8651" y="17230"/>
                </a:cubicBezTo>
                <a:cubicBezTo>
                  <a:pt x="8699" y="20896"/>
                  <a:pt x="8995" y="21600"/>
                  <a:pt x="10800" y="21600"/>
                </a:cubicBezTo>
                <a:cubicBezTo>
                  <a:pt x="12960" y="21600"/>
                  <a:pt x="12960" y="20618"/>
                  <a:pt x="12960" y="14727"/>
                </a:cubicBezTo>
                <a:cubicBezTo>
                  <a:pt x="12960" y="9818"/>
                  <a:pt x="21600" y="8836"/>
                  <a:pt x="21600" y="2945"/>
                </a:cubicBezTo>
                <a:cubicBezTo>
                  <a:pt x="21600" y="1319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75" name="Shape 2575"/>
          <p:cNvSpPr/>
          <p:nvPr/>
        </p:nvSpPr>
        <p:spPr>
          <a:xfrm>
            <a:off x="880859" y="4092848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8655" y="14727"/>
                </a:lnTo>
                <a:lnTo>
                  <a:pt x="18655" y="12273"/>
                </a:lnTo>
                <a:cubicBezTo>
                  <a:pt x="18655" y="12002"/>
                  <a:pt x="18434" y="11782"/>
                  <a:pt x="18164" y="11782"/>
                </a:cubicBezTo>
                <a:cubicBezTo>
                  <a:pt x="17893" y="11782"/>
                  <a:pt x="17673" y="12002"/>
                  <a:pt x="17673" y="12273"/>
                </a:cubicBezTo>
                <a:lnTo>
                  <a:pt x="17673" y="14727"/>
                </a:ln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17673" y="15709"/>
                </a:lnTo>
                <a:lnTo>
                  <a:pt x="17673" y="18164"/>
                </a:lnTo>
                <a:cubicBezTo>
                  <a:pt x="17673" y="18435"/>
                  <a:pt x="17893" y="18655"/>
                  <a:pt x="18164" y="18655"/>
                </a:cubicBezTo>
                <a:cubicBezTo>
                  <a:pt x="18434" y="18655"/>
                  <a:pt x="18655" y="18435"/>
                  <a:pt x="18655" y="18164"/>
                </a:cubicBezTo>
                <a:lnTo>
                  <a:pt x="18655" y="15709"/>
                </a:ln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76" name="Shape 2576"/>
          <p:cNvSpPr/>
          <p:nvPr/>
        </p:nvSpPr>
        <p:spPr>
          <a:xfrm>
            <a:off x="1414120" y="4092848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77" name="Shape 2577"/>
          <p:cNvSpPr/>
          <p:nvPr/>
        </p:nvSpPr>
        <p:spPr>
          <a:xfrm>
            <a:off x="1960077" y="4092848"/>
            <a:ext cx="253935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20" y="4979"/>
                </a:moveTo>
                <a:lnTo>
                  <a:pt x="7560" y="6792"/>
                </a:lnTo>
                <a:lnTo>
                  <a:pt x="7560" y="2876"/>
                </a:lnTo>
                <a:lnTo>
                  <a:pt x="20520" y="1063"/>
                </a:lnTo>
                <a:cubicBezTo>
                  <a:pt x="20520" y="1063"/>
                  <a:pt x="20520" y="4979"/>
                  <a:pt x="20520" y="4979"/>
                </a:cubicBezTo>
                <a:close/>
                <a:moveTo>
                  <a:pt x="18900" y="17673"/>
                </a:moveTo>
                <a:lnTo>
                  <a:pt x="16740" y="17673"/>
                </a:lnTo>
                <a:cubicBezTo>
                  <a:pt x="15845" y="17673"/>
                  <a:pt x="15120" y="17014"/>
                  <a:pt x="15120" y="16200"/>
                </a:cubicBezTo>
                <a:cubicBezTo>
                  <a:pt x="15120" y="15387"/>
                  <a:pt x="15845" y="14727"/>
                  <a:pt x="16740" y="14727"/>
                </a:cubicBezTo>
                <a:lnTo>
                  <a:pt x="18900" y="14727"/>
                </a:lnTo>
                <a:cubicBezTo>
                  <a:pt x="19795" y="14727"/>
                  <a:pt x="20520" y="15387"/>
                  <a:pt x="20520" y="16200"/>
                </a:cubicBezTo>
                <a:cubicBezTo>
                  <a:pt x="20520" y="17014"/>
                  <a:pt x="19795" y="17673"/>
                  <a:pt x="18900" y="17673"/>
                </a:cubicBezTo>
                <a:moveTo>
                  <a:pt x="4860" y="20618"/>
                </a:moveTo>
                <a:lnTo>
                  <a:pt x="2700" y="20618"/>
                </a:lnTo>
                <a:cubicBezTo>
                  <a:pt x="1805" y="20618"/>
                  <a:pt x="1080" y="19959"/>
                  <a:pt x="1080" y="19146"/>
                </a:cubicBezTo>
                <a:cubicBezTo>
                  <a:pt x="1080" y="18332"/>
                  <a:pt x="1805" y="17673"/>
                  <a:pt x="2700" y="17673"/>
                </a:cubicBezTo>
                <a:lnTo>
                  <a:pt x="4860" y="17673"/>
                </a:lnTo>
                <a:cubicBezTo>
                  <a:pt x="5755" y="17673"/>
                  <a:pt x="6480" y="18332"/>
                  <a:pt x="6480" y="19146"/>
                </a:cubicBezTo>
                <a:cubicBezTo>
                  <a:pt x="6480" y="19959"/>
                  <a:pt x="5755" y="20618"/>
                  <a:pt x="4860" y="20618"/>
                </a:cubicBezTo>
                <a:moveTo>
                  <a:pt x="21060" y="0"/>
                </a:moveTo>
                <a:cubicBezTo>
                  <a:pt x="21031" y="0"/>
                  <a:pt x="21006" y="11"/>
                  <a:pt x="20980" y="15"/>
                </a:cubicBezTo>
                <a:lnTo>
                  <a:pt x="20978" y="6"/>
                </a:lnTo>
                <a:lnTo>
                  <a:pt x="6938" y="1969"/>
                </a:lnTo>
                <a:lnTo>
                  <a:pt x="6940" y="1979"/>
                </a:lnTo>
                <a:cubicBezTo>
                  <a:pt x="6681" y="2016"/>
                  <a:pt x="6480" y="2210"/>
                  <a:pt x="6480" y="2455"/>
                </a:cubicBezTo>
                <a:lnTo>
                  <a:pt x="6480" y="17193"/>
                </a:lnTo>
                <a:cubicBezTo>
                  <a:pt x="6028" y="16882"/>
                  <a:pt x="5471" y="16691"/>
                  <a:pt x="4860" y="16691"/>
                </a:cubicBezTo>
                <a:lnTo>
                  <a:pt x="2700" y="16691"/>
                </a:lnTo>
                <a:cubicBezTo>
                  <a:pt x="1209" y="16691"/>
                  <a:pt x="0" y="17790"/>
                  <a:pt x="0" y="19146"/>
                </a:cubicBezTo>
                <a:cubicBezTo>
                  <a:pt x="0" y="20501"/>
                  <a:pt x="1209" y="21600"/>
                  <a:pt x="2700" y="21600"/>
                </a:cubicBezTo>
                <a:lnTo>
                  <a:pt x="4860" y="21600"/>
                </a:lnTo>
                <a:cubicBezTo>
                  <a:pt x="6352" y="21600"/>
                  <a:pt x="7560" y="20501"/>
                  <a:pt x="7560" y="19146"/>
                </a:cubicBezTo>
                <a:lnTo>
                  <a:pt x="7560" y="7785"/>
                </a:lnTo>
                <a:lnTo>
                  <a:pt x="20520" y="5972"/>
                </a:lnTo>
                <a:lnTo>
                  <a:pt x="20520" y="14248"/>
                </a:lnTo>
                <a:cubicBezTo>
                  <a:pt x="20068" y="13937"/>
                  <a:pt x="19511" y="13745"/>
                  <a:pt x="18900" y="13745"/>
                </a:cubicBezTo>
                <a:lnTo>
                  <a:pt x="16740" y="13745"/>
                </a:lnTo>
                <a:cubicBezTo>
                  <a:pt x="15249" y="13745"/>
                  <a:pt x="14040" y="14845"/>
                  <a:pt x="14040" y="16200"/>
                </a:cubicBezTo>
                <a:cubicBezTo>
                  <a:pt x="14040" y="17556"/>
                  <a:pt x="15249" y="18655"/>
                  <a:pt x="16740" y="18655"/>
                </a:cubicBezTo>
                <a:lnTo>
                  <a:pt x="18900" y="18655"/>
                </a:lnTo>
                <a:cubicBezTo>
                  <a:pt x="20392" y="18655"/>
                  <a:pt x="21600" y="17556"/>
                  <a:pt x="21600" y="16200"/>
                </a:cubicBezTo>
                <a:lnTo>
                  <a:pt x="21600" y="491"/>
                </a:lnTo>
                <a:cubicBezTo>
                  <a:pt x="21600" y="220"/>
                  <a:pt x="21358" y="0"/>
                  <a:pt x="2106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78" name="Shape 2578"/>
          <p:cNvSpPr/>
          <p:nvPr/>
        </p:nvSpPr>
        <p:spPr>
          <a:xfrm>
            <a:off x="2531429" y="4092848"/>
            <a:ext cx="177754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5837"/>
                </a:moveTo>
                <a:lnTo>
                  <a:pt x="10800" y="4996"/>
                </a:lnTo>
                <a:lnTo>
                  <a:pt x="10800" y="1036"/>
                </a:lnTo>
                <a:lnTo>
                  <a:pt x="20057" y="1878"/>
                </a:lnTo>
                <a:cubicBezTo>
                  <a:pt x="20057" y="1878"/>
                  <a:pt x="20057" y="5837"/>
                  <a:pt x="20057" y="5837"/>
                </a:cubicBezTo>
                <a:close/>
                <a:moveTo>
                  <a:pt x="6943" y="20618"/>
                </a:moveTo>
                <a:lnTo>
                  <a:pt x="3857" y="20618"/>
                </a:lnTo>
                <a:cubicBezTo>
                  <a:pt x="2579" y="20618"/>
                  <a:pt x="1543" y="19959"/>
                  <a:pt x="1543" y="19146"/>
                </a:cubicBezTo>
                <a:cubicBezTo>
                  <a:pt x="1543" y="18332"/>
                  <a:pt x="2579" y="17673"/>
                  <a:pt x="3857" y="17673"/>
                </a:cubicBezTo>
                <a:lnTo>
                  <a:pt x="6943" y="17673"/>
                </a:lnTo>
                <a:cubicBezTo>
                  <a:pt x="8221" y="17673"/>
                  <a:pt x="9257" y="18332"/>
                  <a:pt x="9257" y="19146"/>
                </a:cubicBezTo>
                <a:cubicBezTo>
                  <a:pt x="9257" y="19959"/>
                  <a:pt x="8221" y="20618"/>
                  <a:pt x="6943" y="20618"/>
                </a:cubicBezTo>
                <a:moveTo>
                  <a:pt x="20829" y="982"/>
                </a:moveTo>
                <a:cubicBezTo>
                  <a:pt x="20788" y="982"/>
                  <a:pt x="20752" y="993"/>
                  <a:pt x="20714" y="997"/>
                </a:cubicBezTo>
                <a:lnTo>
                  <a:pt x="20711" y="988"/>
                </a:lnTo>
                <a:lnTo>
                  <a:pt x="10344" y="45"/>
                </a:lnTo>
                <a:cubicBezTo>
                  <a:pt x="10248" y="17"/>
                  <a:pt x="10141" y="0"/>
                  <a:pt x="10029" y="0"/>
                </a:cubicBezTo>
                <a:cubicBezTo>
                  <a:pt x="10002" y="0"/>
                  <a:pt x="9979" y="8"/>
                  <a:pt x="9954" y="10"/>
                </a:cubicBezTo>
                <a:lnTo>
                  <a:pt x="9911" y="6"/>
                </a:lnTo>
                <a:lnTo>
                  <a:pt x="9914" y="15"/>
                </a:lnTo>
                <a:cubicBezTo>
                  <a:pt x="9545" y="52"/>
                  <a:pt x="9257" y="246"/>
                  <a:pt x="9257" y="491"/>
                </a:cubicBezTo>
                <a:lnTo>
                  <a:pt x="9257" y="17193"/>
                </a:lnTo>
                <a:cubicBezTo>
                  <a:pt x="8612" y="16882"/>
                  <a:pt x="7815" y="16691"/>
                  <a:pt x="6943" y="16691"/>
                </a:cubicBezTo>
                <a:lnTo>
                  <a:pt x="3857" y="16691"/>
                </a:lnTo>
                <a:cubicBezTo>
                  <a:pt x="1727" y="16691"/>
                  <a:pt x="0" y="17790"/>
                  <a:pt x="0" y="19146"/>
                </a:cubicBezTo>
                <a:cubicBezTo>
                  <a:pt x="0" y="20501"/>
                  <a:pt x="1727" y="21600"/>
                  <a:pt x="3857" y="21600"/>
                </a:cubicBezTo>
                <a:lnTo>
                  <a:pt x="6943" y="21600"/>
                </a:lnTo>
                <a:cubicBezTo>
                  <a:pt x="9074" y="21600"/>
                  <a:pt x="10800" y="20501"/>
                  <a:pt x="10800" y="19146"/>
                </a:cubicBezTo>
                <a:lnTo>
                  <a:pt x="10800" y="5945"/>
                </a:lnTo>
                <a:lnTo>
                  <a:pt x="20513" y="6828"/>
                </a:lnTo>
                <a:cubicBezTo>
                  <a:pt x="20610" y="6855"/>
                  <a:pt x="20715" y="6873"/>
                  <a:pt x="20829" y="6873"/>
                </a:cubicBezTo>
                <a:cubicBezTo>
                  <a:pt x="20855" y="6873"/>
                  <a:pt x="20877" y="6865"/>
                  <a:pt x="20904" y="6864"/>
                </a:cubicBezTo>
                <a:lnTo>
                  <a:pt x="20946" y="6867"/>
                </a:lnTo>
                <a:lnTo>
                  <a:pt x="20943" y="6858"/>
                </a:lnTo>
                <a:cubicBezTo>
                  <a:pt x="21313" y="6822"/>
                  <a:pt x="21600" y="6627"/>
                  <a:pt x="21600" y="6382"/>
                </a:cubicBezTo>
                <a:lnTo>
                  <a:pt x="21600" y="1473"/>
                </a:lnTo>
                <a:cubicBezTo>
                  <a:pt x="21600" y="1202"/>
                  <a:pt x="21254" y="982"/>
                  <a:pt x="20829" y="982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79" name="Shape 2579"/>
          <p:cNvSpPr/>
          <p:nvPr/>
        </p:nvSpPr>
        <p:spPr>
          <a:xfrm>
            <a:off x="3013903" y="4092848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57" y="18984"/>
                </a:moveTo>
                <a:lnTo>
                  <a:pt x="11380" y="15408"/>
                </a:lnTo>
                <a:lnTo>
                  <a:pt x="10800" y="14983"/>
                </a:lnTo>
                <a:lnTo>
                  <a:pt x="10219" y="15408"/>
                </a:lnTo>
                <a:lnTo>
                  <a:pt x="5343" y="18984"/>
                </a:lnTo>
                <a:lnTo>
                  <a:pt x="7313" y="13075"/>
                </a:lnTo>
                <a:lnTo>
                  <a:pt x="7534" y="12411"/>
                </a:lnTo>
                <a:lnTo>
                  <a:pt x="6980" y="11985"/>
                </a:lnTo>
                <a:lnTo>
                  <a:pt x="2887" y="8836"/>
                </a:lnTo>
                <a:lnTo>
                  <a:pt x="8535" y="8836"/>
                </a:lnTo>
                <a:lnTo>
                  <a:pt x="8774" y="8199"/>
                </a:lnTo>
                <a:lnTo>
                  <a:pt x="10800" y="2796"/>
                </a:lnTo>
                <a:lnTo>
                  <a:pt x="12826" y="8199"/>
                </a:lnTo>
                <a:lnTo>
                  <a:pt x="13065" y="8836"/>
                </a:lnTo>
                <a:lnTo>
                  <a:pt x="18714" y="8836"/>
                </a:lnTo>
                <a:lnTo>
                  <a:pt x="14619" y="11985"/>
                </a:lnTo>
                <a:lnTo>
                  <a:pt x="14066" y="12411"/>
                </a:lnTo>
                <a:cubicBezTo>
                  <a:pt x="14066" y="12411"/>
                  <a:pt x="16257" y="18984"/>
                  <a:pt x="16257" y="18984"/>
                </a:cubicBezTo>
                <a:close/>
                <a:moveTo>
                  <a:pt x="21600" y="7855"/>
                </a:moveTo>
                <a:lnTo>
                  <a:pt x="13745" y="7855"/>
                </a:lnTo>
                <a:lnTo>
                  <a:pt x="10800" y="0"/>
                </a:lnTo>
                <a:lnTo>
                  <a:pt x="7855" y="7855"/>
                </a:lnTo>
                <a:lnTo>
                  <a:pt x="0" y="7855"/>
                </a:lnTo>
                <a:lnTo>
                  <a:pt x="6382" y="12764"/>
                </a:lnTo>
                <a:lnTo>
                  <a:pt x="3436" y="21600"/>
                </a:lnTo>
                <a:lnTo>
                  <a:pt x="10800" y="16200"/>
                </a:lnTo>
                <a:lnTo>
                  <a:pt x="18164" y="21600"/>
                </a:lnTo>
                <a:lnTo>
                  <a:pt x="15218" y="12764"/>
                </a:lnTo>
                <a:cubicBezTo>
                  <a:pt x="15218" y="12764"/>
                  <a:pt x="21600" y="7855"/>
                  <a:pt x="21600" y="7855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80" name="Shape 2580"/>
          <p:cNvSpPr/>
          <p:nvPr/>
        </p:nvSpPr>
        <p:spPr>
          <a:xfrm>
            <a:off x="3547164" y="4092848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445" y="15886"/>
                </a:moveTo>
                <a:lnTo>
                  <a:pt x="10478" y="18984"/>
                </a:lnTo>
                <a:lnTo>
                  <a:pt x="7944" y="17126"/>
                </a:lnTo>
                <a:lnTo>
                  <a:pt x="7364" y="16700"/>
                </a:lnTo>
                <a:lnTo>
                  <a:pt x="6783" y="17126"/>
                </a:lnTo>
                <a:lnTo>
                  <a:pt x="4249" y="18984"/>
                </a:lnTo>
                <a:lnTo>
                  <a:pt x="5283" y="15886"/>
                </a:lnTo>
                <a:lnTo>
                  <a:pt x="5505" y="15220"/>
                </a:lnTo>
                <a:lnTo>
                  <a:pt x="4946" y="14794"/>
                </a:lnTo>
                <a:lnTo>
                  <a:pt x="2908" y="13240"/>
                </a:lnTo>
                <a:lnTo>
                  <a:pt x="6037" y="13240"/>
                </a:lnTo>
                <a:lnTo>
                  <a:pt x="6275" y="12602"/>
                </a:lnTo>
                <a:lnTo>
                  <a:pt x="7364" y="9683"/>
                </a:lnTo>
                <a:lnTo>
                  <a:pt x="8452" y="12602"/>
                </a:lnTo>
                <a:lnTo>
                  <a:pt x="8690" y="13240"/>
                </a:lnTo>
                <a:lnTo>
                  <a:pt x="11820" y="13240"/>
                </a:lnTo>
                <a:lnTo>
                  <a:pt x="9781" y="14794"/>
                </a:lnTo>
                <a:lnTo>
                  <a:pt x="9223" y="15220"/>
                </a:lnTo>
                <a:cubicBezTo>
                  <a:pt x="9223" y="15220"/>
                  <a:pt x="9445" y="15886"/>
                  <a:pt x="9445" y="15886"/>
                </a:cubicBezTo>
                <a:close/>
                <a:moveTo>
                  <a:pt x="9372" y="12259"/>
                </a:moveTo>
                <a:lnTo>
                  <a:pt x="7364" y="6873"/>
                </a:lnTo>
                <a:lnTo>
                  <a:pt x="5355" y="12259"/>
                </a:lnTo>
                <a:lnTo>
                  <a:pt x="0" y="12259"/>
                </a:lnTo>
                <a:lnTo>
                  <a:pt x="4351" y="15575"/>
                </a:lnTo>
                <a:lnTo>
                  <a:pt x="2343" y="21600"/>
                </a:lnTo>
                <a:lnTo>
                  <a:pt x="7364" y="17918"/>
                </a:lnTo>
                <a:lnTo>
                  <a:pt x="12384" y="21600"/>
                </a:lnTo>
                <a:lnTo>
                  <a:pt x="10376" y="15575"/>
                </a:lnTo>
                <a:lnTo>
                  <a:pt x="14727" y="12259"/>
                </a:lnTo>
                <a:cubicBezTo>
                  <a:pt x="14727" y="12259"/>
                  <a:pt x="9372" y="12259"/>
                  <a:pt x="9372" y="12259"/>
                </a:cubicBezTo>
                <a:close/>
                <a:moveTo>
                  <a:pt x="16781" y="7308"/>
                </a:moveTo>
                <a:lnTo>
                  <a:pt x="16200" y="6883"/>
                </a:lnTo>
                <a:lnTo>
                  <a:pt x="15619" y="7308"/>
                </a:lnTo>
                <a:lnTo>
                  <a:pt x="14426" y="8184"/>
                </a:lnTo>
                <a:lnTo>
                  <a:pt x="14922" y="6693"/>
                </a:lnTo>
                <a:lnTo>
                  <a:pt x="15143" y="6031"/>
                </a:lnTo>
                <a:lnTo>
                  <a:pt x="14590" y="5605"/>
                </a:lnTo>
                <a:lnTo>
                  <a:pt x="13682" y="4905"/>
                </a:lnTo>
                <a:lnTo>
                  <a:pt x="15408" y="4905"/>
                </a:lnTo>
                <a:lnTo>
                  <a:pt x="15647" y="4267"/>
                </a:lnTo>
                <a:lnTo>
                  <a:pt x="16200" y="2793"/>
                </a:lnTo>
                <a:lnTo>
                  <a:pt x="16754" y="4267"/>
                </a:lnTo>
                <a:lnTo>
                  <a:pt x="16992" y="4905"/>
                </a:lnTo>
                <a:lnTo>
                  <a:pt x="18718" y="4905"/>
                </a:lnTo>
                <a:lnTo>
                  <a:pt x="17810" y="5605"/>
                </a:lnTo>
                <a:lnTo>
                  <a:pt x="17257" y="6031"/>
                </a:lnTo>
                <a:lnTo>
                  <a:pt x="17478" y="6693"/>
                </a:lnTo>
                <a:lnTo>
                  <a:pt x="17975" y="8184"/>
                </a:lnTo>
                <a:cubicBezTo>
                  <a:pt x="17975" y="8184"/>
                  <a:pt x="16781" y="7308"/>
                  <a:pt x="16781" y="7308"/>
                </a:cubicBezTo>
                <a:close/>
                <a:moveTo>
                  <a:pt x="21600" y="3922"/>
                </a:moveTo>
                <a:lnTo>
                  <a:pt x="17673" y="3922"/>
                </a:lnTo>
                <a:lnTo>
                  <a:pt x="16200" y="0"/>
                </a:lnTo>
                <a:lnTo>
                  <a:pt x="14727" y="3922"/>
                </a:lnTo>
                <a:lnTo>
                  <a:pt x="10800" y="3922"/>
                </a:lnTo>
                <a:lnTo>
                  <a:pt x="13991" y="6382"/>
                </a:lnTo>
                <a:lnTo>
                  <a:pt x="12518" y="10800"/>
                </a:lnTo>
                <a:lnTo>
                  <a:pt x="16200" y="8100"/>
                </a:lnTo>
                <a:lnTo>
                  <a:pt x="19882" y="10800"/>
                </a:lnTo>
                <a:lnTo>
                  <a:pt x="18409" y="6382"/>
                </a:lnTo>
                <a:cubicBezTo>
                  <a:pt x="18409" y="6382"/>
                  <a:pt x="21600" y="3922"/>
                  <a:pt x="21600" y="3922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81" name="Shape 2581"/>
          <p:cNvSpPr/>
          <p:nvPr/>
        </p:nvSpPr>
        <p:spPr>
          <a:xfrm>
            <a:off x="4080425" y="4092848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33" y="11950"/>
                </a:moveTo>
                <a:lnTo>
                  <a:pt x="12831" y="14044"/>
                </a:lnTo>
                <a:lnTo>
                  <a:pt x="11135" y="12801"/>
                </a:lnTo>
                <a:lnTo>
                  <a:pt x="10555" y="12375"/>
                </a:lnTo>
                <a:lnTo>
                  <a:pt x="9974" y="12801"/>
                </a:lnTo>
                <a:lnTo>
                  <a:pt x="8277" y="14044"/>
                </a:lnTo>
                <a:lnTo>
                  <a:pt x="8976" y="11950"/>
                </a:lnTo>
                <a:lnTo>
                  <a:pt x="9195" y="11291"/>
                </a:lnTo>
                <a:lnTo>
                  <a:pt x="8647" y="10864"/>
                </a:lnTo>
                <a:lnTo>
                  <a:pt x="7280" y="9801"/>
                </a:lnTo>
                <a:lnTo>
                  <a:pt x="9560" y="9801"/>
                </a:lnTo>
                <a:lnTo>
                  <a:pt x="9799" y="9167"/>
                </a:lnTo>
                <a:lnTo>
                  <a:pt x="10555" y="7167"/>
                </a:lnTo>
                <a:lnTo>
                  <a:pt x="11310" y="9167"/>
                </a:lnTo>
                <a:lnTo>
                  <a:pt x="11549" y="9801"/>
                </a:lnTo>
                <a:lnTo>
                  <a:pt x="13829" y="9801"/>
                </a:lnTo>
                <a:lnTo>
                  <a:pt x="12462" y="10864"/>
                </a:lnTo>
                <a:lnTo>
                  <a:pt x="11914" y="11291"/>
                </a:lnTo>
                <a:cubicBezTo>
                  <a:pt x="11914" y="11291"/>
                  <a:pt x="12133" y="11950"/>
                  <a:pt x="12133" y="11950"/>
                </a:cubicBezTo>
                <a:close/>
                <a:moveTo>
                  <a:pt x="12228" y="8820"/>
                </a:moveTo>
                <a:lnTo>
                  <a:pt x="10555" y="4388"/>
                </a:lnTo>
                <a:lnTo>
                  <a:pt x="8881" y="8820"/>
                </a:lnTo>
                <a:lnTo>
                  <a:pt x="4418" y="8820"/>
                </a:lnTo>
                <a:lnTo>
                  <a:pt x="8044" y="11639"/>
                </a:lnTo>
                <a:lnTo>
                  <a:pt x="6371" y="16660"/>
                </a:lnTo>
                <a:lnTo>
                  <a:pt x="10555" y="13592"/>
                </a:lnTo>
                <a:lnTo>
                  <a:pt x="14738" y="16660"/>
                </a:lnTo>
                <a:lnTo>
                  <a:pt x="13065" y="11639"/>
                </a:lnTo>
                <a:lnTo>
                  <a:pt x="16691" y="8820"/>
                </a:lnTo>
                <a:cubicBezTo>
                  <a:pt x="16691" y="8820"/>
                  <a:pt x="12228" y="8820"/>
                  <a:pt x="12228" y="8820"/>
                </a:cubicBezTo>
                <a:close/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82" name="Shape 2582"/>
          <p:cNvSpPr/>
          <p:nvPr/>
        </p:nvSpPr>
        <p:spPr>
          <a:xfrm>
            <a:off x="4613686" y="4092848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4419"/>
                </a:moveTo>
                <a:lnTo>
                  <a:pt x="9327" y="4419"/>
                </a:lnTo>
                <a:cubicBezTo>
                  <a:pt x="9056" y="4419"/>
                  <a:pt x="8836" y="4638"/>
                  <a:pt x="8836" y="4909"/>
                </a:cubicBezTo>
                <a:cubicBezTo>
                  <a:pt x="8836" y="5181"/>
                  <a:pt x="9056" y="5400"/>
                  <a:pt x="9327" y="5400"/>
                </a:cubicBezTo>
                <a:lnTo>
                  <a:pt x="18164" y="5400"/>
                </a:lnTo>
                <a:cubicBezTo>
                  <a:pt x="18435" y="5400"/>
                  <a:pt x="18655" y="5181"/>
                  <a:pt x="18655" y="4909"/>
                </a:cubicBezTo>
                <a:cubicBezTo>
                  <a:pt x="18655" y="4638"/>
                  <a:pt x="18435" y="4419"/>
                  <a:pt x="18164" y="4419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164" y="10310"/>
                </a:moveTo>
                <a:lnTo>
                  <a:pt x="9327" y="10310"/>
                </a:lnTo>
                <a:cubicBezTo>
                  <a:pt x="9056" y="10310"/>
                  <a:pt x="8836" y="10529"/>
                  <a:pt x="8836" y="10800"/>
                </a:cubicBezTo>
                <a:cubicBezTo>
                  <a:pt x="8836" y="11072"/>
                  <a:pt x="9056" y="11291"/>
                  <a:pt x="9327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5445" y="16155"/>
                </a:moveTo>
                <a:lnTo>
                  <a:pt x="4909" y="14728"/>
                </a:lnTo>
                <a:lnTo>
                  <a:pt x="4374" y="16155"/>
                </a:lnTo>
                <a:lnTo>
                  <a:pt x="2945" y="16155"/>
                </a:lnTo>
                <a:lnTo>
                  <a:pt x="4106" y="17048"/>
                </a:lnTo>
                <a:lnTo>
                  <a:pt x="3571" y="18655"/>
                </a:lnTo>
                <a:lnTo>
                  <a:pt x="4909" y="17673"/>
                </a:lnTo>
                <a:lnTo>
                  <a:pt x="6248" y="18655"/>
                </a:lnTo>
                <a:lnTo>
                  <a:pt x="5713" y="17048"/>
                </a:lnTo>
                <a:lnTo>
                  <a:pt x="6873" y="16155"/>
                </a:lnTo>
                <a:cubicBezTo>
                  <a:pt x="6873" y="16155"/>
                  <a:pt x="5445" y="16155"/>
                  <a:pt x="5445" y="16155"/>
                </a:cubicBezTo>
                <a:close/>
                <a:moveTo>
                  <a:pt x="4909" y="8836"/>
                </a:moveTo>
                <a:lnTo>
                  <a:pt x="4374" y="10265"/>
                </a:lnTo>
                <a:lnTo>
                  <a:pt x="2945" y="10265"/>
                </a:lnTo>
                <a:lnTo>
                  <a:pt x="4106" y="11157"/>
                </a:lnTo>
                <a:lnTo>
                  <a:pt x="3571" y="12764"/>
                </a:lnTo>
                <a:lnTo>
                  <a:pt x="4909" y="11782"/>
                </a:lnTo>
                <a:lnTo>
                  <a:pt x="6248" y="12764"/>
                </a:lnTo>
                <a:lnTo>
                  <a:pt x="5713" y="11157"/>
                </a:lnTo>
                <a:lnTo>
                  <a:pt x="6873" y="10265"/>
                </a:lnTo>
                <a:lnTo>
                  <a:pt x="5445" y="10265"/>
                </a:lnTo>
                <a:cubicBezTo>
                  <a:pt x="5445" y="10265"/>
                  <a:pt x="4909" y="8836"/>
                  <a:pt x="4909" y="8836"/>
                </a:cubicBezTo>
                <a:close/>
                <a:moveTo>
                  <a:pt x="4909" y="2945"/>
                </a:moveTo>
                <a:lnTo>
                  <a:pt x="4374" y="4374"/>
                </a:lnTo>
                <a:lnTo>
                  <a:pt x="2945" y="4374"/>
                </a:lnTo>
                <a:lnTo>
                  <a:pt x="4106" y="5266"/>
                </a:lnTo>
                <a:lnTo>
                  <a:pt x="3571" y="6873"/>
                </a:lnTo>
                <a:lnTo>
                  <a:pt x="4909" y="5891"/>
                </a:lnTo>
                <a:lnTo>
                  <a:pt x="6248" y="6873"/>
                </a:lnTo>
                <a:lnTo>
                  <a:pt x="5713" y="5266"/>
                </a:lnTo>
                <a:lnTo>
                  <a:pt x="6873" y="4374"/>
                </a:lnTo>
                <a:lnTo>
                  <a:pt x="5445" y="4374"/>
                </a:lnTo>
                <a:cubicBezTo>
                  <a:pt x="5445" y="4374"/>
                  <a:pt x="4909" y="2945"/>
                  <a:pt x="4909" y="2945"/>
                </a:cubicBezTo>
                <a:close/>
                <a:moveTo>
                  <a:pt x="18164" y="16200"/>
                </a:moveTo>
                <a:lnTo>
                  <a:pt x="9327" y="16200"/>
                </a:lnTo>
                <a:cubicBezTo>
                  <a:pt x="9056" y="16200"/>
                  <a:pt x="8836" y="16420"/>
                  <a:pt x="8836" y="16691"/>
                </a:cubicBezTo>
                <a:cubicBezTo>
                  <a:pt x="8836" y="16962"/>
                  <a:pt x="9056" y="17182"/>
                  <a:pt x="9327" y="17182"/>
                </a:cubicBezTo>
                <a:lnTo>
                  <a:pt x="18164" y="17182"/>
                </a:lnTo>
                <a:cubicBezTo>
                  <a:pt x="18435" y="17182"/>
                  <a:pt x="18655" y="16962"/>
                  <a:pt x="18655" y="16691"/>
                </a:cubicBezTo>
                <a:cubicBezTo>
                  <a:pt x="18655" y="16420"/>
                  <a:pt x="18435" y="16200"/>
                  <a:pt x="18164" y="162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83" name="Shape 2583"/>
          <p:cNvSpPr/>
          <p:nvPr/>
        </p:nvSpPr>
        <p:spPr>
          <a:xfrm>
            <a:off x="5146947" y="4092848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90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1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90"/>
                </a:cubicBezTo>
                <a:cubicBezTo>
                  <a:pt x="9962" y="13890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6"/>
                  <a:pt x="11155" y="21600"/>
                  <a:pt x="11291" y="21600"/>
                </a:cubicBezTo>
                <a:cubicBezTo>
                  <a:pt x="11427" y="21600"/>
                  <a:pt x="11549" y="21546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9"/>
                  <a:pt x="11291" y="12764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84" name="Shape 2584"/>
          <p:cNvSpPr/>
          <p:nvPr/>
        </p:nvSpPr>
        <p:spPr>
          <a:xfrm>
            <a:off x="5680208" y="4092848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7673"/>
                </a:moveTo>
                <a:cubicBezTo>
                  <a:pt x="10445" y="17673"/>
                  <a:pt x="10567" y="17618"/>
                  <a:pt x="10656" y="17529"/>
                </a:cubicBezTo>
                <a:lnTo>
                  <a:pt x="12620" y="15565"/>
                </a:lnTo>
                <a:cubicBezTo>
                  <a:pt x="12709" y="15477"/>
                  <a:pt x="12764" y="15354"/>
                  <a:pt x="12764" y="15218"/>
                </a:cubicBezTo>
                <a:cubicBezTo>
                  <a:pt x="12764" y="14947"/>
                  <a:pt x="12544" y="14728"/>
                  <a:pt x="12273" y="14728"/>
                </a:cubicBezTo>
                <a:cubicBezTo>
                  <a:pt x="12137" y="14728"/>
                  <a:pt x="12014" y="14782"/>
                  <a:pt x="11926" y="14871"/>
                </a:cubicBezTo>
                <a:lnTo>
                  <a:pt x="9962" y="16835"/>
                </a:lnTo>
                <a:cubicBezTo>
                  <a:pt x="9873" y="16924"/>
                  <a:pt x="9818" y="17046"/>
                  <a:pt x="9818" y="17183"/>
                </a:cubicBezTo>
                <a:cubicBezTo>
                  <a:pt x="9818" y="17453"/>
                  <a:pt x="10038" y="17673"/>
                  <a:pt x="10309" y="17673"/>
                </a:cubicBezTo>
                <a:moveTo>
                  <a:pt x="10309" y="20415"/>
                </a:moveTo>
                <a:lnTo>
                  <a:pt x="982" y="11088"/>
                </a:lnTo>
                <a:lnTo>
                  <a:pt x="982" y="4418"/>
                </a:lnTo>
                <a:cubicBezTo>
                  <a:pt x="982" y="4147"/>
                  <a:pt x="1201" y="3927"/>
                  <a:pt x="1473" y="3927"/>
                </a:cubicBezTo>
                <a:lnTo>
                  <a:pt x="8142" y="3927"/>
                </a:lnTo>
                <a:lnTo>
                  <a:pt x="17469" y="13255"/>
                </a:lnTo>
                <a:cubicBezTo>
                  <a:pt x="17469" y="13255"/>
                  <a:pt x="10309" y="20415"/>
                  <a:pt x="10309" y="20415"/>
                </a:cubicBezTo>
                <a:close/>
                <a:moveTo>
                  <a:pt x="8693" y="3090"/>
                </a:moveTo>
                <a:cubicBezTo>
                  <a:pt x="8604" y="3001"/>
                  <a:pt x="8481" y="2945"/>
                  <a:pt x="8345" y="2945"/>
                </a:cubicBezTo>
                <a:lnTo>
                  <a:pt x="1473" y="2945"/>
                </a:lnTo>
                <a:cubicBezTo>
                  <a:pt x="660" y="2945"/>
                  <a:pt x="0" y="3605"/>
                  <a:pt x="0" y="4418"/>
                </a:cubicBezTo>
                <a:lnTo>
                  <a:pt x="0" y="11291"/>
                </a:lnTo>
                <a:cubicBezTo>
                  <a:pt x="0" y="11427"/>
                  <a:pt x="55" y="11549"/>
                  <a:pt x="144" y="11638"/>
                </a:cubicBezTo>
                <a:lnTo>
                  <a:pt x="9962" y="21456"/>
                </a:lnTo>
                <a:cubicBezTo>
                  <a:pt x="10051" y="21546"/>
                  <a:pt x="10174" y="21600"/>
                  <a:pt x="10309" y="21600"/>
                </a:cubicBezTo>
                <a:cubicBezTo>
                  <a:pt x="10445" y="21600"/>
                  <a:pt x="10567" y="21546"/>
                  <a:pt x="10656" y="21456"/>
                </a:cubicBezTo>
                <a:lnTo>
                  <a:pt x="18511" y="13602"/>
                </a:lnTo>
                <a:cubicBezTo>
                  <a:pt x="18600" y="13513"/>
                  <a:pt x="18655" y="13390"/>
                  <a:pt x="18655" y="13255"/>
                </a:cubicBezTo>
                <a:cubicBezTo>
                  <a:pt x="18655" y="13119"/>
                  <a:pt x="18599" y="12997"/>
                  <a:pt x="18511" y="12908"/>
                </a:cubicBezTo>
                <a:cubicBezTo>
                  <a:pt x="18511" y="12908"/>
                  <a:pt x="8693" y="3090"/>
                  <a:pt x="8693" y="3090"/>
                </a:cubicBezTo>
                <a:close/>
                <a:moveTo>
                  <a:pt x="7855" y="15218"/>
                </a:moveTo>
                <a:cubicBezTo>
                  <a:pt x="7855" y="15490"/>
                  <a:pt x="8074" y="15709"/>
                  <a:pt x="8345" y="15709"/>
                </a:cubicBezTo>
                <a:cubicBezTo>
                  <a:pt x="8481" y="15709"/>
                  <a:pt x="8604" y="15655"/>
                  <a:pt x="8693" y="15565"/>
                </a:cubicBezTo>
                <a:lnTo>
                  <a:pt x="9183" y="15074"/>
                </a:lnTo>
                <a:cubicBezTo>
                  <a:pt x="9273" y="14986"/>
                  <a:pt x="9327" y="14863"/>
                  <a:pt x="9327" y="14728"/>
                </a:cubicBezTo>
                <a:cubicBezTo>
                  <a:pt x="9327" y="14456"/>
                  <a:pt x="9108" y="14236"/>
                  <a:pt x="8836" y="14236"/>
                </a:cubicBezTo>
                <a:cubicBezTo>
                  <a:pt x="8701" y="14236"/>
                  <a:pt x="8578" y="14291"/>
                  <a:pt x="8489" y="14381"/>
                </a:cubicBezTo>
                <a:lnTo>
                  <a:pt x="7998" y="14871"/>
                </a:lnTo>
                <a:cubicBezTo>
                  <a:pt x="7910" y="14961"/>
                  <a:pt x="7855" y="15083"/>
                  <a:pt x="7855" y="15218"/>
                </a:cubicBezTo>
                <a:moveTo>
                  <a:pt x="21456" y="9962"/>
                </a:moveTo>
                <a:lnTo>
                  <a:pt x="11638" y="144"/>
                </a:lnTo>
                <a:cubicBezTo>
                  <a:pt x="11549" y="55"/>
                  <a:pt x="11427" y="0"/>
                  <a:pt x="11291" y="0"/>
                </a:cubicBezTo>
                <a:lnTo>
                  <a:pt x="4418" y="0"/>
                </a:lnTo>
                <a:cubicBezTo>
                  <a:pt x="3605" y="0"/>
                  <a:pt x="2945" y="660"/>
                  <a:pt x="2945" y="1473"/>
                </a:cubicBezTo>
                <a:cubicBezTo>
                  <a:pt x="2945" y="1744"/>
                  <a:pt x="3165" y="1964"/>
                  <a:pt x="3436" y="1964"/>
                </a:cubicBezTo>
                <a:cubicBezTo>
                  <a:pt x="3708" y="1964"/>
                  <a:pt x="3927" y="1744"/>
                  <a:pt x="3927" y="1473"/>
                </a:cubicBezTo>
                <a:cubicBezTo>
                  <a:pt x="3927" y="1202"/>
                  <a:pt x="4147" y="982"/>
                  <a:pt x="4418" y="982"/>
                </a:cubicBezTo>
                <a:lnTo>
                  <a:pt x="11088" y="982"/>
                </a:lnTo>
                <a:lnTo>
                  <a:pt x="20415" y="10310"/>
                </a:lnTo>
                <a:lnTo>
                  <a:pt x="19289" y="11435"/>
                </a:lnTo>
                <a:cubicBezTo>
                  <a:pt x="19201" y="11524"/>
                  <a:pt x="19145" y="11646"/>
                  <a:pt x="19145" y="11782"/>
                </a:cubicBezTo>
                <a:cubicBezTo>
                  <a:pt x="19145" y="12053"/>
                  <a:pt x="19366" y="12273"/>
                  <a:pt x="19636" y="12273"/>
                </a:cubicBezTo>
                <a:cubicBezTo>
                  <a:pt x="19772" y="12273"/>
                  <a:pt x="19895" y="12218"/>
                  <a:pt x="19983" y="12129"/>
                </a:cubicBezTo>
                <a:lnTo>
                  <a:pt x="21456" y="10656"/>
                </a:lnTo>
                <a:cubicBezTo>
                  <a:pt x="21545" y="10567"/>
                  <a:pt x="21600" y="10445"/>
                  <a:pt x="21600" y="10310"/>
                </a:cubicBezTo>
                <a:cubicBezTo>
                  <a:pt x="21600" y="10174"/>
                  <a:pt x="21545" y="10051"/>
                  <a:pt x="21456" y="9962"/>
                </a:cubicBezTo>
                <a:moveTo>
                  <a:pt x="10309" y="13745"/>
                </a:moveTo>
                <a:cubicBezTo>
                  <a:pt x="10445" y="13745"/>
                  <a:pt x="10567" y="13691"/>
                  <a:pt x="10656" y="13602"/>
                </a:cubicBezTo>
                <a:lnTo>
                  <a:pt x="11638" y="12620"/>
                </a:lnTo>
                <a:cubicBezTo>
                  <a:pt x="11727" y="12531"/>
                  <a:pt x="11782" y="12408"/>
                  <a:pt x="11782" y="12273"/>
                </a:cubicBezTo>
                <a:cubicBezTo>
                  <a:pt x="11782" y="12002"/>
                  <a:pt x="11562" y="11782"/>
                  <a:pt x="11291" y="11782"/>
                </a:cubicBezTo>
                <a:cubicBezTo>
                  <a:pt x="11156" y="11782"/>
                  <a:pt x="11033" y="11837"/>
                  <a:pt x="10944" y="11926"/>
                </a:cubicBezTo>
                <a:lnTo>
                  <a:pt x="9962" y="12908"/>
                </a:lnTo>
                <a:cubicBezTo>
                  <a:pt x="9873" y="12997"/>
                  <a:pt x="9818" y="13119"/>
                  <a:pt x="9818" y="13255"/>
                </a:cubicBezTo>
                <a:cubicBezTo>
                  <a:pt x="9818" y="13526"/>
                  <a:pt x="10038" y="13745"/>
                  <a:pt x="10309" y="13745"/>
                </a:cubicBezTo>
                <a:moveTo>
                  <a:pt x="4418" y="7855"/>
                </a:moveTo>
                <a:cubicBezTo>
                  <a:pt x="4147" y="7855"/>
                  <a:pt x="3927" y="7635"/>
                  <a:pt x="3927" y="7364"/>
                </a:cubicBezTo>
                <a:cubicBezTo>
                  <a:pt x="3927" y="7093"/>
                  <a:pt x="4147" y="6873"/>
                  <a:pt x="4418" y="6873"/>
                </a:cubicBezTo>
                <a:cubicBezTo>
                  <a:pt x="4690" y="6873"/>
                  <a:pt x="4909" y="7093"/>
                  <a:pt x="4909" y="7364"/>
                </a:cubicBezTo>
                <a:cubicBezTo>
                  <a:pt x="4909" y="7635"/>
                  <a:pt x="4690" y="7855"/>
                  <a:pt x="4418" y="7855"/>
                </a:cubicBezTo>
                <a:moveTo>
                  <a:pt x="4418" y="5891"/>
                </a:moveTo>
                <a:cubicBezTo>
                  <a:pt x="3605" y="5891"/>
                  <a:pt x="2945" y="6551"/>
                  <a:pt x="2945" y="7364"/>
                </a:cubicBezTo>
                <a:cubicBezTo>
                  <a:pt x="2945" y="8177"/>
                  <a:pt x="3605" y="8837"/>
                  <a:pt x="4418" y="8837"/>
                </a:cubicBezTo>
                <a:cubicBezTo>
                  <a:pt x="5232" y="8837"/>
                  <a:pt x="5891" y="8177"/>
                  <a:pt x="5891" y="7364"/>
                </a:cubicBezTo>
                <a:cubicBezTo>
                  <a:pt x="5891" y="6551"/>
                  <a:pt x="5232" y="5891"/>
                  <a:pt x="4418" y="5891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85" name="Shape 2585"/>
          <p:cNvSpPr/>
          <p:nvPr/>
        </p:nvSpPr>
        <p:spPr>
          <a:xfrm>
            <a:off x="6276953" y="1426552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000" y="14727"/>
                </a:moveTo>
                <a:lnTo>
                  <a:pt x="5400" y="14727"/>
                </a:lnTo>
                <a:cubicBezTo>
                  <a:pt x="5069" y="14727"/>
                  <a:pt x="4800" y="14947"/>
                  <a:pt x="4800" y="15218"/>
                </a:cubicBezTo>
                <a:cubicBezTo>
                  <a:pt x="4800" y="15490"/>
                  <a:pt x="5069" y="15709"/>
                  <a:pt x="5400" y="15709"/>
                </a:cubicBezTo>
                <a:lnTo>
                  <a:pt x="9000" y="15709"/>
                </a:lnTo>
                <a:cubicBezTo>
                  <a:pt x="9331" y="15709"/>
                  <a:pt x="9600" y="15490"/>
                  <a:pt x="9600" y="15218"/>
                </a:cubicBezTo>
                <a:cubicBezTo>
                  <a:pt x="9600" y="14947"/>
                  <a:pt x="9331" y="14727"/>
                  <a:pt x="9000" y="14727"/>
                </a:cubicBezTo>
                <a:moveTo>
                  <a:pt x="20400" y="2579"/>
                </a:moveTo>
                <a:cubicBezTo>
                  <a:pt x="18840" y="3757"/>
                  <a:pt x="15638" y="4614"/>
                  <a:pt x="12466" y="4845"/>
                </a:cubicBezTo>
                <a:cubicBezTo>
                  <a:pt x="12197" y="4307"/>
                  <a:pt x="11554" y="3927"/>
                  <a:pt x="10800" y="3927"/>
                </a:cubicBezTo>
                <a:cubicBezTo>
                  <a:pt x="10046" y="3927"/>
                  <a:pt x="9403" y="4307"/>
                  <a:pt x="9135" y="4845"/>
                </a:cubicBezTo>
                <a:cubicBezTo>
                  <a:pt x="5962" y="4614"/>
                  <a:pt x="2760" y="3757"/>
                  <a:pt x="1200" y="2579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2579"/>
                  <a:pt x="20400" y="2579"/>
                </a:cubicBezTo>
                <a:close/>
                <a:moveTo>
                  <a:pt x="10200" y="5400"/>
                </a:moveTo>
                <a:cubicBezTo>
                  <a:pt x="10200" y="5129"/>
                  <a:pt x="10469" y="4909"/>
                  <a:pt x="10800" y="4909"/>
                </a:cubicBezTo>
                <a:cubicBezTo>
                  <a:pt x="11131" y="4909"/>
                  <a:pt x="11400" y="5129"/>
                  <a:pt x="11400" y="5400"/>
                </a:cubicBezTo>
                <a:cubicBezTo>
                  <a:pt x="11400" y="5672"/>
                  <a:pt x="11131" y="5891"/>
                  <a:pt x="10800" y="5891"/>
                </a:cubicBezTo>
                <a:cubicBezTo>
                  <a:pt x="10469" y="5891"/>
                  <a:pt x="10200" y="5672"/>
                  <a:pt x="10200" y="5400"/>
                </a:cubicBezTo>
                <a:moveTo>
                  <a:pt x="20400" y="19636"/>
                </a:moveTo>
                <a:cubicBezTo>
                  <a:pt x="20400" y="20178"/>
                  <a:pt x="19862" y="20619"/>
                  <a:pt x="19200" y="20619"/>
                </a:cubicBezTo>
                <a:lnTo>
                  <a:pt x="2400" y="20619"/>
                </a:lnTo>
                <a:cubicBezTo>
                  <a:pt x="1738" y="20619"/>
                  <a:pt x="1200" y="20178"/>
                  <a:pt x="1200" y="19636"/>
                </a:cubicBezTo>
                <a:lnTo>
                  <a:pt x="1200" y="3859"/>
                </a:lnTo>
                <a:cubicBezTo>
                  <a:pt x="3007" y="4894"/>
                  <a:pt x="6118" y="5617"/>
                  <a:pt x="9086" y="5827"/>
                </a:cubicBezTo>
                <a:cubicBezTo>
                  <a:pt x="9311" y="6431"/>
                  <a:pt x="9988" y="6873"/>
                  <a:pt x="10800" y="6873"/>
                </a:cubicBezTo>
                <a:cubicBezTo>
                  <a:pt x="11611" y="6873"/>
                  <a:pt x="12289" y="6431"/>
                  <a:pt x="12514" y="5827"/>
                </a:cubicBezTo>
                <a:cubicBezTo>
                  <a:pt x="15482" y="5617"/>
                  <a:pt x="18593" y="4894"/>
                  <a:pt x="20400" y="3859"/>
                </a:cubicBezTo>
                <a:cubicBezTo>
                  <a:pt x="20400" y="3859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7800" y="16691"/>
                </a:moveTo>
                <a:lnTo>
                  <a:pt x="5400" y="16691"/>
                </a:lnTo>
                <a:cubicBezTo>
                  <a:pt x="5069" y="16691"/>
                  <a:pt x="4800" y="16911"/>
                  <a:pt x="4800" y="17182"/>
                </a:cubicBezTo>
                <a:cubicBezTo>
                  <a:pt x="4800" y="17453"/>
                  <a:pt x="5069" y="17673"/>
                  <a:pt x="5400" y="17673"/>
                </a:cubicBezTo>
                <a:lnTo>
                  <a:pt x="7800" y="17673"/>
                </a:lnTo>
                <a:cubicBezTo>
                  <a:pt x="8131" y="17673"/>
                  <a:pt x="8400" y="17453"/>
                  <a:pt x="8400" y="17182"/>
                </a:cubicBezTo>
                <a:cubicBezTo>
                  <a:pt x="8400" y="16911"/>
                  <a:pt x="8131" y="16691"/>
                  <a:pt x="7800" y="16691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86" name="Shape 2586"/>
          <p:cNvSpPr/>
          <p:nvPr/>
        </p:nvSpPr>
        <p:spPr>
          <a:xfrm>
            <a:off x="6810214" y="1426552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00" y="6076"/>
                </a:moveTo>
                <a:cubicBezTo>
                  <a:pt x="14428" y="7109"/>
                  <a:pt x="12685" y="7649"/>
                  <a:pt x="10071" y="7803"/>
                </a:cubicBezTo>
                <a:cubicBezTo>
                  <a:pt x="9806" y="7259"/>
                  <a:pt x="9160" y="6873"/>
                  <a:pt x="8400" y="6873"/>
                </a:cubicBezTo>
                <a:cubicBezTo>
                  <a:pt x="7640" y="6873"/>
                  <a:pt x="6994" y="7259"/>
                  <a:pt x="6729" y="7803"/>
                </a:cubicBezTo>
                <a:cubicBezTo>
                  <a:pt x="4115" y="7649"/>
                  <a:pt x="2372" y="7109"/>
                  <a:pt x="1200" y="6076"/>
                </a:cubicBezTo>
                <a:lnTo>
                  <a:pt x="1200" y="5891"/>
                </a:lnTo>
                <a:cubicBezTo>
                  <a:pt x="1200" y="5349"/>
                  <a:pt x="1738" y="4909"/>
                  <a:pt x="2400" y="4909"/>
                </a:cubicBezTo>
                <a:lnTo>
                  <a:pt x="14400" y="4909"/>
                </a:lnTo>
                <a:cubicBezTo>
                  <a:pt x="15062" y="4909"/>
                  <a:pt x="15600" y="5349"/>
                  <a:pt x="15600" y="5891"/>
                </a:cubicBezTo>
                <a:cubicBezTo>
                  <a:pt x="15600" y="5891"/>
                  <a:pt x="15600" y="6076"/>
                  <a:pt x="15600" y="6076"/>
                </a:cubicBezTo>
                <a:close/>
                <a:moveTo>
                  <a:pt x="7800" y="8346"/>
                </a:moveTo>
                <a:cubicBezTo>
                  <a:pt x="7800" y="8074"/>
                  <a:pt x="8069" y="7855"/>
                  <a:pt x="8400" y="7855"/>
                </a:cubicBezTo>
                <a:cubicBezTo>
                  <a:pt x="8731" y="7855"/>
                  <a:pt x="9000" y="8074"/>
                  <a:pt x="9000" y="8346"/>
                </a:cubicBezTo>
                <a:cubicBezTo>
                  <a:pt x="9000" y="8617"/>
                  <a:pt x="8731" y="8836"/>
                  <a:pt x="8400" y="8836"/>
                </a:cubicBezTo>
                <a:cubicBezTo>
                  <a:pt x="8069" y="8836"/>
                  <a:pt x="7800" y="8617"/>
                  <a:pt x="7800" y="8346"/>
                </a:cubicBezTo>
                <a:moveTo>
                  <a:pt x="15600" y="19636"/>
                </a:moveTo>
                <a:cubicBezTo>
                  <a:pt x="15600" y="20179"/>
                  <a:pt x="15062" y="20619"/>
                  <a:pt x="14400" y="20619"/>
                </a:cubicBezTo>
                <a:lnTo>
                  <a:pt x="2400" y="20619"/>
                </a:lnTo>
                <a:cubicBezTo>
                  <a:pt x="1738" y="20619"/>
                  <a:pt x="1200" y="20179"/>
                  <a:pt x="1200" y="19636"/>
                </a:cubicBezTo>
                <a:lnTo>
                  <a:pt x="1200" y="7318"/>
                </a:lnTo>
                <a:cubicBezTo>
                  <a:pt x="2658" y="8244"/>
                  <a:pt x="4301" y="8666"/>
                  <a:pt x="6693" y="8790"/>
                </a:cubicBezTo>
                <a:cubicBezTo>
                  <a:pt x="6924" y="9385"/>
                  <a:pt x="7597" y="9819"/>
                  <a:pt x="8400" y="9819"/>
                </a:cubicBezTo>
                <a:cubicBezTo>
                  <a:pt x="9203" y="9819"/>
                  <a:pt x="9875" y="9385"/>
                  <a:pt x="10108" y="8790"/>
                </a:cubicBezTo>
                <a:cubicBezTo>
                  <a:pt x="12499" y="8666"/>
                  <a:pt x="14142" y="8244"/>
                  <a:pt x="15600" y="7318"/>
                </a:cubicBezTo>
                <a:cubicBezTo>
                  <a:pt x="15600" y="7318"/>
                  <a:pt x="15600" y="19636"/>
                  <a:pt x="15600" y="19636"/>
                </a:cubicBezTo>
                <a:close/>
                <a:moveTo>
                  <a:pt x="14400" y="3927"/>
                </a:moveTo>
                <a:lnTo>
                  <a:pt x="2400" y="3927"/>
                </a:lnTo>
                <a:cubicBezTo>
                  <a:pt x="1075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4400" y="21600"/>
                </a:lnTo>
                <a:cubicBezTo>
                  <a:pt x="15725" y="21600"/>
                  <a:pt x="16800" y="20721"/>
                  <a:pt x="16800" y="19636"/>
                </a:cubicBezTo>
                <a:lnTo>
                  <a:pt x="16800" y="5891"/>
                </a:lnTo>
                <a:cubicBezTo>
                  <a:pt x="16800" y="4806"/>
                  <a:pt x="15725" y="3927"/>
                  <a:pt x="14400" y="3927"/>
                </a:cubicBezTo>
                <a:moveTo>
                  <a:pt x="5400" y="17673"/>
                </a:moveTo>
                <a:lnTo>
                  <a:pt x="4200" y="17673"/>
                </a:lnTo>
                <a:cubicBezTo>
                  <a:pt x="3869" y="17673"/>
                  <a:pt x="3600" y="17893"/>
                  <a:pt x="3600" y="18164"/>
                </a:cubicBezTo>
                <a:cubicBezTo>
                  <a:pt x="3600" y="18435"/>
                  <a:pt x="3869" y="18655"/>
                  <a:pt x="4200" y="18655"/>
                </a:cubicBezTo>
                <a:lnTo>
                  <a:pt x="5400" y="18655"/>
                </a:lnTo>
                <a:cubicBezTo>
                  <a:pt x="5731" y="18655"/>
                  <a:pt x="6000" y="18435"/>
                  <a:pt x="6000" y="18164"/>
                </a:cubicBezTo>
                <a:cubicBezTo>
                  <a:pt x="6000" y="17893"/>
                  <a:pt x="5731" y="17673"/>
                  <a:pt x="5400" y="17673"/>
                </a:cubicBezTo>
                <a:moveTo>
                  <a:pt x="6600" y="15709"/>
                </a:move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lnTo>
                  <a:pt x="6600" y="16691"/>
                </a:lnTo>
                <a:cubicBezTo>
                  <a:pt x="6931" y="16691"/>
                  <a:pt x="7200" y="16472"/>
                  <a:pt x="7200" y="16200"/>
                </a:cubicBezTo>
                <a:cubicBezTo>
                  <a:pt x="7200" y="15929"/>
                  <a:pt x="6931" y="15709"/>
                  <a:pt x="6600" y="15709"/>
                </a:cubicBezTo>
                <a:moveTo>
                  <a:pt x="19200" y="0"/>
                </a:moveTo>
                <a:lnTo>
                  <a:pt x="7200" y="0"/>
                </a:lnTo>
                <a:cubicBezTo>
                  <a:pt x="5875" y="0"/>
                  <a:pt x="4800" y="879"/>
                  <a:pt x="4800" y="1964"/>
                </a:cubicBezTo>
                <a:lnTo>
                  <a:pt x="4800" y="2455"/>
                </a:lnTo>
                <a:cubicBezTo>
                  <a:pt x="4800" y="2726"/>
                  <a:pt x="5069" y="2945"/>
                  <a:pt x="5400" y="2945"/>
                </a:cubicBezTo>
                <a:cubicBezTo>
                  <a:pt x="5731" y="2945"/>
                  <a:pt x="6000" y="2726"/>
                  <a:pt x="6000" y="2455"/>
                </a:cubicBezTo>
                <a:lnTo>
                  <a:pt x="6000" y="1964"/>
                </a:lnTo>
                <a:cubicBezTo>
                  <a:pt x="6000" y="1422"/>
                  <a:pt x="6538" y="982"/>
                  <a:pt x="72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lnTo>
                  <a:pt x="20400" y="15709"/>
                </a:lnTo>
                <a:cubicBezTo>
                  <a:pt x="20400" y="16252"/>
                  <a:pt x="19862" y="16691"/>
                  <a:pt x="19200" y="16691"/>
                </a:cubicBezTo>
                <a:lnTo>
                  <a:pt x="18600" y="16691"/>
                </a:lnTo>
                <a:cubicBezTo>
                  <a:pt x="18269" y="16691"/>
                  <a:pt x="18000" y="16911"/>
                  <a:pt x="18000" y="17182"/>
                </a:cubicBezTo>
                <a:cubicBezTo>
                  <a:pt x="18000" y="17453"/>
                  <a:pt x="18269" y="17673"/>
                  <a:pt x="18600" y="17673"/>
                </a:cubicBezTo>
                <a:lnTo>
                  <a:pt x="19200" y="17673"/>
                </a:lnTo>
                <a:cubicBezTo>
                  <a:pt x="20525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87" name="Shape 2587"/>
          <p:cNvSpPr/>
          <p:nvPr/>
        </p:nvSpPr>
        <p:spPr>
          <a:xfrm>
            <a:off x="7318082" y="142655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88" name="Shape 2588"/>
          <p:cNvSpPr/>
          <p:nvPr/>
        </p:nvSpPr>
        <p:spPr>
          <a:xfrm>
            <a:off x="7851343" y="1439248"/>
            <a:ext cx="279328" cy="2539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89" name="Shape 2589"/>
          <p:cNvSpPr/>
          <p:nvPr/>
        </p:nvSpPr>
        <p:spPr>
          <a:xfrm>
            <a:off x="8384604" y="1439248"/>
            <a:ext cx="279328" cy="2539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5119"/>
                </a:moveTo>
                <a:cubicBezTo>
                  <a:pt x="7195" y="15119"/>
                  <a:pt x="7855" y="14394"/>
                  <a:pt x="7855" y="13500"/>
                </a:cubicBezTo>
                <a:cubicBezTo>
                  <a:pt x="7855" y="12605"/>
                  <a:pt x="7195" y="11880"/>
                  <a:pt x="6382" y="11880"/>
                </a:cubicBezTo>
                <a:cubicBezTo>
                  <a:pt x="5568" y="11880"/>
                  <a:pt x="4909" y="12605"/>
                  <a:pt x="4909" y="13500"/>
                </a:cubicBezTo>
                <a:cubicBezTo>
                  <a:pt x="4909" y="14394"/>
                  <a:pt x="5568" y="15119"/>
                  <a:pt x="6382" y="15119"/>
                </a:cubicBezTo>
                <a:moveTo>
                  <a:pt x="2455" y="3240"/>
                </a:moveTo>
                <a:cubicBezTo>
                  <a:pt x="2725" y="3240"/>
                  <a:pt x="2945" y="2999"/>
                  <a:pt x="2945" y="2700"/>
                </a:cubicBezTo>
                <a:cubicBezTo>
                  <a:pt x="2945" y="2402"/>
                  <a:pt x="2725" y="2160"/>
                  <a:pt x="2455" y="2160"/>
                </a:cubicBezTo>
                <a:cubicBezTo>
                  <a:pt x="2184" y="2160"/>
                  <a:pt x="1964" y="2402"/>
                  <a:pt x="1964" y="2700"/>
                </a:cubicBezTo>
                <a:cubicBezTo>
                  <a:pt x="1964" y="2999"/>
                  <a:pt x="2184" y="3240"/>
                  <a:pt x="2455" y="3240"/>
                </a:cubicBezTo>
                <a:moveTo>
                  <a:pt x="3927" y="8100"/>
                </a:moveTo>
                <a:cubicBezTo>
                  <a:pt x="3927" y="6609"/>
                  <a:pt x="5026" y="5400"/>
                  <a:pt x="6382" y="5400"/>
                </a:cubicBezTo>
                <a:cubicBezTo>
                  <a:pt x="7738" y="5400"/>
                  <a:pt x="8836" y="6609"/>
                  <a:pt x="8836" y="8100"/>
                </a:cubicBezTo>
                <a:lnTo>
                  <a:pt x="8836" y="13500"/>
                </a:lnTo>
                <a:cubicBezTo>
                  <a:pt x="8836" y="14991"/>
                  <a:pt x="7738" y="16199"/>
                  <a:pt x="6382" y="16199"/>
                </a:cubicBezTo>
                <a:cubicBezTo>
                  <a:pt x="5026" y="16199"/>
                  <a:pt x="3927" y="14991"/>
                  <a:pt x="3927" y="13500"/>
                </a:cubicBezTo>
                <a:cubicBezTo>
                  <a:pt x="3927" y="13500"/>
                  <a:pt x="3927" y="8100"/>
                  <a:pt x="3927" y="8100"/>
                </a:cubicBezTo>
                <a:close/>
                <a:moveTo>
                  <a:pt x="2945" y="13500"/>
                </a:moveTo>
                <a:cubicBezTo>
                  <a:pt x="2945" y="15587"/>
                  <a:pt x="4484" y="17279"/>
                  <a:pt x="6382" y="17279"/>
                </a:cubicBezTo>
                <a:cubicBezTo>
                  <a:pt x="8280" y="17279"/>
                  <a:pt x="9818" y="15587"/>
                  <a:pt x="9818" y="13500"/>
                </a:cubicBezTo>
                <a:lnTo>
                  <a:pt x="9818" y="8100"/>
                </a:lnTo>
                <a:cubicBezTo>
                  <a:pt x="9818" y="6012"/>
                  <a:pt x="8280" y="4320"/>
                  <a:pt x="6382" y="4320"/>
                </a:cubicBezTo>
                <a:cubicBezTo>
                  <a:pt x="4484" y="4320"/>
                  <a:pt x="2945" y="6012"/>
                  <a:pt x="2945" y="8100"/>
                </a:cubicBezTo>
                <a:cubicBezTo>
                  <a:pt x="2945" y="8100"/>
                  <a:pt x="2945" y="13500"/>
                  <a:pt x="2945" y="13500"/>
                </a:cubicBezTo>
                <a:close/>
                <a:moveTo>
                  <a:pt x="2455" y="19439"/>
                </a:moveTo>
                <a:cubicBezTo>
                  <a:pt x="2725" y="19439"/>
                  <a:pt x="2945" y="19198"/>
                  <a:pt x="2945" y="18899"/>
                </a:cubicBezTo>
                <a:cubicBezTo>
                  <a:pt x="2945" y="18601"/>
                  <a:pt x="2725" y="18359"/>
                  <a:pt x="2455" y="18359"/>
                </a:cubicBezTo>
                <a:cubicBezTo>
                  <a:pt x="2184" y="18359"/>
                  <a:pt x="1964" y="18601"/>
                  <a:pt x="1964" y="18899"/>
                </a:cubicBezTo>
                <a:cubicBezTo>
                  <a:pt x="1964" y="19198"/>
                  <a:pt x="2184" y="19439"/>
                  <a:pt x="2455" y="19439"/>
                </a:cubicBezTo>
                <a:moveTo>
                  <a:pt x="20618" y="20519"/>
                </a:moveTo>
                <a:lnTo>
                  <a:pt x="982" y="20519"/>
                </a:lnTo>
                <a:lnTo>
                  <a:pt x="982" y="1080"/>
                </a:lnTo>
                <a:lnTo>
                  <a:pt x="20618" y="1080"/>
                </a:lnTo>
                <a:cubicBezTo>
                  <a:pt x="20618" y="1080"/>
                  <a:pt x="20618" y="20519"/>
                  <a:pt x="20618" y="2051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20519"/>
                </a:lnTo>
                <a:cubicBezTo>
                  <a:pt x="0" y="2111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15"/>
                  <a:pt x="21600" y="20519"/>
                </a:cubicBezTo>
                <a:lnTo>
                  <a:pt x="21600" y="1080"/>
                </a:lnTo>
                <a:cubicBezTo>
                  <a:pt x="21600" y="484"/>
                  <a:pt x="21160" y="0"/>
                  <a:pt x="20618" y="0"/>
                </a:cubicBezTo>
                <a:moveTo>
                  <a:pt x="19145" y="3240"/>
                </a:moveTo>
                <a:cubicBezTo>
                  <a:pt x="19416" y="3240"/>
                  <a:pt x="19636" y="2999"/>
                  <a:pt x="19636" y="2700"/>
                </a:cubicBezTo>
                <a:cubicBezTo>
                  <a:pt x="19636" y="2402"/>
                  <a:pt x="19416" y="2160"/>
                  <a:pt x="19145" y="2160"/>
                </a:cubicBezTo>
                <a:cubicBezTo>
                  <a:pt x="18875" y="2160"/>
                  <a:pt x="18655" y="2402"/>
                  <a:pt x="18655" y="2700"/>
                </a:cubicBezTo>
                <a:cubicBezTo>
                  <a:pt x="18655" y="2999"/>
                  <a:pt x="18875" y="3240"/>
                  <a:pt x="19145" y="3240"/>
                </a:cubicBezTo>
                <a:moveTo>
                  <a:pt x="12764" y="8100"/>
                </a:moveTo>
                <a:cubicBezTo>
                  <a:pt x="12764" y="6609"/>
                  <a:pt x="13863" y="5400"/>
                  <a:pt x="15218" y="5400"/>
                </a:cubicBezTo>
                <a:cubicBezTo>
                  <a:pt x="16574" y="5400"/>
                  <a:pt x="17673" y="6609"/>
                  <a:pt x="17673" y="8100"/>
                </a:cubicBezTo>
                <a:lnTo>
                  <a:pt x="17673" y="13500"/>
                </a:lnTo>
                <a:cubicBezTo>
                  <a:pt x="17673" y="14991"/>
                  <a:pt x="16574" y="16199"/>
                  <a:pt x="15218" y="16199"/>
                </a:cubicBezTo>
                <a:cubicBezTo>
                  <a:pt x="13863" y="16199"/>
                  <a:pt x="12764" y="14991"/>
                  <a:pt x="12764" y="13500"/>
                </a:cubicBezTo>
                <a:cubicBezTo>
                  <a:pt x="12764" y="13500"/>
                  <a:pt x="12764" y="8100"/>
                  <a:pt x="12764" y="8100"/>
                </a:cubicBezTo>
                <a:close/>
                <a:moveTo>
                  <a:pt x="15218" y="17279"/>
                </a:moveTo>
                <a:cubicBezTo>
                  <a:pt x="17116" y="17279"/>
                  <a:pt x="18655" y="15587"/>
                  <a:pt x="18655" y="13500"/>
                </a:cubicBezTo>
                <a:lnTo>
                  <a:pt x="18655" y="8100"/>
                </a:lnTo>
                <a:cubicBezTo>
                  <a:pt x="18655" y="6012"/>
                  <a:pt x="17116" y="4320"/>
                  <a:pt x="15218" y="4320"/>
                </a:cubicBezTo>
                <a:cubicBezTo>
                  <a:pt x="13320" y="4320"/>
                  <a:pt x="11782" y="6012"/>
                  <a:pt x="11782" y="8100"/>
                </a:cubicBezTo>
                <a:lnTo>
                  <a:pt x="11782" y="13500"/>
                </a:lnTo>
                <a:cubicBezTo>
                  <a:pt x="11782" y="15587"/>
                  <a:pt x="13320" y="17279"/>
                  <a:pt x="15218" y="17279"/>
                </a:cubicBezTo>
                <a:moveTo>
                  <a:pt x="15218" y="9720"/>
                </a:moveTo>
                <a:cubicBezTo>
                  <a:pt x="16032" y="9720"/>
                  <a:pt x="16691" y="8995"/>
                  <a:pt x="16691" y="8100"/>
                </a:cubicBezTo>
                <a:cubicBezTo>
                  <a:pt x="16691" y="7206"/>
                  <a:pt x="16032" y="6480"/>
                  <a:pt x="15218" y="6480"/>
                </a:cubicBezTo>
                <a:cubicBezTo>
                  <a:pt x="14405" y="6480"/>
                  <a:pt x="13745" y="7206"/>
                  <a:pt x="13745" y="8100"/>
                </a:cubicBezTo>
                <a:cubicBezTo>
                  <a:pt x="13745" y="8995"/>
                  <a:pt x="14405" y="9720"/>
                  <a:pt x="15218" y="9720"/>
                </a:cubicBezTo>
                <a:moveTo>
                  <a:pt x="19145" y="18359"/>
                </a:moveTo>
                <a:cubicBezTo>
                  <a:pt x="18875" y="18359"/>
                  <a:pt x="18655" y="18601"/>
                  <a:pt x="18655" y="18899"/>
                </a:cubicBezTo>
                <a:cubicBezTo>
                  <a:pt x="18655" y="19198"/>
                  <a:pt x="18875" y="19439"/>
                  <a:pt x="19145" y="19439"/>
                </a:cubicBezTo>
                <a:cubicBezTo>
                  <a:pt x="19416" y="19439"/>
                  <a:pt x="19636" y="19198"/>
                  <a:pt x="19636" y="18899"/>
                </a:cubicBezTo>
                <a:cubicBezTo>
                  <a:pt x="19636" y="18601"/>
                  <a:pt x="19416" y="18359"/>
                  <a:pt x="19145" y="18359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90" name="Shape 2590"/>
          <p:cNvSpPr/>
          <p:nvPr/>
        </p:nvSpPr>
        <p:spPr>
          <a:xfrm>
            <a:off x="8917865" y="142655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5" y="6382"/>
                </a:moveTo>
                <a:cubicBezTo>
                  <a:pt x="7313" y="6382"/>
                  <a:pt x="6873" y="5943"/>
                  <a:pt x="6873" y="5400"/>
                </a:cubicBezTo>
                <a:cubicBezTo>
                  <a:pt x="6873" y="4858"/>
                  <a:pt x="7313" y="4418"/>
                  <a:pt x="7855" y="4418"/>
                </a:cubicBezTo>
                <a:cubicBezTo>
                  <a:pt x="8396" y="4418"/>
                  <a:pt x="8836" y="4858"/>
                  <a:pt x="8836" y="5400"/>
                </a:cubicBezTo>
                <a:cubicBezTo>
                  <a:pt x="8836" y="5943"/>
                  <a:pt x="8396" y="6382"/>
                  <a:pt x="7855" y="6382"/>
                </a:cubicBezTo>
                <a:moveTo>
                  <a:pt x="18164" y="4909"/>
                </a:moveTo>
                <a:lnTo>
                  <a:pt x="9749" y="4909"/>
                </a:lnTo>
                <a:cubicBezTo>
                  <a:pt x="9530" y="4064"/>
                  <a:pt x="8768" y="3436"/>
                  <a:pt x="7855" y="3436"/>
                </a:cubicBezTo>
                <a:cubicBezTo>
                  <a:pt x="6941" y="3436"/>
                  <a:pt x="6180" y="4064"/>
                  <a:pt x="5960" y="4909"/>
                </a:cubicBezTo>
                <a:lnTo>
                  <a:pt x="3436" y="4909"/>
                </a:lnTo>
                <a:cubicBezTo>
                  <a:pt x="3165" y="4909"/>
                  <a:pt x="2945" y="5129"/>
                  <a:pt x="2945" y="5400"/>
                </a:cubicBezTo>
                <a:cubicBezTo>
                  <a:pt x="2945" y="5672"/>
                  <a:pt x="3165" y="5891"/>
                  <a:pt x="3436" y="5891"/>
                </a:cubicBezTo>
                <a:lnTo>
                  <a:pt x="5960" y="5891"/>
                </a:lnTo>
                <a:cubicBezTo>
                  <a:pt x="6180" y="6737"/>
                  <a:pt x="6941" y="7364"/>
                  <a:pt x="7855" y="7364"/>
                </a:cubicBezTo>
                <a:cubicBezTo>
                  <a:pt x="8768" y="7364"/>
                  <a:pt x="9530" y="6737"/>
                  <a:pt x="9749" y="5891"/>
                </a:cubicBezTo>
                <a:lnTo>
                  <a:pt x="18164" y="5891"/>
                </a:lnTo>
                <a:cubicBezTo>
                  <a:pt x="18435" y="5891"/>
                  <a:pt x="18655" y="5672"/>
                  <a:pt x="18655" y="5400"/>
                </a:cubicBezTo>
                <a:cubicBezTo>
                  <a:pt x="18655" y="5129"/>
                  <a:pt x="18435" y="4909"/>
                  <a:pt x="18164" y="4909"/>
                </a:cubicBezTo>
                <a:moveTo>
                  <a:pt x="14727" y="11782"/>
                </a:moveTo>
                <a:cubicBezTo>
                  <a:pt x="14186" y="11782"/>
                  <a:pt x="13745" y="11342"/>
                  <a:pt x="13745" y="10800"/>
                </a:cubicBezTo>
                <a:cubicBezTo>
                  <a:pt x="13745" y="10258"/>
                  <a:pt x="14186" y="9818"/>
                  <a:pt x="14727" y="9818"/>
                </a:cubicBezTo>
                <a:cubicBezTo>
                  <a:pt x="15269" y="9818"/>
                  <a:pt x="15709" y="10258"/>
                  <a:pt x="15709" y="10800"/>
                </a:cubicBezTo>
                <a:cubicBezTo>
                  <a:pt x="15709" y="11342"/>
                  <a:pt x="15269" y="11782"/>
                  <a:pt x="14727" y="11782"/>
                </a:cubicBezTo>
                <a:moveTo>
                  <a:pt x="18164" y="10310"/>
                </a:moveTo>
                <a:lnTo>
                  <a:pt x="16621" y="10310"/>
                </a:lnTo>
                <a:cubicBezTo>
                  <a:pt x="16402" y="9464"/>
                  <a:pt x="15641" y="8836"/>
                  <a:pt x="14727" y="8836"/>
                </a:cubicBezTo>
                <a:cubicBezTo>
                  <a:pt x="13814" y="8836"/>
                  <a:pt x="13052" y="9464"/>
                  <a:pt x="12833" y="10310"/>
                </a:cubicBezTo>
                <a:lnTo>
                  <a:pt x="3436" y="10310"/>
                </a:lnTo>
                <a:cubicBezTo>
                  <a:pt x="3165" y="10310"/>
                  <a:pt x="2945" y="10529"/>
                  <a:pt x="2945" y="10800"/>
                </a:cubicBezTo>
                <a:cubicBezTo>
                  <a:pt x="2945" y="11072"/>
                  <a:pt x="3165" y="11291"/>
                  <a:pt x="3436" y="11291"/>
                </a:cubicBezTo>
                <a:lnTo>
                  <a:pt x="12833" y="11291"/>
                </a:lnTo>
                <a:cubicBezTo>
                  <a:pt x="13052" y="12137"/>
                  <a:pt x="13814" y="12764"/>
                  <a:pt x="14727" y="12764"/>
                </a:cubicBezTo>
                <a:cubicBezTo>
                  <a:pt x="15641" y="12764"/>
                  <a:pt x="16402" y="12137"/>
                  <a:pt x="16621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9818" y="17182"/>
                </a:moveTo>
                <a:cubicBezTo>
                  <a:pt x="9276" y="17182"/>
                  <a:pt x="8836" y="16743"/>
                  <a:pt x="8836" y="16200"/>
                </a:cubicBezTo>
                <a:cubicBezTo>
                  <a:pt x="8836" y="15658"/>
                  <a:pt x="9276" y="15218"/>
                  <a:pt x="9818" y="15218"/>
                </a:cubicBezTo>
                <a:cubicBezTo>
                  <a:pt x="10360" y="15218"/>
                  <a:pt x="10800" y="15658"/>
                  <a:pt x="10800" y="16200"/>
                </a:cubicBezTo>
                <a:cubicBezTo>
                  <a:pt x="10800" y="16743"/>
                  <a:pt x="10360" y="17182"/>
                  <a:pt x="9818" y="17182"/>
                </a:cubicBezTo>
                <a:moveTo>
                  <a:pt x="18164" y="15709"/>
                </a:moveTo>
                <a:lnTo>
                  <a:pt x="11712" y="15709"/>
                </a:lnTo>
                <a:cubicBezTo>
                  <a:pt x="11493" y="14863"/>
                  <a:pt x="10732" y="14237"/>
                  <a:pt x="9818" y="14237"/>
                </a:cubicBezTo>
                <a:cubicBezTo>
                  <a:pt x="8904" y="14237"/>
                  <a:pt x="8143" y="14863"/>
                  <a:pt x="7924" y="15709"/>
                </a:cubicBezTo>
                <a:lnTo>
                  <a:pt x="3436" y="15709"/>
                </a:lnTo>
                <a:cubicBezTo>
                  <a:pt x="3165" y="15709"/>
                  <a:pt x="2945" y="15929"/>
                  <a:pt x="2945" y="16200"/>
                </a:cubicBezTo>
                <a:cubicBezTo>
                  <a:pt x="2945" y="16472"/>
                  <a:pt x="3165" y="16691"/>
                  <a:pt x="3436" y="16691"/>
                </a:cubicBezTo>
                <a:lnTo>
                  <a:pt x="7924" y="16691"/>
                </a:lnTo>
                <a:cubicBezTo>
                  <a:pt x="8143" y="17537"/>
                  <a:pt x="8904" y="18164"/>
                  <a:pt x="9818" y="18164"/>
                </a:cubicBezTo>
                <a:cubicBezTo>
                  <a:pt x="10732" y="18164"/>
                  <a:pt x="11493" y="17537"/>
                  <a:pt x="11712" y="16691"/>
                </a:cubicBezTo>
                <a:lnTo>
                  <a:pt x="18164" y="16691"/>
                </a:lnTo>
                <a:cubicBezTo>
                  <a:pt x="18435" y="16691"/>
                  <a:pt x="18655" y="16472"/>
                  <a:pt x="18655" y="16200"/>
                </a:cubicBezTo>
                <a:cubicBezTo>
                  <a:pt x="18655" y="15929"/>
                  <a:pt x="18435" y="15709"/>
                  <a:pt x="18164" y="15709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91" name="Shape 2591"/>
          <p:cNvSpPr/>
          <p:nvPr/>
        </p:nvSpPr>
        <p:spPr>
          <a:xfrm>
            <a:off x="9451126" y="142655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92" name="Shape 2592"/>
          <p:cNvSpPr/>
          <p:nvPr/>
        </p:nvSpPr>
        <p:spPr>
          <a:xfrm>
            <a:off x="9984387" y="142655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012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2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8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2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8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2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9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9"/>
                  <a:pt x="3000" y="4715"/>
                </a:cubicBezTo>
                <a:lnTo>
                  <a:pt x="4715" y="3000"/>
                </a:lnTo>
                <a:lnTo>
                  <a:pt x="5621" y="3543"/>
                </a:lnTo>
                <a:cubicBezTo>
                  <a:pt x="5777" y="3637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2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2"/>
                  <a:pt x="9331" y="2006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6"/>
                </a:lnTo>
                <a:cubicBezTo>
                  <a:pt x="12356" y="2352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2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7"/>
                  <a:pt x="15978" y="3543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9"/>
                  <a:pt x="18597" y="4722"/>
                  <a:pt x="18595" y="4725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2"/>
                  <a:pt x="20618" y="12012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9"/>
                  <a:pt x="17136" y="1968"/>
                  <a:pt x="16975" y="1968"/>
                </a:cubicBezTo>
                <a:cubicBezTo>
                  <a:pt x="16778" y="1968"/>
                  <a:pt x="16572" y="2043"/>
                  <a:pt x="16400" y="2145"/>
                </a:cubicBezTo>
                <a:lnTo>
                  <a:pt x="15473" y="2701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1"/>
                </a:cubicBezTo>
                <a:lnTo>
                  <a:pt x="5200" y="2145"/>
                </a:lnTo>
                <a:cubicBezTo>
                  <a:pt x="5028" y="2043"/>
                  <a:pt x="4822" y="1968"/>
                  <a:pt x="4625" y="1968"/>
                </a:cubicBezTo>
                <a:cubicBezTo>
                  <a:pt x="4464" y="1968"/>
                  <a:pt x="4308" y="2019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2"/>
                  <a:pt x="0" y="9361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9"/>
                </a:cubicBezTo>
                <a:lnTo>
                  <a:pt x="2145" y="16400"/>
                </a:lnTo>
                <a:cubicBezTo>
                  <a:pt x="1959" y="16713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3"/>
                  <a:pt x="19455" y="16400"/>
                </a:cubicBezTo>
                <a:lnTo>
                  <a:pt x="18902" y="15479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1"/>
                </a:lnTo>
                <a:cubicBezTo>
                  <a:pt x="21600" y="8962"/>
                  <a:pt x="21233" y="8730"/>
                  <a:pt x="20880" y="8641"/>
                </a:cubicBezTo>
                <a:moveTo>
                  <a:pt x="15709" y="10800"/>
                </a:moveTo>
                <a:cubicBezTo>
                  <a:pt x="15709" y="13346"/>
                  <a:pt x="13771" y="15438"/>
                  <a:pt x="11291" y="15685"/>
                </a:cubicBezTo>
                <a:lnTo>
                  <a:pt x="11291" y="12694"/>
                </a:lnTo>
                <a:cubicBezTo>
                  <a:pt x="12137" y="12476"/>
                  <a:pt x="12764" y="11714"/>
                  <a:pt x="12764" y="10800"/>
                </a:cubicBezTo>
                <a:cubicBezTo>
                  <a:pt x="12764" y="10630"/>
                  <a:pt x="12735" y="10468"/>
                  <a:pt x="12694" y="10310"/>
                </a:cubicBezTo>
                <a:lnTo>
                  <a:pt x="15308" y="8857"/>
                </a:lnTo>
                <a:cubicBezTo>
                  <a:pt x="15565" y="9453"/>
                  <a:pt x="15709" y="10110"/>
                  <a:pt x="15709" y="10800"/>
                </a:cubicBezTo>
                <a:moveTo>
                  <a:pt x="9818" y="10800"/>
                </a:move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cubicBezTo>
                  <a:pt x="10258" y="11782"/>
                  <a:pt x="9818" y="11342"/>
                  <a:pt x="9818" y="10800"/>
                </a:cubicBezTo>
                <a:moveTo>
                  <a:pt x="10309" y="15685"/>
                </a:moveTo>
                <a:cubicBezTo>
                  <a:pt x="7829" y="15438"/>
                  <a:pt x="5891" y="13346"/>
                  <a:pt x="5891" y="10800"/>
                </a:cubicBezTo>
                <a:cubicBezTo>
                  <a:pt x="5891" y="10110"/>
                  <a:pt x="6035" y="9453"/>
                  <a:pt x="6292" y="8857"/>
                </a:cubicBezTo>
                <a:lnTo>
                  <a:pt x="8906" y="10310"/>
                </a:lnTo>
                <a:cubicBezTo>
                  <a:pt x="8865" y="10468"/>
                  <a:pt x="8836" y="10630"/>
                  <a:pt x="8836" y="10800"/>
                </a:cubicBezTo>
                <a:cubicBezTo>
                  <a:pt x="8836" y="11714"/>
                  <a:pt x="9463" y="12476"/>
                  <a:pt x="10309" y="12694"/>
                </a:cubicBezTo>
                <a:cubicBezTo>
                  <a:pt x="10309" y="12694"/>
                  <a:pt x="10309" y="15685"/>
                  <a:pt x="10309" y="15685"/>
                </a:cubicBezTo>
                <a:close/>
                <a:moveTo>
                  <a:pt x="10800" y="5891"/>
                </a:moveTo>
                <a:cubicBezTo>
                  <a:pt x="12470" y="5891"/>
                  <a:pt x="13942" y="6727"/>
                  <a:pt x="14829" y="8000"/>
                </a:cubicBezTo>
                <a:lnTo>
                  <a:pt x="12220" y="9450"/>
                </a:lnTo>
                <a:cubicBezTo>
                  <a:pt x="11862" y="9074"/>
                  <a:pt x="11360" y="8836"/>
                  <a:pt x="10800" y="8836"/>
                </a:cubicBezTo>
                <a:cubicBezTo>
                  <a:pt x="10240" y="8836"/>
                  <a:pt x="9738" y="9074"/>
                  <a:pt x="9380" y="9450"/>
                </a:cubicBezTo>
                <a:lnTo>
                  <a:pt x="6771" y="8000"/>
                </a:lnTo>
                <a:cubicBezTo>
                  <a:pt x="7658" y="6727"/>
                  <a:pt x="9130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93" name="Shape 2593"/>
          <p:cNvSpPr/>
          <p:nvPr/>
        </p:nvSpPr>
        <p:spPr>
          <a:xfrm>
            <a:off x="10517648" y="142655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095"/>
                </a:moveTo>
                <a:lnTo>
                  <a:pt x="20091" y="8640"/>
                </a:lnTo>
                <a:cubicBezTo>
                  <a:pt x="19294" y="8426"/>
                  <a:pt x="18482" y="8322"/>
                  <a:pt x="17675" y="8322"/>
                </a:cubicBezTo>
                <a:lnTo>
                  <a:pt x="17150" y="7377"/>
                </a:lnTo>
                <a:cubicBezTo>
                  <a:pt x="17052" y="7203"/>
                  <a:pt x="16911" y="7035"/>
                  <a:pt x="16741" y="6937"/>
                </a:cubicBezTo>
                <a:cubicBezTo>
                  <a:pt x="16601" y="6856"/>
                  <a:pt x="16442" y="6822"/>
                  <a:pt x="16268" y="6868"/>
                </a:cubicBezTo>
                <a:lnTo>
                  <a:pt x="13487" y="7613"/>
                </a:lnTo>
                <a:cubicBezTo>
                  <a:pt x="13102" y="7716"/>
                  <a:pt x="12995" y="8125"/>
                  <a:pt x="12977" y="8495"/>
                </a:cubicBezTo>
                <a:lnTo>
                  <a:pt x="12996" y="9570"/>
                </a:lnTo>
                <a:cubicBezTo>
                  <a:pt x="12293" y="9973"/>
                  <a:pt x="11639" y="10471"/>
                  <a:pt x="11053" y="11057"/>
                </a:cubicBezTo>
                <a:lnTo>
                  <a:pt x="10023" y="10762"/>
                </a:lnTo>
                <a:cubicBezTo>
                  <a:pt x="9673" y="10664"/>
                  <a:pt x="9239" y="10682"/>
                  <a:pt x="9040" y="11026"/>
                </a:cubicBezTo>
                <a:lnTo>
                  <a:pt x="7600" y="13520"/>
                </a:lnTo>
                <a:cubicBezTo>
                  <a:pt x="7401" y="13864"/>
                  <a:pt x="7614" y="14229"/>
                  <a:pt x="7863" y="14504"/>
                </a:cubicBezTo>
                <a:lnTo>
                  <a:pt x="8633" y="15248"/>
                </a:lnTo>
                <a:cubicBezTo>
                  <a:pt x="8419" y="16049"/>
                  <a:pt x="8315" y="16864"/>
                  <a:pt x="8317" y="17674"/>
                </a:cubicBezTo>
                <a:lnTo>
                  <a:pt x="7377" y="18196"/>
                </a:lnTo>
                <a:cubicBezTo>
                  <a:pt x="7060" y="18373"/>
                  <a:pt x="6765" y="18693"/>
                  <a:pt x="6868" y="19077"/>
                </a:cubicBezTo>
                <a:lnTo>
                  <a:pt x="7281" y="20619"/>
                </a:ln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1291"/>
                </a:lnTo>
                <a:lnTo>
                  <a:pt x="1931" y="11291"/>
                </a:lnTo>
                <a:cubicBezTo>
                  <a:pt x="2328" y="11291"/>
                  <a:pt x="2538" y="10924"/>
                  <a:pt x="2651" y="10571"/>
                </a:cubicBezTo>
                <a:lnTo>
                  <a:pt x="2913" y="9523"/>
                </a:lnTo>
                <a:cubicBezTo>
                  <a:pt x="3711" y="9310"/>
                  <a:pt x="4466" y="8993"/>
                  <a:pt x="5164" y="8590"/>
                </a:cubicBezTo>
                <a:lnTo>
                  <a:pt x="6091" y="9146"/>
                </a:lnTo>
                <a:cubicBezTo>
                  <a:pt x="6275" y="9241"/>
                  <a:pt x="6484" y="9317"/>
                  <a:pt x="6681" y="9317"/>
                </a:cubicBezTo>
                <a:cubicBezTo>
                  <a:pt x="6837" y="9317"/>
                  <a:pt x="6985" y="9270"/>
                  <a:pt x="7110" y="9146"/>
                </a:cubicBezTo>
                <a:lnTo>
                  <a:pt x="9146" y="7109"/>
                </a:lnTo>
                <a:cubicBezTo>
                  <a:pt x="9427" y="6828"/>
                  <a:pt x="9332" y="6404"/>
                  <a:pt x="9146" y="6091"/>
                </a:cubicBezTo>
                <a:lnTo>
                  <a:pt x="8593" y="5169"/>
                </a:lnTo>
                <a:cubicBezTo>
                  <a:pt x="8999" y="4469"/>
                  <a:pt x="9317" y="3711"/>
                  <a:pt x="9531" y="2911"/>
                </a:cubicBezTo>
                <a:lnTo>
                  <a:pt x="10571" y="2651"/>
                </a:lnTo>
                <a:cubicBezTo>
                  <a:pt x="10924" y="2538"/>
                  <a:pt x="11291" y="2328"/>
                  <a:pt x="11291" y="1931"/>
                </a:cubicBezTo>
                <a:lnTo>
                  <a:pt x="11291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8095"/>
                  <a:pt x="20618" y="8095"/>
                </a:cubicBezTo>
                <a:close/>
                <a:moveTo>
                  <a:pt x="20618" y="12594"/>
                </a:moveTo>
                <a:cubicBezTo>
                  <a:pt x="19750" y="12088"/>
                  <a:pt x="18750" y="11782"/>
                  <a:pt x="17673" y="11782"/>
                </a:cubicBezTo>
                <a:cubicBezTo>
                  <a:pt x="14419" y="11782"/>
                  <a:pt x="11782" y="14419"/>
                  <a:pt x="11782" y="17673"/>
                </a:cubicBezTo>
                <a:cubicBezTo>
                  <a:pt x="11782" y="18751"/>
                  <a:pt x="12088" y="19750"/>
                  <a:pt x="12594" y="20619"/>
                </a:cubicBezTo>
                <a:lnTo>
                  <a:pt x="8298" y="20619"/>
                </a:lnTo>
                <a:lnTo>
                  <a:pt x="7875" y="19042"/>
                </a:lnTo>
                <a:lnTo>
                  <a:pt x="8794" y="18532"/>
                </a:lnTo>
                <a:cubicBezTo>
                  <a:pt x="9106" y="18358"/>
                  <a:pt x="9299" y="18028"/>
                  <a:pt x="9299" y="17671"/>
                </a:cubicBezTo>
                <a:cubicBezTo>
                  <a:pt x="9298" y="16938"/>
                  <a:pt x="9392" y="16208"/>
                  <a:pt x="9582" y="15502"/>
                </a:cubicBezTo>
                <a:cubicBezTo>
                  <a:pt x="9674" y="15158"/>
                  <a:pt x="9572" y="14791"/>
                  <a:pt x="9316" y="14543"/>
                </a:cubicBezTo>
                <a:lnTo>
                  <a:pt x="8572" y="13823"/>
                </a:lnTo>
                <a:cubicBezTo>
                  <a:pt x="8569" y="13820"/>
                  <a:pt x="8566" y="13817"/>
                  <a:pt x="8564" y="13813"/>
                </a:cubicBezTo>
                <a:lnTo>
                  <a:pt x="9776" y="11713"/>
                </a:lnTo>
                <a:lnTo>
                  <a:pt x="10783" y="12001"/>
                </a:lnTo>
                <a:cubicBezTo>
                  <a:pt x="11126" y="12099"/>
                  <a:pt x="11495" y="12003"/>
                  <a:pt x="11748" y="11751"/>
                </a:cubicBezTo>
                <a:cubicBezTo>
                  <a:pt x="12264" y="11234"/>
                  <a:pt x="12848" y="10787"/>
                  <a:pt x="13485" y="10421"/>
                </a:cubicBezTo>
                <a:cubicBezTo>
                  <a:pt x="13794" y="10243"/>
                  <a:pt x="13983" y="9911"/>
                  <a:pt x="13977" y="9554"/>
                </a:cubicBezTo>
                <a:lnTo>
                  <a:pt x="13960" y="8514"/>
                </a:lnTo>
                <a:lnTo>
                  <a:pt x="13960" y="8503"/>
                </a:lnTo>
                <a:lnTo>
                  <a:pt x="16304" y="7875"/>
                </a:lnTo>
                <a:lnTo>
                  <a:pt x="16817" y="8799"/>
                </a:lnTo>
                <a:cubicBezTo>
                  <a:pt x="16905" y="8958"/>
                  <a:pt x="17032" y="9085"/>
                  <a:pt x="17184" y="9172"/>
                </a:cubicBezTo>
                <a:cubicBezTo>
                  <a:pt x="17330" y="9257"/>
                  <a:pt x="17499" y="9304"/>
                  <a:pt x="17675" y="9304"/>
                </a:cubicBezTo>
                <a:cubicBezTo>
                  <a:pt x="18407" y="9304"/>
                  <a:pt x="19135" y="9399"/>
                  <a:pt x="19837" y="9589"/>
                </a:cubicBezTo>
                <a:cubicBezTo>
                  <a:pt x="20106" y="9660"/>
                  <a:pt x="20389" y="9611"/>
                  <a:pt x="20618" y="9464"/>
                </a:cubicBezTo>
                <a:cubicBezTo>
                  <a:pt x="20618" y="9464"/>
                  <a:pt x="20618" y="12594"/>
                  <a:pt x="20618" y="12594"/>
                </a:cubicBezTo>
                <a:close/>
                <a:moveTo>
                  <a:pt x="20618" y="15475"/>
                </a:moveTo>
                <a:lnTo>
                  <a:pt x="19093" y="16323"/>
                </a:lnTo>
                <a:cubicBezTo>
                  <a:pt x="18735" y="15946"/>
                  <a:pt x="18233" y="15709"/>
                  <a:pt x="17673" y="15709"/>
                </a:cubicBezTo>
                <a:cubicBezTo>
                  <a:pt x="17113" y="15709"/>
                  <a:pt x="16610" y="15946"/>
                  <a:pt x="16253" y="16323"/>
                </a:cubicBezTo>
                <a:lnTo>
                  <a:pt x="13643" y="14873"/>
                </a:lnTo>
                <a:cubicBezTo>
                  <a:pt x="14530" y="13599"/>
                  <a:pt x="16003" y="12764"/>
                  <a:pt x="17673" y="12764"/>
                </a:cubicBezTo>
                <a:cubicBezTo>
                  <a:pt x="18783" y="12764"/>
                  <a:pt x="19798" y="13141"/>
                  <a:pt x="20618" y="13764"/>
                </a:cubicBezTo>
                <a:cubicBezTo>
                  <a:pt x="20618" y="13764"/>
                  <a:pt x="20618" y="15475"/>
                  <a:pt x="20618" y="1547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8164" y="20619"/>
                </a:lnTo>
                <a:lnTo>
                  <a:pt x="18164" y="19567"/>
                </a:lnTo>
                <a:cubicBezTo>
                  <a:pt x="19009" y="19348"/>
                  <a:pt x="19636" y="18587"/>
                  <a:pt x="19636" y="17673"/>
                </a:cubicBezTo>
                <a:cubicBezTo>
                  <a:pt x="19636" y="17502"/>
                  <a:pt x="19608" y="17339"/>
                  <a:pt x="19567" y="17182"/>
                </a:cubicBezTo>
                <a:lnTo>
                  <a:pt x="20618" y="16598"/>
                </a:lnTo>
                <a:cubicBezTo>
                  <a:pt x="20618" y="16598"/>
                  <a:pt x="20618" y="19636"/>
                  <a:pt x="20618" y="19636"/>
                </a:cubicBezTo>
                <a:close/>
                <a:moveTo>
                  <a:pt x="16691" y="17673"/>
                </a:moveTo>
                <a:cubicBezTo>
                  <a:pt x="16691" y="17131"/>
                  <a:pt x="17131" y="16691"/>
                  <a:pt x="17673" y="16691"/>
                </a:cubicBezTo>
                <a:cubicBezTo>
                  <a:pt x="18214" y="16691"/>
                  <a:pt x="18655" y="17131"/>
                  <a:pt x="18655" y="17673"/>
                </a:cubicBezTo>
                <a:cubicBezTo>
                  <a:pt x="18655" y="18215"/>
                  <a:pt x="18214" y="18655"/>
                  <a:pt x="17673" y="18655"/>
                </a:cubicBezTo>
                <a:cubicBezTo>
                  <a:pt x="17131" y="18655"/>
                  <a:pt x="16691" y="18215"/>
                  <a:pt x="16691" y="17673"/>
                </a:cubicBezTo>
                <a:moveTo>
                  <a:pt x="17182" y="20619"/>
                </a:moveTo>
                <a:lnTo>
                  <a:pt x="13757" y="20619"/>
                </a:lnTo>
                <a:cubicBezTo>
                  <a:pt x="13138" y="19797"/>
                  <a:pt x="12764" y="18781"/>
                  <a:pt x="12764" y="17673"/>
                </a:cubicBezTo>
                <a:cubicBezTo>
                  <a:pt x="12764" y="16982"/>
                  <a:pt x="12907" y="16326"/>
                  <a:pt x="13165" y="15730"/>
                </a:cubicBezTo>
                <a:lnTo>
                  <a:pt x="15779" y="17182"/>
                </a:lnTo>
                <a:cubicBezTo>
                  <a:pt x="15738" y="17339"/>
                  <a:pt x="15709" y="17502"/>
                  <a:pt x="15709" y="17673"/>
                </a:cubicBezTo>
                <a:cubicBezTo>
                  <a:pt x="15709" y="18587"/>
                  <a:pt x="16336" y="19348"/>
                  <a:pt x="17182" y="19567"/>
                </a:cubicBezTo>
                <a:cubicBezTo>
                  <a:pt x="17182" y="19567"/>
                  <a:pt x="17182" y="20619"/>
                  <a:pt x="17182" y="20619"/>
                </a:cubicBezTo>
                <a:close/>
                <a:moveTo>
                  <a:pt x="982" y="5376"/>
                </a:moveTo>
                <a:cubicBezTo>
                  <a:pt x="3301" y="5145"/>
                  <a:pt x="5145" y="3301"/>
                  <a:pt x="5375" y="982"/>
                </a:cubicBezTo>
                <a:lnTo>
                  <a:pt x="10309" y="982"/>
                </a:lnTo>
                <a:lnTo>
                  <a:pt x="10309" y="1703"/>
                </a:lnTo>
                <a:cubicBezTo>
                  <a:pt x="10305" y="1705"/>
                  <a:pt x="10302" y="1706"/>
                  <a:pt x="10298" y="1707"/>
                </a:cubicBezTo>
                <a:lnTo>
                  <a:pt x="9293" y="1958"/>
                </a:lnTo>
                <a:cubicBezTo>
                  <a:pt x="8947" y="2045"/>
                  <a:pt x="8675" y="2313"/>
                  <a:pt x="8583" y="2657"/>
                </a:cubicBezTo>
                <a:cubicBezTo>
                  <a:pt x="8394" y="3363"/>
                  <a:pt x="8112" y="4042"/>
                  <a:pt x="7744" y="4676"/>
                </a:cubicBezTo>
                <a:cubicBezTo>
                  <a:pt x="7564" y="4986"/>
                  <a:pt x="7567" y="5368"/>
                  <a:pt x="7751" y="5674"/>
                </a:cubicBezTo>
                <a:lnTo>
                  <a:pt x="8292" y="6575"/>
                </a:lnTo>
                <a:lnTo>
                  <a:pt x="6576" y="8291"/>
                </a:lnTo>
                <a:cubicBezTo>
                  <a:pt x="6573" y="8290"/>
                  <a:pt x="6569" y="8288"/>
                  <a:pt x="6566" y="8286"/>
                </a:cubicBezTo>
                <a:lnTo>
                  <a:pt x="5669" y="7748"/>
                </a:lnTo>
                <a:cubicBezTo>
                  <a:pt x="5513" y="7655"/>
                  <a:pt x="5339" y="7608"/>
                  <a:pt x="5164" y="7608"/>
                </a:cubicBezTo>
                <a:cubicBezTo>
                  <a:pt x="4995" y="7608"/>
                  <a:pt x="4825" y="7652"/>
                  <a:pt x="4673" y="7739"/>
                </a:cubicBezTo>
                <a:cubicBezTo>
                  <a:pt x="4039" y="8106"/>
                  <a:pt x="3362" y="8387"/>
                  <a:pt x="2659" y="8575"/>
                </a:cubicBezTo>
                <a:cubicBezTo>
                  <a:pt x="2315" y="8666"/>
                  <a:pt x="2047" y="8938"/>
                  <a:pt x="1960" y="9285"/>
                </a:cubicBezTo>
                <a:lnTo>
                  <a:pt x="1707" y="10298"/>
                </a:lnTo>
                <a:cubicBezTo>
                  <a:pt x="1706" y="10302"/>
                  <a:pt x="1705" y="10305"/>
                  <a:pt x="1703" y="10310"/>
                </a:cubicBezTo>
                <a:lnTo>
                  <a:pt x="982" y="10310"/>
                </a:lnTo>
                <a:cubicBezTo>
                  <a:pt x="982" y="10310"/>
                  <a:pt x="982" y="5376"/>
                  <a:pt x="982" y="5376"/>
                </a:cubicBezTo>
                <a:close/>
                <a:moveTo>
                  <a:pt x="982" y="1964"/>
                </a:moveTo>
                <a:cubicBezTo>
                  <a:pt x="982" y="1421"/>
                  <a:pt x="1422" y="982"/>
                  <a:pt x="1964" y="982"/>
                </a:cubicBezTo>
                <a:lnTo>
                  <a:pt x="4384" y="982"/>
                </a:lnTo>
                <a:cubicBezTo>
                  <a:pt x="4162" y="2758"/>
                  <a:pt x="2758" y="4162"/>
                  <a:pt x="982" y="4384"/>
                </a:cubicBezTo>
                <a:cubicBezTo>
                  <a:pt x="982" y="4384"/>
                  <a:pt x="982" y="1964"/>
                  <a:pt x="982" y="1964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94" name="Shape 2594"/>
          <p:cNvSpPr/>
          <p:nvPr/>
        </p:nvSpPr>
        <p:spPr>
          <a:xfrm>
            <a:off x="11050909" y="1451945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8400"/>
                </a:moveTo>
                <a:lnTo>
                  <a:pt x="18164" y="8400"/>
                </a:lnTo>
                <a:cubicBezTo>
                  <a:pt x="18435" y="8400"/>
                  <a:pt x="18655" y="8132"/>
                  <a:pt x="18655" y="7800"/>
                </a:cubicBezTo>
                <a:cubicBezTo>
                  <a:pt x="18655" y="7468"/>
                  <a:pt x="18435" y="7200"/>
                  <a:pt x="18164" y="7200"/>
                </a:cubicBezTo>
                <a:lnTo>
                  <a:pt x="3436" y="7200"/>
                </a:lnTo>
                <a:cubicBezTo>
                  <a:pt x="3165" y="7200"/>
                  <a:pt x="2945" y="7468"/>
                  <a:pt x="2945" y="7800"/>
                </a:cubicBezTo>
                <a:cubicBezTo>
                  <a:pt x="2945" y="8132"/>
                  <a:pt x="3165" y="8400"/>
                  <a:pt x="3436" y="8400"/>
                </a:cubicBezTo>
                <a:moveTo>
                  <a:pt x="3436" y="10800"/>
                </a:moveTo>
                <a:lnTo>
                  <a:pt x="18164" y="10800"/>
                </a:lnTo>
                <a:cubicBezTo>
                  <a:pt x="18435" y="10800"/>
                  <a:pt x="18655" y="10532"/>
                  <a:pt x="18655" y="10200"/>
                </a:cubicBezTo>
                <a:cubicBezTo>
                  <a:pt x="18655" y="9868"/>
                  <a:pt x="18435" y="9600"/>
                  <a:pt x="18164" y="9600"/>
                </a:cubicBezTo>
                <a:lnTo>
                  <a:pt x="3436" y="9600"/>
                </a:lnTo>
                <a:cubicBezTo>
                  <a:pt x="3165" y="9600"/>
                  <a:pt x="2945" y="9868"/>
                  <a:pt x="2945" y="10200"/>
                </a:cubicBezTo>
                <a:cubicBezTo>
                  <a:pt x="2945" y="10532"/>
                  <a:pt x="3165" y="10800"/>
                  <a:pt x="3436" y="10800"/>
                </a:cubicBezTo>
                <a:moveTo>
                  <a:pt x="3436" y="13200"/>
                </a:moveTo>
                <a:lnTo>
                  <a:pt x="13255" y="13200"/>
                </a:lnTo>
                <a:cubicBezTo>
                  <a:pt x="13526" y="13200"/>
                  <a:pt x="13745" y="12931"/>
                  <a:pt x="13745" y="12601"/>
                </a:cubicBezTo>
                <a:cubicBezTo>
                  <a:pt x="13745" y="12268"/>
                  <a:pt x="13526" y="12000"/>
                  <a:pt x="13255" y="12000"/>
                </a:cubicBezTo>
                <a:lnTo>
                  <a:pt x="3436" y="12000"/>
                </a:lnTo>
                <a:cubicBezTo>
                  <a:pt x="3165" y="12000"/>
                  <a:pt x="2945" y="12268"/>
                  <a:pt x="2945" y="12601"/>
                </a:cubicBezTo>
                <a:cubicBezTo>
                  <a:pt x="2945" y="12931"/>
                  <a:pt x="3165" y="13200"/>
                  <a:pt x="3436" y="13200"/>
                </a:cubicBezTo>
                <a:moveTo>
                  <a:pt x="20618" y="19200"/>
                </a:moveTo>
                <a:lnTo>
                  <a:pt x="18114" y="19200"/>
                </a:lnTo>
                <a:cubicBezTo>
                  <a:pt x="17887" y="17831"/>
                  <a:pt x="16897" y="16800"/>
                  <a:pt x="15709" y="16800"/>
                </a:cubicBezTo>
                <a:cubicBezTo>
                  <a:pt x="14522" y="16800"/>
                  <a:pt x="13532" y="17831"/>
                  <a:pt x="13304" y="19200"/>
                </a:cubicBezTo>
                <a:lnTo>
                  <a:pt x="8296" y="19200"/>
                </a:lnTo>
                <a:cubicBezTo>
                  <a:pt x="8068" y="17831"/>
                  <a:pt x="7078" y="16800"/>
                  <a:pt x="5891" y="16800"/>
                </a:cubicBezTo>
                <a:cubicBezTo>
                  <a:pt x="4703" y="16800"/>
                  <a:pt x="3713" y="17831"/>
                  <a:pt x="3486" y="19200"/>
                </a:cubicBezTo>
                <a:lnTo>
                  <a:pt x="982" y="192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19200"/>
                  <a:pt x="20618" y="1920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9200"/>
                </a:lnTo>
                <a:cubicBezTo>
                  <a:pt x="0" y="19862"/>
                  <a:pt x="440" y="20400"/>
                  <a:pt x="982" y="20400"/>
                </a:cubicBezTo>
                <a:lnTo>
                  <a:pt x="3927" y="20400"/>
                </a:lnTo>
                <a:cubicBezTo>
                  <a:pt x="4199" y="20400"/>
                  <a:pt x="4418" y="20132"/>
                  <a:pt x="4418" y="19800"/>
                </a:cubicBezTo>
                <a:cubicBezTo>
                  <a:pt x="4418" y="18807"/>
                  <a:pt x="5078" y="18000"/>
                  <a:pt x="5891" y="18000"/>
                </a:cubicBezTo>
                <a:cubicBezTo>
                  <a:pt x="6704" y="18000"/>
                  <a:pt x="7364" y="18807"/>
                  <a:pt x="7364" y="19800"/>
                </a:cubicBezTo>
                <a:cubicBezTo>
                  <a:pt x="7364" y="20132"/>
                  <a:pt x="7583" y="20400"/>
                  <a:pt x="7855" y="20400"/>
                </a:cubicBezTo>
                <a:lnTo>
                  <a:pt x="13745" y="20400"/>
                </a:lnTo>
                <a:cubicBezTo>
                  <a:pt x="14017" y="20400"/>
                  <a:pt x="14236" y="20132"/>
                  <a:pt x="14236" y="19800"/>
                </a:cubicBezTo>
                <a:cubicBezTo>
                  <a:pt x="14236" y="18807"/>
                  <a:pt x="14896" y="18000"/>
                  <a:pt x="15709" y="18000"/>
                </a:cubicBezTo>
                <a:cubicBezTo>
                  <a:pt x="16523" y="18000"/>
                  <a:pt x="17182" y="18807"/>
                  <a:pt x="17182" y="19800"/>
                </a:cubicBezTo>
                <a:cubicBezTo>
                  <a:pt x="17182" y="20132"/>
                  <a:pt x="17401" y="20400"/>
                  <a:pt x="17673" y="20400"/>
                </a:cubicBezTo>
                <a:lnTo>
                  <a:pt x="20618" y="20400"/>
                </a:lnTo>
                <a:cubicBezTo>
                  <a:pt x="21160" y="20400"/>
                  <a:pt x="21600" y="19862"/>
                  <a:pt x="21600" y="192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891" y="19200"/>
                </a:moveTo>
                <a:cubicBezTo>
                  <a:pt x="5620" y="19200"/>
                  <a:pt x="5400" y="19468"/>
                  <a:pt x="5400" y="19800"/>
                </a:cubicBezTo>
                <a:lnTo>
                  <a:pt x="5400" y="21000"/>
                </a:lnTo>
                <a:cubicBezTo>
                  <a:pt x="5400" y="21332"/>
                  <a:pt x="5620" y="21600"/>
                  <a:pt x="5891" y="21600"/>
                </a:cubicBezTo>
                <a:cubicBezTo>
                  <a:pt x="6162" y="21600"/>
                  <a:pt x="6382" y="21332"/>
                  <a:pt x="6382" y="21000"/>
                </a:cubicBezTo>
                <a:lnTo>
                  <a:pt x="6382" y="19800"/>
                </a:lnTo>
                <a:cubicBezTo>
                  <a:pt x="6382" y="19468"/>
                  <a:pt x="6162" y="19200"/>
                  <a:pt x="5891" y="19200"/>
                </a:cubicBezTo>
                <a:moveTo>
                  <a:pt x="3436" y="6000"/>
                </a:moveTo>
                <a:lnTo>
                  <a:pt x="18164" y="6000"/>
                </a:lnTo>
                <a:cubicBezTo>
                  <a:pt x="18435" y="6000"/>
                  <a:pt x="18655" y="5732"/>
                  <a:pt x="18655" y="5400"/>
                </a:cubicBezTo>
                <a:cubicBezTo>
                  <a:pt x="18655" y="5069"/>
                  <a:pt x="18435" y="4800"/>
                  <a:pt x="18164" y="4800"/>
                </a:cubicBezTo>
                <a:lnTo>
                  <a:pt x="3436" y="4800"/>
                </a:lnTo>
                <a:cubicBezTo>
                  <a:pt x="3165" y="4800"/>
                  <a:pt x="2945" y="5069"/>
                  <a:pt x="2945" y="5400"/>
                </a:cubicBezTo>
                <a:cubicBezTo>
                  <a:pt x="2945" y="5732"/>
                  <a:pt x="3165" y="6000"/>
                  <a:pt x="3436" y="6000"/>
                </a:cubicBezTo>
                <a:moveTo>
                  <a:pt x="15709" y="19200"/>
                </a:moveTo>
                <a:cubicBezTo>
                  <a:pt x="15438" y="19200"/>
                  <a:pt x="15218" y="19468"/>
                  <a:pt x="15218" y="19800"/>
                </a:cubicBezTo>
                <a:lnTo>
                  <a:pt x="15218" y="21000"/>
                </a:lnTo>
                <a:cubicBezTo>
                  <a:pt x="15218" y="21332"/>
                  <a:pt x="15438" y="21600"/>
                  <a:pt x="15709" y="21600"/>
                </a:cubicBezTo>
                <a:cubicBezTo>
                  <a:pt x="15980" y="21600"/>
                  <a:pt x="16200" y="21332"/>
                  <a:pt x="16200" y="21000"/>
                </a:cubicBezTo>
                <a:lnTo>
                  <a:pt x="16200" y="19800"/>
                </a:lnTo>
                <a:cubicBezTo>
                  <a:pt x="16200" y="19468"/>
                  <a:pt x="15980" y="19200"/>
                  <a:pt x="15709" y="192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95" name="Shape 2595"/>
          <p:cNvSpPr/>
          <p:nvPr/>
        </p:nvSpPr>
        <p:spPr>
          <a:xfrm>
            <a:off x="6251560" y="1972509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4040"/>
                </a:moveTo>
                <a:lnTo>
                  <a:pt x="14236" y="14040"/>
                </a:lnTo>
                <a:cubicBezTo>
                  <a:pt x="14507" y="14040"/>
                  <a:pt x="14727" y="13799"/>
                  <a:pt x="14727" y="13500"/>
                </a:cubicBezTo>
                <a:cubicBezTo>
                  <a:pt x="14727" y="13202"/>
                  <a:pt x="14507" y="12960"/>
                  <a:pt x="14236" y="12960"/>
                </a:cubicBezTo>
                <a:lnTo>
                  <a:pt x="7364" y="12960"/>
                </a:lnTo>
                <a:cubicBezTo>
                  <a:pt x="7093" y="12960"/>
                  <a:pt x="6873" y="13202"/>
                  <a:pt x="6873" y="13500"/>
                </a:cubicBezTo>
                <a:cubicBezTo>
                  <a:pt x="6873" y="13799"/>
                  <a:pt x="7093" y="14040"/>
                  <a:pt x="7364" y="14040"/>
                </a:cubicBezTo>
                <a:moveTo>
                  <a:pt x="7364" y="11880"/>
                </a:moveTo>
                <a:lnTo>
                  <a:pt x="18164" y="11880"/>
                </a:lnTo>
                <a:cubicBezTo>
                  <a:pt x="18434" y="11880"/>
                  <a:pt x="18655" y="11639"/>
                  <a:pt x="18655" y="11340"/>
                </a:cubicBezTo>
                <a:cubicBezTo>
                  <a:pt x="18655" y="11042"/>
                  <a:pt x="18434" y="10800"/>
                  <a:pt x="18164" y="10800"/>
                </a:cubicBezTo>
                <a:lnTo>
                  <a:pt x="7364" y="10800"/>
                </a:lnTo>
                <a:cubicBezTo>
                  <a:pt x="7093" y="10800"/>
                  <a:pt x="6873" y="11042"/>
                  <a:pt x="6873" y="11340"/>
                </a:cubicBezTo>
                <a:cubicBezTo>
                  <a:pt x="6873" y="11639"/>
                  <a:pt x="7093" y="11880"/>
                  <a:pt x="7364" y="11880"/>
                </a:cubicBezTo>
                <a:moveTo>
                  <a:pt x="20618" y="19440"/>
                </a:moveTo>
                <a:lnTo>
                  <a:pt x="18605" y="19440"/>
                </a:lnTo>
                <a:cubicBezTo>
                  <a:pt x="18378" y="18208"/>
                  <a:pt x="17387" y="17280"/>
                  <a:pt x="16200" y="17280"/>
                </a:cubicBezTo>
                <a:cubicBezTo>
                  <a:pt x="15013" y="17280"/>
                  <a:pt x="14022" y="18208"/>
                  <a:pt x="13795" y="19440"/>
                </a:cubicBezTo>
                <a:lnTo>
                  <a:pt x="11732" y="19440"/>
                </a:lnTo>
                <a:cubicBezTo>
                  <a:pt x="11505" y="18208"/>
                  <a:pt x="10515" y="17280"/>
                  <a:pt x="9327" y="17280"/>
                </a:cubicBezTo>
                <a:cubicBezTo>
                  <a:pt x="8140" y="17280"/>
                  <a:pt x="7150" y="18208"/>
                  <a:pt x="6922" y="19440"/>
                </a:cubicBezTo>
                <a:lnTo>
                  <a:pt x="4909" y="19440"/>
                </a:lnTo>
                <a:lnTo>
                  <a:pt x="4909" y="5400"/>
                </a:lnTo>
                <a:lnTo>
                  <a:pt x="20618" y="5400"/>
                </a:lnTo>
                <a:cubicBezTo>
                  <a:pt x="20618" y="5400"/>
                  <a:pt x="20618" y="19440"/>
                  <a:pt x="20618" y="19440"/>
                </a:cubicBezTo>
                <a:close/>
                <a:moveTo>
                  <a:pt x="20618" y="4320"/>
                </a:moveTo>
                <a:lnTo>
                  <a:pt x="4909" y="4320"/>
                </a:lnTo>
                <a:cubicBezTo>
                  <a:pt x="4367" y="4320"/>
                  <a:pt x="3927" y="4804"/>
                  <a:pt x="3927" y="5400"/>
                </a:cubicBezTo>
                <a:lnTo>
                  <a:pt x="3927" y="19440"/>
                </a:lnTo>
                <a:cubicBezTo>
                  <a:pt x="3927" y="20036"/>
                  <a:pt x="4367" y="20520"/>
                  <a:pt x="4909" y="20520"/>
                </a:cubicBezTo>
                <a:lnTo>
                  <a:pt x="7364" y="20520"/>
                </a:lnTo>
                <a:cubicBezTo>
                  <a:pt x="7634" y="20520"/>
                  <a:pt x="7855" y="20279"/>
                  <a:pt x="7855" y="19980"/>
                </a:cubicBezTo>
                <a:cubicBezTo>
                  <a:pt x="7855" y="19085"/>
                  <a:pt x="8514" y="18360"/>
                  <a:pt x="9327" y="18360"/>
                </a:cubicBezTo>
                <a:cubicBezTo>
                  <a:pt x="10141" y="18360"/>
                  <a:pt x="10800" y="19085"/>
                  <a:pt x="10800" y="19980"/>
                </a:cubicBezTo>
                <a:cubicBezTo>
                  <a:pt x="10800" y="20279"/>
                  <a:pt x="11020" y="20520"/>
                  <a:pt x="11291" y="20520"/>
                </a:cubicBezTo>
                <a:lnTo>
                  <a:pt x="14236" y="20520"/>
                </a:lnTo>
                <a:cubicBezTo>
                  <a:pt x="14507" y="20520"/>
                  <a:pt x="14727" y="20279"/>
                  <a:pt x="14727" y="19980"/>
                </a:cubicBezTo>
                <a:cubicBezTo>
                  <a:pt x="14727" y="19085"/>
                  <a:pt x="15386" y="18360"/>
                  <a:pt x="16200" y="18360"/>
                </a:cubicBezTo>
                <a:cubicBezTo>
                  <a:pt x="17014" y="18360"/>
                  <a:pt x="17673" y="19085"/>
                  <a:pt x="17673" y="19980"/>
                </a:cubicBezTo>
                <a:cubicBezTo>
                  <a:pt x="17673" y="20279"/>
                  <a:pt x="17893" y="20520"/>
                  <a:pt x="18164" y="20520"/>
                </a:cubicBezTo>
                <a:lnTo>
                  <a:pt x="20618" y="20520"/>
                </a:lnTo>
                <a:cubicBezTo>
                  <a:pt x="21160" y="20520"/>
                  <a:pt x="21600" y="20036"/>
                  <a:pt x="21600" y="19440"/>
                </a:cubicBezTo>
                <a:lnTo>
                  <a:pt x="21600" y="5400"/>
                </a:lnTo>
                <a:cubicBezTo>
                  <a:pt x="21600" y="4804"/>
                  <a:pt x="21160" y="4320"/>
                  <a:pt x="20618" y="4320"/>
                </a:cubicBezTo>
                <a:moveTo>
                  <a:pt x="7364" y="9720"/>
                </a:moveTo>
                <a:lnTo>
                  <a:pt x="18164" y="9720"/>
                </a:lnTo>
                <a:cubicBezTo>
                  <a:pt x="18434" y="9720"/>
                  <a:pt x="18655" y="9479"/>
                  <a:pt x="18655" y="9180"/>
                </a:cubicBezTo>
                <a:cubicBezTo>
                  <a:pt x="18655" y="8882"/>
                  <a:pt x="18434" y="8640"/>
                  <a:pt x="18164" y="8640"/>
                </a:cubicBezTo>
                <a:lnTo>
                  <a:pt x="7364" y="8640"/>
                </a:lnTo>
                <a:cubicBezTo>
                  <a:pt x="7093" y="8640"/>
                  <a:pt x="6873" y="8882"/>
                  <a:pt x="6873" y="9180"/>
                </a:cubicBezTo>
                <a:cubicBezTo>
                  <a:pt x="6873" y="9479"/>
                  <a:pt x="7093" y="9720"/>
                  <a:pt x="7364" y="9720"/>
                </a:cubicBezTo>
                <a:moveTo>
                  <a:pt x="9327" y="19440"/>
                </a:moveTo>
                <a:cubicBezTo>
                  <a:pt x="9056" y="19440"/>
                  <a:pt x="8836" y="19682"/>
                  <a:pt x="8836" y="19980"/>
                </a:cubicBezTo>
                <a:lnTo>
                  <a:pt x="8836" y="21060"/>
                </a:lnTo>
                <a:cubicBezTo>
                  <a:pt x="8836" y="21359"/>
                  <a:pt x="9056" y="21600"/>
                  <a:pt x="9327" y="21600"/>
                </a:cubicBezTo>
                <a:cubicBezTo>
                  <a:pt x="9598" y="21600"/>
                  <a:pt x="9818" y="21359"/>
                  <a:pt x="9818" y="21060"/>
                </a:cubicBezTo>
                <a:lnTo>
                  <a:pt x="9818" y="19980"/>
                </a:lnTo>
                <a:cubicBezTo>
                  <a:pt x="9818" y="19682"/>
                  <a:pt x="9598" y="19440"/>
                  <a:pt x="9327" y="19440"/>
                </a:cubicBezTo>
                <a:moveTo>
                  <a:pt x="2455" y="15120"/>
                </a:moveTo>
                <a:lnTo>
                  <a:pt x="982" y="15120"/>
                </a:lnTo>
                <a:lnTo>
                  <a:pt x="982" y="1080"/>
                </a:lnTo>
                <a:lnTo>
                  <a:pt x="16691" y="1080"/>
                </a:lnTo>
                <a:lnTo>
                  <a:pt x="16691" y="2700"/>
                </a:lnTo>
                <a:cubicBezTo>
                  <a:pt x="16691" y="2999"/>
                  <a:pt x="16911" y="3240"/>
                  <a:pt x="17182" y="3240"/>
                </a:cubicBezTo>
                <a:cubicBezTo>
                  <a:pt x="17453" y="3240"/>
                  <a:pt x="17673" y="2999"/>
                  <a:pt x="17673" y="2700"/>
                </a:cubicBezTo>
                <a:lnTo>
                  <a:pt x="17673" y="1080"/>
                </a:lnTo>
                <a:cubicBezTo>
                  <a:pt x="17673" y="484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15120"/>
                </a:lnTo>
                <a:cubicBezTo>
                  <a:pt x="0" y="15716"/>
                  <a:pt x="440" y="16201"/>
                  <a:pt x="982" y="16201"/>
                </a:cubicBezTo>
                <a:lnTo>
                  <a:pt x="2455" y="16201"/>
                </a:lnTo>
                <a:cubicBezTo>
                  <a:pt x="2725" y="16201"/>
                  <a:pt x="2945" y="15959"/>
                  <a:pt x="2945" y="15660"/>
                </a:cubicBezTo>
                <a:cubicBezTo>
                  <a:pt x="2945" y="15362"/>
                  <a:pt x="2725" y="15120"/>
                  <a:pt x="2455" y="15120"/>
                </a:cubicBezTo>
                <a:moveTo>
                  <a:pt x="16200" y="19440"/>
                </a:moveTo>
                <a:cubicBezTo>
                  <a:pt x="15929" y="19440"/>
                  <a:pt x="15709" y="19682"/>
                  <a:pt x="15709" y="19980"/>
                </a:cubicBezTo>
                <a:lnTo>
                  <a:pt x="15709" y="21060"/>
                </a:lnTo>
                <a:cubicBezTo>
                  <a:pt x="15709" y="21359"/>
                  <a:pt x="15929" y="21600"/>
                  <a:pt x="16200" y="21600"/>
                </a:cubicBezTo>
                <a:cubicBezTo>
                  <a:pt x="16471" y="21600"/>
                  <a:pt x="16691" y="21359"/>
                  <a:pt x="16691" y="21060"/>
                </a:cubicBezTo>
                <a:lnTo>
                  <a:pt x="16691" y="19980"/>
                </a:lnTo>
                <a:cubicBezTo>
                  <a:pt x="16691" y="19682"/>
                  <a:pt x="16471" y="19440"/>
                  <a:pt x="16200" y="1944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96" name="Shape 2596"/>
          <p:cNvSpPr/>
          <p:nvPr/>
        </p:nvSpPr>
        <p:spPr>
          <a:xfrm>
            <a:off x="6784821" y="1997903"/>
            <a:ext cx="279328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5400"/>
                </a:moveTo>
                <a:lnTo>
                  <a:pt x="9327" y="5400"/>
                </a:lnTo>
                <a:cubicBezTo>
                  <a:pt x="9598" y="5400"/>
                  <a:pt x="9818" y="5098"/>
                  <a:pt x="9818" y="4725"/>
                </a:cubicBezTo>
                <a:cubicBezTo>
                  <a:pt x="9818" y="4353"/>
                  <a:pt x="9598" y="4050"/>
                  <a:pt x="9327" y="4050"/>
                </a:cubicBezTo>
                <a:lnTo>
                  <a:pt x="3436" y="4050"/>
                </a:lnTo>
                <a:cubicBezTo>
                  <a:pt x="3166" y="4050"/>
                  <a:pt x="2945" y="4353"/>
                  <a:pt x="2945" y="4725"/>
                </a:cubicBezTo>
                <a:cubicBezTo>
                  <a:pt x="2945" y="5098"/>
                  <a:pt x="3166" y="5400"/>
                  <a:pt x="3436" y="5400"/>
                </a:cubicBezTo>
                <a:moveTo>
                  <a:pt x="3436" y="8100"/>
                </a:moveTo>
                <a:lnTo>
                  <a:pt x="7364" y="8100"/>
                </a:lnTo>
                <a:cubicBezTo>
                  <a:pt x="7634" y="8100"/>
                  <a:pt x="7855" y="7798"/>
                  <a:pt x="7855" y="7425"/>
                </a:cubicBezTo>
                <a:cubicBezTo>
                  <a:pt x="7855" y="7053"/>
                  <a:pt x="7634" y="6750"/>
                  <a:pt x="7364" y="6750"/>
                </a:cubicBezTo>
                <a:lnTo>
                  <a:pt x="3436" y="6750"/>
                </a:lnTo>
                <a:cubicBezTo>
                  <a:pt x="3166" y="6750"/>
                  <a:pt x="2945" y="7053"/>
                  <a:pt x="2945" y="7425"/>
                </a:cubicBezTo>
                <a:cubicBezTo>
                  <a:pt x="2945" y="7798"/>
                  <a:pt x="3166" y="8100"/>
                  <a:pt x="3436" y="8100"/>
                </a:cubicBezTo>
                <a:moveTo>
                  <a:pt x="3436" y="10800"/>
                </a:moveTo>
                <a:lnTo>
                  <a:pt x="9327" y="10800"/>
                </a:lnTo>
                <a:cubicBezTo>
                  <a:pt x="9598" y="10800"/>
                  <a:pt x="9818" y="10498"/>
                  <a:pt x="9818" y="10125"/>
                </a:cubicBezTo>
                <a:cubicBezTo>
                  <a:pt x="9818" y="9753"/>
                  <a:pt x="9598" y="9450"/>
                  <a:pt x="9327" y="9450"/>
                </a:cubicBezTo>
                <a:lnTo>
                  <a:pt x="3436" y="9450"/>
                </a:lnTo>
                <a:cubicBezTo>
                  <a:pt x="3166" y="9450"/>
                  <a:pt x="2945" y="9753"/>
                  <a:pt x="2945" y="10125"/>
                </a:cubicBezTo>
                <a:cubicBezTo>
                  <a:pt x="2945" y="10498"/>
                  <a:pt x="3166" y="10800"/>
                  <a:pt x="3436" y="10800"/>
                </a:cubicBezTo>
                <a:moveTo>
                  <a:pt x="20618" y="20250"/>
                </a:moveTo>
                <a:lnTo>
                  <a:pt x="15709" y="20250"/>
                </a:lnTo>
                <a:lnTo>
                  <a:pt x="15709" y="17551"/>
                </a:lnTo>
                <a:lnTo>
                  <a:pt x="16691" y="17551"/>
                </a:lnTo>
                <a:cubicBezTo>
                  <a:pt x="16962" y="17551"/>
                  <a:pt x="17182" y="17248"/>
                  <a:pt x="17182" y="16875"/>
                </a:cubicBezTo>
                <a:cubicBezTo>
                  <a:pt x="17182" y="16503"/>
                  <a:pt x="16962" y="16200"/>
                  <a:pt x="16691" y="16200"/>
                </a:cubicBezTo>
                <a:lnTo>
                  <a:pt x="13745" y="16200"/>
                </a:lnTo>
                <a:cubicBezTo>
                  <a:pt x="13475" y="16200"/>
                  <a:pt x="13255" y="16503"/>
                  <a:pt x="13255" y="16875"/>
                </a:cubicBezTo>
                <a:cubicBezTo>
                  <a:pt x="13255" y="17248"/>
                  <a:pt x="13475" y="17551"/>
                  <a:pt x="13745" y="17551"/>
                </a:cubicBezTo>
                <a:lnTo>
                  <a:pt x="14727" y="17551"/>
                </a:lnTo>
                <a:lnTo>
                  <a:pt x="14727" y="20250"/>
                </a:lnTo>
                <a:lnTo>
                  <a:pt x="6873" y="20250"/>
                </a:lnTo>
                <a:lnTo>
                  <a:pt x="6873" y="17551"/>
                </a:lnTo>
                <a:lnTo>
                  <a:pt x="7855" y="17551"/>
                </a:lnTo>
                <a:cubicBezTo>
                  <a:pt x="8125" y="17551"/>
                  <a:pt x="8345" y="17248"/>
                  <a:pt x="8345" y="16875"/>
                </a:cubicBezTo>
                <a:cubicBezTo>
                  <a:pt x="8345" y="16503"/>
                  <a:pt x="8125" y="16200"/>
                  <a:pt x="7855" y="16200"/>
                </a:cubicBezTo>
                <a:lnTo>
                  <a:pt x="4909" y="16200"/>
                </a:lnTo>
                <a:cubicBezTo>
                  <a:pt x="4638" y="16200"/>
                  <a:pt x="4418" y="16503"/>
                  <a:pt x="4418" y="16875"/>
                </a:cubicBezTo>
                <a:cubicBezTo>
                  <a:pt x="4418" y="17248"/>
                  <a:pt x="4638" y="17551"/>
                  <a:pt x="4909" y="17551"/>
                </a:cubicBezTo>
                <a:lnTo>
                  <a:pt x="5891" y="17551"/>
                </a:lnTo>
                <a:lnTo>
                  <a:pt x="5891" y="20250"/>
                </a:lnTo>
                <a:lnTo>
                  <a:pt x="982" y="202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3436" y="13500"/>
                </a:moveTo>
                <a:lnTo>
                  <a:pt x="7364" y="13500"/>
                </a:lnTo>
                <a:cubicBezTo>
                  <a:pt x="7634" y="13500"/>
                  <a:pt x="7855" y="13198"/>
                  <a:pt x="7855" y="12825"/>
                </a:cubicBezTo>
                <a:cubicBezTo>
                  <a:pt x="7855" y="12452"/>
                  <a:pt x="7634" y="12150"/>
                  <a:pt x="7364" y="12150"/>
                </a:cubicBezTo>
                <a:lnTo>
                  <a:pt x="3436" y="12150"/>
                </a:lnTo>
                <a:cubicBezTo>
                  <a:pt x="3166" y="12150"/>
                  <a:pt x="2945" y="12452"/>
                  <a:pt x="2945" y="12825"/>
                </a:cubicBezTo>
                <a:cubicBezTo>
                  <a:pt x="2945" y="13198"/>
                  <a:pt x="3166" y="13500"/>
                  <a:pt x="3436" y="13500"/>
                </a:cubicBezTo>
                <a:moveTo>
                  <a:pt x="12273" y="5400"/>
                </a:moveTo>
                <a:lnTo>
                  <a:pt x="16200" y="5400"/>
                </a:lnTo>
                <a:cubicBezTo>
                  <a:pt x="16471" y="5400"/>
                  <a:pt x="16691" y="5098"/>
                  <a:pt x="16691" y="4725"/>
                </a:cubicBezTo>
                <a:cubicBezTo>
                  <a:pt x="16691" y="4353"/>
                  <a:pt x="16471" y="4050"/>
                  <a:pt x="16200" y="4050"/>
                </a:cubicBezTo>
                <a:lnTo>
                  <a:pt x="12273" y="4050"/>
                </a:lnTo>
                <a:cubicBezTo>
                  <a:pt x="12002" y="4050"/>
                  <a:pt x="11782" y="4353"/>
                  <a:pt x="11782" y="4725"/>
                </a:cubicBezTo>
                <a:cubicBezTo>
                  <a:pt x="11782" y="5098"/>
                  <a:pt x="12002" y="5400"/>
                  <a:pt x="12273" y="5400"/>
                </a:cubicBezTo>
                <a:moveTo>
                  <a:pt x="12273" y="10800"/>
                </a:moveTo>
                <a:lnTo>
                  <a:pt x="16200" y="10800"/>
                </a:lnTo>
                <a:cubicBezTo>
                  <a:pt x="16471" y="10800"/>
                  <a:pt x="16691" y="10498"/>
                  <a:pt x="16691" y="10125"/>
                </a:cubicBezTo>
                <a:cubicBezTo>
                  <a:pt x="16691" y="9753"/>
                  <a:pt x="16471" y="9450"/>
                  <a:pt x="16200" y="9450"/>
                </a:cubicBezTo>
                <a:lnTo>
                  <a:pt x="12273" y="9450"/>
                </a:lnTo>
                <a:cubicBezTo>
                  <a:pt x="12002" y="9450"/>
                  <a:pt x="11782" y="9753"/>
                  <a:pt x="11782" y="10125"/>
                </a:cubicBezTo>
                <a:cubicBezTo>
                  <a:pt x="11782" y="10498"/>
                  <a:pt x="12002" y="10800"/>
                  <a:pt x="12273" y="10800"/>
                </a:cubicBezTo>
                <a:moveTo>
                  <a:pt x="12273" y="13500"/>
                </a:moveTo>
                <a:lnTo>
                  <a:pt x="18164" y="13500"/>
                </a:lnTo>
                <a:cubicBezTo>
                  <a:pt x="18434" y="13500"/>
                  <a:pt x="18655" y="13198"/>
                  <a:pt x="18655" y="12825"/>
                </a:cubicBezTo>
                <a:cubicBezTo>
                  <a:pt x="18655" y="12452"/>
                  <a:pt x="18434" y="12150"/>
                  <a:pt x="18164" y="12150"/>
                </a:cubicBezTo>
                <a:lnTo>
                  <a:pt x="12273" y="12150"/>
                </a:lnTo>
                <a:cubicBezTo>
                  <a:pt x="12002" y="12150"/>
                  <a:pt x="11782" y="12452"/>
                  <a:pt x="11782" y="12825"/>
                </a:cubicBezTo>
                <a:cubicBezTo>
                  <a:pt x="11782" y="13198"/>
                  <a:pt x="12002" y="13500"/>
                  <a:pt x="12273" y="13500"/>
                </a:cubicBezTo>
                <a:moveTo>
                  <a:pt x="12273" y="8100"/>
                </a:moveTo>
                <a:lnTo>
                  <a:pt x="18164" y="8100"/>
                </a:lnTo>
                <a:cubicBezTo>
                  <a:pt x="18434" y="8100"/>
                  <a:pt x="18655" y="7798"/>
                  <a:pt x="18655" y="7425"/>
                </a:cubicBezTo>
                <a:cubicBezTo>
                  <a:pt x="18655" y="7053"/>
                  <a:pt x="18434" y="6750"/>
                  <a:pt x="18164" y="6750"/>
                </a:cubicBezTo>
                <a:lnTo>
                  <a:pt x="12273" y="6750"/>
                </a:lnTo>
                <a:cubicBezTo>
                  <a:pt x="12002" y="6750"/>
                  <a:pt x="11782" y="7053"/>
                  <a:pt x="11782" y="7425"/>
                </a:cubicBezTo>
                <a:cubicBezTo>
                  <a:pt x="11782" y="7798"/>
                  <a:pt x="12002" y="8100"/>
                  <a:pt x="12273" y="81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97" name="Shape 2597"/>
          <p:cNvSpPr/>
          <p:nvPr/>
        </p:nvSpPr>
        <p:spPr>
          <a:xfrm>
            <a:off x="7318082" y="1985206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9600"/>
                </a:moveTo>
                <a:lnTo>
                  <a:pt x="11291" y="9600"/>
                </a:lnTo>
                <a:cubicBezTo>
                  <a:pt x="11562" y="9600"/>
                  <a:pt x="11782" y="9332"/>
                  <a:pt x="11782" y="9000"/>
                </a:cubicBezTo>
                <a:cubicBezTo>
                  <a:pt x="11782" y="8669"/>
                  <a:pt x="11562" y="8400"/>
                  <a:pt x="11291" y="8400"/>
                </a:cubicBezTo>
                <a:lnTo>
                  <a:pt x="7364" y="8400"/>
                </a:lnTo>
                <a:cubicBezTo>
                  <a:pt x="7093" y="8400"/>
                  <a:pt x="6873" y="8669"/>
                  <a:pt x="6873" y="9000"/>
                </a:cubicBezTo>
                <a:cubicBezTo>
                  <a:pt x="6873" y="9332"/>
                  <a:pt x="7093" y="9600"/>
                  <a:pt x="7364" y="9600"/>
                </a:cubicBezTo>
                <a:moveTo>
                  <a:pt x="7364" y="12000"/>
                </a:moveTo>
                <a:lnTo>
                  <a:pt x="9327" y="12000"/>
                </a:lnTo>
                <a:cubicBezTo>
                  <a:pt x="9598" y="12000"/>
                  <a:pt x="9818" y="11732"/>
                  <a:pt x="9818" y="11400"/>
                </a:cubicBezTo>
                <a:cubicBezTo>
                  <a:pt x="9818" y="11069"/>
                  <a:pt x="9598" y="10800"/>
                  <a:pt x="9327" y="10800"/>
                </a:cubicBezTo>
                <a:lnTo>
                  <a:pt x="7364" y="10800"/>
                </a:lnTo>
                <a:cubicBezTo>
                  <a:pt x="7093" y="10800"/>
                  <a:pt x="6873" y="11069"/>
                  <a:pt x="6873" y="11400"/>
                </a:cubicBezTo>
                <a:cubicBezTo>
                  <a:pt x="6873" y="11732"/>
                  <a:pt x="7093" y="12000"/>
                  <a:pt x="7364" y="12000"/>
                </a:cubicBezTo>
                <a:moveTo>
                  <a:pt x="20618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182" y="19200"/>
                </a:lnTo>
                <a:cubicBezTo>
                  <a:pt x="17453" y="19200"/>
                  <a:pt x="17673" y="18932"/>
                  <a:pt x="17673" y="18600"/>
                </a:cubicBezTo>
                <a:cubicBezTo>
                  <a:pt x="17673" y="18269"/>
                  <a:pt x="17453" y="18000"/>
                  <a:pt x="17182" y="18000"/>
                </a:cubicBezTo>
                <a:lnTo>
                  <a:pt x="15218" y="18000"/>
                </a:lnTo>
                <a:cubicBezTo>
                  <a:pt x="14947" y="18000"/>
                  <a:pt x="14727" y="18269"/>
                  <a:pt x="14727" y="18600"/>
                </a:cubicBezTo>
                <a:cubicBezTo>
                  <a:pt x="14727" y="18932"/>
                  <a:pt x="14947" y="19200"/>
                  <a:pt x="15218" y="19200"/>
                </a:cubicBezTo>
                <a:lnTo>
                  <a:pt x="15709" y="19200"/>
                </a:lnTo>
                <a:lnTo>
                  <a:pt x="15709" y="20400"/>
                </a:lnTo>
                <a:lnTo>
                  <a:pt x="9818" y="20400"/>
                </a:lnTo>
                <a:lnTo>
                  <a:pt x="9818" y="19200"/>
                </a:lnTo>
                <a:lnTo>
                  <a:pt x="10309" y="19200"/>
                </a:lnTo>
                <a:cubicBezTo>
                  <a:pt x="10580" y="19200"/>
                  <a:pt x="10800" y="18932"/>
                  <a:pt x="10800" y="18600"/>
                </a:cubicBezTo>
                <a:cubicBezTo>
                  <a:pt x="10800" y="18269"/>
                  <a:pt x="10580" y="18000"/>
                  <a:pt x="10309" y="18000"/>
                </a:cubicBezTo>
                <a:lnTo>
                  <a:pt x="8345" y="18000"/>
                </a:lnTo>
                <a:cubicBezTo>
                  <a:pt x="8075" y="18000"/>
                  <a:pt x="7855" y="18269"/>
                  <a:pt x="7855" y="18600"/>
                </a:cubicBezTo>
                <a:cubicBezTo>
                  <a:pt x="7855" y="18932"/>
                  <a:pt x="8075" y="19200"/>
                  <a:pt x="8345" y="19200"/>
                </a:cubicBezTo>
                <a:lnTo>
                  <a:pt x="8836" y="19200"/>
                </a:lnTo>
                <a:lnTo>
                  <a:pt x="8836" y="20400"/>
                </a:ln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7364" y="14400"/>
                </a:moveTo>
                <a:lnTo>
                  <a:pt x="11291" y="14400"/>
                </a:lnTo>
                <a:cubicBezTo>
                  <a:pt x="11562" y="14400"/>
                  <a:pt x="11782" y="14132"/>
                  <a:pt x="11782" y="13800"/>
                </a:cubicBezTo>
                <a:cubicBezTo>
                  <a:pt x="11782" y="13469"/>
                  <a:pt x="11562" y="13200"/>
                  <a:pt x="11291" y="13200"/>
                </a:cubicBezTo>
                <a:lnTo>
                  <a:pt x="7364" y="13200"/>
                </a:lnTo>
                <a:cubicBezTo>
                  <a:pt x="7093" y="13200"/>
                  <a:pt x="6873" y="13469"/>
                  <a:pt x="6873" y="13800"/>
                </a:cubicBezTo>
                <a:cubicBezTo>
                  <a:pt x="6873" y="14132"/>
                  <a:pt x="7093" y="14400"/>
                  <a:pt x="7364" y="14400"/>
                </a:cubicBezTo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1"/>
                  <a:pt x="982" y="16801"/>
                </a:cubicBezTo>
                <a:lnTo>
                  <a:pt x="2455" y="16801"/>
                </a:lnTo>
                <a:cubicBezTo>
                  <a:pt x="2725" y="16801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14236" y="14400"/>
                </a:moveTo>
                <a:lnTo>
                  <a:pt x="16200" y="14400"/>
                </a:lnTo>
                <a:cubicBezTo>
                  <a:pt x="16471" y="14400"/>
                  <a:pt x="16691" y="14132"/>
                  <a:pt x="16691" y="13800"/>
                </a:cubicBezTo>
                <a:cubicBezTo>
                  <a:pt x="16691" y="13469"/>
                  <a:pt x="16471" y="13200"/>
                  <a:pt x="16200" y="13200"/>
                </a:cubicBezTo>
                <a:lnTo>
                  <a:pt x="14236" y="13200"/>
                </a:lnTo>
                <a:cubicBezTo>
                  <a:pt x="13966" y="13200"/>
                  <a:pt x="13745" y="13469"/>
                  <a:pt x="13745" y="13800"/>
                </a:cubicBezTo>
                <a:cubicBezTo>
                  <a:pt x="13745" y="14132"/>
                  <a:pt x="13966" y="14400"/>
                  <a:pt x="14236" y="14400"/>
                </a:cubicBezTo>
                <a:moveTo>
                  <a:pt x="14236" y="9600"/>
                </a:move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cubicBezTo>
                  <a:pt x="16691" y="8669"/>
                  <a:pt x="16471" y="8400"/>
                  <a:pt x="16200" y="8400"/>
                </a:cubicBezTo>
                <a:lnTo>
                  <a:pt x="14236" y="8400"/>
                </a:lnTo>
                <a:cubicBezTo>
                  <a:pt x="13966" y="8400"/>
                  <a:pt x="13745" y="8669"/>
                  <a:pt x="13745" y="9000"/>
                </a:cubicBezTo>
                <a:cubicBezTo>
                  <a:pt x="13745" y="9332"/>
                  <a:pt x="13966" y="9600"/>
                  <a:pt x="14236" y="9600"/>
                </a:cubicBezTo>
                <a:moveTo>
                  <a:pt x="14236" y="12000"/>
                </a:moveTo>
                <a:lnTo>
                  <a:pt x="18164" y="12000"/>
                </a:lnTo>
                <a:cubicBezTo>
                  <a:pt x="18434" y="12000"/>
                  <a:pt x="18655" y="11732"/>
                  <a:pt x="18655" y="11400"/>
                </a:cubicBezTo>
                <a:cubicBezTo>
                  <a:pt x="18655" y="11069"/>
                  <a:pt x="18434" y="10800"/>
                  <a:pt x="18164" y="10800"/>
                </a:cubicBezTo>
                <a:lnTo>
                  <a:pt x="14236" y="10800"/>
                </a:lnTo>
                <a:cubicBezTo>
                  <a:pt x="13966" y="10800"/>
                  <a:pt x="13745" y="11069"/>
                  <a:pt x="13745" y="11400"/>
                </a:cubicBezTo>
                <a:cubicBezTo>
                  <a:pt x="13745" y="11732"/>
                  <a:pt x="13966" y="12000"/>
                  <a:pt x="14236" y="120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98" name="Shape 2598"/>
          <p:cNvSpPr/>
          <p:nvPr/>
        </p:nvSpPr>
        <p:spPr>
          <a:xfrm>
            <a:off x="7851343" y="1985206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873" y="8400"/>
                </a:moveTo>
                <a:lnTo>
                  <a:pt x="10800" y="8400"/>
                </a:lnTo>
                <a:lnTo>
                  <a:pt x="10800" y="12001"/>
                </a:lnTo>
                <a:lnTo>
                  <a:pt x="6873" y="12001"/>
                </a:lnTo>
                <a:cubicBezTo>
                  <a:pt x="6873" y="12001"/>
                  <a:pt x="6873" y="8400"/>
                  <a:pt x="6873" y="8400"/>
                </a:cubicBezTo>
                <a:close/>
                <a:moveTo>
                  <a:pt x="6382" y="13200"/>
                </a:moveTo>
                <a:lnTo>
                  <a:pt x="11291" y="13200"/>
                </a:lnTo>
                <a:cubicBezTo>
                  <a:pt x="11562" y="13200"/>
                  <a:pt x="11782" y="12932"/>
                  <a:pt x="11782" y="12600"/>
                </a:cubicBezTo>
                <a:lnTo>
                  <a:pt x="11782" y="7800"/>
                </a:lnTo>
                <a:cubicBezTo>
                  <a:pt x="11782" y="7469"/>
                  <a:pt x="11562" y="7200"/>
                  <a:pt x="11291" y="7200"/>
                </a:cubicBezTo>
                <a:lnTo>
                  <a:pt x="6382" y="7200"/>
                </a:lnTo>
                <a:cubicBezTo>
                  <a:pt x="6111" y="7200"/>
                  <a:pt x="5891" y="7469"/>
                  <a:pt x="5891" y="7800"/>
                </a:cubicBezTo>
                <a:lnTo>
                  <a:pt x="5891" y="12600"/>
                </a:lnTo>
                <a:cubicBezTo>
                  <a:pt x="5891" y="12932"/>
                  <a:pt x="6111" y="13200"/>
                  <a:pt x="6382" y="13200"/>
                </a:cubicBezTo>
                <a:moveTo>
                  <a:pt x="6382" y="4800"/>
                </a:moveTo>
                <a:cubicBezTo>
                  <a:pt x="6653" y="4800"/>
                  <a:pt x="6873" y="4531"/>
                  <a:pt x="6873" y="4200"/>
                </a:cubicBezTo>
                <a:cubicBezTo>
                  <a:pt x="6873" y="3868"/>
                  <a:pt x="6653" y="3600"/>
                  <a:pt x="6382" y="3600"/>
                </a:cubicBezTo>
                <a:cubicBezTo>
                  <a:pt x="6111" y="3600"/>
                  <a:pt x="5891" y="3868"/>
                  <a:pt x="5891" y="4200"/>
                </a:cubicBezTo>
                <a:cubicBezTo>
                  <a:pt x="5891" y="4531"/>
                  <a:pt x="6111" y="4800"/>
                  <a:pt x="6382" y="4800"/>
                </a:cubicBezTo>
                <a:moveTo>
                  <a:pt x="20618" y="20400"/>
                </a:moveTo>
                <a:lnTo>
                  <a:pt x="2945" y="20400"/>
                </a:lnTo>
                <a:cubicBezTo>
                  <a:pt x="1861" y="20400"/>
                  <a:pt x="982" y="19325"/>
                  <a:pt x="982" y="18000"/>
                </a:cubicBezTo>
                <a:lnTo>
                  <a:pt x="982" y="4800"/>
                </a:lnTo>
                <a:lnTo>
                  <a:pt x="2945" y="4800"/>
                </a:lnTo>
                <a:lnTo>
                  <a:pt x="2945" y="17400"/>
                </a:lnTo>
                <a:cubicBezTo>
                  <a:pt x="2945" y="17732"/>
                  <a:pt x="3166" y="18000"/>
                  <a:pt x="3436" y="18000"/>
                </a:cubicBezTo>
                <a:cubicBezTo>
                  <a:pt x="3707" y="18000"/>
                  <a:pt x="3927" y="17732"/>
                  <a:pt x="3927" y="17400"/>
                </a:cubicBezTo>
                <a:lnTo>
                  <a:pt x="3927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600"/>
                </a:lnTo>
                <a:lnTo>
                  <a:pt x="982" y="3600"/>
                </a:lnTo>
                <a:cubicBezTo>
                  <a:pt x="440" y="3600"/>
                  <a:pt x="0" y="4138"/>
                  <a:pt x="0" y="4800"/>
                </a:cubicBezTo>
                <a:lnTo>
                  <a:pt x="0" y="18000"/>
                </a:lnTo>
                <a:cubicBezTo>
                  <a:pt x="0" y="19988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6382" y="18000"/>
                </a:moveTo>
                <a:lnTo>
                  <a:pt x="18164" y="18000"/>
                </a:lnTo>
                <a:cubicBezTo>
                  <a:pt x="18434" y="18000"/>
                  <a:pt x="18655" y="17732"/>
                  <a:pt x="18655" y="17400"/>
                </a:cubicBezTo>
                <a:cubicBezTo>
                  <a:pt x="18655" y="17068"/>
                  <a:pt x="18434" y="16801"/>
                  <a:pt x="18164" y="16801"/>
                </a:cubicBezTo>
                <a:lnTo>
                  <a:pt x="6382" y="16801"/>
                </a:lnTo>
                <a:cubicBezTo>
                  <a:pt x="6111" y="16801"/>
                  <a:pt x="5891" y="17068"/>
                  <a:pt x="5891" y="17400"/>
                </a:cubicBezTo>
                <a:cubicBezTo>
                  <a:pt x="5891" y="17732"/>
                  <a:pt x="6111" y="18000"/>
                  <a:pt x="6382" y="18000"/>
                </a:cubicBezTo>
                <a:moveTo>
                  <a:pt x="6382" y="15600"/>
                </a:moveTo>
                <a:lnTo>
                  <a:pt x="18164" y="15600"/>
                </a:lnTo>
                <a:cubicBezTo>
                  <a:pt x="18434" y="15600"/>
                  <a:pt x="18655" y="15332"/>
                  <a:pt x="18655" y="15000"/>
                </a:cubicBezTo>
                <a:cubicBezTo>
                  <a:pt x="18655" y="14668"/>
                  <a:pt x="18434" y="14401"/>
                  <a:pt x="18164" y="14401"/>
                </a:cubicBezTo>
                <a:lnTo>
                  <a:pt x="6382" y="14401"/>
                </a:lnTo>
                <a:cubicBezTo>
                  <a:pt x="6111" y="14401"/>
                  <a:pt x="5891" y="14668"/>
                  <a:pt x="5891" y="15000"/>
                </a:cubicBezTo>
                <a:cubicBezTo>
                  <a:pt x="5891" y="15332"/>
                  <a:pt x="6111" y="15600"/>
                  <a:pt x="6382" y="15600"/>
                </a:cubicBezTo>
                <a:moveTo>
                  <a:pt x="8345" y="4800"/>
                </a:moveTo>
                <a:cubicBezTo>
                  <a:pt x="8616" y="4800"/>
                  <a:pt x="8836" y="4531"/>
                  <a:pt x="8836" y="4200"/>
                </a:cubicBezTo>
                <a:cubicBezTo>
                  <a:pt x="8836" y="3868"/>
                  <a:pt x="8616" y="3600"/>
                  <a:pt x="8345" y="3600"/>
                </a:cubicBezTo>
                <a:cubicBezTo>
                  <a:pt x="8075" y="3600"/>
                  <a:pt x="7855" y="3868"/>
                  <a:pt x="7855" y="4200"/>
                </a:cubicBezTo>
                <a:cubicBezTo>
                  <a:pt x="7855" y="4531"/>
                  <a:pt x="8075" y="4800"/>
                  <a:pt x="8345" y="4800"/>
                </a:cubicBezTo>
                <a:moveTo>
                  <a:pt x="18164" y="7200"/>
                </a:moveTo>
                <a:lnTo>
                  <a:pt x="14236" y="7200"/>
                </a:lnTo>
                <a:cubicBezTo>
                  <a:pt x="13966" y="7200"/>
                  <a:pt x="13745" y="7469"/>
                  <a:pt x="13745" y="7800"/>
                </a:cubicBezTo>
                <a:cubicBezTo>
                  <a:pt x="13745" y="8132"/>
                  <a:pt x="13966" y="8400"/>
                  <a:pt x="14236" y="8400"/>
                </a:cubicBezTo>
                <a:lnTo>
                  <a:pt x="18164" y="8400"/>
                </a:lnTo>
                <a:cubicBezTo>
                  <a:pt x="18434" y="8400"/>
                  <a:pt x="18655" y="8132"/>
                  <a:pt x="18655" y="7800"/>
                </a:cubicBezTo>
                <a:cubicBezTo>
                  <a:pt x="18655" y="7469"/>
                  <a:pt x="18434" y="7200"/>
                  <a:pt x="18164" y="7200"/>
                </a:cubicBezTo>
                <a:moveTo>
                  <a:pt x="18164" y="12001"/>
                </a:moveTo>
                <a:lnTo>
                  <a:pt x="14236" y="12001"/>
                </a:lnTo>
                <a:cubicBezTo>
                  <a:pt x="13966" y="12001"/>
                  <a:pt x="13745" y="12268"/>
                  <a:pt x="13745" y="12600"/>
                </a:cubicBezTo>
                <a:cubicBezTo>
                  <a:pt x="13745" y="12932"/>
                  <a:pt x="13966" y="13200"/>
                  <a:pt x="14236" y="13200"/>
                </a:cubicBezTo>
                <a:lnTo>
                  <a:pt x="18164" y="13200"/>
                </a:lnTo>
                <a:cubicBezTo>
                  <a:pt x="18434" y="13200"/>
                  <a:pt x="18655" y="12932"/>
                  <a:pt x="18655" y="12600"/>
                </a:cubicBezTo>
                <a:cubicBezTo>
                  <a:pt x="18655" y="12268"/>
                  <a:pt x="18434" y="12001"/>
                  <a:pt x="18164" y="12001"/>
                </a:cubicBezTo>
                <a:moveTo>
                  <a:pt x="18164" y="9600"/>
                </a:moveTo>
                <a:lnTo>
                  <a:pt x="14236" y="9600"/>
                </a:lnTo>
                <a:cubicBezTo>
                  <a:pt x="13966" y="9600"/>
                  <a:pt x="13745" y="9869"/>
                  <a:pt x="13745" y="10200"/>
                </a:cubicBezTo>
                <a:cubicBezTo>
                  <a:pt x="13745" y="10532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32"/>
                  <a:pt x="18655" y="10200"/>
                </a:cubicBezTo>
                <a:cubicBezTo>
                  <a:pt x="18655" y="9869"/>
                  <a:pt x="18434" y="9600"/>
                  <a:pt x="18164" y="9600"/>
                </a:cubicBezTo>
                <a:moveTo>
                  <a:pt x="18164" y="4800"/>
                </a:moveTo>
                <a:cubicBezTo>
                  <a:pt x="18434" y="4800"/>
                  <a:pt x="18655" y="4531"/>
                  <a:pt x="18655" y="4200"/>
                </a:cubicBezTo>
                <a:cubicBezTo>
                  <a:pt x="18655" y="3868"/>
                  <a:pt x="18434" y="3600"/>
                  <a:pt x="18164" y="3600"/>
                </a:cubicBezTo>
                <a:cubicBezTo>
                  <a:pt x="17893" y="3600"/>
                  <a:pt x="17673" y="3868"/>
                  <a:pt x="17673" y="4200"/>
                </a:cubicBezTo>
                <a:cubicBezTo>
                  <a:pt x="17673" y="4531"/>
                  <a:pt x="17893" y="4800"/>
                  <a:pt x="18164" y="4800"/>
                </a:cubicBezTo>
                <a:moveTo>
                  <a:pt x="16200" y="4800"/>
                </a:moveTo>
                <a:cubicBezTo>
                  <a:pt x="16471" y="4800"/>
                  <a:pt x="16691" y="4531"/>
                  <a:pt x="16691" y="4200"/>
                </a:cubicBezTo>
                <a:cubicBezTo>
                  <a:pt x="16691" y="3868"/>
                  <a:pt x="16471" y="3600"/>
                  <a:pt x="16200" y="3600"/>
                </a:cubicBezTo>
                <a:cubicBezTo>
                  <a:pt x="15929" y="3600"/>
                  <a:pt x="15709" y="3868"/>
                  <a:pt x="15709" y="4200"/>
                </a:cubicBezTo>
                <a:cubicBezTo>
                  <a:pt x="15709" y="4531"/>
                  <a:pt x="15929" y="4800"/>
                  <a:pt x="16200" y="4800"/>
                </a:cubicBezTo>
                <a:moveTo>
                  <a:pt x="10309" y="4800"/>
                </a:moveTo>
                <a:lnTo>
                  <a:pt x="14236" y="4800"/>
                </a:lnTo>
                <a:cubicBezTo>
                  <a:pt x="14507" y="4800"/>
                  <a:pt x="14727" y="4531"/>
                  <a:pt x="14727" y="4200"/>
                </a:cubicBezTo>
                <a:cubicBezTo>
                  <a:pt x="14727" y="3868"/>
                  <a:pt x="14507" y="3600"/>
                  <a:pt x="14236" y="3600"/>
                </a:cubicBezTo>
                <a:lnTo>
                  <a:pt x="10309" y="3600"/>
                </a:lnTo>
                <a:cubicBezTo>
                  <a:pt x="10038" y="3600"/>
                  <a:pt x="9818" y="3868"/>
                  <a:pt x="9818" y="4200"/>
                </a:cubicBezTo>
                <a:cubicBezTo>
                  <a:pt x="9818" y="4531"/>
                  <a:pt x="10038" y="4800"/>
                  <a:pt x="10309" y="48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599" name="Shape 2599"/>
          <p:cNvSpPr/>
          <p:nvPr/>
        </p:nvSpPr>
        <p:spPr>
          <a:xfrm>
            <a:off x="8384604" y="195981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7855"/>
                </a:moveTo>
                <a:cubicBezTo>
                  <a:pt x="6653" y="7855"/>
                  <a:pt x="6873" y="7635"/>
                  <a:pt x="6873" y="7364"/>
                </a:cubicBezTo>
                <a:cubicBezTo>
                  <a:pt x="6873" y="7092"/>
                  <a:pt x="6653" y="6873"/>
                  <a:pt x="6382" y="6873"/>
                </a:cubicBezTo>
                <a:cubicBezTo>
                  <a:pt x="6111" y="6873"/>
                  <a:pt x="5891" y="7092"/>
                  <a:pt x="5891" y="7364"/>
                </a:cubicBezTo>
                <a:cubicBezTo>
                  <a:pt x="5891" y="7635"/>
                  <a:pt x="6111" y="7855"/>
                  <a:pt x="6382" y="7855"/>
                </a:cubicBezTo>
                <a:moveTo>
                  <a:pt x="6873" y="10800"/>
                </a:moveTo>
                <a:lnTo>
                  <a:pt x="10800" y="10800"/>
                </a:lnTo>
                <a:lnTo>
                  <a:pt x="10800" y="13746"/>
                </a:lnTo>
                <a:lnTo>
                  <a:pt x="6873" y="13746"/>
                </a:lnTo>
                <a:cubicBezTo>
                  <a:pt x="6873" y="13746"/>
                  <a:pt x="6873" y="10800"/>
                  <a:pt x="6873" y="10800"/>
                </a:cubicBezTo>
                <a:close/>
                <a:moveTo>
                  <a:pt x="6382" y="14727"/>
                </a:moveTo>
                <a:lnTo>
                  <a:pt x="11291" y="14727"/>
                </a:lnTo>
                <a:cubicBezTo>
                  <a:pt x="11562" y="14727"/>
                  <a:pt x="11782" y="14508"/>
                  <a:pt x="11782" y="14236"/>
                </a:cubicBezTo>
                <a:lnTo>
                  <a:pt x="11782" y="10309"/>
                </a:lnTo>
                <a:cubicBezTo>
                  <a:pt x="11782" y="10038"/>
                  <a:pt x="11562" y="9818"/>
                  <a:pt x="11291" y="9818"/>
                </a:cubicBezTo>
                <a:lnTo>
                  <a:pt x="6382" y="9818"/>
                </a:lnTo>
                <a:cubicBezTo>
                  <a:pt x="6111" y="9818"/>
                  <a:pt x="5891" y="10038"/>
                  <a:pt x="5891" y="10309"/>
                </a:cubicBezTo>
                <a:lnTo>
                  <a:pt x="5891" y="14236"/>
                </a:lnTo>
                <a:cubicBezTo>
                  <a:pt x="5891" y="14508"/>
                  <a:pt x="6111" y="14727"/>
                  <a:pt x="6382" y="14727"/>
                </a:cubicBezTo>
                <a:moveTo>
                  <a:pt x="8345" y="7855"/>
                </a:moveTo>
                <a:cubicBezTo>
                  <a:pt x="8616" y="7855"/>
                  <a:pt x="8836" y="7635"/>
                  <a:pt x="8836" y="7364"/>
                </a:cubicBezTo>
                <a:cubicBezTo>
                  <a:pt x="8836" y="7092"/>
                  <a:pt x="8616" y="6873"/>
                  <a:pt x="8345" y="6873"/>
                </a:cubicBezTo>
                <a:cubicBezTo>
                  <a:pt x="8075" y="6873"/>
                  <a:pt x="7855" y="7092"/>
                  <a:pt x="7855" y="7364"/>
                </a:cubicBezTo>
                <a:cubicBezTo>
                  <a:pt x="7855" y="7635"/>
                  <a:pt x="8075" y="7855"/>
                  <a:pt x="8345" y="7855"/>
                </a:cubicBezTo>
                <a:moveTo>
                  <a:pt x="20618" y="20618"/>
                </a:move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7855"/>
                </a:lnTo>
                <a:lnTo>
                  <a:pt x="2945" y="7855"/>
                </a:lnTo>
                <a:lnTo>
                  <a:pt x="2945" y="18164"/>
                </a:lnTo>
                <a:cubicBezTo>
                  <a:pt x="2945" y="18435"/>
                  <a:pt x="3166" y="18655"/>
                  <a:pt x="3436" y="18655"/>
                </a:cubicBezTo>
                <a:cubicBezTo>
                  <a:pt x="3707" y="18655"/>
                  <a:pt x="3927" y="18435"/>
                  <a:pt x="3927" y="18164"/>
                </a:cubicBezTo>
                <a:lnTo>
                  <a:pt x="3927" y="4909"/>
                </a:lnTo>
                <a:lnTo>
                  <a:pt x="20618" y="4909"/>
                </a:lnTo>
                <a:cubicBezTo>
                  <a:pt x="20618" y="4909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3927" y="3927"/>
                </a:lnTo>
                <a:cubicBezTo>
                  <a:pt x="3385" y="3927"/>
                  <a:pt x="2945" y="4367"/>
                  <a:pt x="2945" y="4909"/>
                </a:cubicBezTo>
                <a:lnTo>
                  <a:pt x="2945" y="6873"/>
                </a:lnTo>
                <a:lnTo>
                  <a:pt x="982" y="6873"/>
                </a:lnTo>
                <a:cubicBezTo>
                  <a:pt x="440" y="6873"/>
                  <a:pt x="0" y="7313"/>
                  <a:pt x="0" y="7855"/>
                </a:cubicBezTo>
                <a:lnTo>
                  <a:pt x="0" y="18655"/>
                </a:lnTo>
                <a:cubicBezTo>
                  <a:pt x="0" y="20282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  <a:moveTo>
                  <a:pt x="6382" y="16691"/>
                </a:moveTo>
                <a:lnTo>
                  <a:pt x="18164" y="16691"/>
                </a:lnTo>
                <a:cubicBezTo>
                  <a:pt x="18434" y="16691"/>
                  <a:pt x="18655" y="16472"/>
                  <a:pt x="18655" y="16200"/>
                </a:cubicBezTo>
                <a:cubicBezTo>
                  <a:pt x="18655" y="15929"/>
                  <a:pt x="18434" y="15710"/>
                  <a:pt x="18164" y="15710"/>
                </a:cubicBezTo>
                <a:lnTo>
                  <a:pt x="6382" y="15710"/>
                </a:lnTo>
                <a:cubicBezTo>
                  <a:pt x="6111" y="15710"/>
                  <a:pt x="5891" y="15929"/>
                  <a:pt x="5891" y="16200"/>
                </a:cubicBezTo>
                <a:cubicBezTo>
                  <a:pt x="5891" y="16472"/>
                  <a:pt x="6111" y="16691"/>
                  <a:pt x="6382" y="16691"/>
                </a:cubicBezTo>
                <a:moveTo>
                  <a:pt x="10309" y="7855"/>
                </a:moveTo>
                <a:lnTo>
                  <a:pt x="14236" y="7855"/>
                </a:lnTo>
                <a:cubicBezTo>
                  <a:pt x="14507" y="7855"/>
                  <a:pt x="14727" y="7635"/>
                  <a:pt x="14727" y="7364"/>
                </a:cubicBezTo>
                <a:cubicBezTo>
                  <a:pt x="14727" y="7092"/>
                  <a:pt x="14507" y="6873"/>
                  <a:pt x="14236" y="6873"/>
                </a:cubicBezTo>
                <a:lnTo>
                  <a:pt x="10309" y="6873"/>
                </a:lnTo>
                <a:cubicBezTo>
                  <a:pt x="10038" y="6873"/>
                  <a:pt x="9818" y="7092"/>
                  <a:pt x="9818" y="7364"/>
                </a:cubicBezTo>
                <a:cubicBezTo>
                  <a:pt x="9818" y="7635"/>
                  <a:pt x="10038" y="7855"/>
                  <a:pt x="10309" y="7855"/>
                </a:cubicBezTo>
                <a:moveTo>
                  <a:pt x="6382" y="18655"/>
                </a:moveTo>
                <a:lnTo>
                  <a:pt x="18164" y="18655"/>
                </a:lnTo>
                <a:cubicBezTo>
                  <a:pt x="18434" y="18655"/>
                  <a:pt x="18655" y="18435"/>
                  <a:pt x="18655" y="18164"/>
                </a:cubicBezTo>
                <a:cubicBezTo>
                  <a:pt x="18655" y="17893"/>
                  <a:pt x="18434" y="17673"/>
                  <a:pt x="18164" y="17673"/>
                </a:cubicBezTo>
                <a:lnTo>
                  <a:pt x="6382" y="17673"/>
                </a:lnTo>
                <a:cubicBezTo>
                  <a:pt x="6111" y="17673"/>
                  <a:pt x="5891" y="17893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moveTo>
                  <a:pt x="4909" y="2945"/>
                </a:moveTo>
                <a:lnTo>
                  <a:pt x="20127" y="2945"/>
                </a:lnTo>
                <a:cubicBezTo>
                  <a:pt x="20398" y="2945"/>
                  <a:pt x="20618" y="2726"/>
                  <a:pt x="20618" y="2455"/>
                </a:cubicBezTo>
                <a:cubicBezTo>
                  <a:pt x="20618" y="2184"/>
                  <a:pt x="20398" y="1964"/>
                  <a:pt x="20127" y="1964"/>
                </a:cubicBezTo>
                <a:lnTo>
                  <a:pt x="4909" y="1964"/>
                </a:lnTo>
                <a:cubicBezTo>
                  <a:pt x="4638" y="1964"/>
                  <a:pt x="4418" y="2184"/>
                  <a:pt x="4418" y="2455"/>
                </a:cubicBezTo>
                <a:cubicBezTo>
                  <a:pt x="4418" y="2726"/>
                  <a:pt x="4638" y="2945"/>
                  <a:pt x="4909" y="2945"/>
                </a:cubicBezTo>
                <a:moveTo>
                  <a:pt x="18164" y="11783"/>
                </a:moveTo>
                <a:lnTo>
                  <a:pt x="14236" y="11783"/>
                </a:lnTo>
                <a:cubicBezTo>
                  <a:pt x="13966" y="11783"/>
                  <a:pt x="13745" y="12001"/>
                  <a:pt x="13745" y="12273"/>
                </a:cubicBezTo>
                <a:cubicBezTo>
                  <a:pt x="13745" y="12544"/>
                  <a:pt x="13966" y="12764"/>
                  <a:pt x="14236" y="12764"/>
                </a:cubicBezTo>
                <a:lnTo>
                  <a:pt x="18164" y="12764"/>
                </a:lnTo>
                <a:cubicBezTo>
                  <a:pt x="18434" y="12764"/>
                  <a:pt x="18655" y="12544"/>
                  <a:pt x="18655" y="12273"/>
                </a:cubicBezTo>
                <a:cubicBezTo>
                  <a:pt x="18655" y="12001"/>
                  <a:pt x="18434" y="11783"/>
                  <a:pt x="18164" y="11783"/>
                </a:cubicBezTo>
                <a:moveTo>
                  <a:pt x="6382" y="982"/>
                </a:moveTo>
                <a:lnTo>
                  <a:pt x="19145" y="982"/>
                </a:lnTo>
                <a:cubicBezTo>
                  <a:pt x="19416" y="982"/>
                  <a:pt x="19636" y="762"/>
                  <a:pt x="19636" y="491"/>
                </a:cubicBezTo>
                <a:cubicBezTo>
                  <a:pt x="19636" y="220"/>
                  <a:pt x="19416" y="0"/>
                  <a:pt x="19145" y="0"/>
                </a:cubicBezTo>
                <a:lnTo>
                  <a:pt x="6382" y="0"/>
                </a:lnTo>
                <a:cubicBezTo>
                  <a:pt x="6111" y="0"/>
                  <a:pt x="5891" y="220"/>
                  <a:pt x="5891" y="491"/>
                </a:cubicBezTo>
                <a:cubicBezTo>
                  <a:pt x="5891" y="762"/>
                  <a:pt x="6111" y="982"/>
                  <a:pt x="6382" y="982"/>
                </a:cubicBezTo>
                <a:moveTo>
                  <a:pt x="18164" y="13746"/>
                </a:moveTo>
                <a:lnTo>
                  <a:pt x="14236" y="13746"/>
                </a:lnTo>
                <a:cubicBezTo>
                  <a:pt x="13966" y="13746"/>
                  <a:pt x="13745" y="13965"/>
                  <a:pt x="13745" y="14236"/>
                </a:cubicBezTo>
                <a:cubicBezTo>
                  <a:pt x="13745" y="14508"/>
                  <a:pt x="13966" y="14727"/>
                  <a:pt x="14236" y="14727"/>
                </a:cubicBezTo>
                <a:lnTo>
                  <a:pt x="18164" y="14727"/>
                </a:lnTo>
                <a:cubicBezTo>
                  <a:pt x="18434" y="14727"/>
                  <a:pt x="18655" y="14508"/>
                  <a:pt x="18655" y="14236"/>
                </a:cubicBezTo>
                <a:cubicBezTo>
                  <a:pt x="18655" y="13965"/>
                  <a:pt x="18434" y="13746"/>
                  <a:pt x="18164" y="13746"/>
                </a:cubicBezTo>
                <a:moveTo>
                  <a:pt x="16200" y="7855"/>
                </a:moveTo>
                <a:cubicBezTo>
                  <a:pt x="16471" y="7855"/>
                  <a:pt x="16691" y="7635"/>
                  <a:pt x="16691" y="7364"/>
                </a:cubicBezTo>
                <a:cubicBezTo>
                  <a:pt x="16691" y="7092"/>
                  <a:pt x="16471" y="6873"/>
                  <a:pt x="16200" y="6873"/>
                </a:cubicBezTo>
                <a:cubicBezTo>
                  <a:pt x="15929" y="6873"/>
                  <a:pt x="15709" y="7092"/>
                  <a:pt x="15709" y="7364"/>
                </a:cubicBezTo>
                <a:cubicBezTo>
                  <a:pt x="15709" y="7635"/>
                  <a:pt x="15929" y="7855"/>
                  <a:pt x="16200" y="7855"/>
                </a:cubicBezTo>
                <a:moveTo>
                  <a:pt x="18164" y="7855"/>
                </a:moveTo>
                <a:cubicBezTo>
                  <a:pt x="18434" y="7855"/>
                  <a:pt x="18655" y="7635"/>
                  <a:pt x="18655" y="7364"/>
                </a:cubicBezTo>
                <a:cubicBezTo>
                  <a:pt x="18655" y="7092"/>
                  <a:pt x="18434" y="6873"/>
                  <a:pt x="18164" y="6873"/>
                </a:cubicBezTo>
                <a:cubicBezTo>
                  <a:pt x="17893" y="6873"/>
                  <a:pt x="17673" y="7092"/>
                  <a:pt x="17673" y="7364"/>
                </a:cubicBezTo>
                <a:cubicBezTo>
                  <a:pt x="17673" y="7635"/>
                  <a:pt x="17893" y="7855"/>
                  <a:pt x="18164" y="7855"/>
                </a:cubicBezTo>
                <a:moveTo>
                  <a:pt x="18164" y="9818"/>
                </a:moveTo>
                <a:lnTo>
                  <a:pt x="14236" y="9818"/>
                </a:lnTo>
                <a:cubicBezTo>
                  <a:pt x="13966" y="9818"/>
                  <a:pt x="13745" y="10038"/>
                  <a:pt x="13745" y="10309"/>
                </a:cubicBezTo>
                <a:cubicBezTo>
                  <a:pt x="13745" y="10581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81"/>
                  <a:pt x="18655" y="10309"/>
                </a:cubicBezTo>
                <a:cubicBezTo>
                  <a:pt x="18655" y="10038"/>
                  <a:pt x="18434" y="9818"/>
                  <a:pt x="18164" y="9818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00" name="Shape 2600"/>
          <p:cNvSpPr/>
          <p:nvPr/>
        </p:nvSpPr>
        <p:spPr>
          <a:xfrm>
            <a:off x="8917865" y="195981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11291" y="10309"/>
                </a:lnTo>
                <a:lnTo>
                  <a:pt x="11291" y="5401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1"/>
                </a:cubicBezTo>
                <a:lnTo>
                  <a:pt x="10309" y="10309"/>
                </a:ln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0309" y="11292"/>
                </a:lnTo>
                <a:lnTo>
                  <a:pt x="10309" y="16200"/>
                </a:lnTo>
                <a:cubicBezTo>
                  <a:pt x="10309" y="16472"/>
                  <a:pt x="10529" y="16691"/>
                  <a:pt x="10800" y="16691"/>
                </a:cubicBezTo>
                <a:cubicBezTo>
                  <a:pt x="11071" y="16691"/>
                  <a:pt x="11291" y="16472"/>
                  <a:pt x="11291" y="16200"/>
                </a:cubicBezTo>
                <a:lnTo>
                  <a:pt x="11291" y="11292"/>
                </a:ln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01" name="Shape 2601"/>
          <p:cNvSpPr/>
          <p:nvPr/>
        </p:nvSpPr>
        <p:spPr>
          <a:xfrm>
            <a:off x="9451126" y="195981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02" name="Shape 2602"/>
          <p:cNvSpPr/>
          <p:nvPr/>
        </p:nvSpPr>
        <p:spPr>
          <a:xfrm>
            <a:off x="9984387" y="1985206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6001"/>
                </a:moveTo>
                <a:lnTo>
                  <a:pt x="8345" y="6001"/>
                </a:lnTo>
                <a:cubicBezTo>
                  <a:pt x="8617" y="6001"/>
                  <a:pt x="8836" y="5732"/>
                  <a:pt x="8836" y="5400"/>
                </a:cubicBezTo>
                <a:cubicBezTo>
                  <a:pt x="8836" y="5069"/>
                  <a:pt x="8617" y="4800"/>
                  <a:pt x="8345" y="4800"/>
                </a:cubicBezTo>
                <a:lnTo>
                  <a:pt x="5400" y="4800"/>
                </a:lnTo>
                <a:cubicBezTo>
                  <a:pt x="5129" y="4800"/>
                  <a:pt x="4909" y="5069"/>
                  <a:pt x="4909" y="5400"/>
                </a:cubicBezTo>
                <a:cubicBezTo>
                  <a:pt x="4909" y="5732"/>
                  <a:pt x="5129" y="6001"/>
                  <a:pt x="5400" y="6001"/>
                </a:cubicBezTo>
                <a:moveTo>
                  <a:pt x="20618" y="20400"/>
                </a:moveTo>
                <a:lnTo>
                  <a:pt x="18655" y="20400"/>
                </a:lnTo>
                <a:lnTo>
                  <a:pt x="18655" y="18000"/>
                </a:lnTo>
                <a:cubicBezTo>
                  <a:pt x="18926" y="18000"/>
                  <a:pt x="19145" y="17732"/>
                  <a:pt x="19145" y="17400"/>
                </a:cubicBezTo>
                <a:cubicBezTo>
                  <a:pt x="19145" y="17069"/>
                  <a:pt x="18926" y="16801"/>
                  <a:pt x="18655" y="16801"/>
                </a:cubicBezTo>
                <a:lnTo>
                  <a:pt x="18655" y="3601"/>
                </a:lnTo>
                <a:lnTo>
                  <a:pt x="20618" y="3601"/>
                </a:lnTo>
                <a:cubicBezTo>
                  <a:pt x="20618" y="3601"/>
                  <a:pt x="20618" y="20400"/>
                  <a:pt x="20618" y="20400"/>
                </a:cubicBezTo>
                <a:close/>
                <a:moveTo>
                  <a:pt x="17673" y="16801"/>
                </a:moveTo>
                <a:cubicBezTo>
                  <a:pt x="17401" y="16801"/>
                  <a:pt x="17182" y="17069"/>
                  <a:pt x="17182" y="17400"/>
                </a:cubicBezTo>
                <a:cubicBezTo>
                  <a:pt x="17182" y="17732"/>
                  <a:pt x="17401" y="18000"/>
                  <a:pt x="17673" y="18000"/>
                </a:cubicBezTo>
                <a:lnTo>
                  <a:pt x="17673" y="20400"/>
                </a:lnTo>
                <a:lnTo>
                  <a:pt x="3927" y="20400"/>
                </a:lnTo>
                <a:lnTo>
                  <a:pt x="3927" y="18000"/>
                </a:lnTo>
                <a:cubicBezTo>
                  <a:pt x="4199" y="18000"/>
                  <a:pt x="4418" y="17732"/>
                  <a:pt x="4418" y="17400"/>
                </a:cubicBezTo>
                <a:cubicBezTo>
                  <a:pt x="4418" y="17069"/>
                  <a:pt x="4199" y="16801"/>
                  <a:pt x="3927" y="16801"/>
                </a:cubicBezTo>
                <a:lnTo>
                  <a:pt x="3927" y="3601"/>
                </a:lnTo>
                <a:lnTo>
                  <a:pt x="17673" y="3601"/>
                </a:lnTo>
                <a:cubicBezTo>
                  <a:pt x="17673" y="3601"/>
                  <a:pt x="17673" y="16801"/>
                  <a:pt x="17673" y="16801"/>
                </a:cubicBezTo>
                <a:close/>
                <a:moveTo>
                  <a:pt x="2945" y="16801"/>
                </a:moveTo>
                <a:cubicBezTo>
                  <a:pt x="2674" y="16801"/>
                  <a:pt x="2455" y="17069"/>
                  <a:pt x="2455" y="17400"/>
                </a:cubicBezTo>
                <a:cubicBezTo>
                  <a:pt x="2455" y="17732"/>
                  <a:pt x="2674" y="18000"/>
                  <a:pt x="2945" y="18000"/>
                </a:cubicBezTo>
                <a:lnTo>
                  <a:pt x="2945" y="20400"/>
                </a:lnTo>
                <a:lnTo>
                  <a:pt x="982" y="20400"/>
                </a:lnTo>
                <a:lnTo>
                  <a:pt x="982" y="3601"/>
                </a:lnTo>
                <a:lnTo>
                  <a:pt x="2945" y="3601"/>
                </a:lnTo>
                <a:cubicBezTo>
                  <a:pt x="2945" y="3601"/>
                  <a:pt x="2945" y="16801"/>
                  <a:pt x="2945" y="16801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39" y="2400"/>
                  <a:pt x="0" y="2938"/>
                  <a:pt x="0" y="3601"/>
                </a:cubicBezTo>
                <a:lnTo>
                  <a:pt x="0" y="20400"/>
                </a:lnTo>
                <a:cubicBezTo>
                  <a:pt x="0" y="2106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3"/>
                  <a:pt x="21600" y="204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  <a:moveTo>
                  <a:pt x="5400" y="8400"/>
                </a:moveTo>
                <a:lnTo>
                  <a:pt x="6382" y="8400"/>
                </a:lnTo>
                <a:cubicBezTo>
                  <a:pt x="6653" y="8400"/>
                  <a:pt x="6873" y="8132"/>
                  <a:pt x="6873" y="7800"/>
                </a:cubicBezTo>
                <a:cubicBezTo>
                  <a:pt x="6873" y="7469"/>
                  <a:pt x="6653" y="7200"/>
                  <a:pt x="6382" y="7200"/>
                </a:cubicBez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0"/>
                  <a:pt x="5400" y="84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03" name="Shape 2603"/>
          <p:cNvSpPr/>
          <p:nvPr/>
        </p:nvSpPr>
        <p:spPr>
          <a:xfrm>
            <a:off x="10517648" y="1972509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520"/>
                </a:moveTo>
                <a:lnTo>
                  <a:pt x="14727" y="20520"/>
                </a:lnTo>
                <a:lnTo>
                  <a:pt x="14727" y="18360"/>
                </a:lnTo>
                <a:cubicBezTo>
                  <a:pt x="14999" y="18360"/>
                  <a:pt x="15218" y="18119"/>
                  <a:pt x="15218" y="17820"/>
                </a:cubicBezTo>
                <a:cubicBezTo>
                  <a:pt x="15218" y="17522"/>
                  <a:pt x="14999" y="17280"/>
                  <a:pt x="14727" y="17280"/>
                </a:cubicBezTo>
                <a:lnTo>
                  <a:pt x="14727" y="7560"/>
                </a:lnTo>
                <a:lnTo>
                  <a:pt x="16691" y="7560"/>
                </a:lnTo>
                <a:cubicBezTo>
                  <a:pt x="16691" y="7560"/>
                  <a:pt x="16691" y="20520"/>
                  <a:pt x="16691" y="20520"/>
                </a:cubicBezTo>
                <a:close/>
                <a:moveTo>
                  <a:pt x="13745" y="17280"/>
                </a:moveTo>
                <a:cubicBezTo>
                  <a:pt x="13474" y="17280"/>
                  <a:pt x="13255" y="17522"/>
                  <a:pt x="13255" y="17820"/>
                </a:cubicBezTo>
                <a:cubicBezTo>
                  <a:pt x="13255" y="18119"/>
                  <a:pt x="13474" y="18360"/>
                  <a:pt x="13745" y="18360"/>
                </a:cubicBezTo>
                <a:lnTo>
                  <a:pt x="13745" y="20520"/>
                </a:lnTo>
                <a:lnTo>
                  <a:pt x="3927" y="20520"/>
                </a:lnTo>
                <a:lnTo>
                  <a:pt x="3927" y="18360"/>
                </a:lnTo>
                <a:cubicBezTo>
                  <a:pt x="4199" y="18360"/>
                  <a:pt x="4418" y="18119"/>
                  <a:pt x="4418" y="17820"/>
                </a:cubicBezTo>
                <a:cubicBezTo>
                  <a:pt x="4418" y="17522"/>
                  <a:pt x="4199" y="17280"/>
                  <a:pt x="3927" y="17280"/>
                </a:cubicBezTo>
                <a:lnTo>
                  <a:pt x="3927" y="7560"/>
                </a:lnTo>
                <a:lnTo>
                  <a:pt x="13745" y="7560"/>
                </a:lnTo>
                <a:cubicBezTo>
                  <a:pt x="13745" y="7560"/>
                  <a:pt x="13745" y="17280"/>
                  <a:pt x="13745" y="17280"/>
                </a:cubicBezTo>
                <a:close/>
                <a:moveTo>
                  <a:pt x="2945" y="17280"/>
                </a:moveTo>
                <a:cubicBezTo>
                  <a:pt x="2674" y="17280"/>
                  <a:pt x="2455" y="17522"/>
                  <a:pt x="2455" y="17820"/>
                </a:cubicBezTo>
                <a:cubicBezTo>
                  <a:pt x="2455" y="18119"/>
                  <a:pt x="2674" y="18360"/>
                  <a:pt x="2945" y="18360"/>
                </a:cubicBezTo>
                <a:lnTo>
                  <a:pt x="2945" y="20520"/>
                </a:lnTo>
                <a:lnTo>
                  <a:pt x="982" y="20520"/>
                </a:lnTo>
                <a:lnTo>
                  <a:pt x="982" y="7560"/>
                </a:lnTo>
                <a:lnTo>
                  <a:pt x="2945" y="7560"/>
                </a:lnTo>
                <a:cubicBezTo>
                  <a:pt x="2945" y="7560"/>
                  <a:pt x="2945" y="17280"/>
                  <a:pt x="2945" y="17280"/>
                </a:cubicBezTo>
                <a:close/>
                <a:moveTo>
                  <a:pt x="7855" y="5400"/>
                </a:moveTo>
                <a:lnTo>
                  <a:pt x="9818" y="5400"/>
                </a:lnTo>
                <a:cubicBezTo>
                  <a:pt x="10360" y="5400"/>
                  <a:pt x="10800" y="5884"/>
                  <a:pt x="10800" y="6481"/>
                </a:cubicBezTo>
                <a:lnTo>
                  <a:pt x="6873" y="6481"/>
                </a:lnTo>
                <a:cubicBezTo>
                  <a:pt x="6873" y="5884"/>
                  <a:pt x="7313" y="5400"/>
                  <a:pt x="7855" y="5400"/>
                </a:cubicBezTo>
                <a:moveTo>
                  <a:pt x="16691" y="6481"/>
                </a:moveTo>
                <a:lnTo>
                  <a:pt x="11782" y="6481"/>
                </a:lnTo>
                <a:cubicBezTo>
                  <a:pt x="11782" y="5287"/>
                  <a:pt x="10903" y="4321"/>
                  <a:pt x="9818" y="4321"/>
                </a:cubicBezTo>
                <a:lnTo>
                  <a:pt x="7855" y="4321"/>
                </a:lnTo>
                <a:cubicBezTo>
                  <a:pt x="6770" y="4321"/>
                  <a:pt x="5891" y="5287"/>
                  <a:pt x="5891" y="6481"/>
                </a:cubicBezTo>
                <a:lnTo>
                  <a:pt x="982" y="6481"/>
                </a:lnTo>
                <a:cubicBezTo>
                  <a:pt x="440" y="6481"/>
                  <a:pt x="0" y="6964"/>
                  <a:pt x="0" y="7560"/>
                </a:cubicBezTo>
                <a:lnTo>
                  <a:pt x="0" y="20520"/>
                </a:lnTo>
                <a:cubicBezTo>
                  <a:pt x="0" y="21116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116"/>
                  <a:pt x="17673" y="20520"/>
                </a:cubicBezTo>
                <a:lnTo>
                  <a:pt x="17673" y="7560"/>
                </a:lnTo>
                <a:cubicBezTo>
                  <a:pt x="17673" y="6964"/>
                  <a:pt x="17233" y="6481"/>
                  <a:pt x="16691" y="6481"/>
                </a:cubicBezTo>
                <a:moveTo>
                  <a:pt x="10800" y="2161"/>
                </a:moveTo>
                <a:cubicBezTo>
                  <a:pt x="10800" y="1564"/>
                  <a:pt x="11240" y="1080"/>
                  <a:pt x="11782" y="1080"/>
                </a:cubicBezTo>
                <a:lnTo>
                  <a:pt x="13745" y="1080"/>
                </a:lnTo>
                <a:cubicBezTo>
                  <a:pt x="14287" y="1080"/>
                  <a:pt x="14727" y="1564"/>
                  <a:pt x="14727" y="2161"/>
                </a:cubicBezTo>
                <a:cubicBezTo>
                  <a:pt x="14727" y="2161"/>
                  <a:pt x="10800" y="2161"/>
                  <a:pt x="10800" y="2161"/>
                </a:cubicBezTo>
                <a:close/>
                <a:moveTo>
                  <a:pt x="20618" y="2161"/>
                </a:moveTo>
                <a:lnTo>
                  <a:pt x="15709" y="2161"/>
                </a:lnTo>
                <a:cubicBezTo>
                  <a:pt x="15709" y="967"/>
                  <a:pt x="14830" y="0"/>
                  <a:pt x="13745" y="0"/>
                </a:cubicBezTo>
                <a:lnTo>
                  <a:pt x="11782" y="0"/>
                </a:lnTo>
                <a:cubicBezTo>
                  <a:pt x="10697" y="0"/>
                  <a:pt x="9818" y="967"/>
                  <a:pt x="9818" y="2161"/>
                </a:cubicBezTo>
                <a:lnTo>
                  <a:pt x="4909" y="2161"/>
                </a:lnTo>
                <a:cubicBezTo>
                  <a:pt x="4367" y="2161"/>
                  <a:pt x="3927" y="2644"/>
                  <a:pt x="3927" y="3240"/>
                </a:cubicBezTo>
                <a:lnTo>
                  <a:pt x="3927" y="4860"/>
                </a:lnTo>
                <a:cubicBezTo>
                  <a:pt x="3927" y="5159"/>
                  <a:pt x="4147" y="5400"/>
                  <a:pt x="4418" y="5400"/>
                </a:cubicBezTo>
                <a:cubicBezTo>
                  <a:pt x="4690" y="5400"/>
                  <a:pt x="4909" y="5159"/>
                  <a:pt x="4909" y="4860"/>
                </a:cubicBezTo>
                <a:lnTo>
                  <a:pt x="4909" y="3240"/>
                </a:lnTo>
                <a:lnTo>
                  <a:pt x="20618" y="3240"/>
                </a:lnTo>
                <a:lnTo>
                  <a:pt x="20618" y="16201"/>
                </a:lnTo>
                <a:lnTo>
                  <a:pt x="19145" y="16201"/>
                </a:lnTo>
                <a:cubicBezTo>
                  <a:pt x="18874" y="16201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20618" y="17280"/>
                </a:lnTo>
                <a:cubicBezTo>
                  <a:pt x="21160" y="17280"/>
                  <a:pt x="21600" y="16796"/>
                  <a:pt x="21600" y="16201"/>
                </a:cubicBezTo>
                <a:lnTo>
                  <a:pt x="21600" y="3240"/>
                </a:lnTo>
                <a:cubicBezTo>
                  <a:pt x="21600" y="2644"/>
                  <a:pt x="21160" y="2161"/>
                  <a:pt x="20618" y="2161"/>
                </a:cubicBezTo>
                <a:moveTo>
                  <a:pt x="5400" y="11881"/>
                </a:moveTo>
                <a:lnTo>
                  <a:pt x="6382" y="11881"/>
                </a:lnTo>
                <a:cubicBezTo>
                  <a:pt x="6653" y="11881"/>
                  <a:pt x="6873" y="11639"/>
                  <a:pt x="6873" y="11341"/>
                </a:cubicBezTo>
                <a:cubicBezTo>
                  <a:pt x="6873" y="11042"/>
                  <a:pt x="6653" y="10800"/>
                  <a:pt x="6382" y="10800"/>
                </a:cubicBezTo>
                <a:lnTo>
                  <a:pt x="5400" y="10800"/>
                </a:lnTo>
                <a:cubicBezTo>
                  <a:pt x="5129" y="10800"/>
                  <a:pt x="4909" y="11042"/>
                  <a:pt x="4909" y="11341"/>
                </a:cubicBezTo>
                <a:cubicBezTo>
                  <a:pt x="4909" y="11639"/>
                  <a:pt x="5129" y="11881"/>
                  <a:pt x="5400" y="11881"/>
                </a:cubicBezTo>
                <a:moveTo>
                  <a:pt x="5400" y="9720"/>
                </a:moveTo>
                <a:lnTo>
                  <a:pt x="8345" y="9720"/>
                </a:lnTo>
                <a:cubicBezTo>
                  <a:pt x="8617" y="9720"/>
                  <a:pt x="8836" y="9479"/>
                  <a:pt x="8836" y="9181"/>
                </a:cubicBezTo>
                <a:cubicBezTo>
                  <a:pt x="8836" y="8882"/>
                  <a:pt x="8617" y="8640"/>
                  <a:pt x="8345" y="8640"/>
                </a:cubicBezTo>
                <a:lnTo>
                  <a:pt x="5400" y="8640"/>
                </a:lnTo>
                <a:cubicBezTo>
                  <a:pt x="5129" y="8640"/>
                  <a:pt x="4909" y="8882"/>
                  <a:pt x="4909" y="9181"/>
                </a:cubicBezTo>
                <a:cubicBezTo>
                  <a:pt x="4909" y="9479"/>
                  <a:pt x="5129" y="9720"/>
                  <a:pt x="5400" y="972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04" name="Shape 2604"/>
          <p:cNvSpPr/>
          <p:nvPr/>
        </p:nvSpPr>
        <p:spPr>
          <a:xfrm>
            <a:off x="11050909" y="1985206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17673" y="9600"/>
                </a:lnTo>
                <a:lnTo>
                  <a:pt x="17673" y="8400"/>
                </a:lnTo>
                <a:cubicBezTo>
                  <a:pt x="17673" y="7738"/>
                  <a:pt x="17233" y="7200"/>
                  <a:pt x="16691" y="7200"/>
                </a:cubicBezTo>
                <a:lnTo>
                  <a:pt x="14727" y="7200"/>
                </a:lnTo>
                <a:cubicBezTo>
                  <a:pt x="14186" y="7200"/>
                  <a:pt x="13745" y="7738"/>
                  <a:pt x="13745" y="8400"/>
                </a:cubicBezTo>
                <a:lnTo>
                  <a:pt x="13745" y="9600"/>
                </a:lnTo>
                <a:lnTo>
                  <a:pt x="7855" y="9600"/>
                </a:lnTo>
                <a:lnTo>
                  <a:pt x="7855" y="8400"/>
                </a:lnTo>
                <a:cubicBezTo>
                  <a:pt x="7855" y="7738"/>
                  <a:pt x="7414" y="7200"/>
                  <a:pt x="6873" y="7200"/>
                </a:cubicBezTo>
                <a:lnTo>
                  <a:pt x="4909" y="7200"/>
                </a:lnTo>
                <a:cubicBezTo>
                  <a:pt x="4367" y="7200"/>
                  <a:pt x="3927" y="7738"/>
                  <a:pt x="3927" y="8400"/>
                </a:cubicBezTo>
                <a:lnTo>
                  <a:pt x="3927" y="9600"/>
                </a:lnTo>
                <a:lnTo>
                  <a:pt x="982" y="9600"/>
                </a:lnTo>
                <a:lnTo>
                  <a:pt x="982" y="3601"/>
                </a:lnTo>
                <a:lnTo>
                  <a:pt x="20618" y="3601"/>
                </a:lnTo>
                <a:cubicBezTo>
                  <a:pt x="20618" y="3601"/>
                  <a:pt x="20618" y="9600"/>
                  <a:pt x="20618" y="9600"/>
                </a:cubicBezTo>
                <a:close/>
                <a:moveTo>
                  <a:pt x="14727" y="8400"/>
                </a:moveTo>
                <a:lnTo>
                  <a:pt x="16691" y="8400"/>
                </a:lnTo>
                <a:lnTo>
                  <a:pt x="16691" y="12001"/>
                </a:lnTo>
                <a:lnTo>
                  <a:pt x="14727" y="12001"/>
                </a:lnTo>
                <a:cubicBezTo>
                  <a:pt x="14727" y="12001"/>
                  <a:pt x="14727" y="8400"/>
                  <a:pt x="14727" y="8400"/>
                </a:cubicBezTo>
                <a:close/>
                <a:moveTo>
                  <a:pt x="4909" y="8400"/>
                </a:moveTo>
                <a:lnTo>
                  <a:pt x="6873" y="8400"/>
                </a:lnTo>
                <a:lnTo>
                  <a:pt x="6873" y="12001"/>
                </a:lnTo>
                <a:lnTo>
                  <a:pt x="4909" y="12001"/>
                </a:lnTo>
                <a:cubicBezTo>
                  <a:pt x="4909" y="12001"/>
                  <a:pt x="4909" y="8400"/>
                  <a:pt x="4909" y="8400"/>
                </a:cubicBezTo>
                <a:close/>
                <a:moveTo>
                  <a:pt x="19636" y="20400"/>
                </a:moveTo>
                <a:lnTo>
                  <a:pt x="1964" y="20400"/>
                </a:lnTo>
                <a:lnTo>
                  <a:pt x="1964" y="10800"/>
                </a:lnTo>
                <a:lnTo>
                  <a:pt x="3927" y="10800"/>
                </a:lnTo>
                <a:lnTo>
                  <a:pt x="3927" y="12001"/>
                </a:lnTo>
                <a:cubicBezTo>
                  <a:pt x="3927" y="12662"/>
                  <a:pt x="4367" y="13200"/>
                  <a:pt x="4909" y="13200"/>
                </a:cubicBezTo>
                <a:lnTo>
                  <a:pt x="6873" y="13200"/>
                </a:lnTo>
                <a:cubicBezTo>
                  <a:pt x="7414" y="13200"/>
                  <a:pt x="7855" y="12662"/>
                  <a:pt x="7855" y="12001"/>
                </a:cubicBezTo>
                <a:lnTo>
                  <a:pt x="7855" y="10800"/>
                </a:lnTo>
                <a:lnTo>
                  <a:pt x="13745" y="10800"/>
                </a:lnTo>
                <a:lnTo>
                  <a:pt x="13745" y="12001"/>
                </a:lnTo>
                <a:cubicBezTo>
                  <a:pt x="13745" y="12662"/>
                  <a:pt x="14186" y="13200"/>
                  <a:pt x="14727" y="13200"/>
                </a:cubicBezTo>
                <a:lnTo>
                  <a:pt x="16691" y="13200"/>
                </a:lnTo>
                <a:cubicBezTo>
                  <a:pt x="17233" y="13200"/>
                  <a:pt x="17673" y="12662"/>
                  <a:pt x="17673" y="12001"/>
                </a:cubicBezTo>
                <a:lnTo>
                  <a:pt x="17673" y="10800"/>
                </a:lnTo>
                <a:lnTo>
                  <a:pt x="19636" y="10800"/>
                </a:lnTo>
                <a:cubicBezTo>
                  <a:pt x="19636" y="10800"/>
                  <a:pt x="19636" y="20400"/>
                  <a:pt x="19636" y="20400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40" y="2400"/>
                  <a:pt x="0" y="2938"/>
                  <a:pt x="0" y="3601"/>
                </a:cubicBezTo>
                <a:lnTo>
                  <a:pt x="0" y="9600"/>
                </a:lnTo>
                <a:cubicBezTo>
                  <a:pt x="0" y="10262"/>
                  <a:pt x="440" y="10800"/>
                  <a:pt x="982" y="10800"/>
                </a:cubicBezTo>
                <a:lnTo>
                  <a:pt x="982" y="20400"/>
                </a:lnTo>
                <a:cubicBezTo>
                  <a:pt x="982" y="21062"/>
                  <a:pt x="1422" y="21600"/>
                  <a:pt x="1964" y="21600"/>
                </a:cubicBezTo>
                <a:lnTo>
                  <a:pt x="19636" y="21600"/>
                </a:lnTo>
                <a:cubicBezTo>
                  <a:pt x="20178" y="21600"/>
                  <a:pt x="20618" y="21062"/>
                  <a:pt x="20618" y="20400"/>
                </a:cubicBez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05" name="Shape 2605"/>
          <p:cNvSpPr/>
          <p:nvPr/>
        </p:nvSpPr>
        <p:spPr>
          <a:xfrm>
            <a:off x="6251559" y="2493074"/>
            <a:ext cx="279460" cy="2794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06" name="Shape 2606"/>
          <p:cNvSpPr/>
          <p:nvPr/>
        </p:nvSpPr>
        <p:spPr>
          <a:xfrm>
            <a:off x="6784821" y="249307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309"/>
                </a:moveTo>
                <a:cubicBezTo>
                  <a:pt x="10800" y="10581"/>
                  <a:pt x="10580" y="10800"/>
                  <a:pt x="10309" y="10800"/>
                </a:cubicBezTo>
                <a:cubicBezTo>
                  <a:pt x="10038" y="10800"/>
                  <a:pt x="9818" y="10581"/>
                  <a:pt x="9818" y="10309"/>
                </a:cubicBezTo>
                <a:cubicBezTo>
                  <a:pt x="9818" y="10038"/>
                  <a:pt x="10038" y="9818"/>
                  <a:pt x="10309" y="9818"/>
                </a:cubicBezTo>
                <a:cubicBezTo>
                  <a:pt x="10580" y="9818"/>
                  <a:pt x="10800" y="10038"/>
                  <a:pt x="10800" y="10309"/>
                </a:cubicBezTo>
                <a:moveTo>
                  <a:pt x="20618" y="20618"/>
                </a:moveTo>
                <a:lnTo>
                  <a:pt x="18655" y="20618"/>
                </a:lnTo>
                <a:lnTo>
                  <a:pt x="18655" y="19145"/>
                </a:lnTo>
                <a:cubicBezTo>
                  <a:pt x="18655" y="18875"/>
                  <a:pt x="18434" y="18655"/>
                  <a:pt x="18164" y="18655"/>
                </a:cubicBezTo>
                <a:lnTo>
                  <a:pt x="16691" y="18655"/>
                </a:lnTo>
                <a:lnTo>
                  <a:pt x="16691" y="17182"/>
                </a:lnTo>
                <a:cubicBezTo>
                  <a:pt x="16691" y="16911"/>
                  <a:pt x="16471" y="16691"/>
                  <a:pt x="16200" y="16691"/>
                </a:cubicBezTo>
                <a:lnTo>
                  <a:pt x="14441" y="16691"/>
                </a:lnTo>
                <a:lnTo>
                  <a:pt x="12850" y="15086"/>
                </a:lnTo>
                <a:cubicBezTo>
                  <a:pt x="12761" y="14997"/>
                  <a:pt x="12639" y="14943"/>
                  <a:pt x="12503" y="14943"/>
                </a:cubicBezTo>
                <a:cubicBezTo>
                  <a:pt x="12356" y="14943"/>
                  <a:pt x="12228" y="15010"/>
                  <a:pt x="12138" y="15113"/>
                </a:cubicBezTo>
                <a:lnTo>
                  <a:pt x="11833" y="15418"/>
                </a:lnTo>
                <a:cubicBezTo>
                  <a:pt x="11450" y="15801"/>
                  <a:pt x="10829" y="15801"/>
                  <a:pt x="10445" y="15418"/>
                </a:cubicBezTo>
                <a:lnTo>
                  <a:pt x="6167" y="11139"/>
                </a:lnTo>
                <a:cubicBezTo>
                  <a:pt x="5784" y="10756"/>
                  <a:pt x="5784" y="10136"/>
                  <a:pt x="6167" y="9752"/>
                </a:cubicBezTo>
                <a:lnTo>
                  <a:pt x="9752" y="6167"/>
                </a:lnTo>
                <a:cubicBezTo>
                  <a:pt x="10135" y="5784"/>
                  <a:pt x="10756" y="5784"/>
                  <a:pt x="11139" y="6167"/>
                </a:cubicBezTo>
                <a:lnTo>
                  <a:pt x="11761" y="6789"/>
                </a:lnTo>
                <a:cubicBezTo>
                  <a:pt x="11699" y="7609"/>
                  <a:pt x="11457" y="8377"/>
                  <a:pt x="11069" y="9054"/>
                </a:cubicBezTo>
                <a:cubicBezTo>
                  <a:pt x="10847" y="8919"/>
                  <a:pt x="10588" y="8837"/>
                  <a:pt x="10309" y="8837"/>
                </a:cubicBezTo>
                <a:cubicBezTo>
                  <a:pt x="9496" y="8837"/>
                  <a:pt x="8836" y="9496"/>
                  <a:pt x="8836" y="10309"/>
                </a:cubicBezTo>
                <a:cubicBezTo>
                  <a:pt x="8836" y="11123"/>
                  <a:pt x="9496" y="11782"/>
                  <a:pt x="10309" y="11782"/>
                </a:cubicBezTo>
                <a:cubicBezTo>
                  <a:pt x="11123" y="11782"/>
                  <a:pt x="11782" y="11123"/>
                  <a:pt x="11782" y="10309"/>
                </a:cubicBezTo>
                <a:cubicBezTo>
                  <a:pt x="11782" y="10156"/>
                  <a:pt x="11752" y="10012"/>
                  <a:pt x="11709" y="9873"/>
                </a:cubicBezTo>
                <a:cubicBezTo>
                  <a:pt x="12146" y="9210"/>
                  <a:pt x="12466" y="8463"/>
                  <a:pt x="12631" y="7659"/>
                </a:cubicBezTo>
                <a:lnTo>
                  <a:pt x="15417" y="10446"/>
                </a:lnTo>
                <a:cubicBezTo>
                  <a:pt x="15800" y="10829"/>
                  <a:pt x="15800" y="11450"/>
                  <a:pt x="15417" y="11833"/>
                </a:cubicBezTo>
                <a:lnTo>
                  <a:pt x="15128" y="12122"/>
                </a:lnTo>
                <a:cubicBezTo>
                  <a:pt x="15025" y="12213"/>
                  <a:pt x="14957" y="12341"/>
                  <a:pt x="14957" y="12487"/>
                </a:cubicBezTo>
                <a:cubicBezTo>
                  <a:pt x="14957" y="12623"/>
                  <a:pt x="15013" y="12746"/>
                  <a:pt x="15101" y="12835"/>
                </a:cubicBezTo>
                <a:lnTo>
                  <a:pt x="20618" y="18367"/>
                </a:lnTo>
                <a:cubicBezTo>
                  <a:pt x="20618" y="18367"/>
                  <a:pt x="20618" y="20618"/>
                  <a:pt x="20618" y="20618"/>
                </a:cubicBezTo>
                <a:close/>
                <a:moveTo>
                  <a:pt x="5343" y="11673"/>
                </a:moveTo>
                <a:cubicBezTo>
                  <a:pt x="2859" y="11190"/>
                  <a:pt x="982" y="9008"/>
                  <a:pt x="982" y="6383"/>
                </a:cubicBezTo>
                <a:cubicBezTo>
                  <a:pt x="982" y="3400"/>
                  <a:pt x="3399" y="982"/>
                  <a:pt x="6382" y="982"/>
                </a:cubicBezTo>
                <a:cubicBezTo>
                  <a:pt x="9011" y="982"/>
                  <a:pt x="11198" y="2862"/>
                  <a:pt x="11681" y="5349"/>
                </a:cubicBezTo>
                <a:cubicBezTo>
                  <a:pt x="10910" y="4719"/>
                  <a:pt x="9777" y="4755"/>
                  <a:pt x="9058" y="5473"/>
                </a:cubicBezTo>
                <a:lnTo>
                  <a:pt x="5474" y="9058"/>
                </a:lnTo>
                <a:cubicBezTo>
                  <a:pt x="4757" y="9775"/>
                  <a:pt x="4719" y="10904"/>
                  <a:pt x="5343" y="11673"/>
                </a:cubicBezTo>
                <a:moveTo>
                  <a:pt x="21456" y="17817"/>
                </a:moveTo>
                <a:lnTo>
                  <a:pt x="16142" y="12488"/>
                </a:lnTo>
                <a:cubicBezTo>
                  <a:pt x="16874" y="11720"/>
                  <a:pt x="16865" y="10507"/>
                  <a:pt x="16111" y="9752"/>
                </a:cubicBezTo>
                <a:lnTo>
                  <a:pt x="12763" y="6404"/>
                </a:lnTo>
                <a:cubicBezTo>
                  <a:pt x="12763" y="6396"/>
                  <a:pt x="12764" y="6389"/>
                  <a:pt x="12764" y="6383"/>
                </a:cubicBezTo>
                <a:cubicBezTo>
                  <a:pt x="12764" y="2857"/>
                  <a:pt x="9907" y="0"/>
                  <a:pt x="6382" y="0"/>
                </a:cubicBezTo>
                <a:cubicBezTo>
                  <a:pt x="2857" y="0"/>
                  <a:pt x="0" y="2857"/>
                  <a:pt x="0" y="6383"/>
                </a:cubicBezTo>
                <a:cubicBezTo>
                  <a:pt x="0" y="9907"/>
                  <a:pt x="2857" y="12764"/>
                  <a:pt x="6382" y="12764"/>
                </a:cubicBezTo>
                <a:cubicBezTo>
                  <a:pt x="6389" y="12764"/>
                  <a:pt x="6396" y="12763"/>
                  <a:pt x="6403" y="12763"/>
                </a:cubicBezTo>
                <a:lnTo>
                  <a:pt x="9752" y="16111"/>
                </a:lnTo>
                <a:cubicBezTo>
                  <a:pt x="10511" y="16870"/>
                  <a:pt x="11735" y="16875"/>
                  <a:pt x="12503" y="16130"/>
                </a:cubicBezTo>
                <a:lnTo>
                  <a:pt x="13889" y="17529"/>
                </a:lnTo>
                <a:cubicBezTo>
                  <a:pt x="13978" y="17618"/>
                  <a:pt x="14101" y="17673"/>
                  <a:pt x="14236" y="17673"/>
                </a:cubicBezTo>
                <a:lnTo>
                  <a:pt x="15709" y="17673"/>
                </a:lnTo>
                <a:lnTo>
                  <a:pt x="15709" y="19145"/>
                </a:lnTo>
                <a:cubicBezTo>
                  <a:pt x="15709" y="19417"/>
                  <a:pt x="15929" y="19636"/>
                  <a:pt x="16200" y="19636"/>
                </a:cubicBezTo>
                <a:lnTo>
                  <a:pt x="17673" y="19636"/>
                </a:lnTo>
                <a:lnTo>
                  <a:pt x="17673" y="21109"/>
                </a:lnTo>
                <a:cubicBezTo>
                  <a:pt x="17673" y="21381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lnTo>
                  <a:pt x="21600" y="18164"/>
                </a:lnTo>
                <a:cubicBezTo>
                  <a:pt x="21600" y="18029"/>
                  <a:pt x="21545" y="17906"/>
                  <a:pt x="21456" y="17817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07" name="Shape 2607"/>
          <p:cNvSpPr/>
          <p:nvPr/>
        </p:nvSpPr>
        <p:spPr>
          <a:xfrm>
            <a:off x="7318082" y="2518467"/>
            <a:ext cx="279328" cy="2285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1964" y="16800"/>
                </a:lnTo>
                <a:cubicBezTo>
                  <a:pt x="879" y="16800"/>
                  <a:pt x="0" y="17874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4"/>
                  <a:pt x="20721" y="16800"/>
                  <a:pt x="19636" y="16800"/>
                </a:cubicBezTo>
                <a:moveTo>
                  <a:pt x="1964" y="1200"/>
                </a:moveTo>
                <a:lnTo>
                  <a:pt x="19636" y="1200"/>
                </a:lnTo>
                <a:cubicBezTo>
                  <a:pt x="20178" y="1200"/>
                  <a:pt x="20618" y="1737"/>
                  <a:pt x="20618" y="2399"/>
                </a:cubicBezTo>
                <a:cubicBezTo>
                  <a:pt x="20618" y="3063"/>
                  <a:pt x="20178" y="3599"/>
                  <a:pt x="19636" y="3599"/>
                </a:cubicBezTo>
                <a:lnTo>
                  <a:pt x="1964" y="3599"/>
                </a:lnTo>
                <a:cubicBezTo>
                  <a:pt x="1422" y="3599"/>
                  <a:pt x="982" y="3063"/>
                  <a:pt x="982" y="2399"/>
                </a:cubicBezTo>
                <a:cubicBezTo>
                  <a:pt x="982" y="1737"/>
                  <a:pt x="1422" y="1200"/>
                  <a:pt x="1964" y="1200"/>
                </a:cubicBezTo>
                <a:moveTo>
                  <a:pt x="1964" y="4799"/>
                </a:moveTo>
                <a:lnTo>
                  <a:pt x="19636" y="4799"/>
                </a:lnTo>
                <a:cubicBezTo>
                  <a:pt x="20721" y="4799"/>
                  <a:pt x="21600" y="3725"/>
                  <a:pt x="21600" y="2399"/>
                </a:cubicBezTo>
                <a:cubicBezTo>
                  <a:pt x="21600" y="1074"/>
                  <a:pt x="20721" y="0"/>
                  <a:pt x="19636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cubicBezTo>
                  <a:pt x="0" y="3725"/>
                  <a:pt x="879" y="4799"/>
                  <a:pt x="1964" y="4799"/>
                </a:cubicBezTo>
                <a:moveTo>
                  <a:pt x="19636" y="12000"/>
                </a:moveTo>
                <a:lnTo>
                  <a:pt x="1964" y="12000"/>
                </a:lnTo>
                <a:cubicBezTo>
                  <a:pt x="1422" y="12000"/>
                  <a:pt x="982" y="11463"/>
                  <a:pt x="982" y="10800"/>
                </a:cubicBezTo>
                <a:cubicBezTo>
                  <a:pt x="982" y="10137"/>
                  <a:pt x="1422" y="9600"/>
                  <a:pt x="1964" y="9600"/>
                </a:cubicBezTo>
                <a:lnTo>
                  <a:pt x="19636" y="9600"/>
                </a:lnTo>
                <a:cubicBezTo>
                  <a:pt x="20178" y="9600"/>
                  <a:pt x="20618" y="10137"/>
                  <a:pt x="20618" y="10800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0"/>
                </a:moveTo>
                <a:lnTo>
                  <a:pt x="1964" y="8400"/>
                </a:lnTo>
                <a:cubicBezTo>
                  <a:pt x="879" y="8400"/>
                  <a:pt x="0" y="9474"/>
                  <a:pt x="0" y="10800"/>
                </a:cubicBezTo>
                <a:cubicBezTo>
                  <a:pt x="0" y="12125"/>
                  <a:pt x="879" y="13200"/>
                  <a:pt x="1964" y="13200"/>
                </a:cubicBezTo>
                <a:lnTo>
                  <a:pt x="19636" y="13200"/>
                </a:lnTo>
                <a:cubicBezTo>
                  <a:pt x="20721" y="13200"/>
                  <a:pt x="21600" y="12125"/>
                  <a:pt x="21600" y="10800"/>
                </a:cubicBezTo>
                <a:cubicBezTo>
                  <a:pt x="21600" y="9474"/>
                  <a:pt x="20721" y="8400"/>
                  <a:pt x="19636" y="84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08" name="Shape 2608"/>
          <p:cNvSpPr/>
          <p:nvPr/>
        </p:nvSpPr>
        <p:spPr>
          <a:xfrm>
            <a:off x="7851343" y="2518467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3600"/>
                </a:moveTo>
                <a:cubicBezTo>
                  <a:pt x="1422" y="3600"/>
                  <a:pt x="982" y="3063"/>
                  <a:pt x="982" y="2400"/>
                </a:cubicBezTo>
                <a:cubicBezTo>
                  <a:pt x="982" y="1738"/>
                  <a:pt x="1422" y="1200"/>
                  <a:pt x="1964" y="1200"/>
                </a:cubicBezTo>
                <a:cubicBezTo>
                  <a:pt x="2506" y="1200"/>
                  <a:pt x="2945" y="1738"/>
                  <a:pt x="2945" y="2400"/>
                </a:cubicBezTo>
                <a:cubicBezTo>
                  <a:pt x="2945" y="3063"/>
                  <a:pt x="2506" y="3600"/>
                  <a:pt x="1964" y="3600"/>
                </a:cubicBezTo>
                <a:moveTo>
                  <a:pt x="1964" y="0"/>
                </a:moveTo>
                <a:cubicBezTo>
                  <a:pt x="879" y="0"/>
                  <a:pt x="0" y="1075"/>
                  <a:pt x="0" y="2400"/>
                </a:cubicBezTo>
                <a:cubicBezTo>
                  <a:pt x="0" y="3726"/>
                  <a:pt x="879" y="4800"/>
                  <a:pt x="1964" y="4800"/>
                </a:cubicBezTo>
                <a:cubicBezTo>
                  <a:pt x="3048" y="4800"/>
                  <a:pt x="3927" y="3726"/>
                  <a:pt x="3927" y="2400"/>
                </a:cubicBezTo>
                <a:cubicBezTo>
                  <a:pt x="3927" y="1075"/>
                  <a:pt x="3048" y="0"/>
                  <a:pt x="1964" y="0"/>
                </a:cubicBezTo>
                <a:moveTo>
                  <a:pt x="1964" y="12000"/>
                </a:moveTo>
                <a:cubicBezTo>
                  <a:pt x="1422" y="12000"/>
                  <a:pt x="982" y="11463"/>
                  <a:pt x="982" y="10800"/>
                </a:cubicBezTo>
                <a:cubicBezTo>
                  <a:pt x="982" y="10138"/>
                  <a:pt x="1422" y="9600"/>
                  <a:pt x="1964" y="9600"/>
                </a:cubicBezTo>
                <a:cubicBezTo>
                  <a:pt x="2506" y="9600"/>
                  <a:pt x="2945" y="10138"/>
                  <a:pt x="2945" y="10800"/>
                </a:cubicBezTo>
                <a:cubicBezTo>
                  <a:pt x="2945" y="11463"/>
                  <a:pt x="2506" y="12000"/>
                  <a:pt x="1964" y="12000"/>
                </a:cubicBezTo>
                <a:moveTo>
                  <a:pt x="1964" y="8401"/>
                </a:moveTo>
                <a:cubicBezTo>
                  <a:pt x="879" y="8401"/>
                  <a:pt x="0" y="9475"/>
                  <a:pt x="0" y="10800"/>
                </a:cubicBezTo>
                <a:cubicBezTo>
                  <a:pt x="0" y="12126"/>
                  <a:pt x="879" y="13200"/>
                  <a:pt x="1964" y="13200"/>
                </a:cubicBezTo>
                <a:cubicBezTo>
                  <a:pt x="3048" y="13200"/>
                  <a:pt x="3927" y="12126"/>
                  <a:pt x="3927" y="10800"/>
                </a:cubicBezTo>
                <a:cubicBezTo>
                  <a:pt x="3927" y="9475"/>
                  <a:pt x="3048" y="8401"/>
                  <a:pt x="1964" y="8401"/>
                </a:cubicBezTo>
                <a:moveTo>
                  <a:pt x="19636" y="12000"/>
                </a:moveTo>
                <a:lnTo>
                  <a:pt x="7855" y="12000"/>
                </a:lnTo>
                <a:cubicBezTo>
                  <a:pt x="7313" y="12000"/>
                  <a:pt x="6873" y="11463"/>
                  <a:pt x="6873" y="10801"/>
                </a:cubicBezTo>
                <a:cubicBezTo>
                  <a:pt x="6873" y="10138"/>
                  <a:pt x="7313" y="9600"/>
                  <a:pt x="7855" y="9600"/>
                </a:cubicBezTo>
                <a:lnTo>
                  <a:pt x="19636" y="9600"/>
                </a:lnTo>
                <a:cubicBezTo>
                  <a:pt x="20178" y="9600"/>
                  <a:pt x="20618" y="10138"/>
                  <a:pt x="20618" y="10801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1"/>
                </a:moveTo>
                <a:lnTo>
                  <a:pt x="7855" y="8401"/>
                </a:lnTo>
                <a:cubicBezTo>
                  <a:pt x="6770" y="8401"/>
                  <a:pt x="5891" y="9475"/>
                  <a:pt x="5891" y="10801"/>
                </a:cubicBezTo>
                <a:cubicBezTo>
                  <a:pt x="5891" y="12126"/>
                  <a:pt x="6770" y="13200"/>
                  <a:pt x="7855" y="13200"/>
                </a:cubicBezTo>
                <a:lnTo>
                  <a:pt x="19636" y="13200"/>
                </a:lnTo>
                <a:cubicBezTo>
                  <a:pt x="20721" y="13200"/>
                  <a:pt x="21600" y="12126"/>
                  <a:pt x="21600" y="10801"/>
                </a:cubicBezTo>
                <a:cubicBezTo>
                  <a:pt x="21600" y="9475"/>
                  <a:pt x="20721" y="8401"/>
                  <a:pt x="19636" y="8401"/>
                </a:cubicBezTo>
                <a:moveTo>
                  <a:pt x="19636" y="20400"/>
                </a:moveTo>
                <a:lnTo>
                  <a:pt x="7855" y="20400"/>
                </a:lnTo>
                <a:cubicBezTo>
                  <a:pt x="7313" y="20400"/>
                  <a:pt x="6873" y="19862"/>
                  <a:pt x="6873" y="19200"/>
                </a:cubicBezTo>
                <a:cubicBezTo>
                  <a:pt x="6873" y="18538"/>
                  <a:pt x="7313" y="18000"/>
                  <a:pt x="7855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7855" y="16800"/>
                </a:lnTo>
                <a:cubicBezTo>
                  <a:pt x="6770" y="16800"/>
                  <a:pt x="5891" y="17875"/>
                  <a:pt x="5891" y="19200"/>
                </a:cubicBezTo>
                <a:cubicBezTo>
                  <a:pt x="5891" y="20526"/>
                  <a:pt x="6770" y="21600"/>
                  <a:pt x="7855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5"/>
                  <a:pt x="20721" y="16800"/>
                  <a:pt x="19636" y="16800"/>
                </a:cubicBezTo>
                <a:moveTo>
                  <a:pt x="7855" y="1201"/>
                </a:moveTo>
                <a:lnTo>
                  <a:pt x="19636" y="1201"/>
                </a:lnTo>
                <a:cubicBezTo>
                  <a:pt x="20178" y="1201"/>
                  <a:pt x="20618" y="1738"/>
                  <a:pt x="20618" y="2400"/>
                </a:cubicBezTo>
                <a:cubicBezTo>
                  <a:pt x="20618" y="3063"/>
                  <a:pt x="20178" y="3600"/>
                  <a:pt x="19636" y="3600"/>
                </a:cubicBezTo>
                <a:lnTo>
                  <a:pt x="7855" y="3600"/>
                </a:lnTo>
                <a:cubicBezTo>
                  <a:pt x="7313" y="3600"/>
                  <a:pt x="6873" y="3063"/>
                  <a:pt x="6873" y="2400"/>
                </a:cubicBezTo>
                <a:cubicBezTo>
                  <a:pt x="6873" y="1738"/>
                  <a:pt x="7313" y="1201"/>
                  <a:pt x="7855" y="1201"/>
                </a:cubicBezTo>
                <a:moveTo>
                  <a:pt x="7855" y="4800"/>
                </a:moveTo>
                <a:lnTo>
                  <a:pt x="19636" y="4800"/>
                </a:lnTo>
                <a:cubicBezTo>
                  <a:pt x="20721" y="4800"/>
                  <a:pt x="21600" y="3726"/>
                  <a:pt x="21600" y="2400"/>
                </a:cubicBezTo>
                <a:cubicBezTo>
                  <a:pt x="21600" y="1075"/>
                  <a:pt x="20721" y="1"/>
                  <a:pt x="19636" y="1"/>
                </a:cubicBezTo>
                <a:lnTo>
                  <a:pt x="7855" y="1"/>
                </a:lnTo>
                <a:cubicBezTo>
                  <a:pt x="6770" y="1"/>
                  <a:pt x="5891" y="1075"/>
                  <a:pt x="5891" y="2400"/>
                </a:cubicBezTo>
                <a:cubicBezTo>
                  <a:pt x="5891" y="3726"/>
                  <a:pt x="6770" y="4800"/>
                  <a:pt x="7855" y="4800"/>
                </a:cubicBezTo>
                <a:moveTo>
                  <a:pt x="1964" y="20400"/>
                </a:move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cubicBezTo>
                  <a:pt x="2506" y="18000"/>
                  <a:pt x="2945" y="18538"/>
                  <a:pt x="2945" y="19200"/>
                </a:cubicBezTo>
                <a:cubicBezTo>
                  <a:pt x="2945" y="19862"/>
                  <a:pt x="2506" y="20400"/>
                  <a:pt x="1964" y="20400"/>
                </a:cubicBezTo>
                <a:moveTo>
                  <a:pt x="1964" y="16800"/>
                </a:moveTo>
                <a:cubicBezTo>
                  <a:pt x="879" y="16800"/>
                  <a:pt x="0" y="17875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cubicBezTo>
                  <a:pt x="3048" y="21600"/>
                  <a:pt x="3927" y="20526"/>
                  <a:pt x="3927" y="19200"/>
                </a:cubicBezTo>
                <a:cubicBezTo>
                  <a:pt x="3927" y="17875"/>
                  <a:pt x="3048" y="16800"/>
                  <a:pt x="1964" y="168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09" name="Shape 2609"/>
          <p:cNvSpPr/>
          <p:nvPr/>
        </p:nvSpPr>
        <p:spPr>
          <a:xfrm>
            <a:off x="8384604" y="2518467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3200"/>
                </a:moveTo>
                <a:lnTo>
                  <a:pt x="5400" y="13200"/>
                </a:lnTo>
                <a:cubicBezTo>
                  <a:pt x="5129" y="13200"/>
                  <a:pt x="4909" y="13469"/>
                  <a:pt x="4909" y="13800"/>
                </a:cubicBezTo>
                <a:cubicBezTo>
                  <a:pt x="4909" y="14132"/>
                  <a:pt x="5129" y="14400"/>
                  <a:pt x="5400" y="14400"/>
                </a:cubicBezTo>
                <a:lnTo>
                  <a:pt x="21109" y="14400"/>
                </a:lnTo>
                <a:cubicBezTo>
                  <a:pt x="21380" y="14400"/>
                  <a:pt x="21600" y="14132"/>
                  <a:pt x="21600" y="13800"/>
                </a:cubicBezTo>
                <a:cubicBezTo>
                  <a:pt x="21600" y="13469"/>
                  <a:pt x="21380" y="13200"/>
                  <a:pt x="21109" y="13200"/>
                </a:cubicBezTo>
                <a:moveTo>
                  <a:pt x="21109" y="7200"/>
                </a:move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1"/>
                  <a:pt x="5400" y="8401"/>
                </a:cubicBezTo>
                <a:lnTo>
                  <a:pt x="21109" y="8401"/>
                </a:lnTo>
                <a:cubicBezTo>
                  <a:pt x="21380" y="8401"/>
                  <a:pt x="21600" y="8132"/>
                  <a:pt x="21600" y="7800"/>
                </a:cubicBezTo>
                <a:cubicBezTo>
                  <a:pt x="21600" y="7469"/>
                  <a:pt x="21380" y="7200"/>
                  <a:pt x="21109" y="7200"/>
                </a:cubicBezTo>
                <a:moveTo>
                  <a:pt x="1473" y="0"/>
                </a:moveTo>
                <a:cubicBezTo>
                  <a:pt x="659" y="0"/>
                  <a:pt x="0" y="807"/>
                  <a:pt x="0" y="1800"/>
                </a:cubicBezTo>
                <a:cubicBezTo>
                  <a:pt x="0" y="2794"/>
                  <a:pt x="659" y="3600"/>
                  <a:pt x="1473" y="3600"/>
                </a:cubicBezTo>
                <a:cubicBezTo>
                  <a:pt x="2286" y="3600"/>
                  <a:pt x="2945" y="2794"/>
                  <a:pt x="2945" y="1800"/>
                </a:cubicBezTo>
                <a:cubicBezTo>
                  <a:pt x="2945" y="807"/>
                  <a:pt x="2286" y="0"/>
                  <a:pt x="1473" y="0"/>
                </a:cubicBezTo>
                <a:moveTo>
                  <a:pt x="21109" y="19200"/>
                </a:moveTo>
                <a:lnTo>
                  <a:pt x="5400" y="19200"/>
                </a:lnTo>
                <a:cubicBezTo>
                  <a:pt x="5129" y="19200"/>
                  <a:pt x="4909" y="19469"/>
                  <a:pt x="4909" y="19800"/>
                </a:cubicBezTo>
                <a:cubicBezTo>
                  <a:pt x="4909" y="20132"/>
                  <a:pt x="5129" y="20400"/>
                  <a:pt x="5400" y="20400"/>
                </a:cubicBezTo>
                <a:lnTo>
                  <a:pt x="21109" y="20400"/>
                </a:lnTo>
                <a:cubicBezTo>
                  <a:pt x="21380" y="20400"/>
                  <a:pt x="21600" y="20132"/>
                  <a:pt x="21600" y="19800"/>
                </a:cubicBezTo>
                <a:cubicBezTo>
                  <a:pt x="21600" y="19469"/>
                  <a:pt x="21380" y="19200"/>
                  <a:pt x="21109" y="19200"/>
                </a:cubicBezTo>
                <a:moveTo>
                  <a:pt x="5400" y="2400"/>
                </a:moveTo>
                <a:lnTo>
                  <a:pt x="21109" y="2400"/>
                </a:lnTo>
                <a:cubicBezTo>
                  <a:pt x="21380" y="2400"/>
                  <a:pt x="21600" y="2132"/>
                  <a:pt x="21600" y="1800"/>
                </a:cubicBezTo>
                <a:cubicBezTo>
                  <a:pt x="21600" y="1469"/>
                  <a:pt x="21380" y="1200"/>
                  <a:pt x="21109" y="1200"/>
                </a:cubicBezTo>
                <a:lnTo>
                  <a:pt x="5400" y="1200"/>
                </a:lnTo>
                <a:cubicBezTo>
                  <a:pt x="5129" y="1200"/>
                  <a:pt x="4909" y="1469"/>
                  <a:pt x="4909" y="1800"/>
                </a:cubicBezTo>
                <a:cubicBezTo>
                  <a:pt x="4909" y="2132"/>
                  <a:pt x="5129" y="2400"/>
                  <a:pt x="5400" y="2400"/>
                </a:cubicBezTo>
                <a:moveTo>
                  <a:pt x="1473" y="18000"/>
                </a:moveTo>
                <a:cubicBezTo>
                  <a:pt x="659" y="18000"/>
                  <a:pt x="0" y="18806"/>
                  <a:pt x="0" y="19800"/>
                </a:cubicBezTo>
                <a:cubicBezTo>
                  <a:pt x="0" y="20794"/>
                  <a:pt x="659" y="21600"/>
                  <a:pt x="1473" y="21600"/>
                </a:cubicBezTo>
                <a:cubicBezTo>
                  <a:pt x="2286" y="21600"/>
                  <a:pt x="2945" y="20794"/>
                  <a:pt x="2945" y="19800"/>
                </a:cubicBezTo>
                <a:cubicBezTo>
                  <a:pt x="2945" y="18806"/>
                  <a:pt x="2286" y="18000"/>
                  <a:pt x="1473" y="18000"/>
                </a:cubicBezTo>
                <a:moveTo>
                  <a:pt x="1473" y="6000"/>
                </a:moveTo>
                <a:cubicBezTo>
                  <a:pt x="659" y="6000"/>
                  <a:pt x="0" y="6807"/>
                  <a:pt x="0" y="7800"/>
                </a:cubicBezTo>
                <a:cubicBezTo>
                  <a:pt x="0" y="8794"/>
                  <a:pt x="659" y="9600"/>
                  <a:pt x="1473" y="9600"/>
                </a:cubicBezTo>
                <a:cubicBezTo>
                  <a:pt x="2286" y="9600"/>
                  <a:pt x="2945" y="8794"/>
                  <a:pt x="2945" y="7800"/>
                </a:cubicBezTo>
                <a:cubicBezTo>
                  <a:pt x="2945" y="6807"/>
                  <a:pt x="2286" y="6000"/>
                  <a:pt x="1473" y="6000"/>
                </a:cubicBezTo>
                <a:moveTo>
                  <a:pt x="1473" y="12000"/>
                </a:moveTo>
                <a:cubicBezTo>
                  <a:pt x="659" y="12000"/>
                  <a:pt x="0" y="12807"/>
                  <a:pt x="0" y="13800"/>
                </a:cubicBezTo>
                <a:cubicBezTo>
                  <a:pt x="0" y="14794"/>
                  <a:pt x="659" y="15600"/>
                  <a:pt x="1473" y="15600"/>
                </a:cubicBezTo>
                <a:cubicBezTo>
                  <a:pt x="2286" y="15600"/>
                  <a:pt x="2945" y="14794"/>
                  <a:pt x="2945" y="13800"/>
                </a:cubicBezTo>
                <a:cubicBezTo>
                  <a:pt x="2945" y="12807"/>
                  <a:pt x="2286" y="12000"/>
                  <a:pt x="1473" y="120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10" name="Shape 2610"/>
          <p:cNvSpPr/>
          <p:nvPr/>
        </p:nvSpPr>
        <p:spPr>
          <a:xfrm>
            <a:off x="8917865" y="2518467"/>
            <a:ext cx="279328" cy="2285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2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800"/>
                </a:cubicBezTo>
                <a:cubicBezTo>
                  <a:pt x="20618" y="4800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3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3"/>
                  <a:pt x="982" y="19200"/>
                </a:cubicBezTo>
                <a:lnTo>
                  <a:pt x="982" y="7200"/>
                </a:lnTo>
                <a:lnTo>
                  <a:pt x="20618" y="7200"/>
                </a:lnTo>
                <a:cubicBezTo>
                  <a:pt x="20618" y="7200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800"/>
                </a:lnTo>
                <a:cubicBezTo>
                  <a:pt x="21600" y="3474"/>
                  <a:pt x="20721" y="2399"/>
                  <a:pt x="19636" y="2399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11" name="Shape 2611"/>
          <p:cNvSpPr/>
          <p:nvPr/>
        </p:nvSpPr>
        <p:spPr>
          <a:xfrm>
            <a:off x="9451126" y="2505770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161"/>
                </a:moveTo>
                <a:lnTo>
                  <a:pt x="13745" y="2161"/>
                </a:lnTo>
                <a:cubicBezTo>
                  <a:pt x="11782" y="2160"/>
                  <a:pt x="11782" y="0"/>
                  <a:pt x="9818" y="0"/>
                </a:cubicBezTo>
                <a:lnTo>
                  <a:pt x="5891" y="0"/>
                </a:lnTo>
                <a:cubicBezTo>
                  <a:pt x="4806" y="0"/>
                  <a:pt x="3927" y="967"/>
                  <a:pt x="3927" y="2161"/>
                </a:cubicBezTo>
                <a:lnTo>
                  <a:pt x="3927" y="2700"/>
                </a:lnTo>
                <a:cubicBezTo>
                  <a:pt x="3927" y="2999"/>
                  <a:pt x="4147" y="3240"/>
                  <a:pt x="4418" y="3240"/>
                </a:cubicBezTo>
                <a:cubicBezTo>
                  <a:pt x="4690" y="3240"/>
                  <a:pt x="4909" y="2999"/>
                  <a:pt x="4909" y="2700"/>
                </a:cubicBezTo>
                <a:lnTo>
                  <a:pt x="4909" y="2161"/>
                </a:lnTo>
                <a:cubicBezTo>
                  <a:pt x="4909" y="1564"/>
                  <a:pt x="5348" y="1080"/>
                  <a:pt x="5891" y="1080"/>
                </a:cubicBezTo>
                <a:lnTo>
                  <a:pt x="9818" y="1080"/>
                </a:lnTo>
                <a:cubicBezTo>
                  <a:pt x="11291" y="1080"/>
                  <a:pt x="11291" y="3239"/>
                  <a:pt x="13744" y="3240"/>
                </a:cubicBezTo>
                <a:lnTo>
                  <a:pt x="19636" y="3240"/>
                </a:lnTo>
                <a:cubicBezTo>
                  <a:pt x="20178" y="3240"/>
                  <a:pt x="20618" y="3724"/>
                  <a:pt x="20618" y="4321"/>
                </a:cubicBezTo>
                <a:lnTo>
                  <a:pt x="20618" y="15120"/>
                </a:lnTo>
                <a:cubicBezTo>
                  <a:pt x="20618" y="15717"/>
                  <a:pt x="20178" y="16200"/>
                  <a:pt x="19636" y="16200"/>
                </a:cubicBezTo>
                <a:lnTo>
                  <a:pt x="19145" y="16200"/>
                </a:lnTo>
                <a:cubicBezTo>
                  <a:pt x="18874" y="16200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19636" y="17280"/>
                </a:lnTo>
                <a:cubicBezTo>
                  <a:pt x="20721" y="17280"/>
                  <a:pt x="21600" y="16314"/>
                  <a:pt x="21600" y="15120"/>
                </a:cubicBezTo>
                <a:lnTo>
                  <a:pt x="21600" y="4321"/>
                </a:lnTo>
                <a:cubicBezTo>
                  <a:pt x="21600" y="3127"/>
                  <a:pt x="20721" y="2161"/>
                  <a:pt x="19636" y="2161"/>
                </a:cubicBezTo>
                <a:moveTo>
                  <a:pt x="16691" y="9720"/>
                </a:moveTo>
                <a:lnTo>
                  <a:pt x="982" y="9720"/>
                </a:lnTo>
                <a:lnTo>
                  <a:pt x="982" y="6481"/>
                </a:lnTo>
                <a:cubicBezTo>
                  <a:pt x="982" y="5884"/>
                  <a:pt x="1421" y="5400"/>
                  <a:pt x="1964" y="5400"/>
                </a:cubicBezTo>
                <a:lnTo>
                  <a:pt x="5891" y="5400"/>
                </a:lnTo>
                <a:cubicBezTo>
                  <a:pt x="7364" y="5400"/>
                  <a:pt x="7364" y="7560"/>
                  <a:pt x="9818" y="7560"/>
                </a:cubicBezTo>
                <a:lnTo>
                  <a:pt x="15709" y="7560"/>
                </a:lnTo>
                <a:cubicBezTo>
                  <a:pt x="16251" y="7560"/>
                  <a:pt x="16691" y="8044"/>
                  <a:pt x="16691" y="8641"/>
                </a:cubicBezTo>
                <a:cubicBezTo>
                  <a:pt x="16691" y="8641"/>
                  <a:pt x="16691" y="9720"/>
                  <a:pt x="16691" y="9720"/>
                </a:cubicBezTo>
                <a:close/>
                <a:moveTo>
                  <a:pt x="16691" y="19440"/>
                </a:moveTo>
                <a:cubicBezTo>
                  <a:pt x="16691" y="20037"/>
                  <a:pt x="16251" y="20520"/>
                  <a:pt x="15709" y="20520"/>
                </a:cubicBezTo>
                <a:lnTo>
                  <a:pt x="1964" y="20520"/>
                </a:lnTo>
                <a:cubicBezTo>
                  <a:pt x="1421" y="20520"/>
                  <a:pt x="982" y="20037"/>
                  <a:pt x="982" y="19440"/>
                </a:cubicBezTo>
                <a:lnTo>
                  <a:pt x="982" y="10801"/>
                </a:lnTo>
                <a:lnTo>
                  <a:pt x="16691" y="10801"/>
                </a:lnTo>
                <a:cubicBezTo>
                  <a:pt x="16691" y="10801"/>
                  <a:pt x="16691" y="19440"/>
                  <a:pt x="16691" y="19440"/>
                </a:cubicBezTo>
                <a:close/>
                <a:moveTo>
                  <a:pt x="15709" y="6481"/>
                </a:moveTo>
                <a:lnTo>
                  <a:pt x="9818" y="6481"/>
                </a:lnTo>
                <a:cubicBezTo>
                  <a:pt x="7855" y="6480"/>
                  <a:pt x="7855" y="4320"/>
                  <a:pt x="5891" y="4320"/>
                </a:cubicBezTo>
                <a:lnTo>
                  <a:pt x="1964" y="4320"/>
                </a:lnTo>
                <a:cubicBezTo>
                  <a:pt x="879" y="4320"/>
                  <a:pt x="0" y="5287"/>
                  <a:pt x="0" y="6481"/>
                </a:cubicBezTo>
                <a:lnTo>
                  <a:pt x="0" y="19440"/>
                </a:lnTo>
                <a:cubicBezTo>
                  <a:pt x="0" y="20634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634"/>
                  <a:pt x="17673" y="19440"/>
                </a:cubicBezTo>
                <a:lnTo>
                  <a:pt x="17673" y="8641"/>
                </a:lnTo>
                <a:cubicBezTo>
                  <a:pt x="17673" y="7447"/>
                  <a:pt x="16794" y="6481"/>
                  <a:pt x="15709" y="6481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12" name="Shape 2612"/>
          <p:cNvSpPr/>
          <p:nvPr/>
        </p:nvSpPr>
        <p:spPr>
          <a:xfrm>
            <a:off x="9984387" y="2518467"/>
            <a:ext cx="279328" cy="2285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3200"/>
                </a:moveTo>
                <a:cubicBezTo>
                  <a:pt x="11071" y="13200"/>
                  <a:pt x="11291" y="13469"/>
                  <a:pt x="11291" y="13800"/>
                </a:cubicBezTo>
                <a:cubicBezTo>
                  <a:pt x="11291" y="14132"/>
                  <a:pt x="11071" y="14400"/>
                  <a:pt x="10800" y="14400"/>
                </a:cubicBezTo>
                <a:cubicBezTo>
                  <a:pt x="10529" y="14400"/>
                  <a:pt x="10309" y="14132"/>
                  <a:pt x="10309" y="13800"/>
                </a:cubicBezTo>
                <a:cubicBezTo>
                  <a:pt x="10309" y="13469"/>
                  <a:pt x="10529" y="13200"/>
                  <a:pt x="10800" y="13200"/>
                </a:cubicBezTo>
                <a:moveTo>
                  <a:pt x="10800" y="15600"/>
                </a:moveTo>
                <a:cubicBezTo>
                  <a:pt x="11613" y="15600"/>
                  <a:pt x="12273" y="14794"/>
                  <a:pt x="12273" y="13800"/>
                </a:cubicBezTo>
                <a:cubicBezTo>
                  <a:pt x="12273" y="12806"/>
                  <a:pt x="11613" y="12000"/>
                  <a:pt x="10800" y="12000"/>
                </a:cubicBezTo>
                <a:cubicBezTo>
                  <a:pt x="9987" y="12000"/>
                  <a:pt x="9327" y="12806"/>
                  <a:pt x="9327" y="13800"/>
                </a:cubicBezTo>
                <a:cubicBezTo>
                  <a:pt x="9327" y="14794"/>
                  <a:pt x="9987" y="15600"/>
                  <a:pt x="10800" y="15600"/>
                </a:cubicBezTo>
                <a:moveTo>
                  <a:pt x="5400" y="13200"/>
                </a:moveTo>
                <a:cubicBezTo>
                  <a:pt x="5671" y="13200"/>
                  <a:pt x="5891" y="13469"/>
                  <a:pt x="5891" y="13800"/>
                </a:cubicBezTo>
                <a:cubicBezTo>
                  <a:pt x="5891" y="14132"/>
                  <a:pt x="5671" y="14400"/>
                  <a:pt x="5400" y="14400"/>
                </a:cubicBezTo>
                <a:cubicBezTo>
                  <a:pt x="5129" y="14400"/>
                  <a:pt x="4909" y="14132"/>
                  <a:pt x="4909" y="13800"/>
                </a:cubicBezTo>
                <a:cubicBezTo>
                  <a:pt x="4909" y="13469"/>
                  <a:pt x="5129" y="13200"/>
                  <a:pt x="5400" y="13200"/>
                </a:cubicBezTo>
                <a:moveTo>
                  <a:pt x="5400" y="15600"/>
                </a:moveTo>
                <a:cubicBezTo>
                  <a:pt x="6213" y="15600"/>
                  <a:pt x="6873" y="14794"/>
                  <a:pt x="6873" y="13800"/>
                </a:cubicBezTo>
                <a:cubicBezTo>
                  <a:pt x="6873" y="12806"/>
                  <a:pt x="6213" y="12000"/>
                  <a:pt x="5400" y="12000"/>
                </a:cubicBezTo>
                <a:cubicBezTo>
                  <a:pt x="4587" y="12000"/>
                  <a:pt x="3927" y="12806"/>
                  <a:pt x="3927" y="13800"/>
                </a:cubicBezTo>
                <a:cubicBezTo>
                  <a:pt x="3927" y="14794"/>
                  <a:pt x="4587" y="15600"/>
                  <a:pt x="5400" y="15600"/>
                </a:cubicBezTo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1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799"/>
                </a:cubicBezTo>
                <a:cubicBezTo>
                  <a:pt x="20618" y="4799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2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1" y="20400"/>
                  <a:pt x="982" y="19862"/>
                  <a:pt x="982" y="19200"/>
                </a:cubicBezTo>
                <a:lnTo>
                  <a:pt x="982" y="7199"/>
                </a:lnTo>
                <a:lnTo>
                  <a:pt x="20618" y="7199"/>
                </a:lnTo>
                <a:cubicBezTo>
                  <a:pt x="20618" y="7199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799"/>
                </a:lnTo>
                <a:cubicBezTo>
                  <a:pt x="21600" y="3474"/>
                  <a:pt x="20721" y="2399"/>
                  <a:pt x="19636" y="2399"/>
                </a:cubicBezTo>
                <a:moveTo>
                  <a:pt x="16200" y="13200"/>
                </a:moveTo>
                <a:cubicBezTo>
                  <a:pt x="16471" y="13200"/>
                  <a:pt x="16691" y="13469"/>
                  <a:pt x="16691" y="13800"/>
                </a:cubicBezTo>
                <a:cubicBezTo>
                  <a:pt x="16691" y="14132"/>
                  <a:pt x="16471" y="14400"/>
                  <a:pt x="16200" y="14400"/>
                </a:cubicBezTo>
                <a:cubicBezTo>
                  <a:pt x="15929" y="14400"/>
                  <a:pt x="15709" y="14132"/>
                  <a:pt x="15709" y="13800"/>
                </a:cubicBezTo>
                <a:cubicBezTo>
                  <a:pt x="15709" y="13469"/>
                  <a:pt x="15929" y="13200"/>
                  <a:pt x="16200" y="13200"/>
                </a:cubicBezTo>
                <a:moveTo>
                  <a:pt x="16200" y="15600"/>
                </a:moveTo>
                <a:cubicBezTo>
                  <a:pt x="17013" y="15600"/>
                  <a:pt x="17673" y="14794"/>
                  <a:pt x="17673" y="13800"/>
                </a:cubicBezTo>
                <a:cubicBezTo>
                  <a:pt x="17673" y="12806"/>
                  <a:pt x="17013" y="12000"/>
                  <a:pt x="16200" y="12000"/>
                </a:cubicBezTo>
                <a:cubicBezTo>
                  <a:pt x="15387" y="12000"/>
                  <a:pt x="14727" y="12806"/>
                  <a:pt x="14727" y="13800"/>
                </a:cubicBezTo>
                <a:cubicBezTo>
                  <a:pt x="14727" y="14794"/>
                  <a:pt x="15387" y="15600"/>
                  <a:pt x="16200" y="156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13" name="Shape 2613"/>
          <p:cNvSpPr/>
          <p:nvPr/>
        </p:nvSpPr>
        <p:spPr>
          <a:xfrm>
            <a:off x="10517648" y="249307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964"/>
                </a:moveTo>
                <a:lnTo>
                  <a:pt x="10800" y="1964"/>
                </a:lnTo>
                <a:cubicBezTo>
                  <a:pt x="8836" y="1964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5709"/>
                </a:lnTo>
                <a:cubicBezTo>
                  <a:pt x="0" y="16794"/>
                  <a:pt x="879" y="17673"/>
                  <a:pt x="1964" y="17673"/>
                </a:cubicBezTo>
                <a:lnTo>
                  <a:pt x="6599" y="17673"/>
                </a:lnTo>
                <a:cubicBezTo>
                  <a:pt x="6257" y="17372"/>
                  <a:pt x="5941" y="17046"/>
                  <a:pt x="5656" y="16691"/>
                </a:cubicBezTo>
                <a:lnTo>
                  <a:pt x="1964" y="16691"/>
                </a:lnTo>
                <a:cubicBezTo>
                  <a:pt x="1422" y="16691"/>
                  <a:pt x="982" y="16252"/>
                  <a:pt x="982" y="15709"/>
                </a:cubicBezTo>
                <a:lnTo>
                  <a:pt x="982" y="5891"/>
                </a:lnTo>
                <a:lnTo>
                  <a:pt x="6599" y="5891"/>
                </a:lnTo>
                <a:cubicBezTo>
                  <a:pt x="7023" y="5517"/>
                  <a:pt x="7484" y="5185"/>
                  <a:pt x="7982" y="4909"/>
                </a:cubicBezTo>
                <a:lnTo>
                  <a:pt x="982" y="4909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6873" y="982"/>
                </a:lnTo>
                <a:cubicBezTo>
                  <a:pt x="8345" y="982"/>
                  <a:pt x="8345" y="2946"/>
                  <a:pt x="10800" y="2946"/>
                </a:cubicBezTo>
                <a:lnTo>
                  <a:pt x="19636" y="2946"/>
                </a:lnTo>
                <a:cubicBezTo>
                  <a:pt x="20178" y="2946"/>
                  <a:pt x="20618" y="3385"/>
                  <a:pt x="20618" y="3927"/>
                </a:cubicBezTo>
                <a:lnTo>
                  <a:pt x="20618" y="4909"/>
                </a:lnTo>
                <a:lnTo>
                  <a:pt x="15582" y="4909"/>
                </a:lnTo>
                <a:cubicBezTo>
                  <a:pt x="16080" y="5185"/>
                  <a:pt x="16541" y="5517"/>
                  <a:pt x="16965" y="5891"/>
                </a:cubicBezTo>
                <a:lnTo>
                  <a:pt x="20618" y="5891"/>
                </a:ln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8766" y="16691"/>
                </a:lnTo>
                <a:lnTo>
                  <a:pt x="19738" y="17663"/>
                </a:lnTo>
                <a:cubicBezTo>
                  <a:pt x="20774" y="17609"/>
                  <a:pt x="21600" y="16759"/>
                  <a:pt x="21600" y="15709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1782" y="17673"/>
                </a:moveTo>
                <a:cubicBezTo>
                  <a:pt x="8529" y="17673"/>
                  <a:pt x="5891" y="15036"/>
                  <a:pt x="5891" y="11782"/>
                </a:cubicBezTo>
                <a:cubicBezTo>
                  <a:pt x="5891" y="8529"/>
                  <a:pt x="8529" y="5891"/>
                  <a:pt x="11782" y="5891"/>
                </a:cubicBezTo>
                <a:cubicBezTo>
                  <a:pt x="15035" y="5891"/>
                  <a:pt x="17673" y="8529"/>
                  <a:pt x="17673" y="11782"/>
                </a:cubicBezTo>
                <a:cubicBezTo>
                  <a:pt x="17673" y="15036"/>
                  <a:pt x="15035" y="17673"/>
                  <a:pt x="11782" y="17673"/>
                </a:cubicBezTo>
                <a:moveTo>
                  <a:pt x="16972" y="16278"/>
                </a:moveTo>
                <a:cubicBezTo>
                  <a:pt x="18018" y="15072"/>
                  <a:pt x="18655" y="13503"/>
                  <a:pt x="18655" y="11782"/>
                </a:cubicBezTo>
                <a:cubicBezTo>
                  <a:pt x="18655" y="7987"/>
                  <a:pt x="15578" y="4910"/>
                  <a:pt x="11782" y="4910"/>
                </a:cubicBezTo>
                <a:cubicBezTo>
                  <a:pt x="7986" y="4910"/>
                  <a:pt x="4909" y="7987"/>
                  <a:pt x="4909" y="11782"/>
                </a:cubicBezTo>
                <a:cubicBezTo>
                  <a:pt x="4909" y="15578"/>
                  <a:pt x="7986" y="18655"/>
                  <a:pt x="11782" y="18655"/>
                </a:cubicBezTo>
                <a:cubicBezTo>
                  <a:pt x="13503" y="18655"/>
                  <a:pt x="15072" y="18017"/>
                  <a:pt x="16278" y="16972"/>
                </a:cubicBezTo>
                <a:lnTo>
                  <a:pt x="16972" y="17666"/>
                </a:lnTo>
                <a:cubicBezTo>
                  <a:pt x="16969" y="17668"/>
                  <a:pt x="16967" y="17671"/>
                  <a:pt x="16965" y="17673"/>
                </a:cubicBezTo>
                <a:lnTo>
                  <a:pt x="16979" y="17673"/>
                </a:lnTo>
                <a:lnTo>
                  <a:pt x="20762" y="21457"/>
                </a:lnTo>
                <a:cubicBezTo>
                  <a:pt x="20851" y="21546"/>
                  <a:pt x="20974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6972" y="16278"/>
                  <a:pt x="16972" y="16278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14" name="Shape 2614"/>
          <p:cNvSpPr/>
          <p:nvPr/>
        </p:nvSpPr>
        <p:spPr>
          <a:xfrm>
            <a:off x="11050909" y="249307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15" name="Shape 2615"/>
          <p:cNvSpPr/>
          <p:nvPr/>
        </p:nvSpPr>
        <p:spPr>
          <a:xfrm>
            <a:off x="6251560" y="3026335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93" y="17878"/>
                </a:moveTo>
                <a:cubicBezTo>
                  <a:pt x="16514" y="16546"/>
                  <a:pt x="15177" y="15812"/>
                  <a:pt x="14084" y="15323"/>
                </a:cubicBezTo>
                <a:cubicBezTo>
                  <a:pt x="13842" y="15214"/>
                  <a:pt x="13687" y="15099"/>
                  <a:pt x="13598" y="14990"/>
                </a:cubicBezTo>
                <a:cubicBezTo>
                  <a:pt x="15238" y="14959"/>
                  <a:pt x="16521" y="14237"/>
                  <a:pt x="16581" y="14203"/>
                </a:cubicBezTo>
                <a:cubicBezTo>
                  <a:pt x="16751" y="14106"/>
                  <a:pt x="16846" y="13918"/>
                  <a:pt x="16826" y="13724"/>
                </a:cubicBezTo>
                <a:cubicBezTo>
                  <a:pt x="16807" y="13546"/>
                  <a:pt x="16693" y="13394"/>
                  <a:pt x="16530" y="13325"/>
                </a:cubicBezTo>
                <a:cubicBezTo>
                  <a:pt x="16461" y="13275"/>
                  <a:pt x="15663" y="12629"/>
                  <a:pt x="15663" y="9051"/>
                </a:cubicBezTo>
                <a:cubicBezTo>
                  <a:pt x="15663" y="5000"/>
                  <a:pt x="14115" y="2945"/>
                  <a:pt x="11061" y="2945"/>
                </a:cubicBezTo>
                <a:cubicBezTo>
                  <a:pt x="8481" y="2945"/>
                  <a:pt x="5845" y="3642"/>
                  <a:pt x="5845" y="8806"/>
                </a:cubicBezTo>
                <a:cubicBezTo>
                  <a:pt x="5845" y="12555"/>
                  <a:pt x="5219" y="13278"/>
                  <a:pt x="5122" y="13367"/>
                </a:cubicBezTo>
                <a:cubicBezTo>
                  <a:pt x="4957" y="13416"/>
                  <a:pt x="4826" y="13551"/>
                  <a:pt x="4784" y="13723"/>
                </a:cubicBezTo>
                <a:cubicBezTo>
                  <a:pt x="4734" y="13935"/>
                  <a:pt x="4828" y="14153"/>
                  <a:pt x="5015" y="14262"/>
                </a:cubicBezTo>
                <a:cubicBezTo>
                  <a:pt x="6396" y="15064"/>
                  <a:pt x="7482" y="15136"/>
                  <a:pt x="8065" y="15091"/>
                </a:cubicBezTo>
                <a:cubicBezTo>
                  <a:pt x="7994" y="15151"/>
                  <a:pt x="7850" y="15241"/>
                  <a:pt x="7564" y="15335"/>
                </a:cubicBezTo>
                <a:cubicBezTo>
                  <a:pt x="6211" y="15776"/>
                  <a:pt x="4766" y="16807"/>
                  <a:pt x="3958" y="17834"/>
                </a:cubicBezTo>
                <a:cubicBezTo>
                  <a:pt x="2125" y="16050"/>
                  <a:pt x="982" y="13560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3584"/>
                  <a:pt x="19454" y="16092"/>
                  <a:pt x="17593" y="17878"/>
                </a:cubicBezTo>
                <a:moveTo>
                  <a:pt x="10800" y="20618"/>
                </a:moveTo>
                <a:cubicBezTo>
                  <a:pt x="8489" y="20618"/>
                  <a:pt x="6370" y="19815"/>
                  <a:pt x="4693" y="18480"/>
                </a:cubicBezTo>
                <a:cubicBezTo>
                  <a:pt x="5360" y="17604"/>
                  <a:pt x="6693" y="16652"/>
                  <a:pt x="7869" y="16268"/>
                </a:cubicBezTo>
                <a:cubicBezTo>
                  <a:pt x="8578" y="16037"/>
                  <a:pt x="8988" y="15688"/>
                  <a:pt x="9087" y="15232"/>
                </a:cubicBezTo>
                <a:cubicBezTo>
                  <a:pt x="9214" y="14656"/>
                  <a:pt x="8775" y="14230"/>
                  <a:pt x="8725" y="14183"/>
                </a:cubicBezTo>
                <a:cubicBezTo>
                  <a:pt x="8597" y="14065"/>
                  <a:pt x="8412" y="14025"/>
                  <a:pt x="8246" y="14075"/>
                </a:cubicBezTo>
                <a:cubicBezTo>
                  <a:pt x="8208" y="14086"/>
                  <a:pt x="7406" y="14309"/>
                  <a:pt x="6089" y="13714"/>
                </a:cubicBezTo>
                <a:cubicBezTo>
                  <a:pt x="6486" y="13026"/>
                  <a:pt x="6826" y="11618"/>
                  <a:pt x="6826" y="8806"/>
                </a:cubicBezTo>
                <a:cubicBezTo>
                  <a:pt x="6826" y="4301"/>
                  <a:pt x="8829" y="3928"/>
                  <a:pt x="11061" y="3928"/>
                </a:cubicBezTo>
                <a:cubicBezTo>
                  <a:pt x="12615" y="3928"/>
                  <a:pt x="14681" y="4458"/>
                  <a:pt x="14681" y="9051"/>
                </a:cubicBezTo>
                <a:cubicBezTo>
                  <a:pt x="14681" y="11662"/>
                  <a:pt x="15092" y="12966"/>
                  <a:pt x="15499" y="13617"/>
                </a:cubicBezTo>
                <a:cubicBezTo>
                  <a:pt x="14943" y="13829"/>
                  <a:pt x="14058" y="14076"/>
                  <a:pt x="13097" y="13993"/>
                </a:cubicBezTo>
                <a:cubicBezTo>
                  <a:pt x="12883" y="13971"/>
                  <a:pt x="12690" y="14092"/>
                  <a:pt x="12605" y="14285"/>
                </a:cubicBezTo>
                <a:cubicBezTo>
                  <a:pt x="12420" y="14704"/>
                  <a:pt x="12408" y="15649"/>
                  <a:pt x="13683" y="16219"/>
                </a:cubicBezTo>
                <a:cubicBezTo>
                  <a:pt x="14677" y="16664"/>
                  <a:pt x="15893" y="17331"/>
                  <a:pt x="16850" y="18522"/>
                </a:cubicBezTo>
                <a:cubicBezTo>
                  <a:pt x="15182" y="19831"/>
                  <a:pt x="13085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16" name="Shape 2616"/>
          <p:cNvSpPr/>
          <p:nvPr/>
        </p:nvSpPr>
        <p:spPr>
          <a:xfrm>
            <a:off x="6784821" y="3039031"/>
            <a:ext cx="279328" cy="2539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17" name="Shape 2617"/>
          <p:cNvSpPr/>
          <p:nvPr/>
        </p:nvSpPr>
        <p:spPr>
          <a:xfrm>
            <a:off x="7318082" y="3051728"/>
            <a:ext cx="279328" cy="2285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18" name="Shape 2618"/>
          <p:cNvSpPr/>
          <p:nvPr/>
        </p:nvSpPr>
        <p:spPr>
          <a:xfrm>
            <a:off x="7851343" y="3026335"/>
            <a:ext cx="279301" cy="2793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8" h="21600" extrusionOk="0">
                <a:moveTo>
                  <a:pt x="2560" y="18308"/>
                </a:moveTo>
                <a:cubicBezTo>
                  <a:pt x="2472" y="18397"/>
                  <a:pt x="2418" y="18520"/>
                  <a:pt x="2418" y="18655"/>
                </a:cubicBezTo>
                <a:cubicBezTo>
                  <a:pt x="2418" y="18926"/>
                  <a:pt x="2635" y="19146"/>
                  <a:pt x="2902" y="19146"/>
                </a:cubicBezTo>
                <a:cubicBezTo>
                  <a:pt x="3169" y="19146"/>
                  <a:pt x="3385" y="18926"/>
                  <a:pt x="3385" y="18655"/>
                </a:cubicBezTo>
                <a:cubicBezTo>
                  <a:pt x="3385" y="18384"/>
                  <a:pt x="3169" y="18164"/>
                  <a:pt x="2902" y="18164"/>
                </a:cubicBezTo>
                <a:cubicBezTo>
                  <a:pt x="2768" y="18164"/>
                  <a:pt x="2647" y="18219"/>
                  <a:pt x="2560" y="18308"/>
                </a:cubicBezTo>
                <a:moveTo>
                  <a:pt x="20499" y="4279"/>
                </a:moveTo>
                <a:lnTo>
                  <a:pt x="20091" y="4692"/>
                </a:lnTo>
                <a:lnTo>
                  <a:pt x="20088" y="4688"/>
                </a:lnTo>
                <a:lnTo>
                  <a:pt x="17670" y="7143"/>
                </a:lnTo>
                <a:lnTo>
                  <a:pt x="17664" y="7137"/>
                </a:lnTo>
                <a:cubicBezTo>
                  <a:pt x="17227" y="7580"/>
                  <a:pt x="16624" y="7853"/>
                  <a:pt x="15958" y="7853"/>
                </a:cubicBezTo>
                <a:cubicBezTo>
                  <a:pt x="14624" y="7853"/>
                  <a:pt x="13543" y="6755"/>
                  <a:pt x="13543" y="5401"/>
                </a:cubicBezTo>
                <a:cubicBezTo>
                  <a:pt x="13543" y="4725"/>
                  <a:pt x="13813" y="4113"/>
                  <a:pt x="14248" y="3670"/>
                </a:cubicBezTo>
                <a:lnTo>
                  <a:pt x="13563" y="2975"/>
                </a:lnTo>
                <a:cubicBezTo>
                  <a:pt x="12951" y="3596"/>
                  <a:pt x="12571" y="4452"/>
                  <a:pt x="12571" y="5401"/>
                </a:cubicBezTo>
                <a:cubicBezTo>
                  <a:pt x="12571" y="7300"/>
                  <a:pt x="14087" y="8840"/>
                  <a:pt x="15958" y="8840"/>
                </a:cubicBezTo>
                <a:cubicBezTo>
                  <a:pt x="16893" y="8840"/>
                  <a:pt x="17737" y="8454"/>
                  <a:pt x="18348" y="7832"/>
                </a:cubicBezTo>
                <a:lnTo>
                  <a:pt x="18353" y="7837"/>
                </a:lnTo>
                <a:lnTo>
                  <a:pt x="20152" y="6011"/>
                </a:lnTo>
                <a:cubicBezTo>
                  <a:pt x="20516" y="7368"/>
                  <a:pt x="20343" y="8670"/>
                  <a:pt x="19540" y="9505"/>
                </a:cubicBezTo>
                <a:lnTo>
                  <a:pt x="16947" y="12198"/>
                </a:lnTo>
                <a:cubicBezTo>
                  <a:pt x="16605" y="12553"/>
                  <a:pt x="16104" y="12766"/>
                  <a:pt x="15610" y="12766"/>
                </a:cubicBezTo>
                <a:cubicBezTo>
                  <a:pt x="15590" y="12765"/>
                  <a:pt x="13953" y="12652"/>
                  <a:pt x="12318" y="11611"/>
                </a:cubicBezTo>
                <a:lnTo>
                  <a:pt x="12314" y="11620"/>
                </a:lnTo>
                <a:cubicBezTo>
                  <a:pt x="12239" y="11572"/>
                  <a:pt x="12155" y="11537"/>
                  <a:pt x="12060" y="11537"/>
                </a:cubicBezTo>
                <a:cubicBezTo>
                  <a:pt x="11897" y="11537"/>
                  <a:pt x="11759" y="11625"/>
                  <a:pt x="11671" y="11753"/>
                </a:cubicBezTo>
                <a:lnTo>
                  <a:pt x="11654" y="11742"/>
                </a:lnTo>
                <a:lnTo>
                  <a:pt x="4270" y="20043"/>
                </a:lnTo>
                <a:cubicBezTo>
                  <a:pt x="3919" y="20399"/>
                  <a:pt x="3436" y="20618"/>
                  <a:pt x="2902" y="20618"/>
                </a:cubicBezTo>
                <a:cubicBezTo>
                  <a:pt x="1833" y="20618"/>
                  <a:pt x="967" y="19740"/>
                  <a:pt x="967" y="18655"/>
                </a:cubicBezTo>
                <a:cubicBezTo>
                  <a:pt x="967" y="18113"/>
                  <a:pt x="1184" y="17622"/>
                  <a:pt x="1534" y="17267"/>
                </a:cubicBezTo>
                <a:lnTo>
                  <a:pt x="9684" y="9801"/>
                </a:lnTo>
                <a:lnTo>
                  <a:pt x="9671" y="9786"/>
                </a:lnTo>
                <a:cubicBezTo>
                  <a:pt x="9796" y="9698"/>
                  <a:pt x="9884" y="9557"/>
                  <a:pt x="9884" y="9389"/>
                </a:cubicBezTo>
                <a:cubicBezTo>
                  <a:pt x="9884" y="9283"/>
                  <a:pt x="9844" y="9190"/>
                  <a:pt x="9787" y="9110"/>
                </a:cubicBezTo>
                <a:lnTo>
                  <a:pt x="9790" y="9107"/>
                </a:lnTo>
                <a:cubicBezTo>
                  <a:pt x="8390" y="7219"/>
                  <a:pt x="8340" y="5816"/>
                  <a:pt x="9546" y="4488"/>
                </a:cubicBezTo>
                <a:lnTo>
                  <a:pt x="12130" y="1805"/>
                </a:lnTo>
                <a:cubicBezTo>
                  <a:pt x="12785" y="1125"/>
                  <a:pt x="13641" y="982"/>
                  <a:pt x="14244" y="982"/>
                </a:cubicBezTo>
                <a:lnTo>
                  <a:pt x="14246" y="982"/>
                </a:lnTo>
                <a:cubicBezTo>
                  <a:pt x="14611" y="982"/>
                  <a:pt x="14988" y="1037"/>
                  <a:pt x="15366" y="1136"/>
                </a:cubicBezTo>
                <a:lnTo>
                  <a:pt x="13559" y="2970"/>
                </a:lnTo>
                <a:lnTo>
                  <a:pt x="14243" y="3664"/>
                </a:lnTo>
                <a:lnTo>
                  <a:pt x="16661" y="1210"/>
                </a:lnTo>
                <a:lnTo>
                  <a:pt x="16657" y="1206"/>
                </a:lnTo>
                <a:lnTo>
                  <a:pt x="17082" y="775"/>
                </a:lnTo>
                <a:cubicBezTo>
                  <a:pt x="16139" y="269"/>
                  <a:pt x="15160" y="0"/>
                  <a:pt x="14246" y="0"/>
                </a:cubicBezTo>
                <a:lnTo>
                  <a:pt x="14244" y="0"/>
                </a:lnTo>
                <a:cubicBezTo>
                  <a:pt x="13167" y="0"/>
                  <a:pt x="12182" y="361"/>
                  <a:pt x="11460" y="1111"/>
                </a:cubicBezTo>
                <a:lnTo>
                  <a:pt x="8867" y="3804"/>
                </a:lnTo>
                <a:cubicBezTo>
                  <a:pt x="7163" y="5672"/>
                  <a:pt x="7613" y="7584"/>
                  <a:pt x="8769" y="9315"/>
                </a:cubicBezTo>
                <a:lnTo>
                  <a:pt x="850" y="16572"/>
                </a:lnTo>
                <a:cubicBezTo>
                  <a:pt x="325" y="17106"/>
                  <a:pt x="0" y="17842"/>
                  <a:pt x="0" y="18655"/>
                </a:cubicBezTo>
                <a:cubicBezTo>
                  <a:pt x="0" y="20282"/>
                  <a:pt x="1299" y="21600"/>
                  <a:pt x="2902" y="21600"/>
                </a:cubicBezTo>
                <a:cubicBezTo>
                  <a:pt x="3703" y="21600"/>
                  <a:pt x="4429" y="21271"/>
                  <a:pt x="4954" y="20738"/>
                </a:cubicBezTo>
                <a:lnTo>
                  <a:pt x="12160" y="12652"/>
                </a:lnTo>
                <a:cubicBezTo>
                  <a:pt x="13800" y="13590"/>
                  <a:pt x="15363" y="13747"/>
                  <a:pt x="15606" y="13747"/>
                </a:cubicBezTo>
                <a:cubicBezTo>
                  <a:pt x="16313" y="13747"/>
                  <a:pt x="17067" y="13463"/>
                  <a:pt x="17617" y="12892"/>
                </a:cubicBezTo>
                <a:lnTo>
                  <a:pt x="20209" y="10198"/>
                </a:lnTo>
                <a:cubicBezTo>
                  <a:pt x="21560" y="8795"/>
                  <a:pt x="21600" y="6433"/>
                  <a:pt x="20499" y="4279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19" name="Shape 2619"/>
          <p:cNvSpPr/>
          <p:nvPr/>
        </p:nvSpPr>
        <p:spPr>
          <a:xfrm>
            <a:off x="8384604" y="3026335"/>
            <a:ext cx="279328" cy="2793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3" extrusionOk="0">
                <a:moveTo>
                  <a:pt x="12364" y="11941"/>
                </a:moveTo>
                <a:lnTo>
                  <a:pt x="13062" y="14033"/>
                </a:lnTo>
                <a:lnTo>
                  <a:pt x="11365" y="12790"/>
                </a:lnTo>
                <a:lnTo>
                  <a:pt x="10785" y="12365"/>
                </a:lnTo>
                <a:lnTo>
                  <a:pt x="10205" y="12790"/>
                </a:lnTo>
                <a:lnTo>
                  <a:pt x="8508" y="14033"/>
                </a:lnTo>
                <a:lnTo>
                  <a:pt x="9206" y="11941"/>
                </a:lnTo>
                <a:lnTo>
                  <a:pt x="9426" y="11282"/>
                </a:lnTo>
                <a:lnTo>
                  <a:pt x="8877" y="10856"/>
                </a:lnTo>
                <a:lnTo>
                  <a:pt x="7511" y="9794"/>
                </a:lnTo>
                <a:lnTo>
                  <a:pt x="9790" y="9794"/>
                </a:lnTo>
                <a:lnTo>
                  <a:pt x="10030" y="9160"/>
                </a:lnTo>
                <a:lnTo>
                  <a:pt x="10785" y="7162"/>
                </a:lnTo>
                <a:lnTo>
                  <a:pt x="11540" y="9160"/>
                </a:lnTo>
                <a:lnTo>
                  <a:pt x="11779" y="9794"/>
                </a:lnTo>
                <a:lnTo>
                  <a:pt x="14059" y="9794"/>
                </a:lnTo>
                <a:lnTo>
                  <a:pt x="12692" y="10856"/>
                </a:lnTo>
                <a:lnTo>
                  <a:pt x="12144" y="11282"/>
                </a:lnTo>
                <a:cubicBezTo>
                  <a:pt x="12144" y="11282"/>
                  <a:pt x="12364" y="11941"/>
                  <a:pt x="12364" y="11941"/>
                </a:cubicBezTo>
                <a:close/>
                <a:moveTo>
                  <a:pt x="12458" y="8813"/>
                </a:moveTo>
                <a:lnTo>
                  <a:pt x="10785" y="4384"/>
                </a:lnTo>
                <a:lnTo>
                  <a:pt x="9111" y="8813"/>
                </a:lnTo>
                <a:lnTo>
                  <a:pt x="4649" y="8813"/>
                </a:lnTo>
                <a:lnTo>
                  <a:pt x="8275" y="11631"/>
                </a:lnTo>
                <a:lnTo>
                  <a:pt x="6601" y="16647"/>
                </a:lnTo>
                <a:lnTo>
                  <a:pt x="10785" y="13582"/>
                </a:lnTo>
                <a:lnTo>
                  <a:pt x="14969" y="16647"/>
                </a:lnTo>
                <a:lnTo>
                  <a:pt x="13295" y="11631"/>
                </a:lnTo>
                <a:lnTo>
                  <a:pt x="16921" y="8813"/>
                </a:lnTo>
                <a:cubicBezTo>
                  <a:pt x="16921" y="8813"/>
                  <a:pt x="12458" y="8813"/>
                  <a:pt x="12458" y="8813"/>
                </a:cubicBezTo>
                <a:close/>
                <a:moveTo>
                  <a:pt x="10800" y="20592"/>
                </a:moveTo>
                <a:cubicBezTo>
                  <a:pt x="9796" y="20381"/>
                  <a:pt x="982" y="17399"/>
                  <a:pt x="982" y="12263"/>
                </a:cubicBezTo>
                <a:cubicBezTo>
                  <a:pt x="982" y="7469"/>
                  <a:pt x="2322" y="2919"/>
                  <a:pt x="2778" y="1179"/>
                </a:cubicBezTo>
                <a:cubicBezTo>
                  <a:pt x="4022" y="1719"/>
                  <a:pt x="7232" y="2943"/>
                  <a:pt x="10800" y="2943"/>
                </a:cubicBezTo>
                <a:cubicBezTo>
                  <a:pt x="14368" y="2943"/>
                  <a:pt x="17579" y="1719"/>
                  <a:pt x="18823" y="1179"/>
                </a:cubicBezTo>
                <a:cubicBezTo>
                  <a:pt x="19278" y="2918"/>
                  <a:pt x="20618" y="7466"/>
                  <a:pt x="20618" y="12263"/>
                </a:cubicBezTo>
                <a:cubicBezTo>
                  <a:pt x="20618" y="17393"/>
                  <a:pt x="11803" y="20381"/>
                  <a:pt x="10800" y="20592"/>
                </a:cubicBezTo>
                <a:moveTo>
                  <a:pt x="19618" y="356"/>
                </a:moveTo>
                <a:cubicBezTo>
                  <a:pt x="19577" y="216"/>
                  <a:pt x="19477" y="101"/>
                  <a:pt x="19343" y="42"/>
                </a:cubicBezTo>
                <a:cubicBezTo>
                  <a:pt x="19210" y="-17"/>
                  <a:pt x="19057" y="-13"/>
                  <a:pt x="18926" y="52"/>
                </a:cubicBezTo>
                <a:cubicBezTo>
                  <a:pt x="18888" y="71"/>
                  <a:pt x="15053" y="1962"/>
                  <a:pt x="10800" y="1962"/>
                </a:cubicBezTo>
                <a:cubicBezTo>
                  <a:pt x="6556" y="1962"/>
                  <a:pt x="2712" y="71"/>
                  <a:pt x="2674" y="52"/>
                </a:cubicBezTo>
                <a:cubicBezTo>
                  <a:pt x="2543" y="-13"/>
                  <a:pt x="2391" y="-17"/>
                  <a:pt x="2257" y="42"/>
                </a:cubicBezTo>
                <a:cubicBezTo>
                  <a:pt x="2124" y="101"/>
                  <a:pt x="2023" y="216"/>
                  <a:pt x="1983" y="356"/>
                </a:cubicBezTo>
                <a:cubicBezTo>
                  <a:pt x="1963" y="426"/>
                  <a:pt x="0" y="6376"/>
                  <a:pt x="0" y="12263"/>
                </a:cubicBezTo>
                <a:cubicBezTo>
                  <a:pt x="0" y="18484"/>
                  <a:pt x="10271" y="21491"/>
                  <a:pt x="10708" y="21575"/>
                </a:cubicBezTo>
                <a:cubicBezTo>
                  <a:pt x="10739" y="21580"/>
                  <a:pt x="10770" y="21583"/>
                  <a:pt x="10800" y="21583"/>
                </a:cubicBezTo>
                <a:cubicBezTo>
                  <a:pt x="10831" y="21583"/>
                  <a:pt x="10862" y="21580"/>
                  <a:pt x="10892" y="21575"/>
                </a:cubicBezTo>
                <a:cubicBezTo>
                  <a:pt x="11329" y="21491"/>
                  <a:pt x="21600" y="18484"/>
                  <a:pt x="21600" y="12263"/>
                </a:cubicBezTo>
                <a:cubicBezTo>
                  <a:pt x="21600" y="6376"/>
                  <a:pt x="19637" y="426"/>
                  <a:pt x="19618" y="356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20" name="Shape 2620"/>
          <p:cNvSpPr/>
          <p:nvPr/>
        </p:nvSpPr>
        <p:spPr>
          <a:xfrm>
            <a:off x="8917865" y="3039031"/>
            <a:ext cx="279328" cy="2540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44" extrusionOk="0">
                <a:moveTo>
                  <a:pt x="20618" y="7406"/>
                </a:moveTo>
                <a:lnTo>
                  <a:pt x="13580" y="7406"/>
                </a:lnTo>
                <a:cubicBezTo>
                  <a:pt x="13156" y="6803"/>
                  <a:pt x="12718" y="6095"/>
                  <a:pt x="12319" y="5293"/>
                </a:cubicBezTo>
                <a:lnTo>
                  <a:pt x="20618" y="5293"/>
                </a:lnTo>
                <a:cubicBezTo>
                  <a:pt x="20618" y="5293"/>
                  <a:pt x="20618" y="7406"/>
                  <a:pt x="20618" y="7406"/>
                </a:cubicBezTo>
                <a:close/>
                <a:moveTo>
                  <a:pt x="19636" y="13747"/>
                </a:moveTo>
                <a:lnTo>
                  <a:pt x="11291" y="13747"/>
                </a:lnTo>
                <a:lnTo>
                  <a:pt x="11291" y="8463"/>
                </a:lnTo>
                <a:lnTo>
                  <a:pt x="13090" y="8463"/>
                </a:lnTo>
                <a:cubicBezTo>
                  <a:pt x="14022" y="9712"/>
                  <a:pt x="14815" y="10437"/>
                  <a:pt x="14882" y="10497"/>
                </a:cubicBezTo>
                <a:cubicBezTo>
                  <a:pt x="15009" y="10610"/>
                  <a:pt x="15174" y="10644"/>
                  <a:pt x="15323" y="10601"/>
                </a:cubicBezTo>
                <a:cubicBezTo>
                  <a:pt x="15418" y="10574"/>
                  <a:pt x="15505" y="10516"/>
                  <a:pt x="15573" y="10429"/>
                </a:cubicBezTo>
                <a:cubicBezTo>
                  <a:pt x="15746" y="10205"/>
                  <a:pt x="15718" y="9871"/>
                  <a:pt x="15510" y="9684"/>
                </a:cubicBezTo>
                <a:cubicBezTo>
                  <a:pt x="15498" y="9674"/>
                  <a:pt x="15023" y="9238"/>
                  <a:pt x="14383" y="8463"/>
                </a:cubicBezTo>
                <a:lnTo>
                  <a:pt x="19636" y="8463"/>
                </a:lnTo>
                <a:cubicBezTo>
                  <a:pt x="19636" y="8463"/>
                  <a:pt x="19636" y="13747"/>
                  <a:pt x="19636" y="13747"/>
                </a:cubicBezTo>
                <a:close/>
                <a:moveTo>
                  <a:pt x="19636" y="20087"/>
                </a:moveTo>
                <a:lnTo>
                  <a:pt x="11291" y="20087"/>
                </a:lnTo>
                <a:lnTo>
                  <a:pt x="11291" y="14803"/>
                </a:lnTo>
                <a:lnTo>
                  <a:pt x="19636" y="14803"/>
                </a:lnTo>
                <a:cubicBezTo>
                  <a:pt x="19636" y="14803"/>
                  <a:pt x="19636" y="20087"/>
                  <a:pt x="19636" y="20087"/>
                </a:cubicBezTo>
                <a:close/>
                <a:moveTo>
                  <a:pt x="11291" y="5461"/>
                </a:moveTo>
                <a:cubicBezTo>
                  <a:pt x="11626" y="6178"/>
                  <a:pt x="11991" y="6828"/>
                  <a:pt x="12360" y="7406"/>
                </a:cubicBezTo>
                <a:lnTo>
                  <a:pt x="11291" y="7406"/>
                </a:lnTo>
                <a:cubicBezTo>
                  <a:pt x="11291" y="7406"/>
                  <a:pt x="11291" y="5461"/>
                  <a:pt x="11291" y="5461"/>
                </a:cubicBezTo>
                <a:close/>
                <a:moveTo>
                  <a:pt x="12871" y="1481"/>
                </a:moveTo>
                <a:cubicBezTo>
                  <a:pt x="14045" y="751"/>
                  <a:pt x="15436" y="979"/>
                  <a:pt x="15979" y="1990"/>
                </a:cubicBezTo>
                <a:cubicBezTo>
                  <a:pt x="16343" y="2668"/>
                  <a:pt x="16223" y="3523"/>
                  <a:pt x="15755" y="4236"/>
                </a:cubicBezTo>
                <a:lnTo>
                  <a:pt x="11845" y="4236"/>
                </a:lnTo>
                <a:cubicBezTo>
                  <a:pt x="11740" y="3975"/>
                  <a:pt x="11641" y="3708"/>
                  <a:pt x="11550" y="3432"/>
                </a:cubicBezTo>
                <a:cubicBezTo>
                  <a:pt x="11653" y="2691"/>
                  <a:pt x="12120" y="1947"/>
                  <a:pt x="12871" y="1481"/>
                </a:cubicBezTo>
                <a:moveTo>
                  <a:pt x="10309" y="7406"/>
                </a:moveTo>
                <a:lnTo>
                  <a:pt x="9224" y="7406"/>
                </a:lnTo>
                <a:cubicBezTo>
                  <a:pt x="9600" y="6819"/>
                  <a:pt x="9970" y="6158"/>
                  <a:pt x="10309" y="5429"/>
                </a:cubicBezTo>
                <a:cubicBezTo>
                  <a:pt x="10309" y="5429"/>
                  <a:pt x="10309" y="7406"/>
                  <a:pt x="10309" y="7406"/>
                </a:cubicBezTo>
                <a:close/>
                <a:moveTo>
                  <a:pt x="10309" y="13747"/>
                </a:moveTo>
                <a:lnTo>
                  <a:pt x="1964" y="13747"/>
                </a:lnTo>
                <a:lnTo>
                  <a:pt x="1964" y="8463"/>
                </a:lnTo>
                <a:lnTo>
                  <a:pt x="7202" y="8463"/>
                </a:lnTo>
                <a:cubicBezTo>
                  <a:pt x="6563" y="9238"/>
                  <a:pt x="6087" y="9674"/>
                  <a:pt x="6075" y="9684"/>
                </a:cubicBezTo>
                <a:cubicBezTo>
                  <a:pt x="5867" y="9871"/>
                  <a:pt x="5839" y="10205"/>
                  <a:pt x="6012" y="10429"/>
                </a:cubicBezTo>
                <a:cubicBezTo>
                  <a:pt x="6080" y="10516"/>
                  <a:pt x="6167" y="10574"/>
                  <a:pt x="6261" y="10601"/>
                </a:cubicBezTo>
                <a:cubicBezTo>
                  <a:pt x="6411" y="10644"/>
                  <a:pt x="6575" y="10610"/>
                  <a:pt x="6703" y="10497"/>
                </a:cubicBezTo>
                <a:cubicBezTo>
                  <a:pt x="6770" y="10437"/>
                  <a:pt x="7563" y="9712"/>
                  <a:pt x="8495" y="8463"/>
                </a:cubicBezTo>
                <a:lnTo>
                  <a:pt x="10309" y="8463"/>
                </a:lnTo>
                <a:cubicBezTo>
                  <a:pt x="10309" y="8463"/>
                  <a:pt x="10309" y="13747"/>
                  <a:pt x="10309" y="13747"/>
                </a:cubicBezTo>
                <a:close/>
                <a:moveTo>
                  <a:pt x="10309" y="20087"/>
                </a:moveTo>
                <a:lnTo>
                  <a:pt x="1964" y="20087"/>
                </a:lnTo>
                <a:lnTo>
                  <a:pt x="1964" y="14803"/>
                </a:lnTo>
                <a:lnTo>
                  <a:pt x="10309" y="14803"/>
                </a:lnTo>
                <a:cubicBezTo>
                  <a:pt x="10309" y="14803"/>
                  <a:pt x="10309" y="20087"/>
                  <a:pt x="10309" y="20087"/>
                </a:cubicBezTo>
                <a:close/>
                <a:moveTo>
                  <a:pt x="982" y="7406"/>
                </a:moveTo>
                <a:lnTo>
                  <a:pt x="982" y="5293"/>
                </a:lnTo>
                <a:lnTo>
                  <a:pt x="9266" y="5293"/>
                </a:lnTo>
                <a:cubicBezTo>
                  <a:pt x="8867" y="6095"/>
                  <a:pt x="8429" y="6803"/>
                  <a:pt x="8005" y="7406"/>
                </a:cubicBezTo>
                <a:cubicBezTo>
                  <a:pt x="8005" y="7406"/>
                  <a:pt x="982" y="7406"/>
                  <a:pt x="982" y="7406"/>
                </a:cubicBezTo>
                <a:close/>
                <a:moveTo>
                  <a:pt x="5606" y="1990"/>
                </a:moveTo>
                <a:cubicBezTo>
                  <a:pt x="6148" y="980"/>
                  <a:pt x="7540" y="751"/>
                  <a:pt x="8714" y="1481"/>
                </a:cubicBezTo>
                <a:cubicBezTo>
                  <a:pt x="9465" y="1948"/>
                  <a:pt x="9931" y="2692"/>
                  <a:pt x="10035" y="3433"/>
                </a:cubicBezTo>
                <a:cubicBezTo>
                  <a:pt x="9944" y="3708"/>
                  <a:pt x="9845" y="3975"/>
                  <a:pt x="9740" y="4236"/>
                </a:cubicBezTo>
                <a:lnTo>
                  <a:pt x="5830" y="4236"/>
                </a:lnTo>
                <a:cubicBezTo>
                  <a:pt x="5362" y="3523"/>
                  <a:pt x="5242" y="2668"/>
                  <a:pt x="5606" y="1990"/>
                </a:cubicBezTo>
                <a:moveTo>
                  <a:pt x="20618" y="4236"/>
                </a:moveTo>
                <a:lnTo>
                  <a:pt x="16874" y="4236"/>
                </a:lnTo>
                <a:cubicBezTo>
                  <a:pt x="17259" y="3325"/>
                  <a:pt x="17284" y="2310"/>
                  <a:pt x="16829" y="1461"/>
                </a:cubicBezTo>
                <a:cubicBezTo>
                  <a:pt x="16015" y="-54"/>
                  <a:pt x="14024" y="-456"/>
                  <a:pt x="12380" y="565"/>
                </a:cubicBezTo>
                <a:cubicBezTo>
                  <a:pt x="11747" y="959"/>
                  <a:pt x="11277" y="1511"/>
                  <a:pt x="10965" y="2122"/>
                </a:cubicBezTo>
                <a:cubicBezTo>
                  <a:pt x="10949" y="2115"/>
                  <a:pt x="10937" y="2103"/>
                  <a:pt x="10920" y="2098"/>
                </a:cubicBezTo>
                <a:cubicBezTo>
                  <a:pt x="10909" y="2095"/>
                  <a:pt x="10899" y="2097"/>
                  <a:pt x="10888" y="2095"/>
                </a:cubicBezTo>
                <a:cubicBezTo>
                  <a:pt x="10861" y="2089"/>
                  <a:pt x="10834" y="2089"/>
                  <a:pt x="10806" y="2088"/>
                </a:cubicBezTo>
                <a:cubicBezTo>
                  <a:pt x="10782" y="2089"/>
                  <a:pt x="10759" y="2089"/>
                  <a:pt x="10735" y="2093"/>
                </a:cubicBezTo>
                <a:cubicBezTo>
                  <a:pt x="10712" y="2096"/>
                  <a:pt x="10689" y="2090"/>
                  <a:pt x="10665" y="2098"/>
                </a:cubicBezTo>
                <a:cubicBezTo>
                  <a:pt x="10648" y="2103"/>
                  <a:pt x="10636" y="2115"/>
                  <a:pt x="10620" y="2122"/>
                </a:cubicBezTo>
                <a:cubicBezTo>
                  <a:pt x="10307" y="1511"/>
                  <a:pt x="9837" y="959"/>
                  <a:pt x="9205" y="566"/>
                </a:cubicBezTo>
                <a:cubicBezTo>
                  <a:pt x="7561" y="-456"/>
                  <a:pt x="5569" y="-54"/>
                  <a:pt x="4755" y="1461"/>
                </a:cubicBezTo>
                <a:cubicBezTo>
                  <a:pt x="4301" y="2310"/>
                  <a:pt x="4325" y="3325"/>
                  <a:pt x="4711" y="4236"/>
                </a:cubicBezTo>
                <a:lnTo>
                  <a:pt x="982" y="4236"/>
                </a:lnTo>
                <a:cubicBezTo>
                  <a:pt x="440" y="4236"/>
                  <a:pt x="0" y="4709"/>
                  <a:pt x="0" y="5293"/>
                </a:cubicBezTo>
                <a:lnTo>
                  <a:pt x="0" y="7406"/>
                </a:lnTo>
                <a:cubicBezTo>
                  <a:pt x="0" y="7990"/>
                  <a:pt x="440" y="8463"/>
                  <a:pt x="982" y="8463"/>
                </a:cubicBezTo>
                <a:lnTo>
                  <a:pt x="982" y="20087"/>
                </a:lnTo>
                <a:cubicBezTo>
                  <a:pt x="982" y="20671"/>
                  <a:pt x="1422" y="21144"/>
                  <a:pt x="1964" y="21144"/>
                </a:cubicBezTo>
                <a:lnTo>
                  <a:pt x="19636" y="21144"/>
                </a:lnTo>
                <a:cubicBezTo>
                  <a:pt x="20178" y="21144"/>
                  <a:pt x="20618" y="20671"/>
                  <a:pt x="20618" y="20087"/>
                </a:cubicBezTo>
                <a:lnTo>
                  <a:pt x="20618" y="8463"/>
                </a:lnTo>
                <a:cubicBezTo>
                  <a:pt x="21160" y="8463"/>
                  <a:pt x="21600" y="7990"/>
                  <a:pt x="21600" y="7406"/>
                </a:cubicBezTo>
                <a:lnTo>
                  <a:pt x="21600" y="5293"/>
                </a:lnTo>
                <a:cubicBezTo>
                  <a:pt x="21600" y="4709"/>
                  <a:pt x="21160" y="4236"/>
                  <a:pt x="20618" y="4236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21" name="Shape 2621"/>
          <p:cNvSpPr/>
          <p:nvPr/>
        </p:nvSpPr>
        <p:spPr>
          <a:xfrm>
            <a:off x="9451126" y="3077122"/>
            <a:ext cx="279328" cy="1777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057"/>
                </a:moveTo>
                <a:cubicBezTo>
                  <a:pt x="5378" y="20057"/>
                  <a:pt x="982" y="13445"/>
                  <a:pt x="982" y="10800"/>
                </a:cubicBezTo>
                <a:cubicBezTo>
                  <a:pt x="982" y="8155"/>
                  <a:pt x="5378" y="1543"/>
                  <a:pt x="10800" y="1543"/>
                </a:cubicBezTo>
                <a:cubicBezTo>
                  <a:pt x="16223" y="1543"/>
                  <a:pt x="20618" y="8155"/>
                  <a:pt x="20618" y="10800"/>
                </a:cubicBezTo>
                <a:cubicBezTo>
                  <a:pt x="20618" y="13445"/>
                  <a:pt x="16223" y="20057"/>
                  <a:pt x="10800" y="20057"/>
                </a:cubicBezTo>
                <a:moveTo>
                  <a:pt x="10800" y="0"/>
                </a:moveTo>
                <a:cubicBezTo>
                  <a:pt x="4835" y="0"/>
                  <a:pt x="0" y="7714"/>
                  <a:pt x="0" y="10800"/>
                </a:cubicBezTo>
                <a:cubicBezTo>
                  <a:pt x="0" y="13886"/>
                  <a:pt x="4835" y="21600"/>
                  <a:pt x="10800" y="21600"/>
                </a:cubicBezTo>
                <a:cubicBezTo>
                  <a:pt x="16765" y="21600"/>
                  <a:pt x="21600" y="13886"/>
                  <a:pt x="21600" y="10800"/>
                </a:cubicBezTo>
                <a:cubicBezTo>
                  <a:pt x="21600" y="7714"/>
                  <a:pt x="16765" y="0"/>
                  <a:pt x="10800" y="0"/>
                </a:cubicBezTo>
                <a:moveTo>
                  <a:pt x="10800" y="16971"/>
                </a:moveTo>
                <a:cubicBezTo>
                  <a:pt x="8631" y="16971"/>
                  <a:pt x="6873" y="14209"/>
                  <a:pt x="6873" y="10800"/>
                </a:cubicBezTo>
                <a:cubicBezTo>
                  <a:pt x="6873" y="7392"/>
                  <a:pt x="8631" y="4629"/>
                  <a:pt x="10800" y="4629"/>
                </a:cubicBezTo>
                <a:cubicBezTo>
                  <a:pt x="12969" y="4629"/>
                  <a:pt x="14727" y="7392"/>
                  <a:pt x="14727" y="10800"/>
                </a:cubicBezTo>
                <a:cubicBezTo>
                  <a:pt x="14727" y="14209"/>
                  <a:pt x="12969" y="16971"/>
                  <a:pt x="10800" y="16971"/>
                </a:cubicBezTo>
                <a:moveTo>
                  <a:pt x="10800" y="3087"/>
                </a:moveTo>
                <a:cubicBezTo>
                  <a:pt x="8088" y="3087"/>
                  <a:pt x="5891" y="6540"/>
                  <a:pt x="5891" y="10800"/>
                </a:cubicBezTo>
                <a:cubicBezTo>
                  <a:pt x="5891" y="15061"/>
                  <a:pt x="8088" y="18514"/>
                  <a:pt x="10800" y="18514"/>
                </a:cubicBezTo>
                <a:cubicBezTo>
                  <a:pt x="13512" y="18514"/>
                  <a:pt x="15709" y="15061"/>
                  <a:pt x="15709" y="10800"/>
                </a:cubicBezTo>
                <a:cubicBezTo>
                  <a:pt x="15709" y="6540"/>
                  <a:pt x="13512" y="3087"/>
                  <a:pt x="10800" y="3087"/>
                </a:cubicBezTo>
                <a:moveTo>
                  <a:pt x="10800" y="8486"/>
                </a:moveTo>
                <a:cubicBezTo>
                  <a:pt x="9987" y="8486"/>
                  <a:pt x="9327" y="9523"/>
                  <a:pt x="9327" y="10800"/>
                </a:cubicBezTo>
                <a:cubicBezTo>
                  <a:pt x="9327" y="12078"/>
                  <a:pt x="9987" y="13114"/>
                  <a:pt x="10800" y="13114"/>
                </a:cubicBezTo>
                <a:cubicBezTo>
                  <a:pt x="11613" y="13114"/>
                  <a:pt x="12273" y="12078"/>
                  <a:pt x="12273" y="10800"/>
                </a:cubicBezTo>
                <a:cubicBezTo>
                  <a:pt x="12273" y="9523"/>
                  <a:pt x="11613" y="8486"/>
                  <a:pt x="10800" y="8486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22" name="Shape 2622"/>
          <p:cNvSpPr/>
          <p:nvPr/>
        </p:nvSpPr>
        <p:spPr>
          <a:xfrm>
            <a:off x="9984387" y="3026335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79" y="17044"/>
                </a:moveTo>
                <a:cubicBezTo>
                  <a:pt x="9428" y="17174"/>
                  <a:pt x="9252" y="17274"/>
                  <a:pt x="9050" y="17344"/>
                </a:cubicBezTo>
                <a:cubicBezTo>
                  <a:pt x="8849" y="17415"/>
                  <a:pt x="8636" y="17450"/>
                  <a:pt x="8413" y="17450"/>
                </a:cubicBezTo>
                <a:cubicBezTo>
                  <a:pt x="7887" y="17450"/>
                  <a:pt x="7488" y="17288"/>
                  <a:pt x="7214" y="16966"/>
                </a:cubicBezTo>
                <a:cubicBezTo>
                  <a:pt x="6941" y="16644"/>
                  <a:pt x="6797" y="16226"/>
                  <a:pt x="6782" y="15715"/>
                </a:cubicBezTo>
                <a:lnTo>
                  <a:pt x="5864" y="15715"/>
                </a:lnTo>
                <a:cubicBezTo>
                  <a:pt x="5857" y="16122"/>
                  <a:pt x="5913" y="16486"/>
                  <a:pt x="6032" y="16805"/>
                </a:cubicBezTo>
                <a:cubicBezTo>
                  <a:pt x="6151" y="17123"/>
                  <a:pt x="6321" y="17393"/>
                  <a:pt x="6545" y="17611"/>
                </a:cubicBezTo>
                <a:cubicBezTo>
                  <a:pt x="6767" y="17830"/>
                  <a:pt x="7038" y="17995"/>
                  <a:pt x="7355" y="18106"/>
                </a:cubicBezTo>
                <a:cubicBezTo>
                  <a:pt x="7671" y="18218"/>
                  <a:pt x="8024" y="18273"/>
                  <a:pt x="8413" y="18273"/>
                </a:cubicBezTo>
                <a:cubicBezTo>
                  <a:pt x="8773" y="18273"/>
                  <a:pt x="9113" y="18223"/>
                  <a:pt x="9434" y="18123"/>
                </a:cubicBezTo>
                <a:cubicBezTo>
                  <a:pt x="9754" y="18023"/>
                  <a:pt x="10033" y="17873"/>
                  <a:pt x="10271" y="17672"/>
                </a:cubicBezTo>
                <a:cubicBezTo>
                  <a:pt x="10509" y="17472"/>
                  <a:pt x="10697" y="17222"/>
                  <a:pt x="10837" y="16922"/>
                </a:cubicBezTo>
                <a:cubicBezTo>
                  <a:pt x="10978" y="16621"/>
                  <a:pt x="11048" y="16275"/>
                  <a:pt x="11048" y="15881"/>
                </a:cubicBezTo>
                <a:cubicBezTo>
                  <a:pt x="11048" y="15407"/>
                  <a:pt x="10935" y="14995"/>
                  <a:pt x="10708" y="14646"/>
                </a:cubicBezTo>
                <a:cubicBezTo>
                  <a:pt x="10481" y="14298"/>
                  <a:pt x="10134" y="14072"/>
                  <a:pt x="9666" y="13968"/>
                </a:cubicBezTo>
                <a:lnTo>
                  <a:pt x="9666" y="13946"/>
                </a:lnTo>
                <a:cubicBezTo>
                  <a:pt x="9968" y="13805"/>
                  <a:pt x="10220" y="13597"/>
                  <a:pt x="10422" y="13323"/>
                </a:cubicBezTo>
                <a:cubicBezTo>
                  <a:pt x="10624" y="13048"/>
                  <a:pt x="10724" y="12734"/>
                  <a:pt x="10724" y="12377"/>
                </a:cubicBezTo>
                <a:cubicBezTo>
                  <a:pt x="10724" y="12014"/>
                  <a:pt x="10665" y="11698"/>
                  <a:pt x="10546" y="11432"/>
                </a:cubicBezTo>
                <a:cubicBezTo>
                  <a:pt x="10427" y="11165"/>
                  <a:pt x="10263" y="10946"/>
                  <a:pt x="10055" y="10776"/>
                </a:cubicBezTo>
                <a:cubicBezTo>
                  <a:pt x="9846" y="10605"/>
                  <a:pt x="9599" y="10477"/>
                  <a:pt x="9315" y="10392"/>
                </a:cubicBezTo>
                <a:cubicBezTo>
                  <a:pt x="9030" y="10306"/>
                  <a:pt x="8722" y="10264"/>
                  <a:pt x="8391" y="10264"/>
                </a:cubicBezTo>
                <a:cubicBezTo>
                  <a:pt x="8010" y="10264"/>
                  <a:pt x="7673" y="10326"/>
                  <a:pt x="7382" y="10453"/>
                </a:cubicBezTo>
                <a:cubicBezTo>
                  <a:pt x="7090" y="10579"/>
                  <a:pt x="6847" y="10753"/>
                  <a:pt x="6653" y="10976"/>
                </a:cubicBezTo>
                <a:cubicBezTo>
                  <a:pt x="6459" y="11198"/>
                  <a:pt x="6309" y="11466"/>
                  <a:pt x="6204" y="11777"/>
                </a:cubicBezTo>
                <a:cubicBezTo>
                  <a:pt x="6100" y="12088"/>
                  <a:pt x="6040" y="12433"/>
                  <a:pt x="6026" y="12811"/>
                </a:cubicBezTo>
                <a:lnTo>
                  <a:pt x="6944" y="12811"/>
                </a:lnTo>
                <a:cubicBezTo>
                  <a:pt x="6944" y="12581"/>
                  <a:pt x="6972" y="12363"/>
                  <a:pt x="7031" y="12155"/>
                </a:cubicBezTo>
                <a:cubicBezTo>
                  <a:pt x="7088" y="11947"/>
                  <a:pt x="7177" y="11766"/>
                  <a:pt x="7296" y="11610"/>
                </a:cubicBezTo>
                <a:cubicBezTo>
                  <a:pt x="7414" y="11454"/>
                  <a:pt x="7565" y="11330"/>
                  <a:pt x="7749" y="11237"/>
                </a:cubicBezTo>
                <a:cubicBezTo>
                  <a:pt x="7932" y="11144"/>
                  <a:pt x="8147" y="11098"/>
                  <a:pt x="8391" y="11098"/>
                </a:cubicBezTo>
                <a:cubicBezTo>
                  <a:pt x="8780" y="11098"/>
                  <a:pt x="9104" y="11204"/>
                  <a:pt x="9364" y="11415"/>
                </a:cubicBezTo>
                <a:cubicBezTo>
                  <a:pt x="9623" y="11627"/>
                  <a:pt x="9752" y="11943"/>
                  <a:pt x="9752" y="12366"/>
                </a:cubicBezTo>
                <a:cubicBezTo>
                  <a:pt x="9752" y="12574"/>
                  <a:pt x="9713" y="12759"/>
                  <a:pt x="9634" y="12922"/>
                </a:cubicBezTo>
                <a:cubicBezTo>
                  <a:pt x="9554" y="13086"/>
                  <a:pt x="9448" y="13221"/>
                  <a:pt x="9315" y="13329"/>
                </a:cubicBezTo>
                <a:cubicBezTo>
                  <a:pt x="9182" y="13436"/>
                  <a:pt x="9027" y="13517"/>
                  <a:pt x="8851" y="13574"/>
                </a:cubicBezTo>
                <a:cubicBezTo>
                  <a:pt x="8674" y="13629"/>
                  <a:pt x="8488" y="13657"/>
                  <a:pt x="8294" y="13657"/>
                </a:cubicBezTo>
                <a:lnTo>
                  <a:pt x="7992" y="13657"/>
                </a:lnTo>
                <a:cubicBezTo>
                  <a:pt x="7963" y="13657"/>
                  <a:pt x="7930" y="13653"/>
                  <a:pt x="7895" y="13645"/>
                </a:cubicBezTo>
                <a:lnTo>
                  <a:pt x="7895" y="14447"/>
                </a:lnTo>
                <a:cubicBezTo>
                  <a:pt x="8067" y="14424"/>
                  <a:pt x="8251" y="14413"/>
                  <a:pt x="8445" y="14413"/>
                </a:cubicBezTo>
                <a:cubicBezTo>
                  <a:pt x="8676" y="14413"/>
                  <a:pt x="8890" y="14444"/>
                  <a:pt x="9088" y="14507"/>
                </a:cubicBezTo>
                <a:cubicBezTo>
                  <a:pt x="9286" y="14571"/>
                  <a:pt x="9457" y="14667"/>
                  <a:pt x="9601" y="14797"/>
                </a:cubicBezTo>
                <a:cubicBezTo>
                  <a:pt x="9745" y="14927"/>
                  <a:pt x="9860" y="15086"/>
                  <a:pt x="9947" y="15275"/>
                </a:cubicBezTo>
                <a:cubicBezTo>
                  <a:pt x="10033" y="15464"/>
                  <a:pt x="10076" y="15682"/>
                  <a:pt x="10076" y="15926"/>
                </a:cubicBezTo>
                <a:cubicBezTo>
                  <a:pt x="10076" y="16163"/>
                  <a:pt x="10031" y="16377"/>
                  <a:pt x="9941" y="16565"/>
                </a:cubicBezTo>
                <a:cubicBezTo>
                  <a:pt x="9851" y="16754"/>
                  <a:pt x="9731" y="16914"/>
                  <a:pt x="9579" y="17044"/>
                </a:cubicBezTo>
                <a:moveTo>
                  <a:pt x="14257" y="18151"/>
                </a:moveTo>
                <a:lnTo>
                  <a:pt x="15175" y="18151"/>
                </a:lnTo>
                <a:lnTo>
                  <a:pt x="15175" y="10264"/>
                </a:lnTo>
                <a:lnTo>
                  <a:pt x="14473" y="10264"/>
                </a:lnTo>
                <a:cubicBezTo>
                  <a:pt x="14422" y="10561"/>
                  <a:pt x="14329" y="10805"/>
                  <a:pt x="14192" y="10998"/>
                </a:cubicBezTo>
                <a:cubicBezTo>
                  <a:pt x="14055" y="11191"/>
                  <a:pt x="13888" y="11343"/>
                  <a:pt x="13690" y="11454"/>
                </a:cubicBezTo>
                <a:cubicBezTo>
                  <a:pt x="13492" y="11565"/>
                  <a:pt x="13271" y="11641"/>
                  <a:pt x="13026" y="11682"/>
                </a:cubicBezTo>
                <a:cubicBezTo>
                  <a:pt x="12781" y="11723"/>
                  <a:pt x="12529" y="11743"/>
                  <a:pt x="12270" y="11743"/>
                </a:cubicBezTo>
                <a:lnTo>
                  <a:pt x="12270" y="12499"/>
                </a:lnTo>
                <a:lnTo>
                  <a:pt x="14257" y="12499"/>
                </a:lnTo>
                <a:cubicBezTo>
                  <a:pt x="14257" y="12499"/>
                  <a:pt x="14257" y="18151"/>
                  <a:pt x="14257" y="1815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1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9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23" name="Shape 2623"/>
          <p:cNvSpPr/>
          <p:nvPr/>
        </p:nvSpPr>
        <p:spPr>
          <a:xfrm>
            <a:off x="10517648" y="3026335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3255"/>
                </a:moveTo>
                <a:lnTo>
                  <a:pt x="5400" y="13255"/>
                </a:lnTo>
                <a:lnTo>
                  <a:pt x="5400" y="15218"/>
                </a:lnTo>
                <a:lnTo>
                  <a:pt x="7364" y="15218"/>
                </a:lnTo>
                <a:cubicBezTo>
                  <a:pt x="7364" y="15218"/>
                  <a:pt x="7364" y="13255"/>
                  <a:pt x="7364" y="13255"/>
                </a:cubicBezTo>
                <a:close/>
                <a:moveTo>
                  <a:pt x="7364" y="16691"/>
                </a:moveTo>
                <a:lnTo>
                  <a:pt x="5400" y="16691"/>
                </a:lnTo>
                <a:lnTo>
                  <a:pt x="5400" y="18655"/>
                </a:lnTo>
                <a:lnTo>
                  <a:pt x="7364" y="18655"/>
                </a:lnTo>
                <a:cubicBezTo>
                  <a:pt x="7364" y="18655"/>
                  <a:pt x="7364" y="16691"/>
                  <a:pt x="7364" y="16691"/>
                </a:cubicBezTo>
                <a:close/>
                <a:moveTo>
                  <a:pt x="7364" y="9818"/>
                </a:moveTo>
                <a:lnTo>
                  <a:pt x="5400" y="9818"/>
                </a:lnTo>
                <a:lnTo>
                  <a:pt x="5400" y="11782"/>
                </a:lnTo>
                <a:lnTo>
                  <a:pt x="7364" y="11782"/>
                </a:lnTo>
                <a:cubicBezTo>
                  <a:pt x="7364" y="11782"/>
                  <a:pt x="7364" y="9818"/>
                  <a:pt x="7364" y="9818"/>
                </a:cubicBezTo>
                <a:close/>
                <a:moveTo>
                  <a:pt x="4418" y="16691"/>
                </a:moveTo>
                <a:lnTo>
                  <a:pt x="2455" y="16691"/>
                </a:lnTo>
                <a:lnTo>
                  <a:pt x="2455" y="18655"/>
                </a:lnTo>
                <a:lnTo>
                  <a:pt x="4418" y="18655"/>
                </a:lnTo>
                <a:cubicBezTo>
                  <a:pt x="4418" y="18655"/>
                  <a:pt x="4418" y="16691"/>
                  <a:pt x="4418" y="1669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2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8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4418" y="9818"/>
                </a:moveTo>
                <a:lnTo>
                  <a:pt x="2455" y="9818"/>
                </a:lnTo>
                <a:lnTo>
                  <a:pt x="2455" y="11782"/>
                </a:lnTo>
                <a:lnTo>
                  <a:pt x="4418" y="11782"/>
                </a:lnTo>
                <a:cubicBezTo>
                  <a:pt x="4418" y="11782"/>
                  <a:pt x="4418" y="9818"/>
                  <a:pt x="4418" y="9818"/>
                </a:cubicBezTo>
                <a:close/>
                <a:moveTo>
                  <a:pt x="4418" y="13255"/>
                </a:moveTo>
                <a:lnTo>
                  <a:pt x="2455" y="13255"/>
                </a:lnTo>
                <a:lnTo>
                  <a:pt x="2455" y="15218"/>
                </a:lnTo>
                <a:lnTo>
                  <a:pt x="4418" y="15218"/>
                </a:lnTo>
                <a:cubicBezTo>
                  <a:pt x="4418" y="15218"/>
                  <a:pt x="4418" y="13255"/>
                  <a:pt x="4418" y="13255"/>
                </a:cubicBezTo>
                <a:close/>
                <a:moveTo>
                  <a:pt x="10309" y="16691"/>
                </a:moveTo>
                <a:lnTo>
                  <a:pt x="8345" y="16691"/>
                </a:lnTo>
                <a:lnTo>
                  <a:pt x="8345" y="18655"/>
                </a:lnTo>
                <a:lnTo>
                  <a:pt x="10309" y="18655"/>
                </a:lnTo>
                <a:cubicBezTo>
                  <a:pt x="10309" y="18655"/>
                  <a:pt x="10309" y="16691"/>
                  <a:pt x="10309" y="16691"/>
                </a:cubicBezTo>
                <a:close/>
                <a:moveTo>
                  <a:pt x="10309" y="9818"/>
                </a:moveTo>
                <a:lnTo>
                  <a:pt x="8345" y="9818"/>
                </a:lnTo>
                <a:lnTo>
                  <a:pt x="8345" y="11782"/>
                </a:lnTo>
                <a:lnTo>
                  <a:pt x="10309" y="11782"/>
                </a:lnTo>
                <a:cubicBezTo>
                  <a:pt x="10309" y="11782"/>
                  <a:pt x="10309" y="9818"/>
                  <a:pt x="10309" y="9818"/>
                </a:cubicBezTo>
                <a:close/>
                <a:moveTo>
                  <a:pt x="10309" y="13255"/>
                </a:moveTo>
                <a:lnTo>
                  <a:pt x="8345" y="13255"/>
                </a:lnTo>
                <a:lnTo>
                  <a:pt x="8345" y="15218"/>
                </a:lnTo>
                <a:lnTo>
                  <a:pt x="10309" y="15218"/>
                </a:lnTo>
                <a:cubicBezTo>
                  <a:pt x="10309" y="15218"/>
                  <a:pt x="10309" y="13255"/>
                  <a:pt x="10309" y="13255"/>
                </a:cubicBezTo>
                <a:close/>
                <a:moveTo>
                  <a:pt x="19145" y="13255"/>
                </a:moveTo>
                <a:lnTo>
                  <a:pt x="17182" y="13255"/>
                </a:lnTo>
                <a:lnTo>
                  <a:pt x="17182" y="15218"/>
                </a:lnTo>
                <a:lnTo>
                  <a:pt x="19145" y="15218"/>
                </a:lnTo>
                <a:cubicBezTo>
                  <a:pt x="19145" y="15218"/>
                  <a:pt x="19145" y="13255"/>
                  <a:pt x="19145" y="13255"/>
                </a:cubicBezTo>
                <a:close/>
                <a:moveTo>
                  <a:pt x="16200" y="13255"/>
                </a:moveTo>
                <a:lnTo>
                  <a:pt x="14236" y="13255"/>
                </a:lnTo>
                <a:lnTo>
                  <a:pt x="14236" y="15218"/>
                </a:lnTo>
                <a:lnTo>
                  <a:pt x="16200" y="15218"/>
                </a:lnTo>
                <a:cubicBezTo>
                  <a:pt x="16200" y="15218"/>
                  <a:pt x="16200" y="13255"/>
                  <a:pt x="16200" y="13255"/>
                </a:cubicBezTo>
                <a:close/>
                <a:moveTo>
                  <a:pt x="19145" y="9818"/>
                </a:moveTo>
                <a:lnTo>
                  <a:pt x="17182" y="9818"/>
                </a:lnTo>
                <a:lnTo>
                  <a:pt x="17182" y="11782"/>
                </a:lnTo>
                <a:lnTo>
                  <a:pt x="19145" y="11782"/>
                </a:lnTo>
                <a:cubicBezTo>
                  <a:pt x="19145" y="11782"/>
                  <a:pt x="19145" y="9818"/>
                  <a:pt x="19145" y="9818"/>
                </a:cubicBezTo>
                <a:close/>
                <a:moveTo>
                  <a:pt x="16200" y="9818"/>
                </a:moveTo>
                <a:lnTo>
                  <a:pt x="14236" y="9818"/>
                </a:lnTo>
                <a:lnTo>
                  <a:pt x="14236" y="11782"/>
                </a:lnTo>
                <a:lnTo>
                  <a:pt x="16200" y="11782"/>
                </a:lnTo>
                <a:cubicBezTo>
                  <a:pt x="16200" y="11782"/>
                  <a:pt x="16200" y="9818"/>
                  <a:pt x="16200" y="9818"/>
                </a:cubicBezTo>
                <a:close/>
                <a:moveTo>
                  <a:pt x="13255" y="16691"/>
                </a:moveTo>
                <a:lnTo>
                  <a:pt x="11291" y="16691"/>
                </a:lnTo>
                <a:lnTo>
                  <a:pt x="11291" y="18655"/>
                </a:lnTo>
                <a:lnTo>
                  <a:pt x="13255" y="18655"/>
                </a:lnTo>
                <a:cubicBezTo>
                  <a:pt x="13255" y="18655"/>
                  <a:pt x="13255" y="16691"/>
                  <a:pt x="13255" y="16691"/>
                </a:cubicBezTo>
                <a:close/>
                <a:moveTo>
                  <a:pt x="13255" y="9818"/>
                </a:moveTo>
                <a:lnTo>
                  <a:pt x="11291" y="9818"/>
                </a:lnTo>
                <a:lnTo>
                  <a:pt x="11291" y="11782"/>
                </a:lnTo>
                <a:lnTo>
                  <a:pt x="13255" y="11782"/>
                </a:lnTo>
                <a:cubicBezTo>
                  <a:pt x="13255" y="11782"/>
                  <a:pt x="13255" y="9818"/>
                  <a:pt x="13255" y="9818"/>
                </a:cubicBezTo>
                <a:close/>
                <a:moveTo>
                  <a:pt x="13255" y="13255"/>
                </a:moveTo>
                <a:lnTo>
                  <a:pt x="11291" y="13255"/>
                </a:lnTo>
                <a:lnTo>
                  <a:pt x="11291" y="15218"/>
                </a:lnTo>
                <a:lnTo>
                  <a:pt x="13255" y="15218"/>
                </a:lnTo>
                <a:cubicBezTo>
                  <a:pt x="13255" y="15218"/>
                  <a:pt x="13255" y="13255"/>
                  <a:pt x="13255" y="13255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24" name="Shape 2624"/>
          <p:cNvSpPr/>
          <p:nvPr/>
        </p:nvSpPr>
        <p:spPr>
          <a:xfrm>
            <a:off x="11050909" y="3026335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25" name="Shape 2625"/>
          <p:cNvSpPr/>
          <p:nvPr/>
        </p:nvSpPr>
        <p:spPr>
          <a:xfrm>
            <a:off x="6251560" y="3584989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5" y="18796"/>
                  <a:pt x="1048" y="18734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4" y="1873"/>
                </a:lnTo>
                <a:cubicBezTo>
                  <a:pt x="9930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6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4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7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8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0800" y="15600"/>
                </a:moveTo>
                <a:cubicBezTo>
                  <a:pt x="10258" y="15600"/>
                  <a:pt x="9818" y="16138"/>
                  <a:pt x="9818" y="16800"/>
                </a:cubicBezTo>
                <a:cubicBezTo>
                  <a:pt x="9818" y="17462"/>
                  <a:pt x="10258" y="18000"/>
                  <a:pt x="10800" y="18000"/>
                </a:cubicBezTo>
                <a:cubicBezTo>
                  <a:pt x="11342" y="18000"/>
                  <a:pt x="11782" y="17462"/>
                  <a:pt x="11782" y="16800"/>
                </a:cubicBezTo>
                <a:cubicBezTo>
                  <a:pt x="11782" y="16138"/>
                  <a:pt x="11342" y="15600"/>
                  <a:pt x="10800" y="15600"/>
                </a:cubicBezTo>
                <a:moveTo>
                  <a:pt x="10800" y="6000"/>
                </a:moveTo>
                <a:cubicBezTo>
                  <a:pt x="10258" y="6000"/>
                  <a:pt x="9818" y="6538"/>
                  <a:pt x="9818" y="7200"/>
                </a:cubicBezTo>
                <a:lnTo>
                  <a:pt x="10309" y="13800"/>
                </a:lnTo>
                <a:cubicBezTo>
                  <a:pt x="10309" y="14132"/>
                  <a:pt x="10529" y="14400"/>
                  <a:pt x="10800" y="14400"/>
                </a:cubicBezTo>
                <a:cubicBezTo>
                  <a:pt x="11071" y="14400"/>
                  <a:pt x="11291" y="14132"/>
                  <a:pt x="11291" y="13800"/>
                </a:cubicBezTo>
                <a:lnTo>
                  <a:pt x="11782" y="7200"/>
                </a:lnTo>
                <a:cubicBezTo>
                  <a:pt x="11782" y="6538"/>
                  <a:pt x="11342" y="6000"/>
                  <a:pt x="10800" y="60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26" name="Shape 2626"/>
          <p:cNvSpPr/>
          <p:nvPr/>
        </p:nvSpPr>
        <p:spPr>
          <a:xfrm>
            <a:off x="6810214" y="3559596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22" y="18655"/>
                </a:moveTo>
                <a:cubicBezTo>
                  <a:pt x="7553" y="18644"/>
                  <a:pt x="7811" y="18417"/>
                  <a:pt x="7799" y="18146"/>
                </a:cubicBezTo>
                <a:lnTo>
                  <a:pt x="6916" y="6377"/>
                </a:lnTo>
                <a:cubicBezTo>
                  <a:pt x="6904" y="6106"/>
                  <a:pt x="6626" y="5895"/>
                  <a:pt x="6295" y="5904"/>
                </a:cubicBezTo>
                <a:cubicBezTo>
                  <a:pt x="5963" y="5915"/>
                  <a:pt x="5705" y="6142"/>
                  <a:pt x="5717" y="6413"/>
                </a:cubicBezTo>
                <a:lnTo>
                  <a:pt x="6601" y="18182"/>
                </a:lnTo>
                <a:cubicBezTo>
                  <a:pt x="6613" y="18453"/>
                  <a:pt x="6891" y="18664"/>
                  <a:pt x="7222" y="18655"/>
                </a:cubicBezTo>
                <a:moveTo>
                  <a:pt x="17400" y="19636"/>
                </a:moveTo>
                <a:cubicBezTo>
                  <a:pt x="17319" y="20154"/>
                  <a:pt x="16862" y="20618"/>
                  <a:pt x="16200" y="20618"/>
                </a:cubicBezTo>
                <a:lnTo>
                  <a:pt x="5400" y="20618"/>
                </a:lnTo>
                <a:cubicBezTo>
                  <a:pt x="4737" y="20618"/>
                  <a:pt x="4291" y="20160"/>
                  <a:pt x="4200" y="19636"/>
                </a:cubicBezTo>
                <a:lnTo>
                  <a:pt x="3000" y="3927"/>
                </a:lnTo>
                <a:lnTo>
                  <a:pt x="18600" y="3927"/>
                </a:lnTo>
                <a:cubicBezTo>
                  <a:pt x="18600" y="3927"/>
                  <a:pt x="17400" y="19636"/>
                  <a:pt x="17400" y="19636"/>
                </a:cubicBezTo>
                <a:close/>
                <a:moveTo>
                  <a:pt x="7800" y="983"/>
                </a:moveTo>
                <a:lnTo>
                  <a:pt x="13800" y="983"/>
                </a:lnTo>
                <a:lnTo>
                  <a:pt x="13800" y="2945"/>
                </a:lnTo>
                <a:lnTo>
                  <a:pt x="7800" y="2945"/>
                </a:lnTo>
                <a:cubicBezTo>
                  <a:pt x="7800" y="2945"/>
                  <a:pt x="7800" y="983"/>
                  <a:pt x="7800" y="983"/>
                </a:cubicBezTo>
                <a:close/>
                <a:moveTo>
                  <a:pt x="21000" y="2945"/>
                </a:moveTo>
                <a:lnTo>
                  <a:pt x="15000" y="2945"/>
                </a:lnTo>
                <a:lnTo>
                  <a:pt x="15000" y="983"/>
                </a:lnTo>
                <a:cubicBezTo>
                  <a:pt x="15000" y="440"/>
                  <a:pt x="14462" y="0"/>
                  <a:pt x="13800" y="0"/>
                </a:cubicBezTo>
                <a:lnTo>
                  <a:pt x="7800" y="0"/>
                </a:lnTo>
                <a:cubicBezTo>
                  <a:pt x="7137" y="0"/>
                  <a:pt x="6600" y="440"/>
                  <a:pt x="6600" y="983"/>
                </a:cubicBezTo>
                <a:lnTo>
                  <a:pt x="6600" y="2945"/>
                </a:lnTo>
                <a:lnTo>
                  <a:pt x="600" y="2945"/>
                </a:lnTo>
                <a:cubicBezTo>
                  <a:pt x="269" y="2945"/>
                  <a:pt x="0" y="3166"/>
                  <a:pt x="0" y="3437"/>
                </a:cubicBezTo>
                <a:cubicBezTo>
                  <a:pt x="0" y="3708"/>
                  <a:pt x="269" y="3927"/>
                  <a:pt x="600" y="3927"/>
                </a:cubicBezTo>
                <a:lnTo>
                  <a:pt x="1800" y="3927"/>
                </a:lnTo>
                <a:lnTo>
                  <a:pt x="3000" y="19636"/>
                </a:lnTo>
                <a:cubicBezTo>
                  <a:pt x="3193" y="20711"/>
                  <a:pt x="4075" y="21600"/>
                  <a:pt x="5400" y="21600"/>
                </a:cubicBezTo>
                <a:lnTo>
                  <a:pt x="16200" y="21600"/>
                </a:lnTo>
                <a:cubicBezTo>
                  <a:pt x="17525" y="21600"/>
                  <a:pt x="18374" y="20700"/>
                  <a:pt x="18600" y="19636"/>
                </a:cubicBezTo>
                <a:lnTo>
                  <a:pt x="19800" y="3927"/>
                </a:lnTo>
                <a:lnTo>
                  <a:pt x="21000" y="3927"/>
                </a:lnTo>
                <a:cubicBezTo>
                  <a:pt x="21331" y="3927"/>
                  <a:pt x="21600" y="3708"/>
                  <a:pt x="21600" y="3437"/>
                </a:cubicBezTo>
                <a:cubicBezTo>
                  <a:pt x="21600" y="3166"/>
                  <a:pt x="21331" y="2945"/>
                  <a:pt x="21000" y="2945"/>
                </a:cubicBezTo>
                <a:moveTo>
                  <a:pt x="14380" y="18654"/>
                </a:moveTo>
                <a:cubicBezTo>
                  <a:pt x="14711" y="18664"/>
                  <a:pt x="14989" y="18452"/>
                  <a:pt x="15001" y="18181"/>
                </a:cubicBezTo>
                <a:lnTo>
                  <a:pt x="15871" y="6413"/>
                </a:lnTo>
                <a:cubicBezTo>
                  <a:pt x="15883" y="6142"/>
                  <a:pt x="15625" y="5914"/>
                  <a:pt x="15294" y="5904"/>
                </a:cubicBezTo>
                <a:cubicBezTo>
                  <a:pt x="14962" y="5895"/>
                  <a:pt x="14684" y="6106"/>
                  <a:pt x="14672" y="6377"/>
                </a:cubicBezTo>
                <a:lnTo>
                  <a:pt x="13802" y="18146"/>
                </a:lnTo>
                <a:cubicBezTo>
                  <a:pt x="13790" y="18417"/>
                  <a:pt x="14049" y="18644"/>
                  <a:pt x="14380" y="18654"/>
                </a:cubicBezTo>
                <a:moveTo>
                  <a:pt x="10800" y="18655"/>
                </a:moveTo>
                <a:cubicBezTo>
                  <a:pt x="11131" y="18655"/>
                  <a:pt x="11400" y="18435"/>
                  <a:pt x="11400" y="18164"/>
                </a:cubicBezTo>
                <a:lnTo>
                  <a:pt x="11400" y="6382"/>
                </a:lnTo>
                <a:cubicBezTo>
                  <a:pt x="11400" y="6110"/>
                  <a:pt x="11131" y="5891"/>
                  <a:pt x="10800" y="5891"/>
                </a:cubicBezTo>
                <a:cubicBezTo>
                  <a:pt x="10469" y="5891"/>
                  <a:pt x="10200" y="6110"/>
                  <a:pt x="10200" y="6382"/>
                </a:cubicBezTo>
                <a:lnTo>
                  <a:pt x="10200" y="18164"/>
                </a:lnTo>
                <a:cubicBezTo>
                  <a:pt x="10200" y="18435"/>
                  <a:pt x="10469" y="18655"/>
                  <a:pt x="10800" y="1865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27" name="Shape 2627"/>
          <p:cNvSpPr/>
          <p:nvPr/>
        </p:nvSpPr>
        <p:spPr>
          <a:xfrm>
            <a:off x="7362520" y="3559596"/>
            <a:ext cx="19045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720" y="19636"/>
                </a:moveTo>
                <a:cubicBezTo>
                  <a:pt x="18623" y="20154"/>
                  <a:pt x="18075" y="20618"/>
                  <a:pt x="17280" y="20618"/>
                </a:cubicBezTo>
                <a:lnTo>
                  <a:pt x="4320" y="20618"/>
                </a:lnTo>
                <a:cubicBezTo>
                  <a:pt x="3525" y="20618"/>
                  <a:pt x="2989" y="20160"/>
                  <a:pt x="2880" y="19636"/>
                </a:cubicBezTo>
                <a:lnTo>
                  <a:pt x="1483" y="3927"/>
                </a:lnTo>
                <a:lnTo>
                  <a:pt x="20117" y="3927"/>
                </a:lnTo>
                <a:cubicBezTo>
                  <a:pt x="20117" y="3927"/>
                  <a:pt x="18720" y="19636"/>
                  <a:pt x="18720" y="19636"/>
                </a:cubicBezTo>
                <a:close/>
                <a:moveTo>
                  <a:pt x="4529" y="2227"/>
                </a:moveTo>
                <a:cubicBezTo>
                  <a:pt x="4971" y="2122"/>
                  <a:pt x="5311" y="1878"/>
                  <a:pt x="5440" y="1571"/>
                </a:cubicBezTo>
                <a:cubicBezTo>
                  <a:pt x="5563" y="1278"/>
                  <a:pt x="6084" y="982"/>
                  <a:pt x="6840" y="982"/>
                </a:cubicBezTo>
                <a:cubicBezTo>
                  <a:pt x="7596" y="982"/>
                  <a:pt x="8117" y="1094"/>
                  <a:pt x="8240" y="1387"/>
                </a:cubicBezTo>
                <a:cubicBezTo>
                  <a:pt x="8286" y="1495"/>
                  <a:pt x="8358" y="1598"/>
                  <a:pt x="8454" y="1688"/>
                </a:cubicBezTo>
                <a:cubicBezTo>
                  <a:pt x="8957" y="2167"/>
                  <a:pt x="9732" y="2442"/>
                  <a:pt x="10577" y="2442"/>
                </a:cubicBezTo>
                <a:cubicBezTo>
                  <a:pt x="11235" y="2442"/>
                  <a:pt x="11854" y="2268"/>
                  <a:pt x="12300" y="1947"/>
                </a:cubicBezTo>
                <a:cubicBezTo>
                  <a:pt x="12697" y="1647"/>
                  <a:pt x="13446" y="1473"/>
                  <a:pt x="14760" y="1473"/>
                </a:cubicBezTo>
                <a:cubicBezTo>
                  <a:pt x="16059" y="1473"/>
                  <a:pt x="16752" y="1940"/>
                  <a:pt x="16920" y="2209"/>
                </a:cubicBezTo>
                <a:cubicBezTo>
                  <a:pt x="17107" y="2509"/>
                  <a:pt x="17391" y="2750"/>
                  <a:pt x="17688" y="2945"/>
                </a:cubicBezTo>
                <a:lnTo>
                  <a:pt x="2830" y="2945"/>
                </a:lnTo>
                <a:cubicBezTo>
                  <a:pt x="3170" y="2668"/>
                  <a:pt x="3770" y="2408"/>
                  <a:pt x="4529" y="2227"/>
                </a:cubicBezTo>
                <a:moveTo>
                  <a:pt x="20880" y="2945"/>
                </a:moveTo>
                <a:lnTo>
                  <a:pt x="19676" y="2945"/>
                </a:lnTo>
                <a:cubicBezTo>
                  <a:pt x="19217" y="2693"/>
                  <a:pt x="18780" y="2403"/>
                  <a:pt x="18405" y="1964"/>
                </a:cubicBezTo>
                <a:cubicBezTo>
                  <a:pt x="17787" y="1241"/>
                  <a:pt x="16749" y="491"/>
                  <a:pt x="14760" y="491"/>
                </a:cubicBezTo>
                <a:cubicBezTo>
                  <a:pt x="13012" y="491"/>
                  <a:pt x="11880" y="798"/>
                  <a:pt x="11231" y="1289"/>
                </a:cubicBezTo>
                <a:cubicBezTo>
                  <a:pt x="11081" y="1397"/>
                  <a:pt x="10839" y="1461"/>
                  <a:pt x="10577" y="1461"/>
                </a:cubicBezTo>
                <a:cubicBezTo>
                  <a:pt x="10245" y="1461"/>
                  <a:pt x="9879" y="1359"/>
                  <a:pt x="9624" y="1116"/>
                </a:cubicBezTo>
                <a:cubicBezTo>
                  <a:pt x="9310" y="370"/>
                  <a:pt x="8188" y="0"/>
                  <a:pt x="6840" y="0"/>
                </a:cubicBezTo>
                <a:cubicBezTo>
                  <a:pt x="5492" y="0"/>
                  <a:pt x="4370" y="554"/>
                  <a:pt x="4056" y="1300"/>
                </a:cubicBezTo>
                <a:cubicBezTo>
                  <a:pt x="2613" y="1643"/>
                  <a:pt x="1555" y="2238"/>
                  <a:pt x="1211" y="2945"/>
                </a:cubicBezTo>
                <a:lnTo>
                  <a:pt x="720" y="2945"/>
                </a:lnTo>
                <a:cubicBezTo>
                  <a:pt x="323" y="2945"/>
                  <a:pt x="0" y="3165"/>
                  <a:pt x="0" y="3436"/>
                </a:cubicBezTo>
                <a:lnTo>
                  <a:pt x="0" y="3437"/>
                </a:lnTo>
                <a:lnTo>
                  <a:pt x="1440" y="19636"/>
                </a:lnTo>
                <a:cubicBezTo>
                  <a:pt x="1672" y="20711"/>
                  <a:pt x="2730" y="21600"/>
                  <a:pt x="4320" y="21600"/>
                </a:cubicBezTo>
                <a:lnTo>
                  <a:pt x="17280" y="21600"/>
                </a:lnTo>
                <a:cubicBezTo>
                  <a:pt x="18870" y="21600"/>
                  <a:pt x="19890" y="20700"/>
                  <a:pt x="20160" y="19636"/>
                </a:cubicBezTo>
                <a:lnTo>
                  <a:pt x="21600" y="3437"/>
                </a:lnTo>
                <a:lnTo>
                  <a:pt x="21600" y="3436"/>
                </a:lnTo>
                <a:cubicBezTo>
                  <a:pt x="21600" y="3165"/>
                  <a:pt x="21277" y="2945"/>
                  <a:pt x="20880" y="2945"/>
                </a:cubicBezTo>
                <a:moveTo>
                  <a:pt x="6507" y="18655"/>
                </a:moveTo>
                <a:cubicBezTo>
                  <a:pt x="6904" y="18644"/>
                  <a:pt x="7214" y="18417"/>
                  <a:pt x="7200" y="18146"/>
                </a:cubicBezTo>
                <a:lnTo>
                  <a:pt x="6139" y="6377"/>
                </a:lnTo>
                <a:cubicBezTo>
                  <a:pt x="6125" y="6106"/>
                  <a:pt x="5791" y="5895"/>
                  <a:pt x="5394" y="5904"/>
                </a:cubicBezTo>
                <a:cubicBezTo>
                  <a:pt x="4996" y="5915"/>
                  <a:pt x="4686" y="6142"/>
                  <a:pt x="4700" y="6413"/>
                </a:cubicBezTo>
                <a:lnTo>
                  <a:pt x="5761" y="18182"/>
                </a:lnTo>
                <a:cubicBezTo>
                  <a:pt x="5775" y="18453"/>
                  <a:pt x="6109" y="18664"/>
                  <a:pt x="6507" y="18655"/>
                </a:cubicBezTo>
                <a:moveTo>
                  <a:pt x="10800" y="18655"/>
                </a:moveTo>
                <a:cubicBezTo>
                  <a:pt x="11197" y="18655"/>
                  <a:pt x="11520" y="18435"/>
                  <a:pt x="11520" y="18164"/>
                </a:cubicBezTo>
                <a:lnTo>
                  <a:pt x="11520" y="6382"/>
                </a:lnTo>
                <a:cubicBezTo>
                  <a:pt x="11520" y="6110"/>
                  <a:pt x="11197" y="5891"/>
                  <a:pt x="10800" y="5891"/>
                </a:cubicBezTo>
                <a:cubicBezTo>
                  <a:pt x="10403" y="5891"/>
                  <a:pt x="10080" y="6110"/>
                  <a:pt x="10080" y="6382"/>
                </a:cubicBezTo>
                <a:lnTo>
                  <a:pt x="10080" y="18164"/>
                </a:lnTo>
                <a:cubicBezTo>
                  <a:pt x="10080" y="18435"/>
                  <a:pt x="10403" y="18655"/>
                  <a:pt x="10800" y="18655"/>
                </a:cubicBezTo>
                <a:moveTo>
                  <a:pt x="15095" y="18654"/>
                </a:moveTo>
                <a:cubicBezTo>
                  <a:pt x="15494" y="18664"/>
                  <a:pt x="15827" y="18452"/>
                  <a:pt x="15841" y="18181"/>
                </a:cubicBezTo>
                <a:lnTo>
                  <a:pt x="16886" y="6413"/>
                </a:lnTo>
                <a:cubicBezTo>
                  <a:pt x="16900" y="6142"/>
                  <a:pt x="16590" y="5914"/>
                  <a:pt x="16192" y="5904"/>
                </a:cubicBezTo>
                <a:cubicBezTo>
                  <a:pt x="15795" y="5895"/>
                  <a:pt x="15461" y="6106"/>
                  <a:pt x="15447" y="6377"/>
                </a:cubicBezTo>
                <a:lnTo>
                  <a:pt x="14402" y="18146"/>
                </a:lnTo>
                <a:cubicBezTo>
                  <a:pt x="14388" y="18417"/>
                  <a:pt x="14699" y="18644"/>
                  <a:pt x="15095" y="18654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28" name="Shape 2628"/>
          <p:cNvSpPr/>
          <p:nvPr/>
        </p:nvSpPr>
        <p:spPr>
          <a:xfrm>
            <a:off x="7851343" y="355959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29" name="Shape 2629"/>
          <p:cNvSpPr/>
          <p:nvPr/>
        </p:nvSpPr>
        <p:spPr>
          <a:xfrm>
            <a:off x="8384604" y="3559596"/>
            <a:ext cx="279405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1" y="20618"/>
                </a:moveTo>
                <a:cubicBezTo>
                  <a:pt x="15826" y="20618"/>
                  <a:pt x="15226" y="20482"/>
                  <a:pt x="14660" y="20214"/>
                </a:cubicBezTo>
                <a:cubicBezTo>
                  <a:pt x="14607" y="20189"/>
                  <a:pt x="14552" y="20170"/>
                  <a:pt x="14497" y="20155"/>
                </a:cubicBezTo>
                <a:cubicBezTo>
                  <a:pt x="8918" y="17308"/>
                  <a:pt x="4295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7" y="6369"/>
                  <a:pt x="982" y="5770"/>
                  <a:pt x="982" y="5155"/>
                </a:cubicBezTo>
                <a:cubicBezTo>
                  <a:pt x="982" y="2774"/>
                  <a:pt x="3066" y="982"/>
                  <a:pt x="4417" y="982"/>
                </a:cubicBezTo>
                <a:cubicBezTo>
                  <a:pt x="4594" y="982"/>
                  <a:pt x="4711" y="1072"/>
                  <a:pt x="4764" y="1126"/>
                </a:cubicBezTo>
                <a:cubicBezTo>
                  <a:pt x="4776" y="1139"/>
                  <a:pt x="4798" y="1164"/>
                  <a:pt x="4831" y="1216"/>
                </a:cubicBezTo>
                <a:cubicBezTo>
                  <a:pt x="4848" y="1244"/>
                  <a:pt x="4867" y="1271"/>
                  <a:pt x="4887" y="1297"/>
                </a:cubicBezTo>
                <a:lnTo>
                  <a:pt x="8118" y="5453"/>
                </a:lnTo>
                <a:cubicBezTo>
                  <a:pt x="8143" y="5485"/>
                  <a:pt x="8170" y="5515"/>
                  <a:pt x="8199" y="5544"/>
                </a:cubicBezTo>
                <a:cubicBezTo>
                  <a:pt x="8253" y="5598"/>
                  <a:pt x="8343" y="5715"/>
                  <a:pt x="8343" y="5891"/>
                </a:cubicBezTo>
                <a:cubicBezTo>
                  <a:pt x="8343" y="5978"/>
                  <a:pt x="8319" y="6060"/>
                  <a:pt x="8272" y="6135"/>
                </a:cubicBezTo>
                <a:lnTo>
                  <a:pt x="7178" y="7221"/>
                </a:lnTo>
                <a:cubicBezTo>
                  <a:pt x="7173" y="7226"/>
                  <a:pt x="7168" y="7231"/>
                  <a:pt x="7163" y="7236"/>
                </a:cubicBezTo>
                <a:cubicBezTo>
                  <a:pt x="6767" y="7609"/>
                  <a:pt x="6541" y="8126"/>
                  <a:pt x="6541" y="8668"/>
                </a:cubicBezTo>
                <a:cubicBezTo>
                  <a:pt x="6541" y="9175"/>
                  <a:pt x="6738" y="9658"/>
                  <a:pt x="7080" y="10020"/>
                </a:cubicBezTo>
                <a:cubicBezTo>
                  <a:pt x="7092" y="10040"/>
                  <a:pt x="7105" y="10059"/>
                  <a:pt x="7119" y="10078"/>
                </a:cubicBezTo>
                <a:cubicBezTo>
                  <a:pt x="8325" y="11745"/>
                  <a:pt x="9807" y="13222"/>
                  <a:pt x="11525" y="14469"/>
                </a:cubicBezTo>
                <a:cubicBezTo>
                  <a:pt x="11538" y="14478"/>
                  <a:pt x="11551" y="14487"/>
                  <a:pt x="11565" y="14496"/>
                </a:cubicBezTo>
                <a:cubicBezTo>
                  <a:pt x="11928" y="14844"/>
                  <a:pt x="12414" y="15045"/>
                  <a:pt x="12924" y="15045"/>
                </a:cubicBezTo>
                <a:cubicBezTo>
                  <a:pt x="13436" y="15045"/>
                  <a:pt x="13930" y="14840"/>
                  <a:pt x="14297" y="14479"/>
                </a:cubicBezTo>
                <a:cubicBezTo>
                  <a:pt x="14316" y="14463"/>
                  <a:pt x="14335" y="14446"/>
                  <a:pt x="14352" y="14427"/>
                </a:cubicBezTo>
                <a:lnTo>
                  <a:pt x="15451" y="13320"/>
                </a:lnTo>
                <a:cubicBezTo>
                  <a:pt x="15529" y="13271"/>
                  <a:pt x="15611" y="13247"/>
                  <a:pt x="15697" y="13247"/>
                </a:cubicBezTo>
                <a:cubicBezTo>
                  <a:pt x="15874" y="13247"/>
                  <a:pt x="15990" y="13337"/>
                  <a:pt x="16044" y="13391"/>
                </a:cubicBezTo>
                <a:cubicBezTo>
                  <a:pt x="16073" y="13420"/>
                  <a:pt x="16103" y="13447"/>
                  <a:pt x="16135" y="13472"/>
                </a:cubicBezTo>
                <a:lnTo>
                  <a:pt x="20291" y="16704"/>
                </a:lnTo>
                <a:cubicBezTo>
                  <a:pt x="20317" y="16725"/>
                  <a:pt x="20345" y="16744"/>
                  <a:pt x="20374" y="16762"/>
                </a:cubicBezTo>
                <a:cubicBezTo>
                  <a:pt x="20426" y="16795"/>
                  <a:pt x="20449" y="16816"/>
                  <a:pt x="20461" y="16827"/>
                </a:cubicBezTo>
                <a:cubicBezTo>
                  <a:pt x="20515" y="16881"/>
                  <a:pt x="20605" y="16997"/>
                  <a:pt x="20605" y="17174"/>
                </a:cubicBezTo>
                <a:cubicBezTo>
                  <a:pt x="20605" y="17207"/>
                  <a:pt x="20606" y="17240"/>
                  <a:pt x="20610" y="17273"/>
                </a:cubicBezTo>
                <a:cubicBezTo>
                  <a:pt x="20533" y="18625"/>
                  <a:pt x="18769" y="20618"/>
                  <a:pt x="16441" y="20618"/>
                </a:cubicBezTo>
                <a:moveTo>
                  <a:pt x="21586" y="17174"/>
                </a:moveTo>
                <a:cubicBezTo>
                  <a:pt x="21586" y="16768"/>
                  <a:pt x="21421" y="16399"/>
                  <a:pt x="21155" y="16133"/>
                </a:cubicBezTo>
                <a:cubicBezTo>
                  <a:pt x="21077" y="16054"/>
                  <a:pt x="20988" y="15988"/>
                  <a:pt x="20893" y="15929"/>
                </a:cubicBezTo>
                <a:lnTo>
                  <a:pt x="16738" y="12697"/>
                </a:lnTo>
                <a:cubicBezTo>
                  <a:pt x="16471" y="12430"/>
                  <a:pt x="16104" y="12265"/>
                  <a:pt x="15697" y="12265"/>
                </a:cubicBezTo>
                <a:cubicBezTo>
                  <a:pt x="15364" y="12265"/>
                  <a:pt x="15060" y="12380"/>
                  <a:pt x="14815" y="12567"/>
                </a:cubicBezTo>
                <a:lnTo>
                  <a:pt x="13655" y="13736"/>
                </a:lnTo>
                <a:lnTo>
                  <a:pt x="13652" y="13733"/>
                </a:lnTo>
                <a:cubicBezTo>
                  <a:pt x="13473" y="13934"/>
                  <a:pt x="13214" y="14063"/>
                  <a:pt x="12924" y="14063"/>
                </a:cubicBezTo>
                <a:cubicBezTo>
                  <a:pt x="12592" y="14063"/>
                  <a:pt x="12300" y="13897"/>
                  <a:pt x="12122" y="13645"/>
                </a:cubicBezTo>
                <a:cubicBezTo>
                  <a:pt x="12116" y="13654"/>
                  <a:pt x="12107" y="13663"/>
                  <a:pt x="12101" y="13674"/>
                </a:cubicBezTo>
                <a:cubicBezTo>
                  <a:pt x="10497" y="12510"/>
                  <a:pt x="9076" y="11108"/>
                  <a:pt x="7914" y="9502"/>
                </a:cubicBezTo>
                <a:cubicBezTo>
                  <a:pt x="7925" y="9495"/>
                  <a:pt x="7935" y="9486"/>
                  <a:pt x="7947" y="9479"/>
                </a:cubicBezTo>
                <a:cubicBezTo>
                  <a:pt x="7691" y="9299"/>
                  <a:pt x="7523" y="9004"/>
                  <a:pt x="7523" y="8668"/>
                </a:cubicBezTo>
                <a:cubicBezTo>
                  <a:pt x="7523" y="8367"/>
                  <a:pt x="7659" y="8101"/>
                  <a:pt x="7871" y="7920"/>
                </a:cubicBezTo>
                <a:lnTo>
                  <a:pt x="7870" y="7918"/>
                </a:lnTo>
                <a:lnTo>
                  <a:pt x="9023" y="6773"/>
                </a:lnTo>
                <a:cubicBezTo>
                  <a:pt x="9211" y="6528"/>
                  <a:pt x="9325" y="6224"/>
                  <a:pt x="9325" y="5891"/>
                </a:cubicBezTo>
                <a:cubicBezTo>
                  <a:pt x="9325" y="5485"/>
                  <a:pt x="9160" y="5116"/>
                  <a:pt x="8893" y="4850"/>
                </a:cubicBezTo>
                <a:lnTo>
                  <a:pt x="5662" y="693"/>
                </a:lnTo>
                <a:cubicBezTo>
                  <a:pt x="5603" y="599"/>
                  <a:pt x="5537" y="510"/>
                  <a:pt x="5458" y="432"/>
                </a:cubicBezTo>
                <a:cubicBezTo>
                  <a:pt x="5191" y="165"/>
                  <a:pt x="4823" y="0"/>
                  <a:pt x="4417" y="0"/>
                </a:cubicBezTo>
                <a:cubicBezTo>
                  <a:pt x="2454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2" y="7373"/>
                </a:lnTo>
                <a:cubicBezTo>
                  <a:pt x="3435" y="13255"/>
                  <a:pt x="8343" y="18164"/>
                  <a:pt x="14224" y="21117"/>
                </a:cubicBezTo>
                <a:lnTo>
                  <a:pt x="14240" y="21101"/>
                </a:lnTo>
                <a:cubicBezTo>
                  <a:pt x="14908" y="21418"/>
                  <a:pt x="15652" y="21600"/>
                  <a:pt x="16441" y="21600"/>
                </a:cubicBezTo>
                <a:cubicBezTo>
                  <a:pt x="19287" y="21600"/>
                  <a:pt x="21594" y="19145"/>
                  <a:pt x="21594" y="17182"/>
                </a:cubicBezTo>
                <a:cubicBezTo>
                  <a:pt x="21594" y="17179"/>
                  <a:pt x="21594" y="17177"/>
                  <a:pt x="21594" y="17174"/>
                </a:cubicBezTo>
                <a:cubicBezTo>
                  <a:pt x="21594" y="17174"/>
                  <a:pt x="21586" y="17174"/>
                  <a:pt x="21586" y="17174"/>
                </a:cubicBezTo>
                <a:close/>
                <a:moveTo>
                  <a:pt x="11785" y="10800"/>
                </a:moveTo>
                <a:cubicBezTo>
                  <a:pt x="12326" y="10800"/>
                  <a:pt x="12766" y="10360"/>
                  <a:pt x="12766" y="9819"/>
                </a:cubicBezTo>
                <a:cubicBezTo>
                  <a:pt x="12766" y="9276"/>
                  <a:pt x="12326" y="8836"/>
                  <a:pt x="11785" y="8836"/>
                </a:cubicBezTo>
                <a:cubicBezTo>
                  <a:pt x="11242" y="8836"/>
                  <a:pt x="10803" y="9276"/>
                  <a:pt x="10803" y="9819"/>
                </a:cubicBezTo>
                <a:cubicBezTo>
                  <a:pt x="10803" y="10360"/>
                  <a:pt x="11242" y="10800"/>
                  <a:pt x="11785" y="10800"/>
                </a:cubicBezTo>
                <a:moveTo>
                  <a:pt x="11785" y="5891"/>
                </a:moveTo>
                <a:cubicBezTo>
                  <a:pt x="13953" y="5891"/>
                  <a:pt x="15711" y="7649"/>
                  <a:pt x="15711" y="9819"/>
                </a:cubicBezTo>
                <a:cubicBezTo>
                  <a:pt x="15711" y="10090"/>
                  <a:pt x="15930" y="10309"/>
                  <a:pt x="16201" y="10309"/>
                </a:cubicBezTo>
                <a:cubicBezTo>
                  <a:pt x="16472" y="10309"/>
                  <a:pt x="16692" y="10090"/>
                  <a:pt x="16692" y="9819"/>
                </a:cubicBezTo>
                <a:cubicBezTo>
                  <a:pt x="16692" y="7107"/>
                  <a:pt x="14495" y="4909"/>
                  <a:pt x="11785" y="4909"/>
                </a:cubicBezTo>
                <a:cubicBezTo>
                  <a:pt x="11513" y="4909"/>
                  <a:pt x="11294" y="5129"/>
                  <a:pt x="11294" y="5400"/>
                </a:cubicBezTo>
                <a:cubicBezTo>
                  <a:pt x="11294" y="5672"/>
                  <a:pt x="11513" y="5891"/>
                  <a:pt x="11785" y="5891"/>
                </a:cubicBezTo>
                <a:moveTo>
                  <a:pt x="11785" y="982"/>
                </a:moveTo>
                <a:cubicBezTo>
                  <a:pt x="16663" y="982"/>
                  <a:pt x="20618" y="4939"/>
                  <a:pt x="20618" y="9819"/>
                </a:cubicBezTo>
                <a:cubicBezTo>
                  <a:pt x="20618" y="10090"/>
                  <a:pt x="20838" y="10309"/>
                  <a:pt x="21109" y="10309"/>
                </a:cubicBezTo>
                <a:cubicBezTo>
                  <a:pt x="21380" y="10309"/>
                  <a:pt x="21600" y="10090"/>
                  <a:pt x="21600" y="9819"/>
                </a:cubicBezTo>
                <a:cubicBezTo>
                  <a:pt x="21600" y="4396"/>
                  <a:pt x="17206" y="0"/>
                  <a:pt x="11785" y="0"/>
                </a:cubicBezTo>
                <a:cubicBezTo>
                  <a:pt x="11513" y="0"/>
                  <a:pt x="11294" y="220"/>
                  <a:pt x="11294" y="491"/>
                </a:cubicBezTo>
                <a:cubicBezTo>
                  <a:pt x="11294" y="762"/>
                  <a:pt x="11513" y="982"/>
                  <a:pt x="11785" y="982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30" name="Shape 2630"/>
          <p:cNvSpPr/>
          <p:nvPr/>
        </p:nvSpPr>
        <p:spPr>
          <a:xfrm>
            <a:off x="8981348" y="3559596"/>
            <a:ext cx="15236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07" y="18651"/>
                </a:moveTo>
                <a:lnTo>
                  <a:pt x="10795" y="12327"/>
                </a:lnTo>
                <a:lnTo>
                  <a:pt x="10781" y="12326"/>
                </a:lnTo>
                <a:cubicBezTo>
                  <a:pt x="10785" y="12307"/>
                  <a:pt x="10800" y="12292"/>
                  <a:pt x="10800" y="12273"/>
                </a:cubicBezTo>
                <a:cubicBezTo>
                  <a:pt x="10800" y="12001"/>
                  <a:pt x="10398" y="11782"/>
                  <a:pt x="9900" y="11782"/>
                </a:cubicBezTo>
                <a:lnTo>
                  <a:pt x="2149" y="11782"/>
                </a:lnTo>
                <a:lnTo>
                  <a:pt x="8749" y="982"/>
                </a:lnTo>
                <a:lnTo>
                  <a:pt x="15850" y="982"/>
                </a:lnTo>
                <a:lnTo>
                  <a:pt x="11436" y="8190"/>
                </a:lnTo>
                <a:lnTo>
                  <a:pt x="11447" y="8192"/>
                </a:lnTo>
                <a:cubicBezTo>
                  <a:pt x="11417" y="8241"/>
                  <a:pt x="11391" y="8291"/>
                  <a:pt x="11391" y="8345"/>
                </a:cubicBezTo>
                <a:cubicBezTo>
                  <a:pt x="11391" y="8617"/>
                  <a:pt x="11794" y="8836"/>
                  <a:pt x="12291" y="8836"/>
                </a:cubicBezTo>
                <a:lnTo>
                  <a:pt x="19195" y="8836"/>
                </a:lnTo>
                <a:cubicBezTo>
                  <a:pt x="19195" y="8836"/>
                  <a:pt x="9507" y="18651"/>
                  <a:pt x="9507" y="18651"/>
                </a:cubicBezTo>
                <a:close/>
                <a:moveTo>
                  <a:pt x="21600" y="8345"/>
                </a:moveTo>
                <a:cubicBezTo>
                  <a:pt x="21600" y="8074"/>
                  <a:pt x="21197" y="7855"/>
                  <a:pt x="20700" y="7855"/>
                </a:cubicBezTo>
                <a:lnTo>
                  <a:pt x="13541" y="7855"/>
                </a:lnTo>
                <a:lnTo>
                  <a:pt x="17954" y="646"/>
                </a:lnTo>
                <a:lnTo>
                  <a:pt x="17944" y="644"/>
                </a:lnTo>
                <a:cubicBezTo>
                  <a:pt x="17974" y="595"/>
                  <a:pt x="18000" y="545"/>
                  <a:pt x="18000" y="491"/>
                </a:cubicBezTo>
                <a:cubicBezTo>
                  <a:pt x="18000" y="220"/>
                  <a:pt x="17598" y="0"/>
                  <a:pt x="17100" y="0"/>
                </a:cubicBezTo>
                <a:lnTo>
                  <a:pt x="8101" y="0"/>
                </a:lnTo>
                <a:cubicBezTo>
                  <a:pt x="7703" y="0"/>
                  <a:pt x="7376" y="143"/>
                  <a:pt x="7257" y="337"/>
                </a:cubicBezTo>
                <a:lnTo>
                  <a:pt x="7246" y="335"/>
                </a:lnTo>
                <a:lnTo>
                  <a:pt x="47" y="12117"/>
                </a:lnTo>
                <a:lnTo>
                  <a:pt x="57" y="12120"/>
                </a:lnTo>
                <a:cubicBezTo>
                  <a:pt x="27" y="12168"/>
                  <a:pt x="0" y="12218"/>
                  <a:pt x="0" y="12273"/>
                </a:cubicBezTo>
                <a:cubicBezTo>
                  <a:pt x="0" y="12544"/>
                  <a:pt x="403" y="12764"/>
                  <a:pt x="900" y="12764"/>
                </a:cubicBezTo>
                <a:lnTo>
                  <a:pt x="8895" y="12764"/>
                </a:lnTo>
                <a:lnTo>
                  <a:pt x="7206" y="21055"/>
                </a:lnTo>
                <a:lnTo>
                  <a:pt x="7220" y="21056"/>
                </a:lnTo>
                <a:cubicBezTo>
                  <a:pt x="7216" y="21074"/>
                  <a:pt x="7200" y="21090"/>
                  <a:pt x="7200" y="21109"/>
                </a:cubicBezTo>
                <a:cubicBezTo>
                  <a:pt x="7200" y="21380"/>
                  <a:pt x="7603" y="21600"/>
                  <a:pt x="8101" y="21600"/>
                </a:cubicBezTo>
                <a:cubicBezTo>
                  <a:pt x="8464" y="21600"/>
                  <a:pt x="8761" y="21480"/>
                  <a:pt x="8900" y="21310"/>
                </a:cubicBezTo>
                <a:lnTo>
                  <a:pt x="8918" y="21315"/>
                </a:lnTo>
                <a:lnTo>
                  <a:pt x="21517" y="8551"/>
                </a:lnTo>
                <a:lnTo>
                  <a:pt x="21513" y="8550"/>
                </a:lnTo>
                <a:cubicBezTo>
                  <a:pt x="21567" y="8487"/>
                  <a:pt x="21600" y="8419"/>
                  <a:pt x="21600" y="834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31" name="Shape 2631"/>
          <p:cNvSpPr/>
          <p:nvPr/>
        </p:nvSpPr>
        <p:spPr>
          <a:xfrm>
            <a:off x="9451126" y="3584989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3600"/>
                </a:moveTo>
                <a:lnTo>
                  <a:pt x="1964" y="3600"/>
                </a:lnTo>
                <a:lnTo>
                  <a:pt x="1964" y="1200"/>
                </a:lnTo>
                <a:lnTo>
                  <a:pt x="19636" y="1200"/>
                </a:lnTo>
                <a:cubicBezTo>
                  <a:pt x="19636" y="1200"/>
                  <a:pt x="19636" y="3600"/>
                  <a:pt x="19636" y="3600"/>
                </a:cubicBezTo>
                <a:close/>
                <a:moveTo>
                  <a:pt x="17182" y="6000"/>
                </a:moveTo>
                <a:lnTo>
                  <a:pt x="17182" y="4800"/>
                </a:lnTo>
                <a:lnTo>
                  <a:pt x="19145" y="4800"/>
                </a:lnTo>
                <a:lnTo>
                  <a:pt x="19145" y="6000"/>
                </a:lnTo>
                <a:cubicBezTo>
                  <a:pt x="19145" y="6662"/>
                  <a:pt x="18705" y="7200"/>
                  <a:pt x="18164" y="7200"/>
                </a:cubicBezTo>
                <a:cubicBezTo>
                  <a:pt x="17621" y="7200"/>
                  <a:pt x="17182" y="6662"/>
                  <a:pt x="17182" y="6000"/>
                </a:cubicBezTo>
                <a:moveTo>
                  <a:pt x="14236" y="6000"/>
                </a:moveTo>
                <a:lnTo>
                  <a:pt x="14236" y="4800"/>
                </a:lnTo>
                <a:lnTo>
                  <a:pt x="16200" y="4800"/>
                </a:lnTo>
                <a:lnTo>
                  <a:pt x="16200" y="6000"/>
                </a:lnTo>
                <a:cubicBezTo>
                  <a:pt x="16200" y="6662"/>
                  <a:pt x="15760" y="7200"/>
                  <a:pt x="15218" y="7200"/>
                </a:cubicBezTo>
                <a:cubicBezTo>
                  <a:pt x="14675" y="7200"/>
                  <a:pt x="14236" y="6662"/>
                  <a:pt x="14236" y="6000"/>
                </a:cubicBezTo>
                <a:moveTo>
                  <a:pt x="11291" y="6000"/>
                </a:moveTo>
                <a:lnTo>
                  <a:pt x="11291" y="4800"/>
                </a:lnTo>
                <a:lnTo>
                  <a:pt x="13255" y="4800"/>
                </a:lnTo>
                <a:lnTo>
                  <a:pt x="13255" y="6000"/>
                </a:lnTo>
                <a:cubicBezTo>
                  <a:pt x="13255" y="6662"/>
                  <a:pt x="12814" y="7200"/>
                  <a:pt x="12273" y="7200"/>
                </a:cubicBezTo>
                <a:cubicBezTo>
                  <a:pt x="11730" y="7200"/>
                  <a:pt x="11291" y="6662"/>
                  <a:pt x="11291" y="6000"/>
                </a:cubicBezTo>
                <a:moveTo>
                  <a:pt x="8345" y="6000"/>
                </a:moveTo>
                <a:lnTo>
                  <a:pt x="8345" y="4800"/>
                </a:lnTo>
                <a:lnTo>
                  <a:pt x="10309" y="4800"/>
                </a:lnTo>
                <a:lnTo>
                  <a:pt x="10309" y="6000"/>
                </a:lnTo>
                <a:cubicBezTo>
                  <a:pt x="10309" y="6662"/>
                  <a:pt x="9869" y="7200"/>
                  <a:pt x="9327" y="7200"/>
                </a:cubicBezTo>
                <a:cubicBezTo>
                  <a:pt x="8785" y="7200"/>
                  <a:pt x="8345" y="6662"/>
                  <a:pt x="8345" y="6000"/>
                </a:cubicBezTo>
                <a:moveTo>
                  <a:pt x="5400" y="6000"/>
                </a:moveTo>
                <a:lnTo>
                  <a:pt x="5400" y="4800"/>
                </a:lnTo>
                <a:lnTo>
                  <a:pt x="7364" y="4800"/>
                </a:lnTo>
                <a:lnTo>
                  <a:pt x="7364" y="6000"/>
                </a:lnTo>
                <a:cubicBezTo>
                  <a:pt x="7364" y="6662"/>
                  <a:pt x="6924" y="7200"/>
                  <a:pt x="6382" y="7200"/>
                </a:cubicBezTo>
                <a:cubicBezTo>
                  <a:pt x="5839" y="7200"/>
                  <a:pt x="5400" y="6662"/>
                  <a:pt x="5400" y="6000"/>
                </a:cubicBezTo>
                <a:moveTo>
                  <a:pt x="2455" y="6000"/>
                </a:moveTo>
                <a:lnTo>
                  <a:pt x="2455" y="4800"/>
                </a:lnTo>
                <a:lnTo>
                  <a:pt x="4418" y="4800"/>
                </a:lnTo>
                <a:lnTo>
                  <a:pt x="4418" y="6000"/>
                </a:lnTo>
                <a:cubicBezTo>
                  <a:pt x="4418" y="6662"/>
                  <a:pt x="3978" y="7200"/>
                  <a:pt x="3436" y="7200"/>
                </a:cubicBezTo>
                <a:cubicBezTo>
                  <a:pt x="2894" y="7200"/>
                  <a:pt x="2455" y="6662"/>
                  <a:pt x="2455" y="6000"/>
                </a:cubicBezTo>
                <a:moveTo>
                  <a:pt x="19636" y="20400"/>
                </a:moveTo>
                <a:lnTo>
                  <a:pt x="12764" y="20400"/>
                </a:lnTo>
                <a:lnTo>
                  <a:pt x="12764" y="13800"/>
                </a:lnTo>
                <a:cubicBezTo>
                  <a:pt x="12764" y="13469"/>
                  <a:pt x="12544" y="13200"/>
                  <a:pt x="12273" y="13200"/>
                </a:cubicBezTo>
                <a:lnTo>
                  <a:pt x="9327" y="13200"/>
                </a:lnTo>
                <a:cubicBezTo>
                  <a:pt x="9056" y="13200"/>
                  <a:pt x="8836" y="13469"/>
                  <a:pt x="8836" y="13800"/>
                </a:cubicBezTo>
                <a:lnTo>
                  <a:pt x="8836" y="20400"/>
                </a:lnTo>
                <a:lnTo>
                  <a:pt x="1964" y="20400"/>
                </a:lnTo>
                <a:lnTo>
                  <a:pt x="1964" y="7573"/>
                </a:lnTo>
                <a:cubicBezTo>
                  <a:pt x="2324" y="8076"/>
                  <a:pt x="2847" y="8400"/>
                  <a:pt x="3436" y="8400"/>
                </a:cubicBezTo>
                <a:cubicBezTo>
                  <a:pt x="4026" y="8400"/>
                  <a:pt x="4549" y="8076"/>
                  <a:pt x="4909" y="7573"/>
                </a:cubicBezTo>
                <a:cubicBezTo>
                  <a:pt x="5269" y="8076"/>
                  <a:pt x="5792" y="8400"/>
                  <a:pt x="6382" y="8400"/>
                </a:cubicBezTo>
                <a:cubicBezTo>
                  <a:pt x="6971" y="8400"/>
                  <a:pt x="7495" y="8076"/>
                  <a:pt x="7855" y="7573"/>
                </a:cubicBezTo>
                <a:cubicBezTo>
                  <a:pt x="8215" y="8076"/>
                  <a:pt x="8738" y="8400"/>
                  <a:pt x="9327" y="8400"/>
                </a:cubicBezTo>
                <a:cubicBezTo>
                  <a:pt x="9917" y="8400"/>
                  <a:pt x="10440" y="8076"/>
                  <a:pt x="10800" y="7573"/>
                </a:cubicBezTo>
                <a:cubicBezTo>
                  <a:pt x="11160" y="8076"/>
                  <a:pt x="11683" y="8400"/>
                  <a:pt x="12273" y="8400"/>
                </a:cubicBezTo>
                <a:cubicBezTo>
                  <a:pt x="12862" y="8400"/>
                  <a:pt x="13385" y="8076"/>
                  <a:pt x="13745" y="7573"/>
                </a:cubicBezTo>
                <a:cubicBezTo>
                  <a:pt x="14105" y="8076"/>
                  <a:pt x="14629" y="8400"/>
                  <a:pt x="15218" y="8400"/>
                </a:cubicBezTo>
                <a:cubicBezTo>
                  <a:pt x="15808" y="8400"/>
                  <a:pt x="16331" y="8076"/>
                  <a:pt x="16691" y="7573"/>
                </a:cubicBezTo>
                <a:cubicBezTo>
                  <a:pt x="17051" y="8076"/>
                  <a:pt x="17574" y="8400"/>
                  <a:pt x="18164" y="8400"/>
                </a:cubicBezTo>
                <a:cubicBezTo>
                  <a:pt x="18753" y="8400"/>
                  <a:pt x="19276" y="8076"/>
                  <a:pt x="19636" y="7573"/>
                </a:cubicBezTo>
                <a:cubicBezTo>
                  <a:pt x="19636" y="7573"/>
                  <a:pt x="19636" y="20400"/>
                  <a:pt x="19636" y="20400"/>
                </a:cubicBezTo>
                <a:close/>
                <a:moveTo>
                  <a:pt x="11782" y="20400"/>
                </a:moveTo>
                <a:lnTo>
                  <a:pt x="9818" y="204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20400"/>
                  <a:pt x="11782" y="20400"/>
                </a:cubicBezTo>
                <a:close/>
                <a:moveTo>
                  <a:pt x="21109" y="20400"/>
                </a:moveTo>
                <a:lnTo>
                  <a:pt x="20618" y="20400"/>
                </a:lnTo>
                <a:lnTo>
                  <a:pt x="20618" y="4800"/>
                </a:lnTo>
                <a:lnTo>
                  <a:pt x="21109" y="4800"/>
                </a:lnTo>
                <a:cubicBezTo>
                  <a:pt x="21380" y="4800"/>
                  <a:pt x="21600" y="4532"/>
                  <a:pt x="21600" y="4200"/>
                </a:cubicBezTo>
                <a:cubicBezTo>
                  <a:pt x="21600" y="3868"/>
                  <a:pt x="21380" y="3600"/>
                  <a:pt x="21109" y="3600"/>
                </a:cubicBezTo>
                <a:lnTo>
                  <a:pt x="20618" y="3600"/>
                </a:lnTo>
                <a:lnTo>
                  <a:pt x="20618" y="1200"/>
                </a:lnTo>
                <a:cubicBezTo>
                  <a:pt x="20618" y="538"/>
                  <a:pt x="20178" y="0"/>
                  <a:pt x="19636" y="0"/>
                </a:cubicBezTo>
                <a:lnTo>
                  <a:pt x="1964" y="0"/>
                </a:lnTo>
                <a:cubicBezTo>
                  <a:pt x="1421" y="0"/>
                  <a:pt x="982" y="538"/>
                  <a:pt x="982" y="1200"/>
                </a:cubicBezTo>
                <a:lnTo>
                  <a:pt x="982" y="3600"/>
                </a:lnTo>
                <a:lnTo>
                  <a:pt x="491" y="3600"/>
                </a:lnTo>
                <a:cubicBezTo>
                  <a:pt x="220" y="3600"/>
                  <a:pt x="0" y="3868"/>
                  <a:pt x="0" y="4200"/>
                </a:cubicBezTo>
                <a:cubicBezTo>
                  <a:pt x="0" y="4532"/>
                  <a:pt x="220" y="4800"/>
                  <a:pt x="491" y="4800"/>
                </a:cubicBezTo>
                <a:lnTo>
                  <a:pt x="982" y="4800"/>
                </a:lnTo>
                <a:lnTo>
                  <a:pt x="982" y="20400"/>
                </a:lnTo>
                <a:lnTo>
                  <a:pt x="491" y="20400"/>
                </a:lnTo>
                <a:cubicBezTo>
                  <a:pt x="220" y="20400"/>
                  <a:pt x="0" y="20669"/>
                  <a:pt x="0" y="21000"/>
                </a:cubicBez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cubicBezTo>
                  <a:pt x="21600" y="20669"/>
                  <a:pt x="21380" y="20400"/>
                  <a:pt x="21109" y="20400"/>
                </a:cubicBezTo>
                <a:moveTo>
                  <a:pt x="16691" y="16800"/>
                </a:moveTo>
                <a:lnTo>
                  <a:pt x="14727" y="16800"/>
                </a:lnTo>
                <a:lnTo>
                  <a:pt x="14727" y="14400"/>
                </a:lnTo>
                <a:lnTo>
                  <a:pt x="16691" y="14400"/>
                </a:lnTo>
                <a:cubicBezTo>
                  <a:pt x="16691" y="14400"/>
                  <a:pt x="16691" y="16800"/>
                  <a:pt x="16691" y="16800"/>
                </a:cubicBezTo>
                <a:close/>
                <a:moveTo>
                  <a:pt x="17182" y="13200"/>
                </a:moveTo>
                <a:lnTo>
                  <a:pt x="14236" y="13200"/>
                </a:lnTo>
                <a:cubicBezTo>
                  <a:pt x="13965" y="13200"/>
                  <a:pt x="13745" y="13469"/>
                  <a:pt x="13745" y="13800"/>
                </a:cubicBezTo>
                <a:lnTo>
                  <a:pt x="13745" y="17400"/>
                </a:lnTo>
                <a:cubicBezTo>
                  <a:pt x="13745" y="17732"/>
                  <a:pt x="13965" y="18000"/>
                  <a:pt x="14236" y="18000"/>
                </a:cubicBezTo>
                <a:lnTo>
                  <a:pt x="17182" y="18000"/>
                </a:lnTo>
                <a:cubicBezTo>
                  <a:pt x="17453" y="18000"/>
                  <a:pt x="17673" y="17732"/>
                  <a:pt x="17673" y="17400"/>
                </a:cubicBezTo>
                <a:lnTo>
                  <a:pt x="17673" y="13800"/>
                </a:lnTo>
                <a:cubicBezTo>
                  <a:pt x="17673" y="13469"/>
                  <a:pt x="17453" y="13200"/>
                  <a:pt x="17182" y="13200"/>
                </a:cubicBezTo>
                <a:moveTo>
                  <a:pt x="6873" y="16800"/>
                </a:moveTo>
                <a:lnTo>
                  <a:pt x="4909" y="16800"/>
                </a:lnTo>
                <a:lnTo>
                  <a:pt x="4909" y="14400"/>
                </a:lnTo>
                <a:lnTo>
                  <a:pt x="6873" y="14400"/>
                </a:lnTo>
                <a:cubicBezTo>
                  <a:pt x="6873" y="14400"/>
                  <a:pt x="6873" y="16800"/>
                  <a:pt x="6873" y="16800"/>
                </a:cubicBezTo>
                <a:close/>
                <a:moveTo>
                  <a:pt x="7364" y="13200"/>
                </a:moveTo>
                <a:lnTo>
                  <a:pt x="4418" y="13200"/>
                </a:lnTo>
                <a:cubicBezTo>
                  <a:pt x="4147" y="13200"/>
                  <a:pt x="3927" y="13469"/>
                  <a:pt x="3927" y="13800"/>
                </a:cubicBezTo>
                <a:lnTo>
                  <a:pt x="3927" y="17400"/>
                </a:lnTo>
                <a:cubicBezTo>
                  <a:pt x="3927" y="17732"/>
                  <a:pt x="4147" y="18000"/>
                  <a:pt x="4418" y="18000"/>
                </a:cubicBezTo>
                <a:lnTo>
                  <a:pt x="7364" y="18000"/>
                </a:lnTo>
                <a:cubicBezTo>
                  <a:pt x="7635" y="18000"/>
                  <a:pt x="7855" y="17732"/>
                  <a:pt x="7855" y="17400"/>
                </a:cubicBezTo>
                <a:lnTo>
                  <a:pt x="7855" y="13800"/>
                </a:lnTo>
                <a:cubicBezTo>
                  <a:pt x="7855" y="13469"/>
                  <a:pt x="7635" y="13200"/>
                  <a:pt x="7364" y="132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32" name="Shape 2632"/>
          <p:cNvSpPr/>
          <p:nvPr/>
        </p:nvSpPr>
        <p:spPr>
          <a:xfrm>
            <a:off x="10009781" y="3559596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7673"/>
                </a:moveTo>
                <a:cubicBezTo>
                  <a:pt x="4588" y="17673"/>
                  <a:pt x="1200" y="16051"/>
                  <a:pt x="1200" y="15218"/>
                </a:cubicBezTo>
                <a:cubicBezTo>
                  <a:pt x="1200" y="14690"/>
                  <a:pt x="1355" y="14275"/>
                  <a:pt x="1611" y="13896"/>
                </a:cubicBezTo>
                <a:cubicBezTo>
                  <a:pt x="3255" y="14967"/>
                  <a:pt x="6746" y="15709"/>
                  <a:pt x="10800" y="15709"/>
                </a:cubicBezTo>
                <a:cubicBezTo>
                  <a:pt x="14856" y="15709"/>
                  <a:pt x="18345" y="14966"/>
                  <a:pt x="19987" y="13894"/>
                </a:cubicBezTo>
                <a:cubicBezTo>
                  <a:pt x="20244" y="14273"/>
                  <a:pt x="20400" y="14689"/>
                  <a:pt x="20400" y="15218"/>
                </a:cubicBezTo>
                <a:cubicBezTo>
                  <a:pt x="20400" y="16051"/>
                  <a:pt x="17011" y="17673"/>
                  <a:pt x="10800" y="17673"/>
                </a:cubicBezTo>
                <a:moveTo>
                  <a:pt x="10800" y="20618"/>
                </a:moveTo>
                <a:cubicBezTo>
                  <a:pt x="9475" y="20618"/>
                  <a:pt x="8400" y="19739"/>
                  <a:pt x="8400" y="18655"/>
                </a:cubicBezTo>
                <a:cubicBezTo>
                  <a:pt x="8400" y="18625"/>
                  <a:pt x="8408" y="18597"/>
                  <a:pt x="8409" y="18567"/>
                </a:cubicBezTo>
                <a:cubicBezTo>
                  <a:pt x="9179" y="18623"/>
                  <a:pt x="9977" y="18655"/>
                  <a:pt x="10800" y="18655"/>
                </a:cubicBezTo>
                <a:cubicBezTo>
                  <a:pt x="11623" y="18655"/>
                  <a:pt x="12421" y="18623"/>
                  <a:pt x="13191" y="18567"/>
                </a:cubicBezTo>
                <a:cubicBezTo>
                  <a:pt x="13192" y="18597"/>
                  <a:pt x="13200" y="18625"/>
                  <a:pt x="13200" y="18655"/>
                </a:cubicBezTo>
                <a:cubicBezTo>
                  <a:pt x="13200" y="19739"/>
                  <a:pt x="12125" y="20618"/>
                  <a:pt x="10800" y="20618"/>
                </a:cubicBezTo>
                <a:moveTo>
                  <a:pt x="2948" y="12551"/>
                </a:moveTo>
                <a:cubicBezTo>
                  <a:pt x="4308" y="11388"/>
                  <a:pt x="6000" y="9939"/>
                  <a:pt x="6000" y="6873"/>
                </a:cubicBezTo>
                <a:cubicBezTo>
                  <a:pt x="6000" y="5232"/>
                  <a:pt x="7238" y="3825"/>
                  <a:pt x="8988" y="3239"/>
                </a:cubicBezTo>
                <a:cubicBezTo>
                  <a:pt x="9428" y="3657"/>
                  <a:pt x="10072" y="3927"/>
                  <a:pt x="10800" y="3927"/>
                </a:cubicBezTo>
                <a:cubicBezTo>
                  <a:pt x="11528" y="3927"/>
                  <a:pt x="12172" y="3657"/>
                  <a:pt x="12611" y="3239"/>
                </a:cubicBezTo>
                <a:cubicBezTo>
                  <a:pt x="14362" y="3825"/>
                  <a:pt x="15600" y="5232"/>
                  <a:pt x="15600" y="6873"/>
                </a:cubicBezTo>
                <a:cubicBezTo>
                  <a:pt x="15600" y="9939"/>
                  <a:pt x="17292" y="11388"/>
                  <a:pt x="18652" y="12551"/>
                </a:cubicBezTo>
                <a:cubicBezTo>
                  <a:pt x="18911" y="12773"/>
                  <a:pt x="19152" y="12979"/>
                  <a:pt x="19366" y="13183"/>
                </a:cubicBezTo>
                <a:cubicBezTo>
                  <a:pt x="18217" y="14077"/>
                  <a:pt x="14825" y="14727"/>
                  <a:pt x="10800" y="14727"/>
                </a:cubicBezTo>
                <a:cubicBezTo>
                  <a:pt x="6779" y="14727"/>
                  <a:pt x="3383" y="14079"/>
                  <a:pt x="2230" y="13186"/>
                </a:cubicBezTo>
                <a:cubicBezTo>
                  <a:pt x="2446" y="12981"/>
                  <a:pt x="2687" y="12774"/>
                  <a:pt x="2948" y="12551"/>
                </a:cubicBezTo>
                <a:moveTo>
                  <a:pt x="10800" y="982"/>
                </a:moveTo>
                <a:cubicBezTo>
                  <a:pt x="11462" y="982"/>
                  <a:pt x="12000" y="1422"/>
                  <a:pt x="12000" y="1964"/>
                </a:cubicBezTo>
                <a:cubicBezTo>
                  <a:pt x="12000" y="2506"/>
                  <a:pt x="11462" y="2945"/>
                  <a:pt x="10800" y="2945"/>
                </a:cubicBezTo>
                <a:cubicBezTo>
                  <a:pt x="10138" y="2945"/>
                  <a:pt x="9600" y="2506"/>
                  <a:pt x="9600" y="1964"/>
                </a:cubicBezTo>
                <a:cubicBezTo>
                  <a:pt x="9600" y="1422"/>
                  <a:pt x="10138" y="982"/>
                  <a:pt x="10800" y="982"/>
                </a:cubicBezTo>
                <a:moveTo>
                  <a:pt x="21600" y="15218"/>
                </a:moveTo>
                <a:cubicBezTo>
                  <a:pt x="21600" y="11782"/>
                  <a:pt x="16800" y="11782"/>
                  <a:pt x="16800" y="6873"/>
                </a:cubicBezTo>
                <a:cubicBezTo>
                  <a:pt x="16800" y="4845"/>
                  <a:pt x="15296" y="3105"/>
                  <a:pt x="13152" y="2356"/>
                </a:cubicBezTo>
                <a:cubicBezTo>
                  <a:pt x="13183" y="2229"/>
                  <a:pt x="13200" y="2098"/>
                  <a:pt x="13200" y="1964"/>
                </a:cubicBezTo>
                <a:cubicBezTo>
                  <a:pt x="13200" y="879"/>
                  <a:pt x="12125" y="0"/>
                  <a:pt x="10800" y="0"/>
                </a:cubicBezTo>
                <a:cubicBezTo>
                  <a:pt x="9475" y="0"/>
                  <a:pt x="8400" y="879"/>
                  <a:pt x="8400" y="1964"/>
                </a:cubicBezTo>
                <a:cubicBezTo>
                  <a:pt x="8400" y="2098"/>
                  <a:pt x="8417" y="2229"/>
                  <a:pt x="8448" y="2356"/>
                </a:cubicBezTo>
                <a:cubicBezTo>
                  <a:pt x="6304" y="3105"/>
                  <a:pt x="4800" y="4845"/>
                  <a:pt x="4800" y="6873"/>
                </a:cubicBezTo>
                <a:cubicBezTo>
                  <a:pt x="4800" y="11782"/>
                  <a:pt x="0" y="11782"/>
                  <a:pt x="0" y="15218"/>
                </a:cubicBezTo>
                <a:cubicBezTo>
                  <a:pt x="0" y="16716"/>
                  <a:pt x="3016" y="17986"/>
                  <a:pt x="7217" y="18457"/>
                </a:cubicBezTo>
                <a:cubicBezTo>
                  <a:pt x="7211" y="18523"/>
                  <a:pt x="7200" y="18587"/>
                  <a:pt x="7200" y="18655"/>
                </a:cubicBezTo>
                <a:cubicBezTo>
                  <a:pt x="7200" y="20282"/>
                  <a:pt x="8812" y="21600"/>
                  <a:pt x="10800" y="21600"/>
                </a:cubicBezTo>
                <a:cubicBezTo>
                  <a:pt x="12788" y="21600"/>
                  <a:pt x="14400" y="20282"/>
                  <a:pt x="14400" y="18655"/>
                </a:cubicBezTo>
                <a:cubicBezTo>
                  <a:pt x="14400" y="18587"/>
                  <a:pt x="14389" y="18523"/>
                  <a:pt x="14383" y="18457"/>
                </a:cubicBezTo>
                <a:cubicBezTo>
                  <a:pt x="18584" y="17986"/>
                  <a:pt x="21600" y="16716"/>
                  <a:pt x="21600" y="15218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33" name="Shape 2633"/>
          <p:cNvSpPr/>
          <p:nvPr/>
        </p:nvSpPr>
        <p:spPr>
          <a:xfrm>
            <a:off x="10517648" y="355959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34" name="Shape 2634"/>
          <p:cNvSpPr/>
          <p:nvPr/>
        </p:nvSpPr>
        <p:spPr>
          <a:xfrm>
            <a:off x="11050909" y="355959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4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800" y="3145"/>
                </a:lnTo>
                <a:lnTo>
                  <a:pt x="11480" y="2491"/>
                </a:lnTo>
                <a:cubicBezTo>
                  <a:pt x="12493" y="1518"/>
                  <a:pt x="13820" y="982"/>
                  <a:pt x="15218" y="982"/>
                </a:cubicBezTo>
                <a:cubicBezTo>
                  <a:pt x="18196" y="982"/>
                  <a:pt x="20618" y="3404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4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4F54337-EE4E-4F0F-BDFD-45FC4525D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75B207D-0966-FE46-96D9-E319C5580E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621E72-4E8C-2B47-8318-B8B71C033A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29D581-EC8F-A342-B502-42421D0A8A52}" type="slidenum">
              <a:rPr lang="en-US" smtClean="0"/>
              <a:t>60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828884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7" name="Shape 2637"/>
          <p:cNvSpPr/>
          <p:nvPr/>
        </p:nvSpPr>
        <p:spPr>
          <a:xfrm>
            <a:off x="944342" y="1426542"/>
            <a:ext cx="15236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836"/>
                </a:moveTo>
                <a:lnTo>
                  <a:pt x="16200" y="8836"/>
                </a:lnTo>
                <a:lnTo>
                  <a:pt x="16200" y="11782"/>
                </a:lnTo>
                <a:cubicBezTo>
                  <a:pt x="16200" y="13409"/>
                  <a:pt x="13783" y="14727"/>
                  <a:pt x="10800" y="14727"/>
                </a:cubicBezTo>
                <a:cubicBezTo>
                  <a:pt x="7817" y="14727"/>
                  <a:pt x="5400" y="13409"/>
                  <a:pt x="5400" y="11782"/>
                </a:cubicBezTo>
                <a:cubicBezTo>
                  <a:pt x="5400" y="11782"/>
                  <a:pt x="5400" y="8836"/>
                  <a:pt x="5400" y="8836"/>
                </a:cubicBezTo>
                <a:close/>
                <a:moveTo>
                  <a:pt x="5400" y="3927"/>
                </a:moveTo>
                <a:cubicBezTo>
                  <a:pt x="5400" y="2301"/>
                  <a:pt x="7817" y="982"/>
                  <a:pt x="10800" y="982"/>
                </a:cubicBezTo>
                <a:cubicBezTo>
                  <a:pt x="13783" y="982"/>
                  <a:pt x="16200" y="2301"/>
                  <a:pt x="16200" y="3927"/>
                </a:cubicBezTo>
                <a:lnTo>
                  <a:pt x="16200" y="7855"/>
                </a:lnTo>
                <a:lnTo>
                  <a:pt x="5400" y="7855"/>
                </a:lnTo>
                <a:cubicBezTo>
                  <a:pt x="5400" y="7855"/>
                  <a:pt x="5400" y="3927"/>
                  <a:pt x="5400" y="3927"/>
                </a:cubicBezTo>
                <a:close/>
                <a:moveTo>
                  <a:pt x="10800" y="15709"/>
                </a:moveTo>
                <a:cubicBezTo>
                  <a:pt x="14777" y="15709"/>
                  <a:pt x="18000" y="13951"/>
                  <a:pt x="18000" y="11782"/>
                </a:cubicBezTo>
                <a:lnTo>
                  <a:pt x="18000" y="3927"/>
                </a:lnTo>
                <a:cubicBezTo>
                  <a:pt x="18000" y="1758"/>
                  <a:pt x="14777" y="0"/>
                  <a:pt x="10800" y="0"/>
                </a:cubicBezTo>
                <a:cubicBezTo>
                  <a:pt x="6823" y="0"/>
                  <a:pt x="3600" y="1758"/>
                  <a:pt x="3600" y="3927"/>
                </a:cubicBezTo>
                <a:lnTo>
                  <a:pt x="3600" y="11782"/>
                </a:lnTo>
                <a:cubicBezTo>
                  <a:pt x="3600" y="13951"/>
                  <a:pt x="6823" y="15709"/>
                  <a:pt x="10800" y="15709"/>
                </a:cubicBezTo>
                <a:moveTo>
                  <a:pt x="21600" y="11782"/>
                </a:moveTo>
                <a:lnTo>
                  <a:pt x="21600" y="10309"/>
                </a:lnTo>
                <a:cubicBezTo>
                  <a:pt x="21600" y="10038"/>
                  <a:pt x="21197" y="9818"/>
                  <a:pt x="20700" y="9818"/>
                </a:cubicBezTo>
                <a:cubicBezTo>
                  <a:pt x="20203" y="9818"/>
                  <a:pt x="19800" y="10038"/>
                  <a:pt x="19800" y="10309"/>
                </a:cubicBezTo>
                <a:lnTo>
                  <a:pt x="19800" y="11782"/>
                </a:lnTo>
                <a:cubicBezTo>
                  <a:pt x="19800" y="14493"/>
                  <a:pt x="15771" y="16691"/>
                  <a:pt x="10800" y="16691"/>
                </a:cubicBezTo>
                <a:cubicBezTo>
                  <a:pt x="5829" y="16691"/>
                  <a:pt x="1800" y="14493"/>
                  <a:pt x="1800" y="11782"/>
                </a:cubicBezTo>
                <a:lnTo>
                  <a:pt x="1800" y="10309"/>
                </a:lnTo>
                <a:cubicBezTo>
                  <a:pt x="1800" y="10038"/>
                  <a:pt x="1397" y="9818"/>
                  <a:pt x="900" y="9818"/>
                </a:cubicBezTo>
                <a:cubicBezTo>
                  <a:pt x="403" y="9818"/>
                  <a:pt x="0" y="10038"/>
                  <a:pt x="0" y="10309"/>
                </a:cubicBezTo>
                <a:lnTo>
                  <a:pt x="0" y="11782"/>
                </a:lnTo>
                <a:cubicBezTo>
                  <a:pt x="0" y="14870"/>
                  <a:pt x="4358" y="17398"/>
                  <a:pt x="9900" y="17648"/>
                </a:cubicBezTo>
                <a:lnTo>
                  <a:pt x="9900" y="20618"/>
                </a:lnTo>
                <a:lnTo>
                  <a:pt x="3600" y="20618"/>
                </a:lnTo>
                <a:cubicBezTo>
                  <a:pt x="3103" y="20618"/>
                  <a:pt x="2700" y="20838"/>
                  <a:pt x="2700" y="21110"/>
                </a:cubicBezTo>
                <a:cubicBezTo>
                  <a:pt x="2700" y="21381"/>
                  <a:pt x="3103" y="21600"/>
                  <a:pt x="3600" y="21600"/>
                </a:cubicBezTo>
                <a:lnTo>
                  <a:pt x="18000" y="21600"/>
                </a:lnTo>
                <a:cubicBezTo>
                  <a:pt x="18497" y="21600"/>
                  <a:pt x="18900" y="21381"/>
                  <a:pt x="18900" y="21110"/>
                </a:cubicBezTo>
                <a:cubicBezTo>
                  <a:pt x="18900" y="20838"/>
                  <a:pt x="18497" y="20618"/>
                  <a:pt x="18000" y="20618"/>
                </a:cubicBezTo>
                <a:lnTo>
                  <a:pt x="11700" y="20618"/>
                </a:lnTo>
                <a:lnTo>
                  <a:pt x="11700" y="17648"/>
                </a:lnTo>
                <a:cubicBezTo>
                  <a:pt x="17243" y="17398"/>
                  <a:pt x="21600" y="14870"/>
                  <a:pt x="21600" y="11782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38" name="Shape 2638"/>
          <p:cNvSpPr/>
          <p:nvPr/>
        </p:nvSpPr>
        <p:spPr>
          <a:xfrm>
            <a:off x="1414119" y="1426542"/>
            <a:ext cx="279232" cy="2794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31" h="21132" extrusionOk="0">
                <a:moveTo>
                  <a:pt x="19045" y="7530"/>
                </a:moveTo>
                <a:cubicBezTo>
                  <a:pt x="17544" y="9030"/>
                  <a:pt x="15110" y="9030"/>
                  <a:pt x="13610" y="7530"/>
                </a:cubicBezTo>
                <a:cubicBezTo>
                  <a:pt x="12108" y="6031"/>
                  <a:pt x="12108" y="3600"/>
                  <a:pt x="13610" y="2100"/>
                </a:cubicBezTo>
                <a:cubicBezTo>
                  <a:pt x="15110" y="600"/>
                  <a:pt x="17544" y="600"/>
                  <a:pt x="19045" y="2100"/>
                </a:cubicBezTo>
                <a:cubicBezTo>
                  <a:pt x="20546" y="3600"/>
                  <a:pt x="20546" y="6031"/>
                  <a:pt x="19045" y="7530"/>
                </a:cubicBezTo>
                <a:moveTo>
                  <a:pt x="7605" y="16245"/>
                </a:moveTo>
                <a:cubicBezTo>
                  <a:pt x="7256" y="16593"/>
                  <a:pt x="6776" y="16807"/>
                  <a:pt x="6245" y="16807"/>
                </a:cubicBezTo>
                <a:cubicBezTo>
                  <a:pt x="5184" y="16807"/>
                  <a:pt x="4324" y="15948"/>
                  <a:pt x="4324" y="14888"/>
                </a:cubicBezTo>
                <a:cubicBezTo>
                  <a:pt x="4324" y="14358"/>
                  <a:pt x="4539" y="13878"/>
                  <a:pt x="4887" y="13530"/>
                </a:cubicBezTo>
                <a:lnTo>
                  <a:pt x="11678" y="5991"/>
                </a:lnTo>
                <a:cubicBezTo>
                  <a:pt x="11884" y="6798"/>
                  <a:pt x="12298" y="7563"/>
                  <a:pt x="12930" y="8194"/>
                </a:cubicBezTo>
                <a:cubicBezTo>
                  <a:pt x="13569" y="8832"/>
                  <a:pt x="14343" y="9248"/>
                  <a:pt x="15160" y="9451"/>
                </a:cubicBezTo>
                <a:cubicBezTo>
                  <a:pt x="15160" y="9451"/>
                  <a:pt x="7605" y="16245"/>
                  <a:pt x="7605" y="16245"/>
                </a:cubicBezTo>
                <a:close/>
                <a:moveTo>
                  <a:pt x="19724" y="1406"/>
                </a:moveTo>
                <a:cubicBezTo>
                  <a:pt x="17848" y="-468"/>
                  <a:pt x="14806" y="-468"/>
                  <a:pt x="12930" y="1406"/>
                </a:cubicBezTo>
                <a:cubicBezTo>
                  <a:pt x="12024" y="2312"/>
                  <a:pt x="11559" y="3489"/>
                  <a:pt x="11529" y="4676"/>
                </a:cubicBezTo>
                <a:lnTo>
                  <a:pt x="4207" y="12851"/>
                </a:lnTo>
                <a:cubicBezTo>
                  <a:pt x="3686" y="13373"/>
                  <a:pt x="3363" y="14093"/>
                  <a:pt x="3363" y="14888"/>
                </a:cubicBezTo>
                <a:cubicBezTo>
                  <a:pt x="3363" y="15420"/>
                  <a:pt x="3518" y="15912"/>
                  <a:pt x="3769" y="16340"/>
                </a:cubicBezTo>
                <a:cubicBezTo>
                  <a:pt x="2436" y="17104"/>
                  <a:pt x="1907" y="17813"/>
                  <a:pt x="2425" y="19364"/>
                </a:cubicBezTo>
                <a:cubicBezTo>
                  <a:pt x="2487" y="19550"/>
                  <a:pt x="2434" y="19622"/>
                  <a:pt x="2409" y="19658"/>
                </a:cubicBezTo>
                <a:cubicBezTo>
                  <a:pt x="2160" y="20003"/>
                  <a:pt x="1132" y="20167"/>
                  <a:pt x="500" y="20172"/>
                </a:cubicBezTo>
                <a:cubicBezTo>
                  <a:pt x="493" y="20171"/>
                  <a:pt x="487" y="20167"/>
                  <a:pt x="480" y="20167"/>
                </a:cubicBezTo>
                <a:cubicBezTo>
                  <a:pt x="215" y="20167"/>
                  <a:pt x="0" y="20383"/>
                  <a:pt x="0" y="20647"/>
                </a:cubicBezTo>
                <a:cubicBezTo>
                  <a:pt x="0" y="20912"/>
                  <a:pt x="214" y="21126"/>
                  <a:pt x="479" y="21127"/>
                </a:cubicBezTo>
                <a:lnTo>
                  <a:pt x="479" y="21132"/>
                </a:lnTo>
                <a:cubicBezTo>
                  <a:pt x="821" y="21132"/>
                  <a:pt x="2562" y="21088"/>
                  <a:pt x="3189" y="20219"/>
                </a:cubicBezTo>
                <a:cubicBezTo>
                  <a:pt x="3355" y="19988"/>
                  <a:pt x="3516" y="19599"/>
                  <a:pt x="3336" y="19060"/>
                </a:cubicBezTo>
                <a:cubicBezTo>
                  <a:pt x="3030" y="18141"/>
                  <a:pt x="3071" y="17806"/>
                  <a:pt x="4399" y="17082"/>
                </a:cubicBezTo>
                <a:cubicBezTo>
                  <a:pt x="4900" y="17504"/>
                  <a:pt x="5539" y="17767"/>
                  <a:pt x="6245" y="17767"/>
                </a:cubicBezTo>
                <a:cubicBezTo>
                  <a:pt x="7042" y="17767"/>
                  <a:pt x="7762" y="17445"/>
                  <a:pt x="8284" y="16924"/>
                </a:cubicBezTo>
                <a:lnTo>
                  <a:pt x="16485" y="9592"/>
                </a:lnTo>
                <a:cubicBezTo>
                  <a:pt x="17662" y="9554"/>
                  <a:pt x="18826" y="9091"/>
                  <a:pt x="19724" y="8194"/>
                </a:cubicBezTo>
                <a:cubicBezTo>
                  <a:pt x="21600" y="6320"/>
                  <a:pt x="21600" y="3281"/>
                  <a:pt x="19724" y="1406"/>
                </a:cubicBezTo>
                <a:moveTo>
                  <a:pt x="8953" y="11504"/>
                </a:moveTo>
                <a:lnTo>
                  <a:pt x="9633" y="12183"/>
                </a:lnTo>
                <a:lnTo>
                  <a:pt x="12690" y="9807"/>
                </a:lnTo>
                <a:lnTo>
                  <a:pt x="11331" y="8449"/>
                </a:lnTo>
                <a:cubicBezTo>
                  <a:pt x="11331" y="8449"/>
                  <a:pt x="8953" y="11504"/>
                  <a:pt x="8953" y="11504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39" name="Shape 2639"/>
          <p:cNvSpPr/>
          <p:nvPr/>
        </p:nvSpPr>
        <p:spPr>
          <a:xfrm>
            <a:off x="1947381" y="1477329"/>
            <a:ext cx="279328" cy="1777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3086"/>
                </a:moveTo>
                <a:cubicBezTo>
                  <a:pt x="12984" y="3086"/>
                  <a:pt x="12764" y="3432"/>
                  <a:pt x="12764" y="3857"/>
                </a:cubicBezTo>
                <a:cubicBezTo>
                  <a:pt x="12764" y="4284"/>
                  <a:pt x="12984" y="4629"/>
                  <a:pt x="13255" y="4629"/>
                </a:cubicBezTo>
                <a:cubicBezTo>
                  <a:pt x="13525" y="4629"/>
                  <a:pt x="13745" y="4284"/>
                  <a:pt x="13745" y="3857"/>
                </a:cubicBezTo>
                <a:cubicBezTo>
                  <a:pt x="13745" y="3432"/>
                  <a:pt x="13525" y="3086"/>
                  <a:pt x="13255" y="3086"/>
                </a:cubicBezTo>
                <a:moveTo>
                  <a:pt x="20618" y="16495"/>
                </a:moveTo>
                <a:lnTo>
                  <a:pt x="15709" y="12638"/>
                </a:lnTo>
                <a:lnTo>
                  <a:pt x="15709" y="8963"/>
                </a:lnTo>
                <a:lnTo>
                  <a:pt x="20618" y="5105"/>
                </a:lnTo>
                <a:cubicBezTo>
                  <a:pt x="20618" y="5105"/>
                  <a:pt x="20618" y="16495"/>
                  <a:pt x="20618" y="16495"/>
                </a:cubicBezTo>
                <a:close/>
                <a:moveTo>
                  <a:pt x="14727" y="16971"/>
                </a:moveTo>
                <a:lnTo>
                  <a:pt x="982" y="16971"/>
                </a:lnTo>
                <a:lnTo>
                  <a:pt x="982" y="3086"/>
                </a:lnTo>
                <a:cubicBezTo>
                  <a:pt x="982" y="2234"/>
                  <a:pt x="1422" y="1543"/>
                  <a:pt x="1964" y="1543"/>
                </a:cubicBezTo>
                <a:lnTo>
                  <a:pt x="13745" y="1543"/>
                </a:lnTo>
                <a:cubicBezTo>
                  <a:pt x="14287" y="1543"/>
                  <a:pt x="14727" y="2234"/>
                  <a:pt x="14727" y="3086"/>
                </a:cubicBezTo>
                <a:cubicBezTo>
                  <a:pt x="14727" y="3086"/>
                  <a:pt x="14727" y="16971"/>
                  <a:pt x="14727" y="16971"/>
                </a:cubicBezTo>
                <a:close/>
                <a:moveTo>
                  <a:pt x="13745" y="20057"/>
                </a:moveTo>
                <a:lnTo>
                  <a:pt x="1964" y="20057"/>
                </a:lnTo>
                <a:cubicBezTo>
                  <a:pt x="1422" y="20057"/>
                  <a:pt x="982" y="19367"/>
                  <a:pt x="982" y="18514"/>
                </a:cubicBezTo>
                <a:lnTo>
                  <a:pt x="14727" y="18514"/>
                </a:lnTo>
                <a:cubicBezTo>
                  <a:pt x="14727" y="19367"/>
                  <a:pt x="14287" y="20057"/>
                  <a:pt x="13745" y="20057"/>
                </a:cubicBezTo>
                <a:moveTo>
                  <a:pt x="21109" y="3086"/>
                </a:moveTo>
                <a:cubicBezTo>
                  <a:pt x="21030" y="3086"/>
                  <a:pt x="20958" y="3122"/>
                  <a:pt x="20892" y="3175"/>
                </a:cubicBezTo>
                <a:lnTo>
                  <a:pt x="20890" y="3167"/>
                </a:lnTo>
                <a:lnTo>
                  <a:pt x="15709" y="7237"/>
                </a:lnTo>
                <a:lnTo>
                  <a:pt x="15709" y="3086"/>
                </a:lnTo>
                <a:cubicBezTo>
                  <a:pt x="15709" y="1382"/>
                  <a:pt x="14830" y="0"/>
                  <a:pt x="13745" y="0"/>
                </a:cubicBezTo>
                <a:lnTo>
                  <a:pt x="1964" y="0"/>
                </a:lnTo>
                <a:cubicBezTo>
                  <a:pt x="879" y="0"/>
                  <a:pt x="0" y="1382"/>
                  <a:pt x="0" y="3086"/>
                </a:cubicBezTo>
                <a:lnTo>
                  <a:pt x="0" y="18514"/>
                </a:lnTo>
                <a:cubicBezTo>
                  <a:pt x="0" y="20219"/>
                  <a:pt x="879" y="21600"/>
                  <a:pt x="1964" y="21600"/>
                </a:cubicBezTo>
                <a:lnTo>
                  <a:pt x="13745" y="21600"/>
                </a:lnTo>
                <a:cubicBezTo>
                  <a:pt x="14830" y="21600"/>
                  <a:pt x="15709" y="20219"/>
                  <a:pt x="15709" y="18514"/>
                </a:cubicBezTo>
                <a:lnTo>
                  <a:pt x="15709" y="14363"/>
                </a:lnTo>
                <a:lnTo>
                  <a:pt x="20890" y="18433"/>
                </a:lnTo>
                <a:lnTo>
                  <a:pt x="20892" y="18427"/>
                </a:lnTo>
                <a:cubicBezTo>
                  <a:pt x="20958" y="18478"/>
                  <a:pt x="21030" y="18514"/>
                  <a:pt x="21109" y="18514"/>
                </a:cubicBezTo>
                <a:cubicBezTo>
                  <a:pt x="21380" y="18514"/>
                  <a:pt x="21600" y="18170"/>
                  <a:pt x="21600" y="17743"/>
                </a:cubicBezTo>
                <a:lnTo>
                  <a:pt x="21600" y="3857"/>
                </a:lnTo>
                <a:cubicBezTo>
                  <a:pt x="21600" y="3432"/>
                  <a:pt x="21380" y="3086"/>
                  <a:pt x="21109" y="3086"/>
                </a:cubicBezTo>
                <a:moveTo>
                  <a:pt x="10309" y="6171"/>
                </a:moveTo>
                <a:cubicBezTo>
                  <a:pt x="10038" y="6171"/>
                  <a:pt x="9818" y="5827"/>
                  <a:pt x="9818" y="5400"/>
                </a:cubicBezTo>
                <a:cubicBezTo>
                  <a:pt x="9818" y="4974"/>
                  <a:pt x="10038" y="4629"/>
                  <a:pt x="10309" y="4629"/>
                </a:cubicBezTo>
                <a:cubicBezTo>
                  <a:pt x="10580" y="4629"/>
                  <a:pt x="10800" y="4974"/>
                  <a:pt x="10800" y="5400"/>
                </a:cubicBezTo>
                <a:cubicBezTo>
                  <a:pt x="10800" y="5827"/>
                  <a:pt x="10580" y="6171"/>
                  <a:pt x="10309" y="6171"/>
                </a:cubicBezTo>
                <a:moveTo>
                  <a:pt x="10309" y="3086"/>
                </a:moveTo>
                <a:cubicBezTo>
                  <a:pt x="9496" y="3086"/>
                  <a:pt x="8836" y="4123"/>
                  <a:pt x="8836" y="5400"/>
                </a:cubicBezTo>
                <a:cubicBezTo>
                  <a:pt x="8836" y="6678"/>
                  <a:pt x="9496" y="7714"/>
                  <a:pt x="10309" y="7714"/>
                </a:cubicBezTo>
                <a:cubicBezTo>
                  <a:pt x="11123" y="7714"/>
                  <a:pt x="11782" y="6678"/>
                  <a:pt x="11782" y="5400"/>
                </a:cubicBezTo>
                <a:cubicBezTo>
                  <a:pt x="11782" y="4123"/>
                  <a:pt x="11123" y="3086"/>
                  <a:pt x="10309" y="3086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40" name="Shape 2640"/>
          <p:cNvSpPr/>
          <p:nvPr/>
        </p:nvSpPr>
        <p:spPr>
          <a:xfrm>
            <a:off x="2480642" y="1477329"/>
            <a:ext cx="279328" cy="1777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6495"/>
                </a:moveTo>
                <a:lnTo>
                  <a:pt x="19636" y="15723"/>
                </a:lnTo>
                <a:lnTo>
                  <a:pt x="19636" y="5877"/>
                </a:lnTo>
                <a:lnTo>
                  <a:pt x="20618" y="5105"/>
                </a:lnTo>
                <a:cubicBezTo>
                  <a:pt x="20618" y="5105"/>
                  <a:pt x="20618" y="16495"/>
                  <a:pt x="20618" y="16495"/>
                </a:cubicBezTo>
                <a:close/>
                <a:moveTo>
                  <a:pt x="18655" y="14952"/>
                </a:moveTo>
                <a:lnTo>
                  <a:pt x="16691" y="13409"/>
                </a:lnTo>
                <a:lnTo>
                  <a:pt x="16691" y="8191"/>
                </a:lnTo>
                <a:lnTo>
                  <a:pt x="18655" y="6648"/>
                </a:lnTo>
                <a:cubicBezTo>
                  <a:pt x="18655" y="6648"/>
                  <a:pt x="18655" y="14952"/>
                  <a:pt x="18655" y="14952"/>
                </a:cubicBezTo>
                <a:close/>
                <a:moveTo>
                  <a:pt x="15709" y="6171"/>
                </a:moveTo>
                <a:lnTo>
                  <a:pt x="982" y="6171"/>
                </a:lnTo>
                <a:lnTo>
                  <a:pt x="982" y="3086"/>
                </a:lnTo>
                <a:cubicBezTo>
                  <a:pt x="982" y="2234"/>
                  <a:pt x="1422" y="1543"/>
                  <a:pt x="1964" y="1543"/>
                </a:cubicBezTo>
                <a:lnTo>
                  <a:pt x="14727" y="1543"/>
                </a:lnTo>
                <a:cubicBezTo>
                  <a:pt x="15269" y="1543"/>
                  <a:pt x="15709" y="2234"/>
                  <a:pt x="15709" y="3086"/>
                </a:cubicBezTo>
                <a:cubicBezTo>
                  <a:pt x="15709" y="3086"/>
                  <a:pt x="15709" y="6171"/>
                  <a:pt x="15709" y="6171"/>
                </a:cubicBezTo>
                <a:close/>
                <a:moveTo>
                  <a:pt x="15709" y="18514"/>
                </a:moveTo>
                <a:cubicBezTo>
                  <a:pt x="15709" y="19367"/>
                  <a:pt x="15269" y="20057"/>
                  <a:pt x="14727" y="20057"/>
                </a:cubicBezTo>
                <a:lnTo>
                  <a:pt x="1964" y="20057"/>
                </a:lnTo>
                <a:cubicBezTo>
                  <a:pt x="1422" y="20057"/>
                  <a:pt x="982" y="19367"/>
                  <a:pt x="982" y="18514"/>
                </a:cubicBezTo>
                <a:lnTo>
                  <a:pt x="982" y="7714"/>
                </a:lnTo>
                <a:lnTo>
                  <a:pt x="15709" y="7714"/>
                </a:lnTo>
                <a:cubicBezTo>
                  <a:pt x="15709" y="7714"/>
                  <a:pt x="15709" y="18514"/>
                  <a:pt x="15709" y="18514"/>
                </a:cubicBezTo>
                <a:close/>
                <a:moveTo>
                  <a:pt x="21109" y="3086"/>
                </a:moveTo>
                <a:cubicBezTo>
                  <a:pt x="21030" y="3086"/>
                  <a:pt x="20958" y="3122"/>
                  <a:pt x="20892" y="3175"/>
                </a:cubicBezTo>
                <a:lnTo>
                  <a:pt x="20890" y="3167"/>
                </a:lnTo>
                <a:lnTo>
                  <a:pt x="16691" y="6467"/>
                </a:lnTo>
                <a:lnTo>
                  <a:pt x="16691" y="3086"/>
                </a:lnTo>
                <a:cubicBezTo>
                  <a:pt x="16691" y="1382"/>
                  <a:pt x="15812" y="0"/>
                  <a:pt x="14727" y="0"/>
                </a:cubicBezTo>
                <a:lnTo>
                  <a:pt x="1964" y="0"/>
                </a:lnTo>
                <a:cubicBezTo>
                  <a:pt x="879" y="0"/>
                  <a:pt x="0" y="1382"/>
                  <a:pt x="0" y="3086"/>
                </a:cubicBezTo>
                <a:lnTo>
                  <a:pt x="0" y="18514"/>
                </a:lnTo>
                <a:cubicBezTo>
                  <a:pt x="0" y="20219"/>
                  <a:pt x="879" y="21600"/>
                  <a:pt x="1964" y="21600"/>
                </a:cubicBezTo>
                <a:lnTo>
                  <a:pt x="14727" y="21600"/>
                </a:lnTo>
                <a:cubicBezTo>
                  <a:pt x="15812" y="21600"/>
                  <a:pt x="16691" y="20219"/>
                  <a:pt x="16691" y="18514"/>
                </a:cubicBezTo>
                <a:lnTo>
                  <a:pt x="16691" y="15134"/>
                </a:lnTo>
                <a:lnTo>
                  <a:pt x="20890" y="18433"/>
                </a:lnTo>
                <a:lnTo>
                  <a:pt x="20892" y="18426"/>
                </a:lnTo>
                <a:cubicBezTo>
                  <a:pt x="20958" y="18478"/>
                  <a:pt x="21030" y="18514"/>
                  <a:pt x="21109" y="18514"/>
                </a:cubicBezTo>
                <a:cubicBezTo>
                  <a:pt x="21380" y="18514"/>
                  <a:pt x="21600" y="18169"/>
                  <a:pt x="21600" y="17743"/>
                </a:cubicBezTo>
                <a:lnTo>
                  <a:pt x="21600" y="3857"/>
                </a:lnTo>
                <a:cubicBezTo>
                  <a:pt x="21600" y="3432"/>
                  <a:pt x="21380" y="3086"/>
                  <a:pt x="21109" y="3086"/>
                </a:cubicBezTo>
                <a:moveTo>
                  <a:pt x="12273" y="3086"/>
                </a:moveTo>
                <a:cubicBezTo>
                  <a:pt x="12002" y="3086"/>
                  <a:pt x="11782" y="3432"/>
                  <a:pt x="11782" y="3857"/>
                </a:cubicBezTo>
                <a:cubicBezTo>
                  <a:pt x="11782" y="4284"/>
                  <a:pt x="12002" y="4629"/>
                  <a:pt x="12273" y="4629"/>
                </a:cubicBezTo>
                <a:cubicBezTo>
                  <a:pt x="12544" y="4629"/>
                  <a:pt x="12764" y="4284"/>
                  <a:pt x="12764" y="3857"/>
                </a:cubicBezTo>
                <a:cubicBezTo>
                  <a:pt x="12764" y="3432"/>
                  <a:pt x="12544" y="3086"/>
                  <a:pt x="12273" y="3086"/>
                </a:cubicBezTo>
                <a:moveTo>
                  <a:pt x="14236" y="3086"/>
                </a:moveTo>
                <a:cubicBezTo>
                  <a:pt x="13966" y="3086"/>
                  <a:pt x="13745" y="3432"/>
                  <a:pt x="13745" y="3857"/>
                </a:cubicBezTo>
                <a:cubicBezTo>
                  <a:pt x="13745" y="4284"/>
                  <a:pt x="13966" y="4629"/>
                  <a:pt x="14236" y="4629"/>
                </a:cubicBezTo>
                <a:cubicBezTo>
                  <a:pt x="14507" y="4629"/>
                  <a:pt x="14727" y="4284"/>
                  <a:pt x="14727" y="3857"/>
                </a:cubicBezTo>
                <a:cubicBezTo>
                  <a:pt x="14727" y="3432"/>
                  <a:pt x="14507" y="3086"/>
                  <a:pt x="14236" y="3086"/>
                </a:cubicBezTo>
                <a:moveTo>
                  <a:pt x="5400" y="10800"/>
                </a:moveTo>
                <a:cubicBezTo>
                  <a:pt x="6214" y="10800"/>
                  <a:pt x="6873" y="11837"/>
                  <a:pt x="6873" y="13114"/>
                </a:cubicBezTo>
                <a:cubicBezTo>
                  <a:pt x="6873" y="14393"/>
                  <a:pt x="6214" y="15429"/>
                  <a:pt x="5400" y="15429"/>
                </a:cubicBezTo>
                <a:cubicBezTo>
                  <a:pt x="4586" y="15429"/>
                  <a:pt x="3927" y="14393"/>
                  <a:pt x="3927" y="13114"/>
                </a:cubicBezTo>
                <a:cubicBezTo>
                  <a:pt x="3927" y="11837"/>
                  <a:pt x="4586" y="10800"/>
                  <a:pt x="5400" y="10800"/>
                </a:cubicBezTo>
                <a:moveTo>
                  <a:pt x="11291" y="10800"/>
                </a:moveTo>
                <a:cubicBezTo>
                  <a:pt x="12104" y="10800"/>
                  <a:pt x="12764" y="11837"/>
                  <a:pt x="12764" y="13114"/>
                </a:cubicBezTo>
                <a:cubicBezTo>
                  <a:pt x="12764" y="14393"/>
                  <a:pt x="12104" y="15429"/>
                  <a:pt x="11291" y="15429"/>
                </a:cubicBezTo>
                <a:cubicBezTo>
                  <a:pt x="10477" y="15429"/>
                  <a:pt x="9818" y="14393"/>
                  <a:pt x="9818" y="13114"/>
                </a:cubicBezTo>
                <a:cubicBezTo>
                  <a:pt x="9818" y="11837"/>
                  <a:pt x="10477" y="10800"/>
                  <a:pt x="11291" y="10800"/>
                </a:cubicBezTo>
                <a:moveTo>
                  <a:pt x="5400" y="16971"/>
                </a:moveTo>
                <a:lnTo>
                  <a:pt x="11291" y="16971"/>
                </a:lnTo>
                <a:cubicBezTo>
                  <a:pt x="12647" y="16971"/>
                  <a:pt x="13745" y="15245"/>
                  <a:pt x="13745" y="13114"/>
                </a:cubicBezTo>
                <a:cubicBezTo>
                  <a:pt x="13745" y="10984"/>
                  <a:pt x="12647" y="9257"/>
                  <a:pt x="11291" y="9257"/>
                </a:cubicBezTo>
                <a:cubicBezTo>
                  <a:pt x="9935" y="9257"/>
                  <a:pt x="8836" y="10984"/>
                  <a:pt x="8836" y="13114"/>
                </a:cubicBezTo>
                <a:cubicBezTo>
                  <a:pt x="8836" y="13987"/>
                  <a:pt x="9028" y="14782"/>
                  <a:pt x="9338" y="15429"/>
                </a:cubicBezTo>
                <a:lnTo>
                  <a:pt x="7352" y="15429"/>
                </a:lnTo>
                <a:cubicBezTo>
                  <a:pt x="7663" y="14782"/>
                  <a:pt x="7855" y="13987"/>
                  <a:pt x="7855" y="13114"/>
                </a:cubicBezTo>
                <a:cubicBezTo>
                  <a:pt x="7855" y="10984"/>
                  <a:pt x="6755" y="9257"/>
                  <a:pt x="5400" y="9257"/>
                </a:cubicBezTo>
                <a:cubicBezTo>
                  <a:pt x="4044" y="9257"/>
                  <a:pt x="2945" y="10984"/>
                  <a:pt x="2945" y="13114"/>
                </a:cubicBezTo>
                <a:cubicBezTo>
                  <a:pt x="2945" y="15245"/>
                  <a:pt x="4044" y="16971"/>
                  <a:pt x="5400" y="16971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41" name="Shape 2641"/>
          <p:cNvSpPr/>
          <p:nvPr/>
        </p:nvSpPr>
        <p:spPr>
          <a:xfrm>
            <a:off x="3013903" y="1477329"/>
            <a:ext cx="279328" cy="1777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6606"/>
                </a:moveTo>
                <a:lnTo>
                  <a:pt x="16691" y="14138"/>
                </a:lnTo>
                <a:lnTo>
                  <a:pt x="16691" y="7462"/>
                </a:lnTo>
                <a:lnTo>
                  <a:pt x="20618" y="4994"/>
                </a:lnTo>
                <a:cubicBezTo>
                  <a:pt x="20618" y="4994"/>
                  <a:pt x="20618" y="16606"/>
                  <a:pt x="20618" y="16606"/>
                </a:cubicBezTo>
                <a:close/>
                <a:moveTo>
                  <a:pt x="21109" y="3086"/>
                </a:moveTo>
                <a:cubicBezTo>
                  <a:pt x="21030" y="3086"/>
                  <a:pt x="20958" y="3122"/>
                  <a:pt x="20892" y="3174"/>
                </a:cubicBezTo>
                <a:lnTo>
                  <a:pt x="20890" y="3167"/>
                </a:lnTo>
                <a:lnTo>
                  <a:pt x="16018" y="6229"/>
                </a:lnTo>
                <a:cubicBezTo>
                  <a:pt x="16013" y="6233"/>
                  <a:pt x="16008" y="6235"/>
                  <a:pt x="16003" y="6239"/>
                </a:cubicBezTo>
                <a:lnTo>
                  <a:pt x="15980" y="6252"/>
                </a:lnTo>
                <a:lnTo>
                  <a:pt x="15983" y="6260"/>
                </a:lnTo>
                <a:cubicBezTo>
                  <a:pt x="15822" y="6387"/>
                  <a:pt x="15709" y="6641"/>
                  <a:pt x="15709" y="6943"/>
                </a:cubicBezTo>
                <a:lnTo>
                  <a:pt x="15709" y="14657"/>
                </a:lnTo>
                <a:cubicBezTo>
                  <a:pt x="15709" y="14959"/>
                  <a:pt x="15822" y="15213"/>
                  <a:pt x="15983" y="15340"/>
                </a:cubicBezTo>
                <a:lnTo>
                  <a:pt x="15980" y="15347"/>
                </a:lnTo>
                <a:lnTo>
                  <a:pt x="16002" y="15360"/>
                </a:lnTo>
                <a:cubicBezTo>
                  <a:pt x="16008" y="15365"/>
                  <a:pt x="16013" y="15368"/>
                  <a:pt x="16018" y="15371"/>
                </a:cubicBezTo>
                <a:lnTo>
                  <a:pt x="20890" y="18433"/>
                </a:lnTo>
                <a:lnTo>
                  <a:pt x="20892" y="18426"/>
                </a:lnTo>
                <a:cubicBezTo>
                  <a:pt x="20958" y="18478"/>
                  <a:pt x="21030" y="18514"/>
                  <a:pt x="21109" y="18514"/>
                </a:cubicBezTo>
                <a:cubicBezTo>
                  <a:pt x="21380" y="18514"/>
                  <a:pt x="21600" y="18169"/>
                  <a:pt x="21600" y="17743"/>
                </a:cubicBezTo>
                <a:lnTo>
                  <a:pt x="21600" y="3857"/>
                </a:lnTo>
                <a:cubicBezTo>
                  <a:pt x="21600" y="3431"/>
                  <a:pt x="21380" y="3086"/>
                  <a:pt x="21109" y="3086"/>
                </a:cubicBezTo>
                <a:moveTo>
                  <a:pt x="13745" y="18514"/>
                </a:moveTo>
                <a:cubicBezTo>
                  <a:pt x="13745" y="19367"/>
                  <a:pt x="13306" y="20057"/>
                  <a:pt x="12764" y="20057"/>
                </a:cubicBezTo>
                <a:lnTo>
                  <a:pt x="1964" y="20057"/>
                </a:lnTo>
                <a:cubicBezTo>
                  <a:pt x="1422" y="20057"/>
                  <a:pt x="982" y="19367"/>
                  <a:pt x="982" y="18514"/>
                </a:cubicBezTo>
                <a:lnTo>
                  <a:pt x="982" y="3086"/>
                </a:lnTo>
                <a:cubicBezTo>
                  <a:pt x="982" y="2233"/>
                  <a:pt x="1422" y="1543"/>
                  <a:pt x="1964" y="1543"/>
                </a:cubicBezTo>
                <a:lnTo>
                  <a:pt x="12764" y="1543"/>
                </a:lnTo>
                <a:cubicBezTo>
                  <a:pt x="13306" y="1543"/>
                  <a:pt x="13745" y="2233"/>
                  <a:pt x="13745" y="3086"/>
                </a:cubicBezTo>
                <a:cubicBezTo>
                  <a:pt x="13745" y="3086"/>
                  <a:pt x="13745" y="18514"/>
                  <a:pt x="13745" y="18514"/>
                </a:cubicBezTo>
                <a:close/>
                <a:moveTo>
                  <a:pt x="12764" y="0"/>
                </a:moveTo>
                <a:lnTo>
                  <a:pt x="1964" y="0"/>
                </a:lnTo>
                <a:cubicBezTo>
                  <a:pt x="879" y="0"/>
                  <a:pt x="0" y="1382"/>
                  <a:pt x="0" y="3086"/>
                </a:cubicBezTo>
                <a:lnTo>
                  <a:pt x="0" y="18514"/>
                </a:lnTo>
                <a:cubicBezTo>
                  <a:pt x="0" y="20219"/>
                  <a:pt x="879" y="21600"/>
                  <a:pt x="1964" y="21600"/>
                </a:cubicBezTo>
                <a:lnTo>
                  <a:pt x="12764" y="21600"/>
                </a:lnTo>
                <a:cubicBezTo>
                  <a:pt x="13848" y="21600"/>
                  <a:pt x="14727" y="20219"/>
                  <a:pt x="14727" y="18514"/>
                </a:cubicBezTo>
                <a:lnTo>
                  <a:pt x="14727" y="3086"/>
                </a:lnTo>
                <a:cubicBezTo>
                  <a:pt x="14727" y="1382"/>
                  <a:pt x="13848" y="0"/>
                  <a:pt x="12764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42" name="Shape 2642"/>
          <p:cNvSpPr/>
          <p:nvPr/>
        </p:nvSpPr>
        <p:spPr>
          <a:xfrm>
            <a:off x="3547164" y="1439239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0800"/>
                </a:moveTo>
                <a:cubicBezTo>
                  <a:pt x="6653" y="10800"/>
                  <a:pt x="6873" y="10559"/>
                  <a:pt x="6873" y="10260"/>
                </a:cubicBezTo>
                <a:cubicBezTo>
                  <a:pt x="6873" y="9962"/>
                  <a:pt x="6653" y="9720"/>
                  <a:pt x="6382" y="9720"/>
                </a:cubicBezTo>
                <a:cubicBezTo>
                  <a:pt x="6110" y="9720"/>
                  <a:pt x="5891" y="9962"/>
                  <a:pt x="5891" y="10260"/>
                </a:cubicBezTo>
                <a:cubicBezTo>
                  <a:pt x="5891" y="10559"/>
                  <a:pt x="6110" y="10800"/>
                  <a:pt x="6382" y="10800"/>
                </a:cubicBezTo>
                <a:moveTo>
                  <a:pt x="3436" y="10800"/>
                </a:moveTo>
                <a:cubicBezTo>
                  <a:pt x="3708" y="10800"/>
                  <a:pt x="3927" y="11042"/>
                  <a:pt x="3927" y="11340"/>
                </a:cubicBezTo>
                <a:cubicBezTo>
                  <a:pt x="3927" y="11639"/>
                  <a:pt x="3708" y="11880"/>
                  <a:pt x="3436" y="11880"/>
                </a:cubicBezTo>
                <a:cubicBezTo>
                  <a:pt x="3165" y="11880"/>
                  <a:pt x="2945" y="11639"/>
                  <a:pt x="2945" y="11340"/>
                </a:cubicBezTo>
                <a:cubicBezTo>
                  <a:pt x="2945" y="11042"/>
                  <a:pt x="3165" y="10800"/>
                  <a:pt x="3436" y="10800"/>
                </a:cubicBezTo>
                <a:moveTo>
                  <a:pt x="3436" y="12960"/>
                </a:moveTo>
                <a:cubicBezTo>
                  <a:pt x="4249" y="12960"/>
                  <a:pt x="4909" y="12235"/>
                  <a:pt x="4909" y="11340"/>
                </a:cubicBezTo>
                <a:cubicBezTo>
                  <a:pt x="4909" y="10446"/>
                  <a:pt x="4249" y="9720"/>
                  <a:pt x="3436" y="9720"/>
                </a:cubicBezTo>
                <a:cubicBezTo>
                  <a:pt x="2623" y="9720"/>
                  <a:pt x="1964" y="10446"/>
                  <a:pt x="1964" y="11340"/>
                </a:cubicBezTo>
                <a:cubicBezTo>
                  <a:pt x="1964" y="12235"/>
                  <a:pt x="2623" y="12960"/>
                  <a:pt x="3436" y="12960"/>
                </a:cubicBezTo>
                <a:moveTo>
                  <a:pt x="14236" y="18360"/>
                </a:moveTo>
                <a:lnTo>
                  <a:pt x="2455" y="18360"/>
                </a:lnTo>
                <a:cubicBezTo>
                  <a:pt x="2183" y="18360"/>
                  <a:pt x="1964" y="18602"/>
                  <a:pt x="1964" y="18900"/>
                </a:cubicBezTo>
                <a:cubicBezTo>
                  <a:pt x="1964" y="19199"/>
                  <a:pt x="2183" y="19440"/>
                  <a:pt x="2455" y="19440"/>
                </a:cubicBezTo>
                <a:lnTo>
                  <a:pt x="14236" y="19440"/>
                </a:lnTo>
                <a:cubicBezTo>
                  <a:pt x="14508" y="19440"/>
                  <a:pt x="14727" y="19199"/>
                  <a:pt x="14727" y="18900"/>
                </a:cubicBezTo>
                <a:cubicBezTo>
                  <a:pt x="14727" y="18602"/>
                  <a:pt x="14508" y="18360"/>
                  <a:pt x="14236" y="18360"/>
                </a:cubicBezTo>
                <a:moveTo>
                  <a:pt x="20618" y="18105"/>
                </a:moveTo>
                <a:lnTo>
                  <a:pt x="16691" y="16377"/>
                </a:lnTo>
                <a:lnTo>
                  <a:pt x="16691" y="12784"/>
                </a:lnTo>
                <a:lnTo>
                  <a:pt x="20618" y="11056"/>
                </a:lnTo>
                <a:cubicBezTo>
                  <a:pt x="20618" y="11056"/>
                  <a:pt x="20618" y="18105"/>
                  <a:pt x="20618" y="18105"/>
                </a:cubicBezTo>
                <a:close/>
                <a:moveTo>
                  <a:pt x="15709" y="19440"/>
                </a:moveTo>
                <a:cubicBezTo>
                  <a:pt x="15709" y="20037"/>
                  <a:pt x="15269" y="20520"/>
                  <a:pt x="14727" y="20520"/>
                </a:cubicBezTo>
                <a:lnTo>
                  <a:pt x="1964" y="20520"/>
                </a:lnTo>
                <a:cubicBezTo>
                  <a:pt x="1422" y="20520"/>
                  <a:pt x="982" y="20037"/>
                  <a:pt x="982" y="19440"/>
                </a:cubicBezTo>
                <a:lnTo>
                  <a:pt x="982" y="9720"/>
                </a:lnTo>
                <a:cubicBezTo>
                  <a:pt x="982" y="9124"/>
                  <a:pt x="1422" y="8640"/>
                  <a:pt x="1964" y="8640"/>
                </a:cubicBezTo>
                <a:lnTo>
                  <a:pt x="14727" y="8640"/>
                </a:lnTo>
                <a:cubicBezTo>
                  <a:pt x="15269" y="8640"/>
                  <a:pt x="15709" y="9124"/>
                  <a:pt x="15709" y="9720"/>
                </a:cubicBezTo>
                <a:cubicBezTo>
                  <a:pt x="15709" y="9720"/>
                  <a:pt x="15709" y="19440"/>
                  <a:pt x="15709" y="19440"/>
                </a:cubicBezTo>
                <a:close/>
                <a:moveTo>
                  <a:pt x="1964" y="4320"/>
                </a:moveTo>
                <a:cubicBezTo>
                  <a:pt x="1964" y="2531"/>
                  <a:pt x="3282" y="1080"/>
                  <a:pt x="4909" y="1080"/>
                </a:cubicBezTo>
                <a:cubicBezTo>
                  <a:pt x="6536" y="1080"/>
                  <a:pt x="7855" y="2531"/>
                  <a:pt x="7855" y="4320"/>
                </a:cubicBezTo>
                <a:cubicBezTo>
                  <a:pt x="7855" y="6110"/>
                  <a:pt x="6536" y="7560"/>
                  <a:pt x="4909" y="7560"/>
                </a:cubicBezTo>
                <a:cubicBezTo>
                  <a:pt x="3282" y="7560"/>
                  <a:pt x="1964" y="6110"/>
                  <a:pt x="1964" y="4320"/>
                </a:cubicBezTo>
                <a:moveTo>
                  <a:pt x="9190" y="7560"/>
                </a:moveTo>
                <a:lnTo>
                  <a:pt x="7501" y="7560"/>
                </a:lnTo>
                <a:cubicBezTo>
                  <a:pt x="7839" y="7233"/>
                  <a:pt x="8122" y="6840"/>
                  <a:pt x="8342" y="6404"/>
                </a:cubicBezTo>
                <a:cubicBezTo>
                  <a:pt x="8562" y="6842"/>
                  <a:pt x="8851" y="7232"/>
                  <a:pt x="9190" y="7560"/>
                </a:cubicBezTo>
                <a:moveTo>
                  <a:pt x="11782" y="1080"/>
                </a:moveTo>
                <a:cubicBezTo>
                  <a:pt x="13409" y="1080"/>
                  <a:pt x="14727" y="2531"/>
                  <a:pt x="14727" y="4320"/>
                </a:cubicBezTo>
                <a:cubicBezTo>
                  <a:pt x="14727" y="6110"/>
                  <a:pt x="13409" y="7560"/>
                  <a:pt x="11782" y="7560"/>
                </a:cubicBezTo>
                <a:cubicBezTo>
                  <a:pt x="10155" y="7560"/>
                  <a:pt x="8836" y="6110"/>
                  <a:pt x="8836" y="4320"/>
                </a:cubicBezTo>
                <a:cubicBezTo>
                  <a:pt x="8836" y="2531"/>
                  <a:pt x="10155" y="1080"/>
                  <a:pt x="11782" y="1080"/>
                </a:cubicBezTo>
                <a:moveTo>
                  <a:pt x="21109" y="9720"/>
                </a:moveTo>
                <a:cubicBezTo>
                  <a:pt x="21030" y="9720"/>
                  <a:pt x="20958" y="9745"/>
                  <a:pt x="20892" y="9782"/>
                </a:cubicBezTo>
                <a:lnTo>
                  <a:pt x="20890" y="9777"/>
                </a:lnTo>
                <a:lnTo>
                  <a:pt x="16691" y="11625"/>
                </a:lnTo>
                <a:lnTo>
                  <a:pt x="16691" y="9720"/>
                </a:lnTo>
                <a:cubicBezTo>
                  <a:pt x="16691" y="8527"/>
                  <a:pt x="15812" y="7560"/>
                  <a:pt x="14727" y="7560"/>
                </a:cubicBezTo>
                <a:lnTo>
                  <a:pt x="14373" y="7560"/>
                </a:lnTo>
                <a:cubicBezTo>
                  <a:pt x="15191" y="6768"/>
                  <a:pt x="15709" y="5612"/>
                  <a:pt x="15709" y="4320"/>
                </a:cubicBezTo>
                <a:cubicBezTo>
                  <a:pt x="15709" y="1934"/>
                  <a:pt x="13951" y="0"/>
                  <a:pt x="11782" y="0"/>
                </a:cubicBezTo>
                <a:cubicBezTo>
                  <a:pt x="10302" y="0"/>
                  <a:pt x="9015" y="901"/>
                  <a:pt x="8345" y="2231"/>
                </a:cubicBezTo>
                <a:cubicBezTo>
                  <a:pt x="7676" y="901"/>
                  <a:pt x="6389" y="0"/>
                  <a:pt x="4909" y="0"/>
                </a:cubicBezTo>
                <a:cubicBezTo>
                  <a:pt x="2740" y="0"/>
                  <a:pt x="982" y="1934"/>
                  <a:pt x="982" y="4320"/>
                </a:cubicBezTo>
                <a:cubicBezTo>
                  <a:pt x="982" y="5612"/>
                  <a:pt x="1501" y="6768"/>
                  <a:pt x="2317" y="7560"/>
                </a:cubicBezTo>
                <a:lnTo>
                  <a:pt x="1964" y="7560"/>
                </a:lnTo>
                <a:cubicBezTo>
                  <a:pt x="879" y="7560"/>
                  <a:pt x="0" y="8527"/>
                  <a:pt x="0" y="9720"/>
                </a:cubicBezTo>
                <a:lnTo>
                  <a:pt x="0" y="19440"/>
                </a:lnTo>
                <a:cubicBezTo>
                  <a:pt x="0" y="20633"/>
                  <a:pt x="879" y="21600"/>
                  <a:pt x="1964" y="21600"/>
                </a:cubicBezTo>
                <a:lnTo>
                  <a:pt x="14727" y="21600"/>
                </a:lnTo>
                <a:cubicBezTo>
                  <a:pt x="15812" y="21600"/>
                  <a:pt x="16691" y="20633"/>
                  <a:pt x="16691" y="19440"/>
                </a:cubicBezTo>
                <a:lnTo>
                  <a:pt x="16691" y="17536"/>
                </a:lnTo>
                <a:lnTo>
                  <a:pt x="20890" y="19383"/>
                </a:lnTo>
                <a:lnTo>
                  <a:pt x="20891" y="19379"/>
                </a:lnTo>
                <a:cubicBezTo>
                  <a:pt x="20958" y="19415"/>
                  <a:pt x="21030" y="19440"/>
                  <a:pt x="21109" y="19440"/>
                </a:cubicBezTo>
                <a:cubicBezTo>
                  <a:pt x="21380" y="19440"/>
                  <a:pt x="21600" y="19199"/>
                  <a:pt x="21600" y="18900"/>
                </a:cubicBezTo>
                <a:lnTo>
                  <a:pt x="21600" y="10260"/>
                </a:lnTo>
                <a:cubicBezTo>
                  <a:pt x="21600" y="9962"/>
                  <a:pt x="21380" y="9720"/>
                  <a:pt x="21109" y="9720"/>
                </a:cubicBezTo>
                <a:moveTo>
                  <a:pt x="11782" y="5400"/>
                </a:moveTo>
                <a:cubicBezTo>
                  <a:pt x="12324" y="5400"/>
                  <a:pt x="12764" y="4916"/>
                  <a:pt x="12764" y="4320"/>
                </a:cubicBezTo>
                <a:cubicBezTo>
                  <a:pt x="12764" y="3724"/>
                  <a:pt x="12324" y="3240"/>
                  <a:pt x="11782" y="3240"/>
                </a:cubicBezTo>
                <a:cubicBezTo>
                  <a:pt x="11240" y="3240"/>
                  <a:pt x="10800" y="3724"/>
                  <a:pt x="10800" y="4320"/>
                </a:cubicBezTo>
                <a:cubicBezTo>
                  <a:pt x="10800" y="4916"/>
                  <a:pt x="11240" y="5400"/>
                  <a:pt x="11782" y="5400"/>
                </a:cubicBezTo>
                <a:moveTo>
                  <a:pt x="4909" y="5400"/>
                </a:moveTo>
                <a:cubicBezTo>
                  <a:pt x="5451" y="5400"/>
                  <a:pt x="5891" y="4916"/>
                  <a:pt x="5891" y="4320"/>
                </a:cubicBezTo>
                <a:cubicBezTo>
                  <a:pt x="5891" y="3724"/>
                  <a:pt x="5451" y="3240"/>
                  <a:pt x="4909" y="3240"/>
                </a:cubicBezTo>
                <a:cubicBezTo>
                  <a:pt x="4367" y="3240"/>
                  <a:pt x="3927" y="3724"/>
                  <a:pt x="3927" y="4320"/>
                </a:cubicBezTo>
                <a:cubicBezTo>
                  <a:pt x="3927" y="4916"/>
                  <a:pt x="4367" y="5400"/>
                  <a:pt x="4909" y="540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43" name="Shape 2643"/>
          <p:cNvSpPr/>
          <p:nvPr/>
        </p:nvSpPr>
        <p:spPr>
          <a:xfrm>
            <a:off x="4143908" y="1426542"/>
            <a:ext cx="15236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44" name="Shape 2644"/>
          <p:cNvSpPr/>
          <p:nvPr/>
        </p:nvSpPr>
        <p:spPr>
          <a:xfrm>
            <a:off x="4651776" y="1426542"/>
            <a:ext cx="20314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4" y="20618"/>
                  <a:pt x="1350" y="20179"/>
                  <a:pt x="1350" y="19636"/>
                </a:cubicBezTo>
                <a:lnTo>
                  <a:pt x="1350" y="1964"/>
                </a:lnTo>
                <a:cubicBezTo>
                  <a:pt x="1350" y="1422"/>
                  <a:pt x="1954" y="982"/>
                  <a:pt x="2700" y="982"/>
                </a:cubicBezTo>
                <a:lnTo>
                  <a:pt x="18900" y="982"/>
                </a:lnTo>
                <a:cubicBezTo>
                  <a:pt x="19645" y="982"/>
                  <a:pt x="20250" y="1422"/>
                  <a:pt x="20250" y="1964"/>
                </a:cubicBezTo>
                <a:cubicBezTo>
                  <a:pt x="20250" y="1964"/>
                  <a:pt x="20250" y="19636"/>
                  <a:pt x="20250" y="19636"/>
                </a:cubicBezTo>
                <a:close/>
                <a:moveTo>
                  <a:pt x="18900" y="0"/>
                </a:moveTo>
                <a:lnTo>
                  <a:pt x="2700" y="0"/>
                </a:lnTo>
                <a:cubicBezTo>
                  <a:pt x="120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391" y="0"/>
                  <a:pt x="18900" y="0"/>
                </a:cubicBezTo>
                <a:moveTo>
                  <a:pt x="4050" y="3927"/>
                </a:moveTo>
                <a:lnTo>
                  <a:pt x="17550" y="3927"/>
                </a:lnTo>
                <a:lnTo>
                  <a:pt x="17550" y="17673"/>
                </a:lnTo>
                <a:lnTo>
                  <a:pt x="4050" y="17673"/>
                </a:lnTo>
                <a:cubicBezTo>
                  <a:pt x="4050" y="17673"/>
                  <a:pt x="4050" y="3927"/>
                  <a:pt x="4050" y="3927"/>
                </a:cubicBezTo>
                <a:close/>
                <a:moveTo>
                  <a:pt x="2700" y="18655"/>
                </a:moveTo>
                <a:lnTo>
                  <a:pt x="18900" y="18655"/>
                </a:lnTo>
                <a:lnTo>
                  <a:pt x="18900" y="2945"/>
                </a:lnTo>
                <a:lnTo>
                  <a:pt x="2700" y="2945"/>
                </a:lnTo>
                <a:cubicBezTo>
                  <a:pt x="2700" y="2945"/>
                  <a:pt x="2700" y="18655"/>
                  <a:pt x="2700" y="18655"/>
                </a:cubicBezTo>
                <a:close/>
                <a:moveTo>
                  <a:pt x="10125" y="2455"/>
                </a:moveTo>
                <a:lnTo>
                  <a:pt x="11475" y="2455"/>
                </a:lnTo>
                <a:cubicBezTo>
                  <a:pt x="11848" y="2455"/>
                  <a:pt x="12150" y="2235"/>
                  <a:pt x="12150" y="1964"/>
                </a:cubicBezTo>
                <a:cubicBezTo>
                  <a:pt x="12150" y="1692"/>
                  <a:pt x="11848" y="1473"/>
                  <a:pt x="11475" y="1473"/>
                </a:cubicBezTo>
                <a:lnTo>
                  <a:pt x="10125" y="1473"/>
                </a:lnTo>
                <a:cubicBezTo>
                  <a:pt x="9752" y="1473"/>
                  <a:pt x="9450" y="1692"/>
                  <a:pt x="9450" y="1964"/>
                </a:cubicBezTo>
                <a:cubicBezTo>
                  <a:pt x="9450" y="2235"/>
                  <a:pt x="9752" y="2455"/>
                  <a:pt x="10125" y="2455"/>
                </a:cubicBezTo>
                <a:moveTo>
                  <a:pt x="10800" y="19145"/>
                </a:moveTo>
                <a:cubicBezTo>
                  <a:pt x="10427" y="19145"/>
                  <a:pt x="10125" y="19366"/>
                  <a:pt x="10125" y="19636"/>
                </a:cubicBezTo>
                <a:cubicBezTo>
                  <a:pt x="10125" y="19908"/>
                  <a:pt x="10427" y="20127"/>
                  <a:pt x="10800" y="20127"/>
                </a:cubicBezTo>
                <a:cubicBezTo>
                  <a:pt x="11173" y="20127"/>
                  <a:pt x="11475" y="19908"/>
                  <a:pt x="11475" y="19636"/>
                </a:cubicBezTo>
                <a:cubicBezTo>
                  <a:pt x="11475" y="19366"/>
                  <a:pt x="11173" y="19145"/>
                  <a:pt x="10800" y="19145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45" name="Shape 2645"/>
          <p:cNvSpPr/>
          <p:nvPr/>
        </p:nvSpPr>
        <p:spPr>
          <a:xfrm>
            <a:off x="5146947" y="1464632"/>
            <a:ext cx="279328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20250"/>
                </a:moveTo>
                <a:lnTo>
                  <a:pt x="2740" y="17504"/>
                </a:lnTo>
                <a:cubicBezTo>
                  <a:pt x="2807" y="17526"/>
                  <a:pt x="2874" y="17550"/>
                  <a:pt x="2945" y="17550"/>
                </a:cubicBezTo>
                <a:lnTo>
                  <a:pt x="18655" y="17550"/>
                </a:lnTo>
                <a:cubicBezTo>
                  <a:pt x="18726" y="17550"/>
                  <a:pt x="18793" y="17526"/>
                  <a:pt x="18860" y="17504"/>
                </a:cubicBezTo>
                <a:lnTo>
                  <a:pt x="20192" y="20250"/>
                </a:lnTo>
                <a:cubicBezTo>
                  <a:pt x="20192" y="20250"/>
                  <a:pt x="1408" y="20250"/>
                  <a:pt x="1408" y="20250"/>
                </a:cubicBezTo>
                <a:close/>
                <a:moveTo>
                  <a:pt x="2945" y="1350"/>
                </a:moveTo>
                <a:lnTo>
                  <a:pt x="18655" y="1350"/>
                </a:lnTo>
                <a:lnTo>
                  <a:pt x="18655" y="16200"/>
                </a:lnTo>
                <a:lnTo>
                  <a:pt x="2945" y="16200"/>
                </a:lnTo>
                <a:cubicBezTo>
                  <a:pt x="2945" y="16200"/>
                  <a:pt x="2945" y="1350"/>
                  <a:pt x="2945" y="1350"/>
                </a:cubicBezTo>
                <a:close/>
                <a:moveTo>
                  <a:pt x="21510" y="20558"/>
                </a:moveTo>
                <a:lnTo>
                  <a:pt x="21518" y="20551"/>
                </a:lnTo>
                <a:lnTo>
                  <a:pt x="19591" y="16577"/>
                </a:lnTo>
                <a:cubicBezTo>
                  <a:pt x="19617" y="16457"/>
                  <a:pt x="19636" y="16332"/>
                  <a:pt x="19636" y="16200"/>
                </a:cubicBezTo>
                <a:lnTo>
                  <a:pt x="19636" y="1350"/>
                </a:lnTo>
                <a:cubicBezTo>
                  <a:pt x="19636" y="605"/>
                  <a:pt x="19197" y="0"/>
                  <a:pt x="18655" y="0"/>
                </a:cubicBezTo>
                <a:lnTo>
                  <a:pt x="2945" y="0"/>
                </a:lnTo>
                <a:cubicBezTo>
                  <a:pt x="2403" y="0"/>
                  <a:pt x="1964" y="605"/>
                  <a:pt x="1964" y="1350"/>
                </a:cubicBezTo>
                <a:lnTo>
                  <a:pt x="1964" y="16200"/>
                </a:lnTo>
                <a:cubicBezTo>
                  <a:pt x="1964" y="16332"/>
                  <a:pt x="1983" y="16457"/>
                  <a:pt x="2009" y="16577"/>
                </a:cubicBezTo>
                <a:lnTo>
                  <a:pt x="82" y="20551"/>
                </a:lnTo>
                <a:lnTo>
                  <a:pt x="90" y="20558"/>
                </a:lnTo>
                <a:cubicBezTo>
                  <a:pt x="38" y="20665"/>
                  <a:pt x="0" y="20787"/>
                  <a:pt x="0" y="20925"/>
                </a:cubicBezTo>
                <a:cubicBezTo>
                  <a:pt x="0" y="21298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298"/>
                  <a:pt x="21600" y="20925"/>
                </a:cubicBezTo>
                <a:cubicBezTo>
                  <a:pt x="21600" y="20787"/>
                  <a:pt x="21562" y="20665"/>
                  <a:pt x="21510" y="20558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46" name="Shape 2646"/>
          <p:cNvSpPr/>
          <p:nvPr/>
        </p:nvSpPr>
        <p:spPr>
          <a:xfrm>
            <a:off x="5680208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2" y="20618"/>
                  <a:pt x="6873" y="20838"/>
                  <a:pt x="6873" y="21109"/>
                </a:cubicBezTo>
                <a:cubicBezTo>
                  <a:pt x="6873" y="21381"/>
                  <a:pt x="7092" y="21600"/>
                  <a:pt x="7364" y="21600"/>
                </a:cubicBezTo>
                <a:lnTo>
                  <a:pt x="14236" y="21600"/>
                </a:lnTo>
                <a:cubicBezTo>
                  <a:pt x="14508" y="21600"/>
                  <a:pt x="14727" y="21381"/>
                  <a:pt x="14727" y="21109"/>
                </a:cubicBezTo>
                <a:cubicBezTo>
                  <a:pt x="14727" y="20838"/>
                  <a:pt x="14508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47" name="Shape 2647"/>
          <p:cNvSpPr/>
          <p:nvPr/>
        </p:nvSpPr>
        <p:spPr>
          <a:xfrm>
            <a:off x="880859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773" y="5201"/>
                </a:moveTo>
                <a:cubicBezTo>
                  <a:pt x="10712" y="5093"/>
                  <a:pt x="10614" y="5023"/>
                  <a:pt x="10504" y="4986"/>
                </a:cubicBezTo>
                <a:lnTo>
                  <a:pt x="10517" y="4938"/>
                </a:lnTo>
                <a:cubicBezTo>
                  <a:pt x="10483" y="4941"/>
                  <a:pt x="10451" y="4949"/>
                  <a:pt x="10419" y="4957"/>
                </a:cubicBezTo>
                <a:lnTo>
                  <a:pt x="8464" y="4433"/>
                </a:lnTo>
                <a:cubicBezTo>
                  <a:pt x="8343" y="4400"/>
                  <a:pt x="8209" y="4414"/>
                  <a:pt x="8091" y="4482"/>
                </a:cubicBezTo>
                <a:cubicBezTo>
                  <a:pt x="7856" y="4618"/>
                  <a:pt x="7776" y="4918"/>
                  <a:pt x="7912" y="5153"/>
                </a:cubicBezTo>
                <a:cubicBezTo>
                  <a:pt x="7979" y="5270"/>
                  <a:pt x="8088" y="5349"/>
                  <a:pt x="8210" y="5381"/>
                </a:cubicBezTo>
                <a:lnTo>
                  <a:pt x="8965" y="5584"/>
                </a:lnTo>
                <a:cubicBezTo>
                  <a:pt x="8292" y="6116"/>
                  <a:pt x="7855" y="6927"/>
                  <a:pt x="7855" y="7855"/>
                </a:cubicBezTo>
                <a:cubicBezTo>
                  <a:pt x="7855" y="9081"/>
                  <a:pt x="8605" y="10131"/>
                  <a:pt x="9671" y="10574"/>
                </a:cubicBezTo>
                <a:lnTo>
                  <a:pt x="9934" y="9609"/>
                </a:lnTo>
                <a:cubicBezTo>
                  <a:pt x="9286" y="9288"/>
                  <a:pt x="8836" y="8627"/>
                  <a:pt x="8836" y="7855"/>
                </a:cubicBezTo>
                <a:cubicBezTo>
                  <a:pt x="8836" y="7221"/>
                  <a:pt x="9142" y="6665"/>
                  <a:pt x="9609" y="6309"/>
                </a:cubicBezTo>
                <a:lnTo>
                  <a:pt x="9336" y="7331"/>
                </a:lnTo>
                <a:cubicBezTo>
                  <a:pt x="9303" y="7453"/>
                  <a:pt x="9316" y="7586"/>
                  <a:pt x="9384" y="7704"/>
                </a:cubicBezTo>
                <a:cubicBezTo>
                  <a:pt x="9520" y="7938"/>
                  <a:pt x="9820" y="8019"/>
                  <a:pt x="10055" y="7884"/>
                </a:cubicBezTo>
                <a:cubicBezTo>
                  <a:pt x="10172" y="7815"/>
                  <a:pt x="10251" y="7706"/>
                  <a:pt x="10284" y="7585"/>
                </a:cubicBezTo>
                <a:lnTo>
                  <a:pt x="10823" y="5573"/>
                </a:lnTo>
                <a:cubicBezTo>
                  <a:pt x="10855" y="5452"/>
                  <a:pt x="10841" y="5318"/>
                  <a:pt x="10773" y="5201"/>
                </a:cubicBezTo>
                <a:moveTo>
                  <a:pt x="13421" y="10343"/>
                </a:moveTo>
                <a:lnTo>
                  <a:pt x="12630" y="10132"/>
                </a:lnTo>
                <a:cubicBezTo>
                  <a:pt x="13306" y="9598"/>
                  <a:pt x="13745" y="8785"/>
                  <a:pt x="13745" y="7855"/>
                </a:cubicBezTo>
                <a:cubicBezTo>
                  <a:pt x="13745" y="6643"/>
                  <a:pt x="13013" y="5604"/>
                  <a:pt x="11967" y="5152"/>
                </a:cubicBezTo>
                <a:lnTo>
                  <a:pt x="11702" y="6121"/>
                </a:lnTo>
                <a:cubicBezTo>
                  <a:pt x="12330" y="6448"/>
                  <a:pt x="12764" y="7098"/>
                  <a:pt x="12764" y="7855"/>
                </a:cubicBezTo>
                <a:cubicBezTo>
                  <a:pt x="12764" y="8468"/>
                  <a:pt x="12477" y="9008"/>
                  <a:pt x="12035" y="9366"/>
                </a:cubicBezTo>
                <a:lnTo>
                  <a:pt x="12295" y="8394"/>
                </a:lnTo>
                <a:cubicBezTo>
                  <a:pt x="12328" y="8273"/>
                  <a:pt x="12314" y="8139"/>
                  <a:pt x="12246" y="8021"/>
                </a:cubicBezTo>
                <a:cubicBezTo>
                  <a:pt x="12111" y="7786"/>
                  <a:pt x="11811" y="7706"/>
                  <a:pt x="11576" y="7842"/>
                </a:cubicBezTo>
                <a:cubicBezTo>
                  <a:pt x="11458" y="7910"/>
                  <a:pt x="11380" y="8019"/>
                  <a:pt x="11347" y="8140"/>
                </a:cubicBezTo>
                <a:lnTo>
                  <a:pt x="10808" y="10152"/>
                </a:lnTo>
                <a:lnTo>
                  <a:pt x="10808" y="10152"/>
                </a:lnTo>
                <a:cubicBezTo>
                  <a:pt x="10776" y="10273"/>
                  <a:pt x="10789" y="10407"/>
                  <a:pt x="10857" y="10524"/>
                </a:cubicBezTo>
                <a:cubicBezTo>
                  <a:pt x="10920" y="10634"/>
                  <a:pt x="11021" y="10706"/>
                  <a:pt x="11133" y="10742"/>
                </a:cubicBezTo>
                <a:lnTo>
                  <a:pt x="11126" y="10768"/>
                </a:lnTo>
                <a:cubicBezTo>
                  <a:pt x="11142" y="10766"/>
                  <a:pt x="11157" y="10761"/>
                  <a:pt x="11173" y="10758"/>
                </a:cubicBezTo>
                <a:lnTo>
                  <a:pt x="13167" y="11292"/>
                </a:lnTo>
                <a:cubicBezTo>
                  <a:pt x="13288" y="11324"/>
                  <a:pt x="13422" y="11311"/>
                  <a:pt x="13540" y="11243"/>
                </a:cubicBezTo>
                <a:cubicBezTo>
                  <a:pt x="13774" y="11107"/>
                  <a:pt x="13855" y="10807"/>
                  <a:pt x="13719" y="10572"/>
                </a:cubicBezTo>
                <a:cubicBezTo>
                  <a:pt x="13651" y="10455"/>
                  <a:pt x="13542" y="10376"/>
                  <a:pt x="13421" y="10343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48" name="Shape 2648"/>
          <p:cNvSpPr/>
          <p:nvPr/>
        </p:nvSpPr>
        <p:spPr>
          <a:xfrm>
            <a:off x="1414120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764" y="8836"/>
                </a:moveTo>
                <a:cubicBezTo>
                  <a:pt x="12628" y="8836"/>
                  <a:pt x="12505" y="8891"/>
                  <a:pt x="12417" y="8980"/>
                </a:cubicBezTo>
                <a:lnTo>
                  <a:pt x="11291" y="10106"/>
                </a:lnTo>
                <a:lnTo>
                  <a:pt x="11291" y="4419"/>
                </a:lnTo>
                <a:lnTo>
                  <a:pt x="11291" y="4418"/>
                </a:lnTo>
                <a:cubicBezTo>
                  <a:pt x="11291" y="4147"/>
                  <a:pt x="11071" y="3927"/>
                  <a:pt x="10800" y="3927"/>
                </a:cubicBezTo>
                <a:cubicBezTo>
                  <a:pt x="10529" y="3927"/>
                  <a:pt x="10309" y="4147"/>
                  <a:pt x="10309" y="4418"/>
                </a:cubicBezTo>
                <a:lnTo>
                  <a:pt x="10309" y="10106"/>
                </a:lnTo>
                <a:lnTo>
                  <a:pt x="9183" y="8980"/>
                </a:lnTo>
                <a:cubicBezTo>
                  <a:pt x="9095" y="8891"/>
                  <a:pt x="8972" y="8836"/>
                  <a:pt x="8836" y="8836"/>
                </a:cubicBezTo>
                <a:cubicBezTo>
                  <a:pt x="8566" y="8836"/>
                  <a:pt x="8345" y="9056"/>
                  <a:pt x="8345" y="9327"/>
                </a:cubicBezTo>
                <a:cubicBezTo>
                  <a:pt x="8345" y="9463"/>
                  <a:pt x="8400" y="9586"/>
                  <a:pt x="8489" y="9674"/>
                </a:cubicBezTo>
                <a:lnTo>
                  <a:pt x="10453" y="11638"/>
                </a:lnTo>
                <a:cubicBezTo>
                  <a:pt x="10542" y="11727"/>
                  <a:pt x="10665" y="11782"/>
                  <a:pt x="10800" y="11782"/>
                </a:cubicBezTo>
                <a:cubicBezTo>
                  <a:pt x="10935" y="11782"/>
                  <a:pt x="11058" y="11727"/>
                  <a:pt x="11147" y="11638"/>
                </a:cubicBezTo>
                <a:lnTo>
                  <a:pt x="13111" y="9674"/>
                </a:lnTo>
                <a:cubicBezTo>
                  <a:pt x="13200" y="9586"/>
                  <a:pt x="13255" y="9463"/>
                  <a:pt x="13255" y="9327"/>
                </a:cubicBezTo>
                <a:cubicBezTo>
                  <a:pt x="13255" y="9056"/>
                  <a:pt x="13034" y="8836"/>
                  <a:pt x="12764" y="8836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49" name="Shape 2649"/>
          <p:cNvSpPr/>
          <p:nvPr/>
        </p:nvSpPr>
        <p:spPr>
          <a:xfrm>
            <a:off x="1947381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1147" y="4071"/>
                </a:moveTo>
                <a:cubicBezTo>
                  <a:pt x="11058" y="3982"/>
                  <a:pt x="10935" y="3927"/>
                  <a:pt x="10800" y="3927"/>
                </a:cubicBezTo>
                <a:cubicBezTo>
                  <a:pt x="10665" y="3927"/>
                  <a:pt x="10542" y="3982"/>
                  <a:pt x="10453" y="4071"/>
                </a:cubicBezTo>
                <a:lnTo>
                  <a:pt x="8489" y="6035"/>
                </a:lnTo>
                <a:cubicBezTo>
                  <a:pt x="8400" y="6124"/>
                  <a:pt x="8345" y="6247"/>
                  <a:pt x="8345" y="6382"/>
                </a:cubicBezTo>
                <a:cubicBezTo>
                  <a:pt x="8345" y="6653"/>
                  <a:pt x="8566" y="6873"/>
                  <a:pt x="8836" y="6873"/>
                </a:cubicBezTo>
                <a:cubicBezTo>
                  <a:pt x="8972" y="6873"/>
                  <a:pt x="9095" y="6818"/>
                  <a:pt x="9183" y="6729"/>
                </a:cubicBezTo>
                <a:lnTo>
                  <a:pt x="10309" y="5603"/>
                </a:lnTo>
                <a:lnTo>
                  <a:pt x="10309" y="11291"/>
                </a:lnTo>
                <a:cubicBezTo>
                  <a:pt x="10309" y="11562"/>
                  <a:pt x="10529" y="11782"/>
                  <a:pt x="10800" y="11782"/>
                </a:cubicBezTo>
                <a:cubicBezTo>
                  <a:pt x="11071" y="11782"/>
                  <a:pt x="11291" y="11562"/>
                  <a:pt x="11291" y="11291"/>
                </a:cubicBezTo>
                <a:lnTo>
                  <a:pt x="11291" y="5603"/>
                </a:lnTo>
                <a:lnTo>
                  <a:pt x="12417" y="6729"/>
                </a:lnTo>
                <a:cubicBezTo>
                  <a:pt x="12505" y="6818"/>
                  <a:pt x="12628" y="6873"/>
                  <a:pt x="12764" y="6873"/>
                </a:cubicBezTo>
                <a:cubicBezTo>
                  <a:pt x="13034" y="6873"/>
                  <a:pt x="13255" y="6653"/>
                  <a:pt x="13255" y="6382"/>
                </a:cubicBezTo>
                <a:cubicBezTo>
                  <a:pt x="13255" y="6247"/>
                  <a:pt x="13200" y="6124"/>
                  <a:pt x="13111" y="6035"/>
                </a:cubicBezTo>
                <a:cubicBezTo>
                  <a:pt x="13111" y="6035"/>
                  <a:pt x="11147" y="4071"/>
                  <a:pt x="11147" y="4071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50" name="Shape 2650"/>
          <p:cNvSpPr/>
          <p:nvPr/>
        </p:nvSpPr>
        <p:spPr>
          <a:xfrm>
            <a:off x="2480642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36" y="7364"/>
                </a:moveTo>
                <a:lnTo>
                  <a:pt x="8549" y="7364"/>
                </a:lnTo>
                <a:lnTo>
                  <a:pt x="9674" y="6238"/>
                </a:lnTo>
                <a:cubicBezTo>
                  <a:pt x="9763" y="6149"/>
                  <a:pt x="9818" y="6027"/>
                  <a:pt x="9818" y="5891"/>
                </a:cubicBezTo>
                <a:cubicBezTo>
                  <a:pt x="9818" y="5620"/>
                  <a:pt x="9598" y="5400"/>
                  <a:pt x="9327" y="5400"/>
                </a:cubicBezTo>
                <a:cubicBezTo>
                  <a:pt x="9192" y="5400"/>
                  <a:pt x="9069" y="5455"/>
                  <a:pt x="8980" y="5544"/>
                </a:cubicBezTo>
                <a:lnTo>
                  <a:pt x="7017" y="7507"/>
                </a:lnTo>
                <a:cubicBezTo>
                  <a:pt x="6928" y="7597"/>
                  <a:pt x="6873" y="7720"/>
                  <a:pt x="6873" y="7855"/>
                </a:cubicBezTo>
                <a:cubicBezTo>
                  <a:pt x="6873" y="7990"/>
                  <a:pt x="6928" y="8113"/>
                  <a:pt x="7017" y="8202"/>
                </a:cubicBezTo>
                <a:lnTo>
                  <a:pt x="8980" y="10165"/>
                </a:lnTo>
                <a:cubicBezTo>
                  <a:pt x="9069" y="10255"/>
                  <a:pt x="9192" y="10309"/>
                  <a:pt x="9327" y="10309"/>
                </a:cubicBezTo>
                <a:cubicBezTo>
                  <a:pt x="9598" y="10309"/>
                  <a:pt x="9818" y="10090"/>
                  <a:pt x="9818" y="9818"/>
                </a:cubicBezTo>
                <a:cubicBezTo>
                  <a:pt x="9818" y="9683"/>
                  <a:pt x="9763" y="9560"/>
                  <a:pt x="9674" y="9471"/>
                </a:cubicBezTo>
                <a:lnTo>
                  <a:pt x="8549" y="8345"/>
                </a:lnTo>
                <a:lnTo>
                  <a:pt x="14236" y="8345"/>
                </a:lnTo>
                <a:cubicBezTo>
                  <a:pt x="14507" y="8345"/>
                  <a:pt x="14727" y="8126"/>
                  <a:pt x="14727" y="7855"/>
                </a:cubicBezTo>
                <a:cubicBezTo>
                  <a:pt x="14727" y="7584"/>
                  <a:pt x="14507" y="7364"/>
                  <a:pt x="14236" y="7364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51" name="Shape 2651"/>
          <p:cNvSpPr/>
          <p:nvPr/>
        </p:nvSpPr>
        <p:spPr>
          <a:xfrm>
            <a:off x="3013903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583" y="7507"/>
                </a:moveTo>
                <a:lnTo>
                  <a:pt x="12620" y="5544"/>
                </a:lnTo>
                <a:cubicBezTo>
                  <a:pt x="12531" y="5455"/>
                  <a:pt x="12408" y="5400"/>
                  <a:pt x="12273" y="5400"/>
                </a:cubicBezTo>
                <a:cubicBezTo>
                  <a:pt x="12001" y="5400"/>
                  <a:pt x="11782" y="5620"/>
                  <a:pt x="11782" y="5891"/>
                </a:cubicBezTo>
                <a:cubicBezTo>
                  <a:pt x="11782" y="6027"/>
                  <a:pt x="11837" y="6149"/>
                  <a:pt x="11926" y="6238"/>
                </a:cubicBezTo>
                <a:lnTo>
                  <a:pt x="13051" y="7364"/>
                </a:lnTo>
                <a:lnTo>
                  <a:pt x="7364" y="7364"/>
                </a:lnTo>
                <a:cubicBezTo>
                  <a:pt x="7092" y="7364"/>
                  <a:pt x="6873" y="7584"/>
                  <a:pt x="6873" y="7855"/>
                </a:cubicBezTo>
                <a:cubicBezTo>
                  <a:pt x="6873" y="8126"/>
                  <a:pt x="7092" y="8345"/>
                  <a:pt x="7364" y="8345"/>
                </a:cubicBezTo>
                <a:lnTo>
                  <a:pt x="13051" y="8345"/>
                </a:lnTo>
                <a:lnTo>
                  <a:pt x="11926" y="9471"/>
                </a:lnTo>
                <a:cubicBezTo>
                  <a:pt x="11837" y="9560"/>
                  <a:pt x="11782" y="9683"/>
                  <a:pt x="11782" y="9818"/>
                </a:cubicBezTo>
                <a:cubicBezTo>
                  <a:pt x="11782" y="10090"/>
                  <a:pt x="12001" y="10309"/>
                  <a:pt x="12273" y="10309"/>
                </a:cubicBezTo>
                <a:cubicBezTo>
                  <a:pt x="12408" y="10309"/>
                  <a:pt x="12531" y="10255"/>
                  <a:pt x="12620" y="10165"/>
                </a:cubicBezTo>
                <a:lnTo>
                  <a:pt x="14583" y="8202"/>
                </a:lnTo>
                <a:cubicBezTo>
                  <a:pt x="14672" y="8113"/>
                  <a:pt x="14727" y="7990"/>
                  <a:pt x="14727" y="7855"/>
                </a:cubicBezTo>
                <a:cubicBezTo>
                  <a:pt x="14727" y="7720"/>
                  <a:pt x="14672" y="7597"/>
                  <a:pt x="14583" y="7507"/>
                </a:cubicBezTo>
                <a:close/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1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2" y="20618"/>
                  <a:pt x="6873" y="20838"/>
                  <a:pt x="6873" y="21109"/>
                </a:cubicBezTo>
                <a:cubicBezTo>
                  <a:pt x="6873" y="21380"/>
                  <a:pt x="7092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0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52" name="Shape 2652"/>
          <p:cNvSpPr/>
          <p:nvPr/>
        </p:nvSpPr>
        <p:spPr>
          <a:xfrm>
            <a:off x="3547164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7547" y="14727"/>
                  <a:pt x="4909" y="12969"/>
                  <a:pt x="4909" y="10800"/>
                </a:cubicBezTo>
                <a:cubicBezTo>
                  <a:pt x="4909" y="8631"/>
                  <a:pt x="7547" y="6873"/>
                  <a:pt x="10800" y="6873"/>
                </a:cubicBezTo>
                <a:cubicBezTo>
                  <a:pt x="11895" y="6873"/>
                  <a:pt x="12917" y="7076"/>
                  <a:pt x="13795" y="7423"/>
                </a:cubicBezTo>
                <a:lnTo>
                  <a:pt x="15709" y="5073"/>
                </a:lnTo>
                <a:lnTo>
                  <a:pt x="15709" y="8631"/>
                </a:lnTo>
                <a:cubicBezTo>
                  <a:pt x="16328" y="9253"/>
                  <a:pt x="16691" y="9998"/>
                  <a:pt x="16691" y="10800"/>
                </a:cubicBezTo>
                <a:cubicBezTo>
                  <a:pt x="16691" y="12969"/>
                  <a:pt x="14053" y="14727"/>
                  <a:pt x="10800" y="14727"/>
                </a:cubicBezTo>
                <a:moveTo>
                  <a:pt x="16691" y="1964"/>
                </a:moveTo>
                <a:lnTo>
                  <a:pt x="13360" y="6247"/>
                </a:lnTo>
                <a:cubicBezTo>
                  <a:pt x="12568" y="6020"/>
                  <a:pt x="11706" y="5891"/>
                  <a:pt x="10800" y="5891"/>
                </a:cubicBezTo>
                <a:cubicBezTo>
                  <a:pt x="7004" y="5891"/>
                  <a:pt x="3927" y="8089"/>
                  <a:pt x="3927" y="10800"/>
                </a:cubicBezTo>
                <a:cubicBezTo>
                  <a:pt x="3927" y="13511"/>
                  <a:pt x="7004" y="15709"/>
                  <a:pt x="10800" y="15709"/>
                </a:cubicBezTo>
                <a:cubicBezTo>
                  <a:pt x="14596" y="15709"/>
                  <a:pt x="17673" y="13511"/>
                  <a:pt x="17673" y="10800"/>
                </a:cubicBezTo>
                <a:cubicBezTo>
                  <a:pt x="17673" y="9878"/>
                  <a:pt x="17310" y="9018"/>
                  <a:pt x="16691" y="8281"/>
                </a:cubicBezTo>
                <a:cubicBezTo>
                  <a:pt x="16691" y="8281"/>
                  <a:pt x="16691" y="1964"/>
                  <a:pt x="16691" y="1964"/>
                </a:cubicBezTo>
                <a:close/>
                <a:moveTo>
                  <a:pt x="19145" y="1964"/>
                </a:moveTo>
                <a:cubicBezTo>
                  <a:pt x="18874" y="1964"/>
                  <a:pt x="18655" y="2184"/>
                  <a:pt x="18655" y="2455"/>
                </a:cubicBezTo>
                <a:cubicBezTo>
                  <a:pt x="18655" y="2726"/>
                  <a:pt x="18874" y="2945"/>
                  <a:pt x="19145" y="2945"/>
                </a:cubicBezTo>
                <a:cubicBezTo>
                  <a:pt x="19417" y="2945"/>
                  <a:pt x="19636" y="2726"/>
                  <a:pt x="19636" y="2455"/>
                </a:cubicBezTo>
                <a:cubicBezTo>
                  <a:pt x="19636" y="2184"/>
                  <a:pt x="19417" y="1964"/>
                  <a:pt x="19145" y="1964"/>
                </a:cubicBezTo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6691"/>
                  <a:pt x="20618" y="16691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8382"/>
                </a:lnTo>
                <a:cubicBezTo>
                  <a:pt x="1271" y="18551"/>
                  <a:pt x="1604" y="18655"/>
                  <a:pt x="1964" y="18655"/>
                </a:cubicBezTo>
                <a:lnTo>
                  <a:pt x="19636" y="18655"/>
                </a:lnTo>
                <a:cubicBezTo>
                  <a:pt x="19996" y="18655"/>
                  <a:pt x="20329" y="18551"/>
                  <a:pt x="20618" y="18382"/>
                </a:cubicBezTo>
                <a:cubicBezTo>
                  <a:pt x="20618" y="18382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800" y="11291"/>
                </a:moveTo>
                <a:cubicBezTo>
                  <a:pt x="10258" y="11291"/>
                  <a:pt x="9818" y="11072"/>
                  <a:pt x="9818" y="10800"/>
                </a:cubicBezTo>
                <a:cubicBezTo>
                  <a:pt x="9818" y="10529"/>
                  <a:pt x="10258" y="10309"/>
                  <a:pt x="10800" y="10309"/>
                </a:cubicBezTo>
                <a:cubicBezTo>
                  <a:pt x="11342" y="10309"/>
                  <a:pt x="11782" y="10529"/>
                  <a:pt x="11782" y="10800"/>
                </a:cubicBezTo>
                <a:cubicBezTo>
                  <a:pt x="11782" y="11072"/>
                  <a:pt x="11342" y="11291"/>
                  <a:pt x="10800" y="11291"/>
                </a:cubicBezTo>
                <a:moveTo>
                  <a:pt x="10800" y="9327"/>
                </a:moveTo>
                <a:cubicBezTo>
                  <a:pt x="9716" y="9327"/>
                  <a:pt x="8836" y="9986"/>
                  <a:pt x="8836" y="10800"/>
                </a:cubicBezTo>
                <a:cubicBezTo>
                  <a:pt x="8836" y="11614"/>
                  <a:pt x="9716" y="12273"/>
                  <a:pt x="10800" y="12273"/>
                </a:cubicBezTo>
                <a:cubicBezTo>
                  <a:pt x="11884" y="12273"/>
                  <a:pt x="12764" y="11614"/>
                  <a:pt x="12764" y="10800"/>
                </a:cubicBezTo>
                <a:cubicBezTo>
                  <a:pt x="12764" y="9986"/>
                  <a:pt x="11884" y="9327"/>
                  <a:pt x="10800" y="9327"/>
                </a:cubicBezTo>
                <a:moveTo>
                  <a:pt x="19145" y="15709"/>
                </a:moveTo>
                <a:cubicBezTo>
                  <a:pt x="18874" y="15709"/>
                  <a:pt x="18655" y="15929"/>
                  <a:pt x="18655" y="16200"/>
                </a:cubicBezTo>
                <a:cubicBezTo>
                  <a:pt x="18655" y="16472"/>
                  <a:pt x="18874" y="16691"/>
                  <a:pt x="19145" y="16691"/>
                </a:cubicBezTo>
                <a:cubicBezTo>
                  <a:pt x="19417" y="16691"/>
                  <a:pt x="19636" y="16472"/>
                  <a:pt x="19636" y="16200"/>
                </a:cubicBezTo>
                <a:cubicBezTo>
                  <a:pt x="19636" y="15929"/>
                  <a:pt x="19417" y="15709"/>
                  <a:pt x="19145" y="15709"/>
                </a:cubicBezTo>
                <a:moveTo>
                  <a:pt x="2455" y="15709"/>
                </a:moveTo>
                <a:cubicBezTo>
                  <a:pt x="2183" y="15709"/>
                  <a:pt x="1964" y="15929"/>
                  <a:pt x="1964" y="16200"/>
                </a:cubicBezTo>
                <a:cubicBezTo>
                  <a:pt x="1964" y="16472"/>
                  <a:pt x="2183" y="16691"/>
                  <a:pt x="2455" y="16691"/>
                </a:cubicBezTo>
                <a:cubicBezTo>
                  <a:pt x="2726" y="16691"/>
                  <a:pt x="2945" y="16472"/>
                  <a:pt x="2945" y="16200"/>
                </a:cubicBezTo>
                <a:cubicBezTo>
                  <a:pt x="2945" y="15929"/>
                  <a:pt x="2726" y="15709"/>
                  <a:pt x="2455" y="15709"/>
                </a:cubicBezTo>
                <a:moveTo>
                  <a:pt x="5645" y="4418"/>
                </a:moveTo>
                <a:lnTo>
                  <a:pt x="12027" y="4418"/>
                </a:lnTo>
                <a:cubicBezTo>
                  <a:pt x="12434" y="4418"/>
                  <a:pt x="12764" y="4088"/>
                  <a:pt x="12764" y="3682"/>
                </a:cubicBezTo>
                <a:cubicBezTo>
                  <a:pt x="12764" y="3275"/>
                  <a:pt x="12434" y="2945"/>
                  <a:pt x="12027" y="2945"/>
                </a:cubicBezTo>
                <a:lnTo>
                  <a:pt x="5645" y="2945"/>
                </a:lnTo>
                <a:cubicBezTo>
                  <a:pt x="5239" y="2945"/>
                  <a:pt x="4909" y="3275"/>
                  <a:pt x="4909" y="3682"/>
                </a:cubicBezTo>
                <a:cubicBezTo>
                  <a:pt x="4909" y="4088"/>
                  <a:pt x="5239" y="4418"/>
                  <a:pt x="5645" y="4418"/>
                </a:cubicBezTo>
                <a:moveTo>
                  <a:pt x="2455" y="1964"/>
                </a:moveTo>
                <a:cubicBezTo>
                  <a:pt x="2183" y="1964"/>
                  <a:pt x="1964" y="2184"/>
                  <a:pt x="1964" y="2455"/>
                </a:cubicBezTo>
                <a:cubicBezTo>
                  <a:pt x="1964" y="2726"/>
                  <a:pt x="2183" y="2945"/>
                  <a:pt x="2455" y="2945"/>
                </a:cubicBezTo>
                <a:cubicBezTo>
                  <a:pt x="2726" y="2945"/>
                  <a:pt x="2945" y="2726"/>
                  <a:pt x="2945" y="2455"/>
                </a:cubicBezTo>
                <a:cubicBezTo>
                  <a:pt x="2945" y="2184"/>
                  <a:pt x="2726" y="1964"/>
                  <a:pt x="2455" y="1964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53" name="Shape 2653"/>
          <p:cNvSpPr/>
          <p:nvPr/>
        </p:nvSpPr>
        <p:spPr>
          <a:xfrm>
            <a:off x="4080425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764" y="5891"/>
                </a:moveTo>
                <a:lnTo>
                  <a:pt x="14727" y="5891"/>
                </a:lnTo>
                <a:lnTo>
                  <a:pt x="14727" y="1964"/>
                </a:lnTo>
                <a:lnTo>
                  <a:pt x="12764" y="1964"/>
                </a:lnTo>
                <a:cubicBezTo>
                  <a:pt x="12764" y="1964"/>
                  <a:pt x="12764" y="5891"/>
                  <a:pt x="12764" y="5891"/>
                </a:cubicBezTo>
                <a:close/>
                <a:moveTo>
                  <a:pt x="6873" y="2945"/>
                </a:moveTo>
                <a:lnTo>
                  <a:pt x="10800" y="2945"/>
                </a:lnTo>
                <a:lnTo>
                  <a:pt x="10800" y="1964"/>
                </a:lnTo>
                <a:lnTo>
                  <a:pt x="6873" y="1964"/>
                </a:lnTo>
                <a:cubicBezTo>
                  <a:pt x="6873" y="1964"/>
                  <a:pt x="6873" y="2945"/>
                  <a:pt x="6873" y="294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8655" y="20618"/>
                </a:lnTo>
                <a:lnTo>
                  <a:pt x="18655" y="11782"/>
                </a:lnTo>
                <a:cubicBezTo>
                  <a:pt x="18655" y="11240"/>
                  <a:pt x="18214" y="10800"/>
                  <a:pt x="17673" y="10800"/>
                </a:cubicBezTo>
                <a:lnTo>
                  <a:pt x="3927" y="10800"/>
                </a:lnTo>
                <a:cubicBezTo>
                  <a:pt x="3385" y="10800"/>
                  <a:pt x="2945" y="11240"/>
                  <a:pt x="2945" y="11782"/>
                </a:cubicBezTo>
                <a:lnTo>
                  <a:pt x="2945" y="20618"/>
                </a:ln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4909" y="982"/>
                </a:lnTo>
                <a:lnTo>
                  <a:pt x="4909" y="6873"/>
                </a:lnTo>
                <a:cubicBezTo>
                  <a:pt x="4909" y="7415"/>
                  <a:pt x="5348" y="7855"/>
                  <a:pt x="5891" y="7855"/>
                </a:cubicBezTo>
                <a:lnTo>
                  <a:pt x="15709" y="7855"/>
                </a:lnTo>
                <a:cubicBezTo>
                  <a:pt x="16251" y="7855"/>
                  <a:pt x="16691" y="7415"/>
                  <a:pt x="16691" y="6873"/>
                </a:cubicBezTo>
                <a:lnTo>
                  <a:pt x="16691" y="982"/>
                </a:lnTo>
                <a:lnTo>
                  <a:pt x="17182" y="982"/>
                </a:lnTo>
                <a:lnTo>
                  <a:pt x="20618" y="4418"/>
                </a:lnTo>
                <a:cubicBezTo>
                  <a:pt x="20618" y="4418"/>
                  <a:pt x="20618" y="19636"/>
                  <a:pt x="20618" y="19636"/>
                </a:cubicBezTo>
                <a:close/>
                <a:moveTo>
                  <a:pt x="17673" y="20618"/>
                </a:moveTo>
                <a:lnTo>
                  <a:pt x="3927" y="20618"/>
                </a:lnTo>
                <a:lnTo>
                  <a:pt x="3927" y="11782"/>
                </a:lnTo>
                <a:lnTo>
                  <a:pt x="17673" y="11782"/>
                </a:lnTo>
                <a:cubicBezTo>
                  <a:pt x="17673" y="11782"/>
                  <a:pt x="17673" y="20618"/>
                  <a:pt x="17673" y="20618"/>
                </a:cubicBezTo>
                <a:close/>
                <a:moveTo>
                  <a:pt x="5891" y="982"/>
                </a:moveTo>
                <a:lnTo>
                  <a:pt x="15709" y="982"/>
                </a:lnTo>
                <a:lnTo>
                  <a:pt x="15709" y="6873"/>
                </a:lnTo>
                <a:lnTo>
                  <a:pt x="5891" y="6873"/>
                </a:lnTo>
                <a:cubicBezTo>
                  <a:pt x="5891" y="6873"/>
                  <a:pt x="5891" y="982"/>
                  <a:pt x="5891" y="982"/>
                </a:cubicBezTo>
                <a:close/>
                <a:moveTo>
                  <a:pt x="17673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7"/>
                </a:lnTo>
                <a:cubicBezTo>
                  <a:pt x="21600" y="3927"/>
                  <a:pt x="17673" y="0"/>
                  <a:pt x="17673" y="0"/>
                </a:cubicBezTo>
                <a:close/>
                <a:moveTo>
                  <a:pt x="6873" y="4909"/>
                </a:moveTo>
                <a:lnTo>
                  <a:pt x="9818" y="4909"/>
                </a:lnTo>
                <a:lnTo>
                  <a:pt x="9818" y="3927"/>
                </a:lnTo>
                <a:lnTo>
                  <a:pt x="6873" y="3927"/>
                </a:lnTo>
                <a:cubicBezTo>
                  <a:pt x="6873" y="3927"/>
                  <a:pt x="6873" y="4909"/>
                  <a:pt x="6873" y="4909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54" name="Shape 2654"/>
          <p:cNvSpPr/>
          <p:nvPr/>
        </p:nvSpPr>
        <p:spPr>
          <a:xfrm>
            <a:off x="4613686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5709"/>
                </a:moveTo>
                <a:lnTo>
                  <a:pt x="5891" y="15709"/>
                </a:lnTo>
                <a:lnTo>
                  <a:pt x="5891" y="16691"/>
                </a:lnTo>
                <a:lnTo>
                  <a:pt x="15709" y="16691"/>
                </a:lnTo>
                <a:cubicBezTo>
                  <a:pt x="15709" y="16691"/>
                  <a:pt x="15709" y="15709"/>
                  <a:pt x="15709" y="15709"/>
                </a:cubicBezTo>
                <a:close/>
                <a:moveTo>
                  <a:pt x="15709" y="17673"/>
                </a:moveTo>
                <a:lnTo>
                  <a:pt x="5891" y="17673"/>
                </a:lnTo>
                <a:lnTo>
                  <a:pt x="5891" y="18655"/>
                </a:lnTo>
                <a:lnTo>
                  <a:pt x="15709" y="18655"/>
                </a:lnTo>
                <a:cubicBezTo>
                  <a:pt x="15709" y="18655"/>
                  <a:pt x="15709" y="17673"/>
                  <a:pt x="15709" y="17673"/>
                </a:cubicBezTo>
                <a:close/>
                <a:moveTo>
                  <a:pt x="11782" y="13745"/>
                </a:moveTo>
                <a:lnTo>
                  <a:pt x="5891" y="13745"/>
                </a:lnTo>
                <a:lnTo>
                  <a:pt x="5891" y="14727"/>
                </a:lnTo>
                <a:lnTo>
                  <a:pt x="11782" y="14727"/>
                </a:lnTo>
                <a:cubicBezTo>
                  <a:pt x="11782" y="14727"/>
                  <a:pt x="11782" y="13745"/>
                  <a:pt x="11782" y="1374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8655" y="20618"/>
                </a:lnTo>
                <a:lnTo>
                  <a:pt x="18655" y="11782"/>
                </a:lnTo>
                <a:cubicBezTo>
                  <a:pt x="18655" y="11240"/>
                  <a:pt x="18214" y="10800"/>
                  <a:pt x="17673" y="10800"/>
                </a:cubicBezTo>
                <a:lnTo>
                  <a:pt x="3927" y="10800"/>
                </a:lnTo>
                <a:cubicBezTo>
                  <a:pt x="3385" y="10800"/>
                  <a:pt x="2945" y="11240"/>
                  <a:pt x="2945" y="11782"/>
                </a:cubicBezTo>
                <a:lnTo>
                  <a:pt x="2945" y="20618"/>
                </a:ln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4909" y="982"/>
                </a:lnTo>
                <a:lnTo>
                  <a:pt x="4909" y="6873"/>
                </a:lnTo>
                <a:cubicBezTo>
                  <a:pt x="4909" y="7415"/>
                  <a:pt x="5348" y="7855"/>
                  <a:pt x="5891" y="7855"/>
                </a:cubicBezTo>
                <a:lnTo>
                  <a:pt x="15709" y="7855"/>
                </a:lnTo>
                <a:cubicBezTo>
                  <a:pt x="16251" y="7855"/>
                  <a:pt x="16691" y="7415"/>
                  <a:pt x="16691" y="6873"/>
                </a:cubicBezTo>
                <a:lnTo>
                  <a:pt x="16691" y="982"/>
                </a:lnTo>
                <a:lnTo>
                  <a:pt x="17182" y="982"/>
                </a:lnTo>
                <a:lnTo>
                  <a:pt x="20618" y="4418"/>
                </a:lnTo>
                <a:cubicBezTo>
                  <a:pt x="20618" y="4418"/>
                  <a:pt x="20618" y="19636"/>
                  <a:pt x="20618" y="19636"/>
                </a:cubicBezTo>
                <a:close/>
                <a:moveTo>
                  <a:pt x="17673" y="20618"/>
                </a:moveTo>
                <a:lnTo>
                  <a:pt x="3927" y="20618"/>
                </a:lnTo>
                <a:lnTo>
                  <a:pt x="3927" y="11782"/>
                </a:lnTo>
                <a:lnTo>
                  <a:pt x="17673" y="11782"/>
                </a:lnTo>
                <a:cubicBezTo>
                  <a:pt x="17673" y="11782"/>
                  <a:pt x="17673" y="20618"/>
                  <a:pt x="17673" y="20618"/>
                </a:cubicBezTo>
                <a:close/>
                <a:moveTo>
                  <a:pt x="5891" y="982"/>
                </a:moveTo>
                <a:lnTo>
                  <a:pt x="15709" y="982"/>
                </a:lnTo>
                <a:lnTo>
                  <a:pt x="15709" y="6873"/>
                </a:lnTo>
                <a:lnTo>
                  <a:pt x="5891" y="6873"/>
                </a:lnTo>
                <a:cubicBezTo>
                  <a:pt x="5891" y="6873"/>
                  <a:pt x="5891" y="982"/>
                  <a:pt x="5891" y="982"/>
                </a:cubicBezTo>
                <a:close/>
                <a:moveTo>
                  <a:pt x="17673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7"/>
                </a:lnTo>
                <a:cubicBezTo>
                  <a:pt x="21600" y="3927"/>
                  <a:pt x="17673" y="0"/>
                  <a:pt x="17673" y="0"/>
                </a:cubicBezTo>
                <a:close/>
                <a:moveTo>
                  <a:pt x="12764" y="5891"/>
                </a:moveTo>
                <a:lnTo>
                  <a:pt x="14727" y="5891"/>
                </a:lnTo>
                <a:lnTo>
                  <a:pt x="14727" y="1964"/>
                </a:lnTo>
                <a:lnTo>
                  <a:pt x="12764" y="1964"/>
                </a:lnTo>
                <a:cubicBezTo>
                  <a:pt x="12764" y="1964"/>
                  <a:pt x="12764" y="5891"/>
                  <a:pt x="12764" y="5891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55" name="Shape 2655"/>
          <p:cNvSpPr/>
          <p:nvPr/>
        </p:nvSpPr>
        <p:spPr>
          <a:xfrm>
            <a:off x="5146947" y="1985197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400"/>
                </a:moveTo>
                <a:lnTo>
                  <a:pt x="16349" y="14400"/>
                </a:lnTo>
                <a:cubicBezTo>
                  <a:pt x="16227" y="14820"/>
                  <a:pt x="16076" y="15221"/>
                  <a:pt x="15897" y="15600"/>
                </a:cubicBezTo>
                <a:lnTo>
                  <a:pt x="20618" y="15600"/>
                </a:lnTo>
                <a:lnTo>
                  <a:pt x="20618" y="19200"/>
                </a:lnTo>
                <a:cubicBezTo>
                  <a:pt x="20618" y="19862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lnTo>
                  <a:pt x="982" y="15600"/>
                </a:lnTo>
                <a:lnTo>
                  <a:pt x="5704" y="15600"/>
                </a:lnTo>
                <a:cubicBezTo>
                  <a:pt x="5524" y="15221"/>
                  <a:pt x="5373" y="14820"/>
                  <a:pt x="5251" y="14400"/>
                </a:cubicBezTo>
                <a:lnTo>
                  <a:pt x="982" y="14400"/>
                </a:lnTo>
                <a:lnTo>
                  <a:pt x="982" y="4800"/>
                </a:lnTo>
                <a:cubicBezTo>
                  <a:pt x="982" y="4138"/>
                  <a:pt x="1422" y="3600"/>
                  <a:pt x="1964" y="3600"/>
                </a:cubicBezTo>
                <a:lnTo>
                  <a:pt x="3927" y="3600"/>
                </a:lnTo>
                <a:cubicBezTo>
                  <a:pt x="5891" y="3600"/>
                  <a:pt x="5891" y="1200"/>
                  <a:pt x="7364" y="1200"/>
                </a:cubicBezTo>
                <a:lnTo>
                  <a:pt x="10800" y="1200"/>
                </a:lnTo>
                <a:lnTo>
                  <a:pt x="14236" y="1200"/>
                </a:lnTo>
                <a:cubicBezTo>
                  <a:pt x="15709" y="1200"/>
                  <a:pt x="15709" y="3600"/>
                  <a:pt x="17673" y="3600"/>
                </a:cubicBezTo>
                <a:lnTo>
                  <a:pt x="19636" y="3600"/>
                </a:lnTo>
                <a:cubicBezTo>
                  <a:pt x="20178" y="3600"/>
                  <a:pt x="20618" y="4138"/>
                  <a:pt x="20618" y="4800"/>
                </a:cubicBezTo>
                <a:cubicBezTo>
                  <a:pt x="20618" y="4800"/>
                  <a:pt x="20618" y="14400"/>
                  <a:pt x="20618" y="14400"/>
                </a:cubicBezTo>
                <a:close/>
                <a:moveTo>
                  <a:pt x="19636" y="2400"/>
                </a:moveTo>
                <a:lnTo>
                  <a:pt x="17673" y="2400"/>
                </a:lnTo>
                <a:cubicBezTo>
                  <a:pt x="16200" y="2400"/>
                  <a:pt x="16200" y="0"/>
                  <a:pt x="14236" y="0"/>
                </a:cubicBezTo>
                <a:lnTo>
                  <a:pt x="10800" y="0"/>
                </a:lnTo>
                <a:lnTo>
                  <a:pt x="7364" y="0"/>
                </a:lnTo>
                <a:cubicBezTo>
                  <a:pt x="5400" y="0"/>
                  <a:pt x="5400" y="2400"/>
                  <a:pt x="3927" y="2400"/>
                </a:cubicBezTo>
                <a:lnTo>
                  <a:pt x="1964" y="2400"/>
                </a:lnTo>
                <a:cubicBezTo>
                  <a:pt x="879" y="2400"/>
                  <a:pt x="0" y="3475"/>
                  <a:pt x="0" y="4800"/>
                </a:cubicBezTo>
                <a:lnTo>
                  <a:pt x="0" y="19200"/>
                </a:lnTo>
                <a:cubicBezTo>
                  <a:pt x="0" y="20525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5"/>
                  <a:pt x="21600" y="19200"/>
                </a:cubicBezTo>
                <a:lnTo>
                  <a:pt x="21600" y="4800"/>
                </a:lnTo>
                <a:cubicBezTo>
                  <a:pt x="21600" y="3475"/>
                  <a:pt x="20721" y="2400"/>
                  <a:pt x="19636" y="2400"/>
                </a:cubicBezTo>
                <a:moveTo>
                  <a:pt x="18164" y="7200"/>
                </a:moveTo>
                <a:cubicBezTo>
                  <a:pt x="17892" y="7200"/>
                  <a:pt x="17673" y="6932"/>
                  <a:pt x="17673" y="6600"/>
                </a:cubicBezTo>
                <a:cubicBezTo>
                  <a:pt x="17673" y="6269"/>
                  <a:pt x="17892" y="6000"/>
                  <a:pt x="18164" y="6000"/>
                </a:cubicBezTo>
                <a:cubicBezTo>
                  <a:pt x="18435" y="6000"/>
                  <a:pt x="18655" y="6269"/>
                  <a:pt x="18655" y="6600"/>
                </a:cubicBezTo>
                <a:cubicBezTo>
                  <a:pt x="18655" y="6932"/>
                  <a:pt x="18435" y="7200"/>
                  <a:pt x="18164" y="7200"/>
                </a:cubicBezTo>
                <a:moveTo>
                  <a:pt x="18164" y="4800"/>
                </a:moveTo>
                <a:cubicBezTo>
                  <a:pt x="17351" y="4800"/>
                  <a:pt x="16691" y="5607"/>
                  <a:pt x="16691" y="6600"/>
                </a:cubicBezTo>
                <a:cubicBezTo>
                  <a:pt x="16691" y="7594"/>
                  <a:pt x="17351" y="8400"/>
                  <a:pt x="18164" y="8400"/>
                </a:cubicBezTo>
                <a:cubicBezTo>
                  <a:pt x="18977" y="8400"/>
                  <a:pt x="19636" y="7594"/>
                  <a:pt x="19636" y="6600"/>
                </a:cubicBezTo>
                <a:cubicBezTo>
                  <a:pt x="19636" y="5607"/>
                  <a:pt x="18977" y="4800"/>
                  <a:pt x="18164" y="4800"/>
                </a:cubicBezTo>
                <a:moveTo>
                  <a:pt x="18164" y="9600"/>
                </a:moveTo>
                <a:cubicBezTo>
                  <a:pt x="17892" y="9600"/>
                  <a:pt x="17673" y="9869"/>
                  <a:pt x="17673" y="10200"/>
                </a:cubicBezTo>
                <a:cubicBezTo>
                  <a:pt x="17673" y="10532"/>
                  <a:pt x="17892" y="10800"/>
                  <a:pt x="18164" y="10800"/>
                </a:cubicBezTo>
                <a:cubicBezTo>
                  <a:pt x="18435" y="10800"/>
                  <a:pt x="18655" y="10532"/>
                  <a:pt x="18655" y="10200"/>
                </a:cubicBezTo>
                <a:cubicBezTo>
                  <a:pt x="18655" y="9869"/>
                  <a:pt x="18435" y="9600"/>
                  <a:pt x="18164" y="9600"/>
                </a:cubicBezTo>
                <a:moveTo>
                  <a:pt x="10800" y="16800"/>
                </a:moveTo>
                <a:cubicBezTo>
                  <a:pt x="8631" y="16800"/>
                  <a:pt x="6873" y="14651"/>
                  <a:pt x="6873" y="12000"/>
                </a:cubicBezTo>
                <a:cubicBezTo>
                  <a:pt x="6873" y="9349"/>
                  <a:pt x="8631" y="7200"/>
                  <a:pt x="10800" y="7200"/>
                </a:cubicBezTo>
                <a:cubicBezTo>
                  <a:pt x="12969" y="7200"/>
                  <a:pt x="14727" y="9349"/>
                  <a:pt x="14727" y="12000"/>
                </a:cubicBezTo>
                <a:cubicBezTo>
                  <a:pt x="14727" y="14651"/>
                  <a:pt x="12969" y="16800"/>
                  <a:pt x="10800" y="16800"/>
                </a:cubicBezTo>
                <a:moveTo>
                  <a:pt x="10800" y="6000"/>
                </a:moveTo>
                <a:cubicBezTo>
                  <a:pt x="8088" y="6000"/>
                  <a:pt x="5891" y="8687"/>
                  <a:pt x="5891" y="12000"/>
                </a:cubicBezTo>
                <a:cubicBezTo>
                  <a:pt x="5891" y="15314"/>
                  <a:pt x="8088" y="18000"/>
                  <a:pt x="10800" y="18000"/>
                </a:cubicBezTo>
                <a:cubicBezTo>
                  <a:pt x="13512" y="18000"/>
                  <a:pt x="15709" y="15314"/>
                  <a:pt x="15709" y="12000"/>
                </a:cubicBezTo>
                <a:cubicBezTo>
                  <a:pt x="15709" y="8687"/>
                  <a:pt x="13512" y="6000"/>
                  <a:pt x="10800" y="6000"/>
                </a:cubicBezTo>
                <a:moveTo>
                  <a:pt x="10800" y="14400"/>
                </a:moveTo>
                <a:cubicBezTo>
                  <a:pt x="9716" y="14400"/>
                  <a:pt x="8836" y="13325"/>
                  <a:pt x="8836" y="12000"/>
                </a:cubicBezTo>
                <a:cubicBezTo>
                  <a:pt x="8836" y="10675"/>
                  <a:pt x="9716" y="9600"/>
                  <a:pt x="10800" y="9600"/>
                </a:cubicBezTo>
                <a:cubicBezTo>
                  <a:pt x="11884" y="9600"/>
                  <a:pt x="12764" y="10675"/>
                  <a:pt x="12764" y="12000"/>
                </a:cubicBezTo>
                <a:cubicBezTo>
                  <a:pt x="12764" y="13325"/>
                  <a:pt x="11884" y="14400"/>
                  <a:pt x="10800" y="14400"/>
                </a:cubicBezTo>
                <a:moveTo>
                  <a:pt x="10800" y="8400"/>
                </a:moveTo>
                <a:cubicBezTo>
                  <a:pt x="9173" y="8400"/>
                  <a:pt x="7855" y="10012"/>
                  <a:pt x="7855" y="12000"/>
                </a:cubicBezTo>
                <a:cubicBezTo>
                  <a:pt x="7855" y="13988"/>
                  <a:pt x="9173" y="15600"/>
                  <a:pt x="10800" y="15600"/>
                </a:cubicBezTo>
                <a:cubicBezTo>
                  <a:pt x="12426" y="15600"/>
                  <a:pt x="13745" y="13988"/>
                  <a:pt x="13745" y="12000"/>
                </a:cubicBezTo>
                <a:cubicBezTo>
                  <a:pt x="13745" y="10012"/>
                  <a:pt x="12426" y="8400"/>
                  <a:pt x="10800" y="8400"/>
                </a:cubicBezTo>
                <a:moveTo>
                  <a:pt x="8345" y="3600"/>
                </a:moveTo>
                <a:lnTo>
                  <a:pt x="13255" y="3600"/>
                </a:lnTo>
                <a:cubicBezTo>
                  <a:pt x="13526" y="3600"/>
                  <a:pt x="13745" y="3332"/>
                  <a:pt x="13745" y="3000"/>
                </a:cubicBezTo>
                <a:cubicBezTo>
                  <a:pt x="13745" y="2669"/>
                  <a:pt x="13526" y="2400"/>
                  <a:pt x="13255" y="2400"/>
                </a:cubicBezTo>
                <a:lnTo>
                  <a:pt x="8345" y="2400"/>
                </a:lnTo>
                <a:cubicBezTo>
                  <a:pt x="8074" y="2400"/>
                  <a:pt x="7855" y="2669"/>
                  <a:pt x="7855" y="3000"/>
                </a:cubicBezTo>
                <a:cubicBezTo>
                  <a:pt x="7855" y="3332"/>
                  <a:pt x="8074" y="3600"/>
                  <a:pt x="8345" y="360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56" name="Shape 2656"/>
          <p:cNvSpPr/>
          <p:nvPr/>
        </p:nvSpPr>
        <p:spPr>
          <a:xfrm>
            <a:off x="5680208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0800"/>
                </a:moveTo>
                <a:cubicBezTo>
                  <a:pt x="14186" y="10800"/>
                  <a:pt x="13745" y="11240"/>
                  <a:pt x="13745" y="11782"/>
                </a:cubicBezTo>
                <a:cubicBezTo>
                  <a:pt x="13745" y="12324"/>
                  <a:pt x="14186" y="12764"/>
                  <a:pt x="14727" y="12764"/>
                </a:cubicBezTo>
                <a:cubicBezTo>
                  <a:pt x="15269" y="12764"/>
                  <a:pt x="15709" y="12324"/>
                  <a:pt x="15709" y="11782"/>
                </a:cubicBezTo>
                <a:cubicBezTo>
                  <a:pt x="15709" y="11240"/>
                  <a:pt x="15269" y="10800"/>
                  <a:pt x="14727" y="10800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440"/>
                  <a:pt x="3927" y="982"/>
                </a:cubicBezTo>
                <a:lnTo>
                  <a:pt x="3927" y="5891"/>
                </a:lnTo>
                <a:cubicBezTo>
                  <a:pt x="3927" y="6162"/>
                  <a:pt x="4147" y="6382"/>
                  <a:pt x="4418" y="6382"/>
                </a:cubicBezTo>
                <a:cubicBezTo>
                  <a:pt x="4690" y="6382"/>
                  <a:pt x="4909" y="6162"/>
                  <a:pt x="4909" y="5891"/>
                </a:cubicBezTo>
                <a:lnTo>
                  <a:pt x="4909" y="982"/>
                </a:lnTo>
                <a:lnTo>
                  <a:pt x="20618" y="982"/>
                </a:lnTo>
                <a:lnTo>
                  <a:pt x="20618" y="12764"/>
                </a:lnTo>
                <a:lnTo>
                  <a:pt x="19145" y="12764"/>
                </a:lnTo>
                <a:cubicBezTo>
                  <a:pt x="18874" y="12764"/>
                  <a:pt x="18655" y="12984"/>
                  <a:pt x="18655" y="13255"/>
                </a:cubicBezTo>
                <a:cubicBezTo>
                  <a:pt x="18655" y="13526"/>
                  <a:pt x="18874" y="13745"/>
                  <a:pt x="19145" y="13745"/>
                </a:cubicBezTo>
                <a:lnTo>
                  <a:pt x="20618" y="13745"/>
                </a:lnTo>
                <a:lnTo>
                  <a:pt x="20618" y="16691"/>
                </a:ln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20618" y="17673"/>
                </a:lnTo>
                <a:cubicBezTo>
                  <a:pt x="21160" y="17673"/>
                  <a:pt x="21600" y="17234"/>
                  <a:pt x="21600" y="16691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14727" y="13745"/>
                </a:moveTo>
                <a:cubicBezTo>
                  <a:pt x="14456" y="13745"/>
                  <a:pt x="14236" y="13966"/>
                  <a:pt x="14236" y="14236"/>
                </a:cubicBezTo>
                <a:cubicBezTo>
                  <a:pt x="14236" y="14508"/>
                  <a:pt x="14456" y="14727"/>
                  <a:pt x="14727" y="14727"/>
                </a:cubicBezTo>
                <a:cubicBezTo>
                  <a:pt x="14999" y="14727"/>
                  <a:pt x="15218" y="14508"/>
                  <a:pt x="15218" y="14236"/>
                </a:cubicBezTo>
                <a:cubicBezTo>
                  <a:pt x="15218" y="13966"/>
                  <a:pt x="14999" y="13745"/>
                  <a:pt x="14727" y="13745"/>
                </a:cubicBezTo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0800"/>
                </a:lnTo>
                <a:cubicBezTo>
                  <a:pt x="982" y="10258"/>
                  <a:pt x="1422" y="9818"/>
                  <a:pt x="1964" y="9818"/>
                </a:cubicBezTo>
                <a:lnTo>
                  <a:pt x="3927" y="9818"/>
                </a:lnTo>
                <a:cubicBezTo>
                  <a:pt x="5891" y="9818"/>
                  <a:pt x="5891" y="7855"/>
                  <a:pt x="7364" y="7855"/>
                </a:cubicBezTo>
                <a:lnTo>
                  <a:pt x="8836" y="7855"/>
                </a:lnTo>
                <a:lnTo>
                  <a:pt x="10309" y="7855"/>
                </a:lnTo>
                <a:cubicBezTo>
                  <a:pt x="11782" y="7855"/>
                  <a:pt x="11782" y="9818"/>
                  <a:pt x="13745" y="9818"/>
                </a:cubicBezTo>
                <a:lnTo>
                  <a:pt x="15709" y="9818"/>
                </a:lnTo>
                <a:cubicBezTo>
                  <a:pt x="16251" y="9818"/>
                  <a:pt x="16691" y="10258"/>
                  <a:pt x="16691" y="10800"/>
                </a:cubicBezTo>
                <a:cubicBezTo>
                  <a:pt x="16691" y="10800"/>
                  <a:pt x="16691" y="19636"/>
                  <a:pt x="16691" y="19636"/>
                </a:cubicBezTo>
                <a:close/>
                <a:moveTo>
                  <a:pt x="15709" y="8836"/>
                </a:moveTo>
                <a:lnTo>
                  <a:pt x="13745" y="8836"/>
                </a:lnTo>
                <a:cubicBezTo>
                  <a:pt x="12273" y="8836"/>
                  <a:pt x="12273" y="6873"/>
                  <a:pt x="10309" y="6873"/>
                </a:cubicBezTo>
                <a:lnTo>
                  <a:pt x="7364" y="6873"/>
                </a:lnTo>
                <a:cubicBezTo>
                  <a:pt x="5400" y="6873"/>
                  <a:pt x="5400" y="8836"/>
                  <a:pt x="3927" y="8836"/>
                </a:cubicBezTo>
                <a:lnTo>
                  <a:pt x="1964" y="8836"/>
                </a:lnTo>
                <a:cubicBezTo>
                  <a:pt x="87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10800"/>
                </a:lnTo>
                <a:cubicBezTo>
                  <a:pt x="17673" y="9716"/>
                  <a:pt x="16794" y="8836"/>
                  <a:pt x="15709" y="8836"/>
                </a:cubicBezTo>
                <a:moveTo>
                  <a:pt x="8836" y="17673"/>
                </a:moveTo>
                <a:cubicBezTo>
                  <a:pt x="7210" y="17673"/>
                  <a:pt x="5891" y="16354"/>
                  <a:pt x="5891" y="14727"/>
                </a:cubicBezTo>
                <a:cubicBezTo>
                  <a:pt x="5891" y="13101"/>
                  <a:pt x="7210" y="11782"/>
                  <a:pt x="8836" y="11782"/>
                </a:cubicBezTo>
                <a:cubicBezTo>
                  <a:pt x="10463" y="11782"/>
                  <a:pt x="11782" y="13101"/>
                  <a:pt x="11782" y="14727"/>
                </a:cubicBezTo>
                <a:cubicBezTo>
                  <a:pt x="11782" y="16354"/>
                  <a:pt x="10463" y="17673"/>
                  <a:pt x="8836" y="17673"/>
                </a:cubicBezTo>
                <a:moveTo>
                  <a:pt x="8836" y="10800"/>
                </a:moveTo>
                <a:cubicBezTo>
                  <a:pt x="6668" y="10800"/>
                  <a:pt x="4909" y="12558"/>
                  <a:pt x="4909" y="14727"/>
                </a:cubicBezTo>
                <a:cubicBezTo>
                  <a:pt x="4909" y="16896"/>
                  <a:pt x="6668" y="18655"/>
                  <a:pt x="8836" y="18655"/>
                </a:cubicBezTo>
                <a:cubicBezTo>
                  <a:pt x="11005" y="18655"/>
                  <a:pt x="12764" y="16896"/>
                  <a:pt x="12764" y="14727"/>
                </a:cubicBezTo>
                <a:cubicBezTo>
                  <a:pt x="12764" y="12558"/>
                  <a:pt x="11005" y="10800"/>
                  <a:pt x="8836" y="10800"/>
                </a:cubicBezTo>
                <a:moveTo>
                  <a:pt x="8836" y="15709"/>
                </a:moveTo>
                <a:cubicBezTo>
                  <a:pt x="8295" y="15709"/>
                  <a:pt x="7855" y="15269"/>
                  <a:pt x="7855" y="14727"/>
                </a:cubicBezTo>
                <a:cubicBezTo>
                  <a:pt x="7855" y="14186"/>
                  <a:pt x="8295" y="13745"/>
                  <a:pt x="8836" y="13745"/>
                </a:cubicBezTo>
                <a:cubicBezTo>
                  <a:pt x="9378" y="13745"/>
                  <a:pt x="9818" y="14186"/>
                  <a:pt x="9818" y="14727"/>
                </a:cubicBezTo>
                <a:cubicBezTo>
                  <a:pt x="9818" y="15269"/>
                  <a:pt x="9378" y="15709"/>
                  <a:pt x="8836" y="15709"/>
                </a:cubicBezTo>
                <a:moveTo>
                  <a:pt x="8836" y="12764"/>
                </a:moveTo>
                <a:cubicBezTo>
                  <a:pt x="7752" y="12764"/>
                  <a:pt x="6873" y="13643"/>
                  <a:pt x="6873" y="14727"/>
                </a:cubicBezTo>
                <a:cubicBezTo>
                  <a:pt x="6873" y="15812"/>
                  <a:pt x="7752" y="16691"/>
                  <a:pt x="8836" y="16691"/>
                </a:cubicBezTo>
                <a:cubicBezTo>
                  <a:pt x="9921" y="16691"/>
                  <a:pt x="10800" y="15812"/>
                  <a:pt x="10800" y="14727"/>
                </a:cubicBezTo>
                <a:cubicBezTo>
                  <a:pt x="10800" y="13643"/>
                  <a:pt x="9921" y="12764"/>
                  <a:pt x="8836" y="12764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57" name="Shape 2657"/>
          <p:cNvSpPr/>
          <p:nvPr/>
        </p:nvSpPr>
        <p:spPr>
          <a:xfrm>
            <a:off x="880859" y="249306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4909"/>
                </a:moveTo>
                <a:lnTo>
                  <a:pt x="6873" y="4909"/>
                </a:lnTo>
                <a:lnTo>
                  <a:pt x="6873" y="3927"/>
                </a:lnTo>
                <a:lnTo>
                  <a:pt x="5891" y="3927"/>
                </a:lnTo>
                <a:cubicBezTo>
                  <a:pt x="5891" y="3927"/>
                  <a:pt x="5891" y="4909"/>
                  <a:pt x="5891" y="4909"/>
                </a:cubicBezTo>
                <a:close/>
                <a:moveTo>
                  <a:pt x="18655" y="13745"/>
                </a:moveTo>
                <a:lnTo>
                  <a:pt x="19636" y="13745"/>
                </a:lnTo>
                <a:lnTo>
                  <a:pt x="19636" y="12764"/>
                </a:lnTo>
                <a:lnTo>
                  <a:pt x="18655" y="12764"/>
                </a:lnTo>
                <a:cubicBezTo>
                  <a:pt x="18655" y="12764"/>
                  <a:pt x="18655" y="13745"/>
                  <a:pt x="18655" y="13745"/>
                </a:cubicBezTo>
                <a:close/>
                <a:moveTo>
                  <a:pt x="6873" y="1964"/>
                </a:moveTo>
                <a:lnTo>
                  <a:pt x="5891" y="1964"/>
                </a:lnTo>
                <a:lnTo>
                  <a:pt x="5891" y="2945"/>
                </a:lnTo>
                <a:lnTo>
                  <a:pt x="6873" y="2945"/>
                </a:lnTo>
                <a:cubicBezTo>
                  <a:pt x="6873" y="2945"/>
                  <a:pt x="6873" y="1964"/>
                  <a:pt x="6873" y="1964"/>
                </a:cubicBezTo>
                <a:close/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440"/>
                  <a:pt x="3927" y="982"/>
                </a:cubicBezTo>
                <a:lnTo>
                  <a:pt x="3927" y="5891"/>
                </a:lnTo>
                <a:cubicBezTo>
                  <a:pt x="3927" y="6162"/>
                  <a:pt x="4147" y="6382"/>
                  <a:pt x="4418" y="6382"/>
                </a:cubicBezTo>
                <a:cubicBezTo>
                  <a:pt x="4689" y="6382"/>
                  <a:pt x="4909" y="6162"/>
                  <a:pt x="4909" y="5891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7855" y="982"/>
                </a:lnTo>
                <a:lnTo>
                  <a:pt x="7855" y="5400"/>
                </a:lnTo>
                <a:cubicBezTo>
                  <a:pt x="7855" y="5671"/>
                  <a:pt x="8075" y="5891"/>
                  <a:pt x="8345" y="5891"/>
                </a:cubicBezTo>
                <a:cubicBezTo>
                  <a:pt x="8616" y="5891"/>
                  <a:pt x="8836" y="5671"/>
                  <a:pt x="8836" y="5400"/>
                </a:cubicBezTo>
                <a:lnTo>
                  <a:pt x="8836" y="982"/>
                </a:lnTo>
                <a:lnTo>
                  <a:pt x="16691" y="982"/>
                </a:lnTo>
                <a:lnTo>
                  <a:pt x="16691" y="7364"/>
                </a:lnTo>
                <a:cubicBezTo>
                  <a:pt x="16691" y="7635"/>
                  <a:pt x="16911" y="7855"/>
                  <a:pt x="17182" y="7855"/>
                </a:cubicBezTo>
                <a:cubicBezTo>
                  <a:pt x="17453" y="7855"/>
                  <a:pt x="17673" y="7635"/>
                  <a:pt x="17673" y="7364"/>
                </a:cubicBez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8345"/>
                </a:lnTo>
                <a:lnTo>
                  <a:pt x="19145" y="8345"/>
                </a:lnTo>
                <a:cubicBezTo>
                  <a:pt x="18875" y="8345"/>
                  <a:pt x="18655" y="8566"/>
                  <a:pt x="18655" y="8836"/>
                </a:cubicBezTo>
                <a:cubicBezTo>
                  <a:pt x="18655" y="9108"/>
                  <a:pt x="18875" y="9327"/>
                  <a:pt x="19145" y="9327"/>
                </a:cubicBezTo>
                <a:lnTo>
                  <a:pt x="20618" y="9327"/>
                </a:lnTo>
                <a:lnTo>
                  <a:pt x="20618" y="15709"/>
                </a:lnTo>
                <a:cubicBezTo>
                  <a:pt x="20618" y="16252"/>
                  <a:pt x="20179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1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145" y="17673"/>
                </a:lnTo>
                <a:lnTo>
                  <a:pt x="19636" y="17673"/>
                </a:lnTo>
                <a:lnTo>
                  <a:pt x="19636" y="17673"/>
                </a:lnTo>
                <a:lnTo>
                  <a:pt x="20618" y="17673"/>
                </a:lnTo>
                <a:cubicBezTo>
                  <a:pt x="21160" y="17673"/>
                  <a:pt x="21600" y="17233"/>
                  <a:pt x="21600" y="16691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19636" y="10800"/>
                </a:moveTo>
                <a:lnTo>
                  <a:pt x="18655" y="10800"/>
                </a:lnTo>
                <a:lnTo>
                  <a:pt x="18655" y="11782"/>
                </a:lnTo>
                <a:lnTo>
                  <a:pt x="19636" y="11782"/>
                </a:lnTo>
                <a:cubicBezTo>
                  <a:pt x="19636" y="11782"/>
                  <a:pt x="19636" y="10800"/>
                  <a:pt x="19636" y="10800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15709"/>
                </a:moveTo>
                <a:lnTo>
                  <a:pt x="19636" y="15709"/>
                </a:lnTo>
                <a:lnTo>
                  <a:pt x="19636" y="14727"/>
                </a:lnTo>
                <a:lnTo>
                  <a:pt x="18655" y="14727"/>
                </a:lnTo>
                <a:cubicBezTo>
                  <a:pt x="18655" y="14727"/>
                  <a:pt x="18655" y="15709"/>
                  <a:pt x="18655" y="15709"/>
                </a:cubicBezTo>
                <a:close/>
                <a:moveTo>
                  <a:pt x="19636" y="1964"/>
                </a:moveTo>
                <a:lnTo>
                  <a:pt x="18655" y="1964"/>
                </a:lnTo>
                <a:lnTo>
                  <a:pt x="18655" y="2945"/>
                </a:lnTo>
                <a:lnTo>
                  <a:pt x="19636" y="2945"/>
                </a:lnTo>
                <a:cubicBezTo>
                  <a:pt x="19636" y="2945"/>
                  <a:pt x="19636" y="1964"/>
                  <a:pt x="19636" y="1964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8836" y="17673"/>
                </a:moveTo>
                <a:cubicBezTo>
                  <a:pt x="7210" y="17673"/>
                  <a:pt x="5891" y="16354"/>
                  <a:pt x="5891" y="14727"/>
                </a:cubicBezTo>
                <a:cubicBezTo>
                  <a:pt x="5891" y="13101"/>
                  <a:pt x="7210" y="11782"/>
                  <a:pt x="8836" y="11782"/>
                </a:cubicBezTo>
                <a:cubicBezTo>
                  <a:pt x="10463" y="11782"/>
                  <a:pt x="11782" y="13101"/>
                  <a:pt x="11782" y="14727"/>
                </a:cubicBezTo>
                <a:cubicBezTo>
                  <a:pt x="11782" y="16354"/>
                  <a:pt x="10463" y="17673"/>
                  <a:pt x="8836" y="17673"/>
                </a:cubicBezTo>
                <a:moveTo>
                  <a:pt x="8836" y="10800"/>
                </a:moveTo>
                <a:cubicBezTo>
                  <a:pt x="6667" y="10800"/>
                  <a:pt x="4909" y="12558"/>
                  <a:pt x="4909" y="14727"/>
                </a:cubicBezTo>
                <a:cubicBezTo>
                  <a:pt x="4909" y="16897"/>
                  <a:pt x="6667" y="18655"/>
                  <a:pt x="8836" y="18655"/>
                </a:cubicBezTo>
                <a:cubicBezTo>
                  <a:pt x="11006" y="18655"/>
                  <a:pt x="12764" y="16897"/>
                  <a:pt x="12764" y="14727"/>
                </a:cubicBezTo>
                <a:cubicBezTo>
                  <a:pt x="12764" y="12558"/>
                  <a:pt x="11006" y="10800"/>
                  <a:pt x="8836" y="10800"/>
                </a:cubicBezTo>
                <a:moveTo>
                  <a:pt x="8836" y="15709"/>
                </a:moveTo>
                <a:cubicBezTo>
                  <a:pt x="8294" y="15709"/>
                  <a:pt x="7855" y="15269"/>
                  <a:pt x="7855" y="14727"/>
                </a:cubicBezTo>
                <a:cubicBezTo>
                  <a:pt x="7855" y="14185"/>
                  <a:pt x="8294" y="13745"/>
                  <a:pt x="8836" y="13745"/>
                </a:cubicBezTo>
                <a:cubicBezTo>
                  <a:pt x="9378" y="13745"/>
                  <a:pt x="9818" y="14185"/>
                  <a:pt x="9818" y="14727"/>
                </a:cubicBezTo>
                <a:cubicBezTo>
                  <a:pt x="9818" y="15269"/>
                  <a:pt x="9378" y="15709"/>
                  <a:pt x="8836" y="15709"/>
                </a:cubicBezTo>
                <a:moveTo>
                  <a:pt x="8836" y="12764"/>
                </a:moveTo>
                <a:cubicBezTo>
                  <a:pt x="7752" y="12764"/>
                  <a:pt x="6873" y="13643"/>
                  <a:pt x="6873" y="14727"/>
                </a:cubicBezTo>
                <a:cubicBezTo>
                  <a:pt x="6873" y="15812"/>
                  <a:pt x="7752" y="16691"/>
                  <a:pt x="8836" y="16691"/>
                </a:cubicBezTo>
                <a:cubicBezTo>
                  <a:pt x="9921" y="16691"/>
                  <a:pt x="10800" y="15812"/>
                  <a:pt x="10800" y="14727"/>
                </a:cubicBezTo>
                <a:cubicBezTo>
                  <a:pt x="10800" y="13643"/>
                  <a:pt x="9921" y="12764"/>
                  <a:pt x="8836" y="12764"/>
                </a:cubicBezTo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0800"/>
                </a:lnTo>
                <a:cubicBezTo>
                  <a:pt x="982" y="10258"/>
                  <a:pt x="1422" y="9818"/>
                  <a:pt x="1964" y="9818"/>
                </a:cubicBezTo>
                <a:lnTo>
                  <a:pt x="3927" y="9818"/>
                </a:lnTo>
                <a:cubicBezTo>
                  <a:pt x="5891" y="9818"/>
                  <a:pt x="5891" y="7855"/>
                  <a:pt x="7364" y="7855"/>
                </a:cubicBezTo>
                <a:lnTo>
                  <a:pt x="8836" y="7855"/>
                </a:lnTo>
                <a:lnTo>
                  <a:pt x="10309" y="7855"/>
                </a:lnTo>
                <a:cubicBezTo>
                  <a:pt x="11782" y="7855"/>
                  <a:pt x="11782" y="9818"/>
                  <a:pt x="13745" y="9818"/>
                </a:cubicBezTo>
                <a:lnTo>
                  <a:pt x="15709" y="9818"/>
                </a:lnTo>
                <a:cubicBezTo>
                  <a:pt x="16251" y="9818"/>
                  <a:pt x="16691" y="10258"/>
                  <a:pt x="16691" y="10800"/>
                </a:cubicBezTo>
                <a:cubicBezTo>
                  <a:pt x="16691" y="10800"/>
                  <a:pt x="16691" y="19636"/>
                  <a:pt x="16691" y="19636"/>
                </a:cubicBezTo>
                <a:close/>
                <a:moveTo>
                  <a:pt x="15709" y="8836"/>
                </a:moveTo>
                <a:lnTo>
                  <a:pt x="13745" y="8836"/>
                </a:lnTo>
                <a:cubicBezTo>
                  <a:pt x="12273" y="8836"/>
                  <a:pt x="12273" y="6873"/>
                  <a:pt x="10309" y="6873"/>
                </a:cubicBezTo>
                <a:lnTo>
                  <a:pt x="7364" y="6873"/>
                </a:lnTo>
                <a:cubicBezTo>
                  <a:pt x="5400" y="6873"/>
                  <a:pt x="5400" y="8836"/>
                  <a:pt x="3927" y="8836"/>
                </a:cubicBezTo>
                <a:lnTo>
                  <a:pt x="1964" y="8836"/>
                </a:lnTo>
                <a:cubicBezTo>
                  <a:pt x="87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10800"/>
                </a:lnTo>
                <a:cubicBezTo>
                  <a:pt x="17673" y="9716"/>
                  <a:pt x="16794" y="8836"/>
                  <a:pt x="15709" y="8836"/>
                </a:cubicBezTo>
                <a:moveTo>
                  <a:pt x="14727" y="10800"/>
                </a:moveTo>
                <a:cubicBezTo>
                  <a:pt x="14185" y="10800"/>
                  <a:pt x="13745" y="11240"/>
                  <a:pt x="13745" y="11782"/>
                </a:cubicBezTo>
                <a:cubicBezTo>
                  <a:pt x="13745" y="12324"/>
                  <a:pt x="14185" y="12764"/>
                  <a:pt x="14727" y="12764"/>
                </a:cubicBezTo>
                <a:cubicBezTo>
                  <a:pt x="15269" y="12764"/>
                  <a:pt x="15709" y="12324"/>
                  <a:pt x="15709" y="11782"/>
                </a:cubicBezTo>
                <a:cubicBezTo>
                  <a:pt x="15709" y="11240"/>
                  <a:pt x="15269" y="10800"/>
                  <a:pt x="14727" y="10800"/>
                </a:cubicBezTo>
                <a:moveTo>
                  <a:pt x="14727" y="13745"/>
                </a:moveTo>
                <a:cubicBezTo>
                  <a:pt x="14456" y="13745"/>
                  <a:pt x="14236" y="13966"/>
                  <a:pt x="14236" y="14236"/>
                </a:cubicBezTo>
                <a:cubicBezTo>
                  <a:pt x="14236" y="14508"/>
                  <a:pt x="14456" y="14727"/>
                  <a:pt x="14727" y="14727"/>
                </a:cubicBezTo>
                <a:cubicBezTo>
                  <a:pt x="14998" y="14727"/>
                  <a:pt x="15218" y="14508"/>
                  <a:pt x="15218" y="14236"/>
                </a:cubicBezTo>
                <a:cubicBezTo>
                  <a:pt x="15218" y="13966"/>
                  <a:pt x="14998" y="13745"/>
                  <a:pt x="14727" y="13745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58" name="Shape 2658"/>
          <p:cNvSpPr/>
          <p:nvPr/>
        </p:nvSpPr>
        <p:spPr>
          <a:xfrm>
            <a:off x="1414120" y="249306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3745"/>
                </a:moveTo>
                <a:cubicBezTo>
                  <a:pt x="16420" y="13745"/>
                  <a:pt x="16200" y="13966"/>
                  <a:pt x="16200" y="14236"/>
                </a:cubicBezTo>
                <a:cubicBezTo>
                  <a:pt x="16200" y="14508"/>
                  <a:pt x="16420" y="14727"/>
                  <a:pt x="16691" y="14727"/>
                </a:cubicBezTo>
                <a:cubicBezTo>
                  <a:pt x="16962" y="14727"/>
                  <a:pt x="17182" y="14508"/>
                  <a:pt x="17182" y="14236"/>
                </a:cubicBezTo>
                <a:cubicBezTo>
                  <a:pt x="17182" y="13966"/>
                  <a:pt x="16962" y="13745"/>
                  <a:pt x="16691" y="13745"/>
                </a:cubicBezTo>
                <a:moveTo>
                  <a:pt x="16691" y="10800"/>
                </a:moveTo>
                <a:cubicBezTo>
                  <a:pt x="16149" y="10800"/>
                  <a:pt x="15709" y="11240"/>
                  <a:pt x="15709" y="11782"/>
                </a:cubicBezTo>
                <a:cubicBezTo>
                  <a:pt x="15709" y="12325"/>
                  <a:pt x="16149" y="12764"/>
                  <a:pt x="16691" y="12764"/>
                </a:cubicBezTo>
                <a:cubicBezTo>
                  <a:pt x="17233" y="12764"/>
                  <a:pt x="17673" y="12325"/>
                  <a:pt x="17673" y="11782"/>
                </a:cubicBezTo>
                <a:cubicBezTo>
                  <a:pt x="17673" y="11240"/>
                  <a:pt x="17233" y="10800"/>
                  <a:pt x="16691" y="10800"/>
                </a:cubicBezTo>
                <a:moveTo>
                  <a:pt x="14236" y="5891"/>
                </a:moveTo>
                <a:lnTo>
                  <a:pt x="17960" y="5891"/>
                </a:lnTo>
                <a:lnTo>
                  <a:pt x="16835" y="7017"/>
                </a:lnTo>
                <a:cubicBezTo>
                  <a:pt x="16746" y="7106"/>
                  <a:pt x="16691" y="7229"/>
                  <a:pt x="16691" y="7364"/>
                </a:cubicBezTo>
                <a:cubicBezTo>
                  <a:pt x="16691" y="7635"/>
                  <a:pt x="16911" y="7855"/>
                  <a:pt x="17182" y="7855"/>
                </a:cubicBezTo>
                <a:cubicBezTo>
                  <a:pt x="17317" y="7855"/>
                  <a:pt x="17440" y="7800"/>
                  <a:pt x="17529" y="7711"/>
                </a:cubicBezTo>
                <a:lnTo>
                  <a:pt x="19493" y="5748"/>
                </a:lnTo>
                <a:cubicBezTo>
                  <a:pt x="19581" y="5658"/>
                  <a:pt x="19636" y="5536"/>
                  <a:pt x="19636" y="5400"/>
                </a:cubicBezTo>
                <a:cubicBezTo>
                  <a:pt x="19636" y="5265"/>
                  <a:pt x="19581" y="5142"/>
                  <a:pt x="19493" y="5053"/>
                </a:cubicBezTo>
                <a:lnTo>
                  <a:pt x="17529" y="3089"/>
                </a:lnTo>
                <a:cubicBezTo>
                  <a:pt x="17440" y="3001"/>
                  <a:pt x="17317" y="2945"/>
                  <a:pt x="17182" y="2945"/>
                </a:cubicBezTo>
                <a:cubicBezTo>
                  <a:pt x="16911" y="2945"/>
                  <a:pt x="16691" y="3166"/>
                  <a:pt x="16691" y="3436"/>
                </a:cubicBezTo>
                <a:cubicBezTo>
                  <a:pt x="16691" y="3572"/>
                  <a:pt x="16746" y="3695"/>
                  <a:pt x="16835" y="3784"/>
                </a:cubicBezTo>
                <a:lnTo>
                  <a:pt x="17960" y="4909"/>
                </a:lnTo>
                <a:lnTo>
                  <a:pt x="14236" y="4909"/>
                </a:lnTo>
                <a:cubicBezTo>
                  <a:pt x="13966" y="4909"/>
                  <a:pt x="13745" y="5129"/>
                  <a:pt x="13745" y="5400"/>
                </a:cubicBezTo>
                <a:cubicBezTo>
                  <a:pt x="13745" y="5672"/>
                  <a:pt x="13966" y="5891"/>
                  <a:pt x="14236" y="5891"/>
                </a:cubicBezTo>
                <a:moveTo>
                  <a:pt x="10800" y="15709"/>
                </a:moveTo>
                <a:cubicBezTo>
                  <a:pt x="10258" y="15709"/>
                  <a:pt x="9818" y="15269"/>
                  <a:pt x="9818" y="14727"/>
                </a:cubicBezTo>
                <a:cubicBezTo>
                  <a:pt x="9818" y="14186"/>
                  <a:pt x="10258" y="13745"/>
                  <a:pt x="10800" y="13745"/>
                </a:cubicBezTo>
                <a:cubicBezTo>
                  <a:pt x="11342" y="13745"/>
                  <a:pt x="11782" y="14186"/>
                  <a:pt x="11782" y="14727"/>
                </a:cubicBezTo>
                <a:cubicBezTo>
                  <a:pt x="11782" y="15269"/>
                  <a:pt x="11342" y="15709"/>
                  <a:pt x="10800" y="15709"/>
                </a:cubicBezTo>
                <a:moveTo>
                  <a:pt x="10800" y="12764"/>
                </a:moveTo>
                <a:cubicBezTo>
                  <a:pt x="9716" y="12764"/>
                  <a:pt x="8836" y="13643"/>
                  <a:pt x="8836" y="14727"/>
                </a:cubicBezTo>
                <a:cubicBezTo>
                  <a:pt x="8836" y="15812"/>
                  <a:pt x="9716" y="16691"/>
                  <a:pt x="10800" y="16691"/>
                </a:cubicBezTo>
                <a:cubicBezTo>
                  <a:pt x="11884" y="16691"/>
                  <a:pt x="12764" y="15812"/>
                  <a:pt x="12764" y="14727"/>
                </a:cubicBezTo>
                <a:cubicBezTo>
                  <a:pt x="12764" y="13643"/>
                  <a:pt x="11884" y="12764"/>
                  <a:pt x="10800" y="12764"/>
                </a:cubicBezTo>
                <a:moveTo>
                  <a:pt x="4071" y="7711"/>
                </a:moveTo>
                <a:cubicBezTo>
                  <a:pt x="4160" y="7800"/>
                  <a:pt x="4283" y="7855"/>
                  <a:pt x="4418" y="7855"/>
                </a:cubicBezTo>
                <a:cubicBezTo>
                  <a:pt x="4689" y="7855"/>
                  <a:pt x="4909" y="7635"/>
                  <a:pt x="4909" y="7364"/>
                </a:cubicBezTo>
                <a:cubicBezTo>
                  <a:pt x="4909" y="7229"/>
                  <a:pt x="4854" y="7106"/>
                  <a:pt x="4765" y="7017"/>
                </a:cubicBezTo>
                <a:lnTo>
                  <a:pt x="3640" y="5891"/>
                </a:lnTo>
                <a:lnTo>
                  <a:pt x="7364" y="5891"/>
                </a:lnTo>
                <a:cubicBezTo>
                  <a:pt x="7634" y="5891"/>
                  <a:pt x="7855" y="5672"/>
                  <a:pt x="7855" y="5400"/>
                </a:cubicBezTo>
                <a:cubicBezTo>
                  <a:pt x="7855" y="5129"/>
                  <a:pt x="7634" y="4909"/>
                  <a:pt x="7364" y="4909"/>
                </a:cubicBezTo>
                <a:lnTo>
                  <a:pt x="3640" y="4909"/>
                </a:lnTo>
                <a:lnTo>
                  <a:pt x="4765" y="3784"/>
                </a:lnTo>
                <a:cubicBezTo>
                  <a:pt x="4854" y="3695"/>
                  <a:pt x="4909" y="3572"/>
                  <a:pt x="4909" y="3436"/>
                </a:cubicBezTo>
                <a:cubicBezTo>
                  <a:pt x="4909" y="3166"/>
                  <a:pt x="4689" y="2945"/>
                  <a:pt x="4418" y="2945"/>
                </a:cubicBezTo>
                <a:cubicBezTo>
                  <a:pt x="4283" y="2945"/>
                  <a:pt x="4160" y="3001"/>
                  <a:pt x="4071" y="3089"/>
                </a:cubicBezTo>
                <a:lnTo>
                  <a:pt x="2107" y="5053"/>
                </a:lnTo>
                <a:cubicBezTo>
                  <a:pt x="2019" y="5142"/>
                  <a:pt x="1964" y="5265"/>
                  <a:pt x="1964" y="5400"/>
                </a:cubicBezTo>
                <a:cubicBezTo>
                  <a:pt x="1964" y="5536"/>
                  <a:pt x="2019" y="5658"/>
                  <a:pt x="2107" y="5748"/>
                </a:cubicBezTo>
                <a:cubicBezTo>
                  <a:pt x="2107" y="5748"/>
                  <a:pt x="4071" y="7711"/>
                  <a:pt x="4071" y="7711"/>
                </a:cubicBezTo>
                <a:close/>
                <a:moveTo>
                  <a:pt x="20618" y="15709"/>
                </a:moveTo>
                <a:lnTo>
                  <a:pt x="19636" y="15709"/>
                </a:lnTo>
                <a:lnTo>
                  <a:pt x="19636" y="10800"/>
                </a:lnTo>
                <a:cubicBezTo>
                  <a:pt x="19636" y="9716"/>
                  <a:pt x="18757" y="8836"/>
                  <a:pt x="17673" y="8836"/>
                </a:cubicBezTo>
                <a:lnTo>
                  <a:pt x="15709" y="8836"/>
                </a:lnTo>
                <a:cubicBezTo>
                  <a:pt x="14236" y="8836"/>
                  <a:pt x="14236" y="6873"/>
                  <a:pt x="12273" y="6873"/>
                </a:cubicBezTo>
                <a:lnTo>
                  <a:pt x="9327" y="6873"/>
                </a:lnTo>
                <a:cubicBezTo>
                  <a:pt x="7364" y="6873"/>
                  <a:pt x="7364" y="8836"/>
                  <a:pt x="5891" y="8836"/>
                </a:cubicBezTo>
                <a:lnTo>
                  <a:pt x="3927" y="8836"/>
                </a:lnTo>
                <a:cubicBezTo>
                  <a:pt x="2843" y="8836"/>
                  <a:pt x="1964" y="9716"/>
                  <a:pt x="1964" y="10800"/>
                </a:cubicBezTo>
                <a:lnTo>
                  <a:pt x="1964" y="15709"/>
                </a:ln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15709"/>
                  <a:pt x="20618" y="15709"/>
                </a:cubicBezTo>
                <a:close/>
                <a:moveTo>
                  <a:pt x="18655" y="19636"/>
                </a:moveTo>
                <a:cubicBezTo>
                  <a:pt x="18655" y="20178"/>
                  <a:pt x="18215" y="20618"/>
                  <a:pt x="17673" y="20618"/>
                </a:cubicBezTo>
                <a:lnTo>
                  <a:pt x="3927" y="20618"/>
                </a:lnTo>
                <a:cubicBezTo>
                  <a:pt x="3385" y="20618"/>
                  <a:pt x="2945" y="20178"/>
                  <a:pt x="2945" y="19636"/>
                </a:cubicBezTo>
                <a:lnTo>
                  <a:pt x="2945" y="10800"/>
                </a:lnTo>
                <a:cubicBezTo>
                  <a:pt x="2945" y="10258"/>
                  <a:pt x="3385" y="9818"/>
                  <a:pt x="3927" y="9818"/>
                </a:cubicBezTo>
                <a:lnTo>
                  <a:pt x="5891" y="9818"/>
                </a:lnTo>
                <a:cubicBezTo>
                  <a:pt x="7855" y="9818"/>
                  <a:pt x="7855" y="7855"/>
                  <a:pt x="9327" y="7855"/>
                </a:cubicBezTo>
                <a:lnTo>
                  <a:pt x="10800" y="7855"/>
                </a:lnTo>
                <a:lnTo>
                  <a:pt x="12273" y="7855"/>
                </a:lnTo>
                <a:cubicBezTo>
                  <a:pt x="13745" y="7855"/>
                  <a:pt x="13745" y="9818"/>
                  <a:pt x="15709" y="9818"/>
                </a:cubicBezTo>
                <a:lnTo>
                  <a:pt x="17673" y="9818"/>
                </a:lnTo>
                <a:cubicBezTo>
                  <a:pt x="18215" y="9818"/>
                  <a:pt x="18655" y="10258"/>
                  <a:pt x="18655" y="10800"/>
                </a:cubicBezTo>
                <a:cubicBezTo>
                  <a:pt x="18655" y="10800"/>
                  <a:pt x="18655" y="19636"/>
                  <a:pt x="18655" y="19636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5709"/>
                </a:lnTo>
                <a:cubicBezTo>
                  <a:pt x="0" y="16252"/>
                  <a:pt x="440" y="16691"/>
                  <a:pt x="982" y="16691"/>
                </a:cubicBezTo>
                <a:lnTo>
                  <a:pt x="1964" y="16691"/>
                </a:lnTo>
                <a:lnTo>
                  <a:pt x="1964" y="19636"/>
                </a:lnTo>
                <a:cubicBezTo>
                  <a:pt x="1964" y="20721"/>
                  <a:pt x="2843" y="21600"/>
                  <a:pt x="3927" y="21600"/>
                </a:cubicBezTo>
                <a:lnTo>
                  <a:pt x="17673" y="21600"/>
                </a:lnTo>
                <a:cubicBezTo>
                  <a:pt x="18757" y="21600"/>
                  <a:pt x="19636" y="20721"/>
                  <a:pt x="19636" y="19636"/>
                </a:cubicBezTo>
                <a:lnTo>
                  <a:pt x="19636" y="16691"/>
                </a:lnTo>
                <a:lnTo>
                  <a:pt x="20618" y="16691"/>
                </a:lnTo>
                <a:cubicBezTo>
                  <a:pt x="21160" y="16691"/>
                  <a:pt x="21600" y="16252"/>
                  <a:pt x="21600" y="15709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10800" y="17673"/>
                </a:moveTo>
                <a:cubicBezTo>
                  <a:pt x="9173" y="17673"/>
                  <a:pt x="7855" y="16354"/>
                  <a:pt x="7855" y="14727"/>
                </a:cubicBezTo>
                <a:cubicBezTo>
                  <a:pt x="7855" y="13101"/>
                  <a:pt x="9173" y="11782"/>
                  <a:pt x="10800" y="11782"/>
                </a:cubicBezTo>
                <a:cubicBezTo>
                  <a:pt x="12427" y="11782"/>
                  <a:pt x="13745" y="13101"/>
                  <a:pt x="13745" y="14727"/>
                </a:cubicBezTo>
                <a:cubicBezTo>
                  <a:pt x="13745" y="16354"/>
                  <a:pt x="12427" y="17673"/>
                  <a:pt x="10800" y="17673"/>
                </a:cubicBezTo>
                <a:moveTo>
                  <a:pt x="10800" y="10800"/>
                </a:moveTo>
                <a:cubicBezTo>
                  <a:pt x="8631" y="10800"/>
                  <a:pt x="6873" y="12558"/>
                  <a:pt x="6873" y="14727"/>
                </a:cubicBezTo>
                <a:cubicBezTo>
                  <a:pt x="6873" y="16897"/>
                  <a:pt x="8631" y="18655"/>
                  <a:pt x="10800" y="18655"/>
                </a:cubicBezTo>
                <a:cubicBezTo>
                  <a:pt x="12969" y="18655"/>
                  <a:pt x="14727" y="16897"/>
                  <a:pt x="14727" y="14727"/>
                </a:cubicBezTo>
                <a:cubicBezTo>
                  <a:pt x="14727" y="12558"/>
                  <a:pt x="12969" y="10800"/>
                  <a:pt x="10800" y="1080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59" name="Shape 2659"/>
          <p:cNvSpPr/>
          <p:nvPr/>
        </p:nvSpPr>
        <p:spPr>
          <a:xfrm>
            <a:off x="1947381" y="249306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7855"/>
                </a:moveTo>
                <a:cubicBezTo>
                  <a:pt x="16052" y="7855"/>
                  <a:pt x="16376" y="7925"/>
                  <a:pt x="16682" y="8033"/>
                </a:cubicBezTo>
                <a:cubicBezTo>
                  <a:pt x="16684" y="7973"/>
                  <a:pt x="16691" y="7915"/>
                  <a:pt x="16691" y="7855"/>
                </a:cubicBezTo>
                <a:cubicBezTo>
                  <a:pt x="16691" y="5686"/>
                  <a:pt x="14932" y="3927"/>
                  <a:pt x="12764" y="3927"/>
                </a:cubicBezTo>
                <a:cubicBezTo>
                  <a:pt x="11311" y="3927"/>
                  <a:pt x="10045" y="4718"/>
                  <a:pt x="9366" y="5891"/>
                </a:cubicBezTo>
                <a:lnTo>
                  <a:pt x="10309" y="5891"/>
                </a:lnTo>
                <a:cubicBezTo>
                  <a:pt x="10401" y="5891"/>
                  <a:pt x="10481" y="5904"/>
                  <a:pt x="10567" y="5910"/>
                </a:cubicBezTo>
                <a:cubicBezTo>
                  <a:pt x="11107" y="5301"/>
                  <a:pt x="11886" y="4909"/>
                  <a:pt x="12764" y="4909"/>
                </a:cubicBezTo>
                <a:cubicBezTo>
                  <a:pt x="14390" y="4909"/>
                  <a:pt x="15709" y="6228"/>
                  <a:pt x="15709" y="7855"/>
                </a:cubicBezTo>
                <a:moveTo>
                  <a:pt x="11716" y="6199"/>
                </a:moveTo>
                <a:cubicBezTo>
                  <a:pt x="12102" y="6387"/>
                  <a:pt x="12403" y="6637"/>
                  <a:pt x="12649" y="6884"/>
                </a:cubicBezTo>
                <a:cubicBezTo>
                  <a:pt x="12687" y="6880"/>
                  <a:pt x="12724" y="6873"/>
                  <a:pt x="12764" y="6873"/>
                </a:cubicBezTo>
                <a:cubicBezTo>
                  <a:pt x="13306" y="6873"/>
                  <a:pt x="13745" y="7313"/>
                  <a:pt x="13745" y="7855"/>
                </a:cubicBezTo>
                <a:lnTo>
                  <a:pt x="14727" y="7855"/>
                </a:lnTo>
                <a:cubicBezTo>
                  <a:pt x="14727" y="6770"/>
                  <a:pt x="13848" y="5891"/>
                  <a:pt x="12764" y="5891"/>
                </a:cubicBezTo>
                <a:cubicBezTo>
                  <a:pt x="12377" y="5891"/>
                  <a:pt x="12020" y="6006"/>
                  <a:pt x="11716" y="6199"/>
                </a:cubicBezTo>
                <a:moveTo>
                  <a:pt x="19636" y="1964"/>
                </a:moveTo>
                <a:lnTo>
                  <a:pt x="17673" y="1964"/>
                </a:lnTo>
                <a:cubicBezTo>
                  <a:pt x="16200" y="1964"/>
                  <a:pt x="16200" y="0"/>
                  <a:pt x="14236" y="0"/>
                </a:cubicBezTo>
                <a:lnTo>
                  <a:pt x="11291" y="0"/>
                </a:lnTo>
                <a:cubicBezTo>
                  <a:pt x="9327" y="0"/>
                  <a:pt x="9327" y="1964"/>
                  <a:pt x="7855" y="1964"/>
                </a:cubicBezTo>
                <a:lnTo>
                  <a:pt x="5891" y="1964"/>
                </a:lnTo>
                <a:cubicBezTo>
                  <a:pt x="4806" y="1964"/>
                  <a:pt x="3927" y="2843"/>
                  <a:pt x="3927" y="3927"/>
                </a:cubicBezTo>
                <a:lnTo>
                  <a:pt x="3927" y="7855"/>
                </a:lnTo>
                <a:cubicBezTo>
                  <a:pt x="4125" y="7855"/>
                  <a:pt x="4236" y="7769"/>
                  <a:pt x="4627" y="7318"/>
                </a:cubicBezTo>
                <a:cubicBezTo>
                  <a:pt x="4712" y="7220"/>
                  <a:pt x="4807" y="7113"/>
                  <a:pt x="4909" y="7005"/>
                </a:cubicBezTo>
                <a:lnTo>
                  <a:pt x="4909" y="3927"/>
                </a:lnTo>
                <a:cubicBezTo>
                  <a:pt x="4909" y="3386"/>
                  <a:pt x="5349" y="2945"/>
                  <a:pt x="5891" y="2945"/>
                </a:cubicBezTo>
                <a:lnTo>
                  <a:pt x="7855" y="2945"/>
                </a:lnTo>
                <a:cubicBezTo>
                  <a:pt x="9818" y="2945"/>
                  <a:pt x="9818" y="982"/>
                  <a:pt x="11291" y="982"/>
                </a:cubicBezTo>
                <a:lnTo>
                  <a:pt x="12764" y="982"/>
                </a:lnTo>
                <a:lnTo>
                  <a:pt x="14236" y="982"/>
                </a:lnTo>
                <a:cubicBezTo>
                  <a:pt x="15709" y="982"/>
                  <a:pt x="15709" y="2945"/>
                  <a:pt x="17673" y="2945"/>
                </a:cubicBezTo>
                <a:lnTo>
                  <a:pt x="19636" y="2945"/>
                </a:lnTo>
                <a:cubicBezTo>
                  <a:pt x="20178" y="2945"/>
                  <a:pt x="20618" y="3386"/>
                  <a:pt x="20618" y="3927"/>
                </a:cubicBezTo>
                <a:lnTo>
                  <a:pt x="20618" y="12764"/>
                </a:lnTo>
                <a:cubicBezTo>
                  <a:pt x="20618" y="13306"/>
                  <a:pt x="20178" y="13745"/>
                  <a:pt x="19636" y="13745"/>
                </a:cubicBezTo>
                <a:lnTo>
                  <a:pt x="18655" y="13745"/>
                </a:lnTo>
                <a:lnTo>
                  <a:pt x="18655" y="14727"/>
                </a:lnTo>
                <a:lnTo>
                  <a:pt x="19636" y="14727"/>
                </a:lnTo>
                <a:cubicBezTo>
                  <a:pt x="20721" y="14727"/>
                  <a:pt x="21600" y="13849"/>
                  <a:pt x="21600" y="12764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0800"/>
                </a:lnTo>
                <a:cubicBezTo>
                  <a:pt x="982" y="10258"/>
                  <a:pt x="1422" y="9818"/>
                  <a:pt x="1964" y="9818"/>
                </a:cubicBezTo>
                <a:lnTo>
                  <a:pt x="3927" y="9818"/>
                </a:lnTo>
                <a:cubicBezTo>
                  <a:pt x="5891" y="9818"/>
                  <a:pt x="5891" y="7855"/>
                  <a:pt x="7364" y="7855"/>
                </a:cubicBezTo>
                <a:lnTo>
                  <a:pt x="8836" y="7855"/>
                </a:lnTo>
                <a:lnTo>
                  <a:pt x="10309" y="7855"/>
                </a:lnTo>
                <a:cubicBezTo>
                  <a:pt x="11782" y="7855"/>
                  <a:pt x="11782" y="9818"/>
                  <a:pt x="13745" y="9818"/>
                </a:cubicBezTo>
                <a:lnTo>
                  <a:pt x="15709" y="9818"/>
                </a:lnTo>
                <a:cubicBezTo>
                  <a:pt x="16251" y="9818"/>
                  <a:pt x="16691" y="10258"/>
                  <a:pt x="16691" y="10800"/>
                </a:cubicBezTo>
                <a:cubicBezTo>
                  <a:pt x="16691" y="10800"/>
                  <a:pt x="16691" y="19636"/>
                  <a:pt x="16691" y="19636"/>
                </a:cubicBezTo>
                <a:close/>
                <a:moveTo>
                  <a:pt x="15709" y="8836"/>
                </a:moveTo>
                <a:lnTo>
                  <a:pt x="13745" y="8836"/>
                </a:lnTo>
                <a:cubicBezTo>
                  <a:pt x="12273" y="8836"/>
                  <a:pt x="12273" y="6873"/>
                  <a:pt x="10309" y="6873"/>
                </a:cubicBezTo>
                <a:lnTo>
                  <a:pt x="7364" y="6873"/>
                </a:lnTo>
                <a:cubicBezTo>
                  <a:pt x="5400" y="6873"/>
                  <a:pt x="5400" y="8836"/>
                  <a:pt x="3927" y="8836"/>
                </a:cubicBezTo>
                <a:lnTo>
                  <a:pt x="1964" y="8836"/>
                </a:lnTo>
                <a:cubicBezTo>
                  <a:pt x="87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10800"/>
                </a:lnTo>
                <a:cubicBezTo>
                  <a:pt x="17673" y="9716"/>
                  <a:pt x="16794" y="8836"/>
                  <a:pt x="15709" y="8836"/>
                </a:cubicBezTo>
                <a:moveTo>
                  <a:pt x="19636" y="4909"/>
                </a:moveTo>
                <a:cubicBezTo>
                  <a:pt x="19636" y="4367"/>
                  <a:pt x="19197" y="3927"/>
                  <a:pt x="18655" y="3927"/>
                </a:cubicBezTo>
                <a:cubicBezTo>
                  <a:pt x="18113" y="3927"/>
                  <a:pt x="17673" y="4367"/>
                  <a:pt x="17673" y="4909"/>
                </a:cubicBezTo>
                <a:cubicBezTo>
                  <a:pt x="17673" y="5451"/>
                  <a:pt x="18113" y="5891"/>
                  <a:pt x="18655" y="5891"/>
                </a:cubicBezTo>
                <a:cubicBezTo>
                  <a:pt x="19197" y="5891"/>
                  <a:pt x="19636" y="5451"/>
                  <a:pt x="19636" y="4909"/>
                </a:cubicBezTo>
                <a:moveTo>
                  <a:pt x="19145" y="7364"/>
                </a:moveTo>
                <a:cubicBezTo>
                  <a:pt x="19145" y="7093"/>
                  <a:pt x="18925" y="6873"/>
                  <a:pt x="18655" y="6873"/>
                </a:cubicBezTo>
                <a:cubicBezTo>
                  <a:pt x="18384" y="6873"/>
                  <a:pt x="18164" y="7093"/>
                  <a:pt x="18164" y="7364"/>
                </a:cubicBezTo>
                <a:cubicBezTo>
                  <a:pt x="18164" y="7635"/>
                  <a:pt x="18384" y="7855"/>
                  <a:pt x="18655" y="7855"/>
                </a:cubicBezTo>
                <a:cubicBezTo>
                  <a:pt x="18925" y="7855"/>
                  <a:pt x="19145" y="7635"/>
                  <a:pt x="19145" y="7364"/>
                </a:cubicBezTo>
                <a:moveTo>
                  <a:pt x="8836" y="15709"/>
                </a:moveTo>
                <a:cubicBezTo>
                  <a:pt x="8294" y="15709"/>
                  <a:pt x="7855" y="15269"/>
                  <a:pt x="7855" y="14727"/>
                </a:cubicBezTo>
                <a:cubicBezTo>
                  <a:pt x="7855" y="14186"/>
                  <a:pt x="8294" y="13745"/>
                  <a:pt x="8836" y="13745"/>
                </a:cubicBezTo>
                <a:cubicBezTo>
                  <a:pt x="9378" y="13745"/>
                  <a:pt x="9818" y="14186"/>
                  <a:pt x="9818" y="14727"/>
                </a:cubicBezTo>
                <a:cubicBezTo>
                  <a:pt x="9818" y="15269"/>
                  <a:pt x="9378" y="15709"/>
                  <a:pt x="8836" y="15709"/>
                </a:cubicBezTo>
                <a:moveTo>
                  <a:pt x="8836" y="12764"/>
                </a:moveTo>
                <a:cubicBezTo>
                  <a:pt x="7752" y="12764"/>
                  <a:pt x="6873" y="13643"/>
                  <a:pt x="6873" y="14727"/>
                </a:cubicBezTo>
                <a:cubicBezTo>
                  <a:pt x="6873" y="15812"/>
                  <a:pt x="7752" y="16691"/>
                  <a:pt x="8836" y="16691"/>
                </a:cubicBezTo>
                <a:cubicBezTo>
                  <a:pt x="9921" y="16691"/>
                  <a:pt x="10800" y="15812"/>
                  <a:pt x="10800" y="14727"/>
                </a:cubicBezTo>
                <a:cubicBezTo>
                  <a:pt x="10800" y="13643"/>
                  <a:pt x="9921" y="12764"/>
                  <a:pt x="8836" y="12764"/>
                </a:cubicBezTo>
                <a:moveTo>
                  <a:pt x="14727" y="10800"/>
                </a:moveTo>
                <a:cubicBezTo>
                  <a:pt x="14185" y="10800"/>
                  <a:pt x="13745" y="11240"/>
                  <a:pt x="13745" y="11782"/>
                </a:cubicBezTo>
                <a:cubicBezTo>
                  <a:pt x="13745" y="12325"/>
                  <a:pt x="14185" y="12764"/>
                  <a:pt x="14727" y="12764"/>
                </a:cubicBezTo>
                <a:cubicBezTo>
                  <a:pt x="15269" y="12764"/>
                  <a:pt x="15709" y="12325"/>
                  <a:pt x="15709" y="11782"/>
                </a:cubicBezTo>
                <a:cubicBezTo>
                  <a:pt x="15709" y="11240"/>
                  <a:pt x="15269" y="10800"/>
                  <a:pt x="14727" y="10800"/>
                </a:cubicBezTo>
                <a:moveTo>
                  <a:pt x="14727" y="13745"/>
                </a:moveTo>
                <a:cubicBezTo>
                  <a:pt x="14456" y="13745"/>
                  <a:pt x="14236" y="13966"/>
                  <a:pt x="14236" y="14236"/>
                </a:cubicBezTo>
                <a:cubicBezTo>
                  <a:pt x="14236" y="14508"/>
                  <a:pt x="14456" y="14727"/>
                  <a:pt x="14727" y="14727"/>
                </a:cubicBezTo>
                <a:cubicBezTo>
                  <a:pt x="14998" y="14727"/>
                  <a:pt x="15218" y="14508"/>
                  <a:pt x="15218" y="14236"/>
                </a:cubicBezTo>
                <a:cubicBezTo>
                  <a:pt x="15218" y="13966"/>
                  <a:pt x="14998" y="13745"/>
                  <a:pt x="14727" y="13745"/>
                </a:cubicBezTo>
                <a:moveTo>
                  <a:pt x="8836" y="17673"/>
                </a:moveTo>
                <a:cubicBezTo>
                  <a:pt x="7210" y="17673"/>
                  <a:pt x="5891" y="16354"/>
                  <a:pt x="5891" y="14727"/>
                </a:cubicBezTo>
                <a:cubicBezTo>
                  <a:pt x="5891" y="13101"/>
                  <a:pt x="7210" y="11782"/>
                  <a:pt x="8836" y="11782"/>
                </a:cubicBezTo>
                <a:cubicBezTo>
                  <a:pt x="10463" y="11782"/>
                  <a:pt x="11782" y="13101"/>
                  <a:pt x="11782" y="14727"/>
                </a:cubicBezTo>
                <a:cubicBezTo>
                  <a:pt x="11782" y="16354"/>
                  <a:pt x="10463" y="17673"/>
                  <a:pt x="8836" y="17673"/>
                </a:cubicBezTo>
                <a:moveTo>
                  <a:pt x="8836" y="10800"/>
                </a:moveTo>
                <a:cubicBezTo>
                  <a:pt x="6668" y="10800"/>
                  <a:pt x="4909" y="12558"/>
                  <a:pt x="4909" y="14727"/>
                </a:cubicBezTo>
                <a:cubicBezTo>
                  <a:pt x="4909" y="16897"/>
                  <a:pt x="6668" y="18655"/>
                  <a:pt x="8836" y="18655"/>
                </a:cubicBezTo>
                <a:cubicBezTo>
                  <a:pt x="11005" y="18655"/>
                  <a:pt x="12764" y="16897"/>
                  <a:pt x="12764" y="14727"/>
                </a:cubicBezTo>
                <a:cubicBezTo>
                  <a:pt x="12764" y="12558"/>
                  <a:pt x="11005" y="10800"/>
                  <a:pt x="8836" y="1080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60" name="Shape 2660"/>
          <p:cNvSpPr/>
          <p:nvPr/>
        </p:nvSpPr>
        <p:spPr>
          <a:xfrm>
            <a:off x="2480642" y="249306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7673"/>
                </a:moveTo>
                <a:cubicBezTo>
                  <a:pt x="20618" y="18215"/>
                  <a:pt x="20178" y="18655"/>
                  <a:pt x="19636" y="18655"/>
                </a:cubicBezTo>
                <a:lnTo>
                  <a:pt x="1964" y="18655"/>
                </a:lnTo>
                <a:cubicBezTo>
                  <a:pt x="1422" y="18655"/>
                  <a:pt x="982" y="18215"/>
                  <a:pt x="982" y="17673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9636" y="4909"/>
                </a:lnTo>
                <a:cubicBezTo>
                  <a:pt x="20178" y="4909"/>
                  <a:pt x="20618" y="5349"/>
                  <a:pt x="20618" y="5891"/>
                </a:cubicBezTo>
                <a:cubicBezTo>
                  <a:pt x="20618" y="5891"/>
                  <a:pt x="20618" y="17673"/>
                  <a:pt x="20618" y="17673"/>
                </a:cubicBezTo>
                <a:close/>
                <a:moveTo>
                  <a:pt x="19636" y="3927"/>
                </a:moveTo>
                <a:lnTo>
                  <a:pt x="12476" y="3927"/>
                </a:lnTo>
                <a:lnTo>
                  <a:pt x="14476" y="1927"/>
                </a:lnTo>
                <a:cubicBezTo>
                  <a:pt x="14557" y="1949"/>
                  <a:pt x="14640" y="1964"/>
                  <a:pt x="14727" y="1964"/>
                </a:cubicBezTo>
                <a:cubicBezTo>
                  <a:pt x="15269" y="1964"/>
                  <a:pt x="15709" y="1524"/>
                  <a:pt x="15709" y="982"/>
                </a:cubicBezTo>
                <a:cubicBezTo>
                  <a:pt x="15709" y="440"/>
                  <a:pt x="15269" y="0"/>
                  <a:pt x="14727" y="0"/>
                </a:cubicBezTo>
                <a:cubicBezTo>
                  <a:pt x="14185" y="0"/>
                  <a:pt x="13745" y="440"/>
                  <a:pt x="13745" y="982"/>
                </a:cubicBezTo>
                <a:cubicBezTo>
                  <a:pt x="13745" y="1069"/>
                  <a:pt x="13761" y="1153"/>
                  <a:pt x="13782" y="1233"/>
                </a:cubicBezTo>
                <a:lnTo>
                  <a:pt x="11088" y="3927"/>
                </a:lnTo>
                <a:lnTo>
                  <a:pt x="10513" y="3927"/>
                </a:lnTo>
                <a:lnTo>
                  <a:pt x="7818" y="1233"/>
                </a:lnTo>
                <a:cubicBezTo>
                  <a:pt x="7839" y="1153"/>
                  <a:pt x="7855" y="1069"/>
                  <a:pt x="7855" y="982"/>
                </a:cubicBezTo>
                <a:cubicBezTo>
                  <a:pt x="7855" y="440"/>
                  <a:pt x="7415" y="0"/>
                  <a:pt x="6873" y="0"/>
                </a:cubicBezTo>
                <a:cubicBezTo>
                  <a:pt x="6331" y="0"/>
                  <a:pt x="5891" y="440"/>
                  <a:pt x="5891" y="982"/>
                </a:cubicBezTo>
                <a:cubicBezTo>
                  <a:pt x="5891" y="1524"/>
                  <a:pt x="6331" y="1964"/>
                  <a:pt x="6873" y="1964"/>
                </a:cubicBezTo>
                <a:cubicBezTo>
                  <a:pt x="6960" y="1964"/>
                  <a:pt x="7043" y="1949"/>
                  <a:pt x="7124" y="1927"/>
                </a:cubicBezTo>
                <a:lnTo>
                  <a:pt x="9124" y="3927"/>
                </a:ln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7673"/>
                </a:lnTo>
                <a:cubicBezTo>
                  <a:pt x="0" y="18757"/>
                  <a:pt x="879" y="19637"/>
                  <a:pt x="1964" y="19637"/>
                </a:cubicBezTo>
                <a:lnTo>
                  <a:pt x="3927" y="19637"/>
                </a:lnTo>
                <a:lnTo>
                  <a:pt x="3927" y="21109"/>
                </a:lnTo>
                <a:cubicBezTo>
                  <a:pt x="3927" y="21381"/>
                  <a:pt x="4147" y="21600"/>
                  <a:pt x="4418" y="21600"/>
                </a:cubicBezTo>
                <a:cubicBezTo>
                  <a:pt x="4689" y="21600"/>
                  <a:pt x="4909" y="21381"/>
                  <a:pt x="4909" y="21109"/>
                </a:cubicBezTo>
                <a:lnTo>
                  <a:pt x="4909" y="20618"/>
                </a:lnTo>
                <a:lnTo>
                  <a:pt x="16691" y="20618"/>
                </a:lnTo>
                <a:lnTo>
                  <a:pt x="16691" y="21109"/>
                </a:lnTo>
                <a:cubicBezTo>
                  <a:pt x="16691" y="21381"/>
                  <a:pt x="16911" y="21600"/>
                  <a:pt x="17182" y="21600"/>
                </a:cubicBezTo>
                <a:cubicBezTo>
                  <a:pt x="17453" y="21600"/>
                  <a:pt x="17673" y="21381"/>
                  <a:pt x="17673" y="21109"/>
                </a:cubicBezTo>
                <a:lnTo>
                  <a:pt x="17673" y="19637"/>
                </a:lnTo>
                <a:lnTo>
                  <a:pt x="19636" y="19637"/>
                </a:lnTo>
                <a:cubicBezTo>
                  <a:pt x="20721" y="19637"/>
                  <a:pt x="21600" y="18757"/>
                  <a:pt x="21600" y="17673"/>
                </a:cubicBezTo>
                <a:lnTo>
                  <a:pt x="21600" y="5891"/>
                </a:lnTo>
                <a:cubicBezTo>
                  <a:pt x="21600" y="4806"/>
                  <a:pt x="20721" y="3927"/>
                  <a:pt x="19636" y="3927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61" name="Shape 2661"/>
          <p:cNvSpPr/>
          <p:nvPr/>
        </p:nvSpPr>
        <p:spPr>
          <a:xfrm>
            <a:off x="3013903" y="249306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7855"/>
                </a:moveTo>
                <a:lnTo>
                  <a:pt x="7855" y="7855"/>
                </a:lnTo>
                <a:lnTo>
                  <a:pt x="7855" y="9818"/>
                </a:lnTo>
                <a:lnTo>
                  <a:pt x="9818" y="9818"/>
                </a:lnTo>
                <a:cubicBezTo>
                  <a:pt x="9818" y="9818"/>
                  <a:pt x="9818" y="7855"/>
                  <a:pt x="9818" y="7855"/>
                </a:cubicBezTo>
                <a:close/>
                <a:moveTo>
                  <a:pt x="5891" y="7855"/>
                </a:moveTo>
                <a:lnTo>
                  <a:pt x="3927" y="7855"/>
                </a:lnTo>
                <a:lnTo>
                  <a:pt x="3927" y="9818"/>
                </a:lnTo>
                <a:lnTo>
                  <a:pt x="5891" y="9818"/>
                </a:lnTo>
                <a:cubicBezTo>
                  <a:pt x="5891" y="9818"/>
                  <a:pt x="5891" y="7855"/>
                  <a:pt x="5891" y="7855"/>
                </a:cubicBezTo>
                <a:close/>
                <a:moveTo>
                  <a:pt x="13745" y="7855"/>
                </a:moveTo>
                <a:lnTo>
                  <a:pt x="11782" y="7855"/>
                </a:lnTo>
                <a:lnTo>
                  <a:pt x="11782" y="9818"/>
                </a:lnTo>
                <a:lnTo>
                  <a:pt x="13745" y="9818"/>
                </a:lnTo>
                <a:cubicBezTo>
                  <a:pt x="13745" y="9818"/>
                  <a:pt x="13745" y="7855"/>
                  <a:pt x="13745" y="7855"/>
                </a:cubicBezTo>
                <a:close/>
                <a:moveTo>
                  <a:pt x="7855" y="13745"/>
                </a:moveTo>
                <a:lnTo>
                  <a:pt x="9818" y="13745"/>
                </a:lnTo>
                <a:lnTo>
                  <a:pt x="9818" y="11782"/>
                </a:lnTo>
                <a:lnTo>
                  <a:pt x="7855" y="11782"/>
                </a:lnTo>
                <a:cubicBezTo>
                  <a:pt x="7855" y="11782"/>
                  <a:pt x="7855" y="13745"/>
                  <a:pt x="7855" y="13745"/>
                </a:cubicBezTo>
                <a:close/>
                <a:moveTo>
                  <a:pt x="13745" y="11782"/>
                </a:moveTo>
                <a:lnTo>
                  <a:pt x="15709" y="11782"/>
                </a:lnTo>
                <a:lnTo>
                  <a:pt x="15709" y="9818"/>
                </a:lnTo>
                <a:lnTo>
                  <a:pt x="13745" y="9818"/>
                </a:lnTo>
                <a:cubicBezTo>
                  <a:pt x="13745" y="9818"/>
                  <a:pt x="13745" y="11782"/>
                  <a:pt x="13745" y="11782"/>
                </a:cubicBezTo>
                <a:close/>
                <a:moveTo>
                  <a:pt x="5891" y="11782"/>
                </a:moveTo>
                <a:lnTo>
                  <a:pt x="3927" y="11782"/>
                </a:lnTo>
                <a:lnTo>
                  <a:pt x="3927" y="13745"/>
                </a:lnTo>
                <a:lnTo>
                  <a:pt x="5891" y="13745"/>
                </a:lnTo>
                <a:cubicBezTo>
                  <a:pt x="5891" y="13745"/>
                  <a:pt x="5891" y="11782"/>
                  <a:pt x="5891" y="11782"/>
                </a:cubicBezTo>
                <a:close/>
                <a:moveTo>
                  <a:pt x="11782" y="13745"/>
                </a:moveTo>
                <a:lnTo>
                  <a:pt x="13745" y="13745"/>
                </a:lnTo>
                <a:lnTo>
                  <a:pt x="13745" y="11782"/>
                </a:lnTo>
                <a:lnTo>
                  <a:pt x="11782" y="11782"/>
                </a:lnTo>
                <a:cubicBezTo>
                  <a:pt x="11782" y="11782"/>
                  <a:pt x="11782" y="13745"/>
                  <a:pt x="11782" y="13745"/>
                </a:cubicBezTo>
                <a:close/>
                <a:moveTo>
                  <a:pt x="13745" y="15709"/>
                </a:moveTo>
                <a:lnTo>
                  <a:pt x="15709" y="15709"/>
                </a:lnTo>
                <a:lnTo>
                  <a:pt x="15709" y="13745"/>
                </a:lnTo>
                <a:lnTo>
                  <a:pt x="13745" y="13745"/>
                </a:lnTo>
                <a:cubicBezTo>
                  <a:pt x="13745" y="13745"/>
                  <a:pt x="13745" y="15709"/>
                  <a:pt x="13745" y="15709"/>
                </a:cubicBezTo>
                <a:close/>
                <a:moveTo>
                  <a:pt x="17673" y="7855"/>
                </a:moveTo>
                <a:lnTo>
                  <a:pt x="19636" y="7855"/>
                </a:lnTo>
                <a:lnTo>
                  <a:pt x="19636" y="5891"/>
                </a:lnTo>
                <a:lnTo>
                  <a:pt x="17673" y="5891"/>
                </a:lnTo>
                <a:cubicBezTo>
                  <a:pt x="17673" y="5891"/>
                  <a:pt x="17673" y="7855"/>
                  <a:pt x="17673" y="7855"/>
                </a:cubicBezTo>
                <a:close/>
                <a:moveTo>
                  <a:pt x="15709" y="9818"/>
                </a:moveTo>
                <a:lnTo>
                  <a:pt x="17673" y="9818"/>
                </a:lnTo>
                <a:lnTo>
                  <a:pt x="17673" y="7855"/>
                </a:lnTo>
                <a:lnTo>
                  <a:pt x="15709" y="7855"/>
                </a:lnTo>
                <a:cubicBezTo>
                  <a:pt x="15709" y="7855"/>
                  <a:pt x="15709" y="9818"/>
                  <a:pt x="15709" y="9818"/>
                </a:cubicBezTo>
                <a:close/>
                <a:moveTo>
                  <a:pt x="20618" y="17673"/>
                </a:moveTo>
                <a:cubicBezTo>
                  <a:pt x="20618" y="18215"/>
                  <a:pt x="20178" y="18655"/>
                  <a:pt x="19636" y="18655"/>
                </a:cubicBezTo>
                <a:lnTo>
                  <a:pt x="1964" y="18655"/>
                </a:lnTo>
                <a:cubicBezTo>
                  <a:pt x="1422" y="18655"/>
                  <a:pt x="982" y="18215"/>
                  <a:pt x="982" y="17673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9636" y="4909"/>
                </a:lnTo>
                <a:cubicBezTo>
                  <a:pt x="20178" y="4909"/>
                  <a:pt x="20618" y="5349"/>
                  <a:pt x="20618" y="5891"/>
                </a:cubicBezTo>
                <a:cubicBezTo>
                  <a:pt x="20618" y="5891"/>
                  <a:pt x="20618" y="17673"/>
                  <a:pt x="20618" y="17673"/>
                </a:cubicBezTo>
                <a:close/>
                <a:moveTo>
                  <a:pt x="19636" y="3927"/>
                </a:moveTo>
                <a:lnTo>
                  <a:pt x="12476" y="3927"/>
                </a:lnTo>
                <a:lnTo>
                  <a:pt x="14476" y="1927"/>
                </a:lnTo>
                <a:cubicBezTo>
                  <a:pt x="14557" y="1949"/>
                  <a:pt x="14640" y="1964"/>
                  <a:pt x="14727" y="1964"/>
                </a:cubicBezTo>
                <a:cubicBezTo>
                  <a:pt x="15269" y="1964"/>
                  <a:pt x="15709" y="1524"/>
                  <a:pt x="15709" y="982"/>
                </a:cubicBezTo>
                <a:cubicBezTo>
                  <a:pt x="15709" y="440"/>
                  <a:pt x="15269" y="0"/>
                  <a:pt x="14727" y="0"/>
                </a:cubicBezTo>
                <a:cubicBezTo>
                  <a:pt x="14185" y="0"/>
                  <a:pt x="13745" y="440"/>
                  <a:pt x="13745" y="982"/>
                </a:cubicBezTo>
                <a:cubicBezTo>
                  <a:pt x="13745" y="1069"/>
                  <a:pt x="13761" y="1152"/>
                  <a:pt x="13782" y="1233"/>
                </a:cubicBezTo>
                <a:lnTo>
                  <a:pt x="11088" y="3927"/>
                </a:lnTo>
                <a:lnTo>
                  <a:pt x="10513" y="3927"/>
                </a:lnTo>
                <a:lnTo>
                  <a:pt x="7818" y="1233"/>
                </a:lnTo>
                <a:cubicBezTo>
                  <a:pt x="7839" y="1152"/>
                  <a:pt x="7855" y="1069"/>
                  <a:pt x="7855" y="982"/>
                </a:cubicBezTo>
                <a:cubicBezTo>
                  <a:pt x="7855" y="440"/>
                  <a:pt x="7415" y="0"/>
                  <a:pt x="6873" y="0"/>
                </a:cubicBezTo>
                <a:cubicBezTo>
                  <a:pt x="6331" y="0"/>
                  <a:pt x="5891" y="440"/>
                  <a:pt x="5891" y="982"/>
                </a:cubicBezTo>
                <a:cubicBezTo>
                  <a:pt x="5891" y="1524"/>
                  <a:pt x="6331" y="1964"/>
                  <a:pt x="6873" y="1964"/>
                </a:cubicBezTo>
                <a:cubicBezTo>
                  <a:pt x="6960" y="1964"/>
                  <a:pt x="7043" y="1949"/>
                  <a:pt x="7124" y="1927"/>
                </a:cubicBezTo>
                <a:lnTo>
                  <a:pt x="9124" y="3927"/>
                </a:ln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7673"/>
                </a:lnTo>
                <a:cubicBezTo>
                  <a:pt x="0" y="18757"/>
                  <a:pt x="879" y="19637"/>
                  <a:pt x="1964" y="19637"/>
                </a:cubicBezTo>
                <a:lnTo>
                  <a:pt x="3927" y="19637"/>
                </a:lnTo>
                <a:lnTo>
                  <a:pt x="3927" y="21109"/>
                </a:lnTo>
                <a:cubicBezTo>
                  <a:pt x="3927" y="21380"/>
                  <a:pt x="4147" y="21600"/>
                  <a:pt x="4418" y="21600"/>
                </a:cubicBezTo>
                <a:cubicBezTo>
                  <a:pt x="4689" y="21600"/>
                  <a:pt x="4909" y="21380"/>
                  <a:pt x="4909" y="21109"/>
                </a:cubicBezTo>
                <a:lnTo>
                  <a:pt x="4909" y="20618"/>
                </a:lnTo>
                <a:lnTo>
                  <a:pt x="16691" y="20618"/>
                </a:lnTo>
                <a:lnTo>
                  <a:pt x="16691" y="21109"/>
                </a:lnTo>
                <a:cubicBezTo>
                  <a:pt x="16691" y="21380"/>
                  <a:pt x="16911" y="21600"/>
                  <a:pt x="17182" y="21600"/>
                </a:cubicBezTo>
                <a:cubicBezTo>
                  <a:pt x="17453" y="21600"/>
                  <a:pt x="17673" y="21380"/>
                  <a:pt x="17673" y="21109"/>
                </a:cubicBezTo>
                <a:lnTo>
                  <a:pt x="17673" y="19637"/>
                </a:lnTo>
                <a:lnTo>
                  <a:pt x="19636" y="19637"/>
                </a:lnTo>
                <a:cubicBezTo>
                  <a:pt x="20721" y="19637"/>
                  <a:pt x="21600" y="18757"/>
                  <a:pt x="21600" y="17673"/>
                </a:cubicBezTo>
                <a:lnTo>
                  <a:pt x="21600" y="5891"/>
                </a:lnTo>
                <a:cubicBezTo>
                  <a:pt x="21600" y="4806"/>
                  <a:pt x="20721" y="3927"/>
                  <a:pt x="19636" y="3927"/>
                </a:cubicBezTo>
                <a:moveTo>
                  <a:pt x="5891" y="15709"/>
                </a:moveTo>
                <a:lnTo>
                  <a:pt x="7855" y="15709"/>
                </a:lnTo>
                <a:lnTo>
                  <a:pt x="7855" y="13745"/>
                </a:lnTo>
                <a:lnTo>
                  <a:pt x="5891" y="13745"/>
                </a:lnTo>
                <a:cubicBezTo>
                  <a:pt x="5891" y="13745"/>
                  <a:pt x="5891" y="15709"/>
                  <a:pt x="5891" y="15709"/>
                </a:cubicBezTo>
                <a:close/>
                <a:moveTo>
                  <a:pt x="9818" y="15709"/>
                </a:moveTo>
                <a:lnTo>
                  <a:pt x="11782" y="15709"/>
                </a:lnTo>
                <a:lnTo>
                  <a:pt x="11782" y="13745"/>
                </a:lnTo>
                <a:lnTo>
                  <a:pt x="9818" y="13745"/>
                </a:lnTo>
                <a:cubicBezTo>
                  <a:pt x="9818" y="13745"/>
                  <a:pt x="9818" y="15709"/>
                  <a:pt x="9818" y="15709"/>
                </a:cubicBezTo>
                <a:close/>
                <a:moveTo>
                  <a:pt x="7855" y="9818"/>
                </a:moveTo>
                <a:lnTo>
                  <a:pt x="5891" y="9818"/>
                </a:lnTo>
                <a:lnTo>
                  <a:pt x="5891" y="11782"/>
                </a:lnTo>
                <a:lnTo>
                  <a:pt x="7855" y="11782"/>
                </a:lnTo>
                <a:cubicBezTo>
                  <a:pt x="7855" y="11782"/>
                  <a:pt x="7855" y="9818"/>
                  <a:pt x="7855" y="9818"/>
                </a:cubicBezTo>
                <a:close/>
                <a:moveTo>
                  <a:pt x="15709" y="13745"/>
                </a:moveTo>
                <a:lnTo>
                  <a:pt x="17673" y="13745"/>
                </a:lnTo>
                <a:lnTo>
                  <a:pt x="17673" y="11782"/>
                </a:lnTo>
                <a:lnTo>
                  <a:pt x="15709" y="11782"/>
                </a:lnTo>
                <a:cubicBezTo>
                  <a:pt x="15709" y="11782"/>
                  <a:pt x="15709" y="13745"/>
                  <a:pt x="15709" y="13745"/>
                </a:cubicBezTo>
                <a:close/>
                <a:moveTo>
                  <a:pt x="1964" y="7855"/>
                </a:moveTo>
                <a:lnTo>
                  <a:pt x="3927" y="7855"/>
                </a:lnTo>
                <a:lnTo>
                  <a:pt x="3927" y="5891"/>
                </a:lnTo>
                <a:lnTo>
                  <a:pt x="1964" y="5891"/>
                </a:lnTo>
                <a:cubicBezTo>
                  <a:pt x="1964" y="5891"/>
                  <a:pt x="1964" y="7855"/>
                  <a:pt x="1964" y="7855"/>
                </a:cubicBezTo>
                <a:close/>
                <a:moveTo>
                  <a:pt x="3927" y="17673"/>
                </a:moveTo>
                <a:lnTo>
                  <a:pt x="5891" y="17673"/>
                </a:lnTo>
                <a:lnTo>
                  <a:pt x="5891" y="15709"/>
                </a:lnTo>
                <a:lnTo>
                  <a:pt x="3927" y="15709"/>
                </a:lnTo>
                <a:cubicBezTo>
                  <a:pt x="3927" y="15709"/>
                  <a:pt x="3927" y="17673"/>
                  <a:pt x="3927" y="17673"/>
                </a:cubicBezTo>
                <a:close/>
                <a:moveTo>
                  <a:pt x="11782" y="5891"/>
                </a:moveTo>
                <a:lnTo>
                  <a:pt x="9818" y="5891"/>
                </a:lnTo>
                <a:lnTo>
                  <a:pt x="9818" y="7855"/>
                </a:lnTo>
                <a:lnTo>
                  <a:pt x="11782" y="7855"/>
                </a:lnTo>
                <a:cubicBezTo>
                  <a:pt x="11782" y="7855"/>
                  <a:pt x="11782" y="5891"/>
                  <a:pt x="11782" y="5891"/>
                </a:cubicBezTo>
                <a:close/>
                <a:moveTo>
                  <a:pt x="7855" y="5891"/>
                </a:moveTo>
                <a:lnTo>
                  <a:pt x="5891" y="5891"/>
                </a:lnTo>
                <a:lnTo>
                  <a:pt x="5891" y="7855"/>
                </a:lnTo>
                <a:lnTo>
                  <a:pt x="7855" y="7855"/>
                </a:lnTo>
                <a:cubicBezTo>
                  <a:pt x="7855" y="7855"/>
                  <a:pt x="7855" y="5891"/>
                  <a:pt x="7855" y="5891"/>
                </a:cubicBezTo>
                <a:close/>
                <a:moveTo>
                  <a:pt x="1964" y="15709"/>
                </a:moveTo>
                <a:lnTo>
                  <a:pt x="3927" y="15709"/>
                </a:lnTo>
                <a:lnTo>
                  <a:pt x="3927" y="13745"/>
                </a:lnTo>
                <a:lnTo>
                  <a:pt x="1964" y="13745"/>
                </a:lnTo>
                <a:cubicBezTo>
                  <a:pt x="1964" y="13745"/>
                  <a:pt x="1964" y="15709"/>
                  <a:pt x="1964" y="15709"/>
                </a:cubicBezTo>
                <a:close/>
                <a:moveTo>
                  <a:pt x="1964" y="11782"/>
                </a:moveTo>
                <a:lnTo>
                  <a:pt x="3927" y="11782"/>
                </a:lnTo>
                <a:lnTo>
                  <a:pt x="3927" y="9818"/>
                </a:lnTo>
                <a:lnTo>
                  <a:pt x="1964" y="9818"/>
                </a:lnTo>
                <a:cubicBezTo>
                  <a:pt x="1964" y="9818"/>
                  <a:pt x="1964" y="11782"/>
                  <a:pt x="1964" y="11782"/>
                </a:cubicBezTo>
                <a:close/>
                <a:moveTo>
                  <a:pt x="7855" y="17673"/>
                </a:moveTo>
                <a:lnTo>
                  <a:pt x="9818" y="17673"/>
                </a:lnTo>
                <a:lnTo>
                  <a:pt x="9818" y="15709"/>
                </a:lnTo>
                <a:lnTo>
                  <a:pt x="7855" y="15709"/>
                </a:lnTo>
                <a:cubicBezTo>
                  <a:pt x="7855" y="15709"/>
                  <a:pt x="7855" y="17673"/>
                  <a:pt x="7855" y="17673"/>
                </a:cubicBezTo>
                <a:close/>
                <a:moveTo>
                  <a:pt x="11782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1782" y="15709"/>
                </a:lnTo>
                <a:cubicBezTo>
                  <a:pt x="11782" y="15709"/>
                  <a:pt x="11782" y="17673"/>
                  <a:pt x="11782" y="17673"/>
                </a:cubicBezTo>
                <a:close/>
                <a:moveTo>
                  <a:pt x="15709" y="17673"/>
                </a:moveTo>
                <a:lnTo>
                  <a:pt x="17673" y="17673"/>
                </a:lnTo>
                <a:lnTo>
                  <a:pt x="17673" y="15709"/>
                </a:lnTo>
                <a:lnTo>
                  <a:pt x="15709" y="15709"/>
                </a:lnTo>
                <a:cubicBezTo>
                  <a:pt x="15709" y="15709"/>
                  <a:pt x="15709" y="17673"/>
                  <a:pt x="15709" y="17673"/>
                </a:cubicBezTo>
                <a:close/>
                <a:moveTo>
                  <a:pt x="11782" y="9818"/>
                </a:moveTo>
                <a:lnTo>
                  <a:pt x="9818" y="9818"/>
                </a:lnTo>
                <a:lnTo>
                  <a:pt x="9818" y="11782"/>
                </a:lnTo>
                <a:lnTo>
                  <a:pt x="11782" y="11782"/>
                </a:lnTo>
                <a:cubicBezTo>
                  <a:pt x="11782" y="11782"/>
                  <a:pt x="11782" y="9818"/>
                  <a:pt x="11782" y="9818"/>
                </a:cubicBezTo>
                <a:close/>
                <a:moveTo>
                  <a:pt x="19636" y="9818"/>
                </a:moveTo>
                <a:lnTo>
                  <a:pt x="17673" y="9818"/>
                </a:lnTo>
                <a:lnTo>
                  <a:pt x="17673" y="11782"/>
                </a:lnTo>
                <a:lnTo>
                  <a:pt x="19636" y="11782"/>
                </a:lnTo>
                <a:cubicBezTo>
                  <a:pt x="19636" y="11782"/>
                  <a:pt x="19636" y="9818"/>
                  <a:pt x="19636" y="9818"/>
                </a:cubicBezTo>
                <a:close/>
                <a:moveTo>
                  <a:pt x="19636" y="13745"/>
                </a:moveTo>
                <a:lnTo>
                  <a:pt x="17673" y="13745"/>
                </a:lnTo>
                <a:lnTo>
                  <a:pt x="17673" y="15709"/>
                </a:lnTo>
                <a:lnTo>
                  <a:pt x="19636" y="15709"/>
                </a:lnTo>
                <a:cubicBezTo>
                  <a:pt x="19636" y="15709"/>
                  <a:pt x="19636" y="13745"/>
                  <a:pt x="19636" y="13745"/>
                </a:cubicBezTo>
                <a:close/>
                <a:moveTo>
                  <a:pt x="15709" y="5891"/>
                </a:moveTo>
                <a:lnTo>
                  <a:pt x="13745" y="5891"/>
                </a:lnTo>
                <a:lnTo>
                  <a:pt x="13745" y="7855"/>
                </a:lnTo>
                <a:lnTo>
                  <a:pt x="15709" y="7855"/>
                </a:lnTo>
                <a:cubicBezTo>
                  <a:pt x="15709" y="7855"/>
                  <a:pt x="15709" y="5891"/>
                  <a:pt x="15709" y="5891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62" name="Shape 2662"/>
          <p:cNvSpPr/>
          <p:nvPr/>
        </p:nvSpPr>
        <p:spPr>
          <a:xfrm>
            <a:off x="3547164" y="249306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1782"/>
                </a:moveTo>
                <a:cubicBezTo>
                  <a:pt x="18383" y="11782"/>
                  <a:pt x="18164" y="12002"/>
                  <a:pt x="18164" y="12273"/>
                </a:cubicBezTo>
                <a:cubicBezTo>
                  <a:pt x="18164" y="12544"/>
                  <a:pt x="18383" y="12764"/>
                  <a:pt x="18655" y="12764"/>
                </a:cubicBezTo>
                <a:cubicBezTo>
                  <a:pt x="18926" y="12764"/>
                  <a:pt x="19145" y="12544"/>
                  <a:pt x="19145" y="12273"/>
                </a:cubicBezTo>
                <a:cubicBezTo>
                  <a:pt x="19145" y="12002"/>
                  <a:pt x="18926" y="11782"/>
                  <a:pt x="18655" y="11782"/>
                </a:cubicBezTo>
                <a:moveTo>
                  <a:pt x="18655" y="13745"/>
                </a:moveTo>
                <a:cubicBezTo>
                  <a:pt x="18383" y="13745"/>
                  <a:pt x="18164" y="13966"/>
                  <a:pt x="18164" y="14236"/>
                </a:cubicBezTo>
                <a:cubicBezTo>
                  <a:pt x="18164" y="14508"/>
                  <a:pt x="18383" y="14727"/>
                  <a:pt x="18655" y="14727"/>
                </a:cubicBezTo>
                <a:cubicBezTo>
                  <a:pt x="18926" y="14727"/>
                  <a:pt x="19145" y="14508"/>
                  <a:pt x="19145" y="14236"/>
                </a:cubicBezTo>
                <a:cubicBezTo>
                  <a:pt x="19145" y="13966"/>
                  <a:pt x="18926" y="13745"/>
                  <a:pt x="18655" y="13745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6691" y="20618"/>
                </a:lnTo>
                <a:lnTo>
                  <a:pt x="16691" y="6873"/>
                </a:lnTo>
                <a:lnTo>
                  <a:pt x="19636" y="6873"/>
                </a:lnTo>
                <a:cubicBezTo>
                  <a:pt x="20178" y="6873"/>
                  <a:pt x="20618" y="7313"/>
                  <a:pt x="20618" y="7855"/>
                </a:cubicBez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5709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cubicBezTo>
                  <a:pt x="982" y="7313"/>
                  <a:pt x="1422" y="6873"/>
                  <a:pt x="1964" y="6873"/>
                </a:cubicBezTo>
                <a:lnTo>
                  <a:pt x="15709" y="6873"/>
                </a:lnTo>
                <a:cubicBezTo>
                  <a:pt x="15709" y="6873"/>
                  <a:pt x="15709" y="20618"/>
                  <a:pt x="15709" y="20618"/>
                </a:cubicBezTo>
                <a:close/>
                <a:moveTo>
                  <a:pt x="19636" y="5891"/>
                </a:moveTo>
                <a:lnTo>
                  <a:pt x="13205" y="5891"/>
                </a:lnTo>
                <a:cubicBezTo>
                  <a:pt x="13069" y="5222"/>
                  <a:pt x="12657" y="4657"/>
                  <a:pt x="12097" y="4306"/>
                </a:cubicBezTo>
                <a:lnTo>
                  <a:pt x="14476" y="1927"/>
                </a:lnTo>
                <a:cubicBezTo>
                  <a:pt x="14557" y="1949"/>
                  <a:pt x="14640" y="1964"/>
                  <a:pt x="14727" y="1964"/>
                </a:cubicBezTo>
                <a:cubicBezTo>
                  <a:pt x="15269" y="1964"/>
                  <a:pt x="15709" y="1524"/>
                  <a:pt x="15709" y="982"/>
                </a:cubicBezTo>
                <a:cubicBezTo>
                  <a:pt x="15709" y="440"/>
                  <a:pt x="15269" y="0"/>
                  <a:pt x="14727" y="0"/>
                </a:cubicBezTo>
                <a:cubicBezTo>
                  <a:pt x="14186" y="0"/>
                  <a:pt x="13745" y="440"/>
                  <a:pt x="13745" y="982"/>
                </a:cubicBezTo>
                <a:cubicBezTo>
                  <a:pt x="13745" y="1070"/>
                  <a:pt x="13761" y="1153"/>
                  <a:pt x="13782" y="1233"/>
                </a:cubicBezTo>
                <a:lnTo>
                  <a:pt x="11061" y="3954"/>
                </a:lnTo>
                <a:cubicBezTo>
                  <a:pt x="10975" y="3945"/>
                  <a:pt x="10889" y="3927"/>
                  <a:pt x="10800" y="3927"/>
                </a:cubicBezTo>
                <a:cubicBezTo>
                  <a:pt x="10711" y="3927"/>
                  <a:pt x="10625" y="3945"/>
                  <a:pt x="10539" y="3954"/>
                </a:cubicBezTo>
                <a:lnTo>
                  <a:pt x="7818" y="1233"/>
                </a:lnTo>
                <a:cubicBezTo>
                  <a:pt x="7839" y="1153"/>
                  <a:pt x="7855" y="1070"/>
                  <a:pt x="7855" y="982"/>
                </a:cubicBezTo>
                <a:cubicBezTo>
                  <a:pt x="7855" y="440"/>
                  <a:pt x="7414" y="0"/>
                  <a:pt x="6873" y="0"/>
                </a:cubicBezTo>
                <a:cubicBezTo>
                  <a:pt x="6331" y="0"/>
                  <a:pt x="5891" y="440"/>
                  <a:pt x="5891" y="982"/>
                </a:cubicBezTo>
                <a:cubicBezTo>
                  <a:pt x="5891" y="1524"/>
                  <a:pt x="6331" y="1964"/>
                  <a:pt x="6873" y="1964"/>
                </a:cubicBezTo>
                <a:cubicBezTo>
                  <a:pt x="6960" y="1964"/>
                  <a:pt x="7043" y="1949"/>
                  <a:pt x="7124" y="1927"/>
                </a:cubicBezTo>
                <a:lnTo>
                  <a:pt x="9503" y="4306"/>
                </a:lnTo>
                <a:cubicBezTo>
                  <a:pt x="8943" y="4657"/>
                  <a:pt x="8531" y="5222"/>
                  <a:pt x="8395" y="5891"/>
                </a:cubicBezTo>
                <a:lnTo>
                  <a:pt x="1964" y="5891"/>
                </a:lnTo>
                <a:cubicBezTo>
                  <a:pt x="879" y="5891"/>
                  <a:pt x="0" y="6770"/>
                  <a:pt x="0" y="7855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7855"/>
                </a:lnTo>
                <a:cubicBezTo>
                  <a:pt x="21600" y="6770"/>
                  <a:pt x="20721" y="5891"/>
                  <a:pt x="19636" y="5891"/>
                </a:cubicBezTo>
                <a:moveTo>
                  <a:pt x="12764" y="17673"/>
                </a:moveTo>
                <a:lnTo>
                  <a:pt x="3927" y="17673"/>
                </a:lnTo>
                <a:lnTo>
                  <a:pt x="3927" y="9818"/>
                </a:lnTo>
                <a:lnTo>
                  <a:pt x="12764" y="9818"/>
                </a:lnTo>
                <a:cubicBezTo>
                  <a:pt x="12764" y="9818"/>
                  <a:pt x="12764" y="17673"/>
                  <a:pt x="12764" y="17673"/>
                </a:cubicBezTo>
                <a:close/>
                <a:moveTo>
                  <a:pt x="13745" y="8836"/>
                </a:moveTo>
                <a:lnTo>
                  <a:pt x="2945" y="8836"/>
                </a:lnTo>
                <a:lnTo>
                  <a:pt x="2945" y="18655"/>
                </a:lnTo>
                <a:lnTo>
                  <a:pt x="13745" y="18655"/>
                </a:lnTo>
                <a:cubicBezTo>
                  <a:pt x="13745" y="18655"/>
                  <a:pt x="13745" y="8836"/>
                  <a:pt x="13745" y="8836"/>
                </a:cubicBezTo>
                <a:close/>
                <a:moveTo>
                  <a:pt x="18655" y="8836"/>
                </a:moveTo>
                <a:cubicBezTo>
                  <a:pt x="18113" y="8836"/>
                  <a:pt x="17673" y="9276"/>
                  <a:pt x="17673" y="9818"/>
                </a:cubicBezTo>
                <a:cubicBezTo>
                  <a:pt x="17673" y="10360"/>
                  <a:pt x="18113" y="10800"/>
                  <a:pt x="18655" y="10800"/>
                </a:cubicBezTo>
                <a:cubicBezTo>
                  <a:pt x="19196" y="10800"/>
                  <a:pt x="19636" y="10360"/>
                  <a:pt x="19636" y="9818"/>
                </a:cubicBezTo>
                <a:cubicBezTo>
                  <a:pt x="19636" y="9276"/>
                  <a:pt x="19196" y="8836"/>
                  <a:pt x="18655" y="8836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63" name="Shape 2663"/>
          <p:cNvSpPr/>
          <p:nvPr/>
        </p:nvSpPr>
        <p:spPr>
          <a:xfrm>
            <a:off x="4080425" y="2556548"/>
            <a:ext cx="279328" cy="1523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8000"/>
                </a:moveTo>
                <a:cubicBezTo>
                  <a:pt x="19636" y="18995"/>
                  <a:pt x="19196" y="19800"/>
                  <a:pt x="18655" y="19800"/>
                </a:cubicBezTo>
                <a:lnTo>
                  <a:pt x="1964" y="19800"/>
                </a:lnTo>
                <a:cubicBezTo>
                  <a:pt x="1421" y="19800"/>
                  <a:pt x="982" y="18995"/>
                  <a:pt x="982" y="18000"/>
                </a:cubicBezTo>
                <a:lnTo>
                  <a:pt x="982" y="3600"/>
                </a:lnTo>
                <a:cubicBezTo>
                  <a:pt x="982" y="2607"/>
                  <a:pt x="1421" y="1800"/>
                  <a:pt x="1964" y="1800"/>
                </a:cubicBezTo>
                <a:lnTo>
                  <a:pt x="18655" y="1800"/>
                </a:lnTo>
                <a:cubicBezTo>
                  <a:pt x="19196" y="1800"/>
                  <a:pt x="19636" y="2607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9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9"/>
                  <a:pt x="20618" y="18000"/>
                </a:cubicBezTo>
                <a:lnTo>
                  <a:pt x="20618" y="14400"/>
                </a:lnTo>
                <a:cubicBezTo>
                  <a:pt x="21160" y="14400"/>
                  <a:pt x="21600" y="13595"/>
                  <a:pt x="21600" y="12600"/>
                </a:cubicBezTo>
                <a:lnTo>
                  <a:pt x="21600" y="9000"/>
                </a:lnTo>
                <a:cubicBezTo>
                  <a:pt x="21600" y="8007"/>
                  <a:pt x="21160" y="7200"/>
                  <a:pt x="20618" y="7200"/>
                </a:cubicBezTo>
                <a:moveTo>
                  <a:pt x="10800" y="5400"/>
                </a:moveTo>
                <a:lnTo>
                  <a:pt x="3927" y="10800"/>
                </a:lnTo>
                <a:lnTo>
                  <a:pt x="8836" y="10800"/>
                </a:lnTo>
                <a:lnTo>
                  <a:pt x="9818" y="16200"/>
                </a:lnTo>
                <a:lnTo>
                  <a:pt x="16691" y="10800"/>
                </a:lnTo>
                <a:lnTo>
                  <a:pt x="11782" y="10800"/>
                </a:lnTo>
                <a:cubicBezTo>
                  <a:pt x="11782" y="10800"/>
                  <a:pt x="10800" y="5400"/>
                  <a:pt x="10800" y="5400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64" name="Shape 2664"/>
          <p:cNvSpPr/>
          <p:nvPr/>
        </p:nvSpPr>
        <p:spPr>
          <a:xfrm>
            <a:off x="4613686" y="2556548"/>
            <a:ext cx="279328" cy="1523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8000"/>
                </a:moveTo>
                <a:cubicBezTo>
                  <a:pt x="19636" y="18995"/>
                  <a:pt x="19196" y="19800"/>
                  <a:pt x="18655" y="19800"/>
                </a:cubicBezTo>
                <a:lnTo>
                  <a:pt x="1964" y="19800"/>
                </a:lnTo>
                <a:cubicBezTo>
                  <a:pt x="1421" y="19800"/>
                  <a:pt x="982" y="18995"/>
                  <a:pt x="982" y="18000"/>
                </a:cubicBezTo>
                <a:lnTo>
                  <a:pt x="982" y="3600"/>
                </a:lnTo>
                <a:cubicBezTo>
                  <a:pt x="982" y="2607"/>
                  <a:pt x="1421" y="1800"/>
                  <a:pt x="1964" y="1800"/>
                </a:cubicBezTo>
                <a:lnTo>
                  <a:pt x="18655" y="1800"/>
                </a:lnTo>
                <a:cubicBezTo>
                  <a:pt x="19196" y="1800"/>
                  <a:pt x="19636" y="2607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9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9"/>
                  <a:pt x="20618" y="18000"/>
                </a:cubicBezTo>
                <a:lnTo>
                  <a:pt x="20618" y="14400"/>
                </a:lnTo>
                <a:cubicBezTo>
                  <a:pt x="21160" y="14400"/>
                  <a:pt x="21600" y="13595"/>
                  <a:pt x="21600" y="12600"/>
                </a:cubicBezTo>
                <a:lnTo>
                  <a:pt x="21600" y="9000"/>
                </a:lnTo>
                <a:cubicBezTo>
                  <a:pt x="21600" y="8007"/>
                  <a:pt x="21160" y="7200"/>
                  <a:pt x="20618" y="720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65" name="Shape 2665"/>
          <p:cNvSpPr/>
          <p:nvPr/>
        </p:nvSpPr>
        <p:spPr>
          <a:xfrm>
            <a:off x="5146947" y="2556548"/>
            <a:ext cx="279328" cy="1523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8000"/>
                </a:moveTo>
                <a:cubicBezTo>
                  <a:pt x="19636" y="18995"/>
                  <a:pt x="19196" y="19800"/>
                  <a:pt x="18655" y="19800"/>
                </a:cubicBezTo>
                <a:lnTo>
                  <a:pt x="1964" y="19800"/>
                </a:lnTo>
                <a:cubicBezTo>
                  <a:pt x="1422" y="19800"/>
                  <a:pt x="982" y="18995"/>
                  <a:pt x="982" y="18000"/>
                </a:cubicBezTo>
                <a:lnTo>
                  <a:pt x="982" y="3600"/>
                </a:lnTo>
                <a:cubicBezTo>
                  <a:pt x="982" y="2607"/>
                  <a:pt x="1422" y="1800"/>
                  <a:pt x="1964" y="1800"/>
                </a:cubicBezTo>
                <a:lnTo>
                  <a:pt x="18655" y="1800"/>
                </a:lnTo>
                <a:cubicBezTo>
                  <a:pt x="19196" y="1800"/>
                  <a:pt x="19636" y="2607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9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9"/>
                  <a:pt x="20618" y="18000"/>
                </a:cubicBezTo>
                <a:lnTo>
                  <a:pt x="20618" y="14400"/>
                </a:lnTo>
                <a:cubicBezTo>
                  <a:pt x="21160" y="14400"/>
                  <a:pt x="21600" y="13595"/>
                  <a:pt x="21600" y="12600"/>
                </a:cubicBezTo>
                <a:lnTo>
                  <a:pt x="21600" y="9000"/>
                </a:lnTo>
                <a:cubicBezTo>
                  <a:pt x="21600" y="8007"/>
                  <a:pt x="21160" y="7200"/>
                  <a:pt x="20618" y="7200"/>
                </a:cubicBezTo>
                <a:moveTo>
                  <a:pt x="1964" y="18000"/>
                </a:moveTo>
                <a:lnTo>
                  <a:pt x="6873" y="18000"/>
                </a:lnTo>
                <a:lnTo>
                  <a:pt x="6873" y="3600"/>
                </a:lnTo>
                <a:lnTo>
                  <a:pt x="1964" y="3600"/>
                </a:lnTo>
                <a:cubicBezTo>
                  <a:pt x="1964" y="3600"/>
                  <a:pt x="1964" y="18000"/>
                  <a:pt x="1964" y="18000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66" name="Shape 2666"/>
          <p:cNvSpPr/>
          <p:nvPr/>
        </p:nvSpPr>
        <p:spPr>
          <a:xfrm>
            <a:off x="5680208" y="2556548"/>
            <a:ext cx="279328" cy="1523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8000"/>
                </a:moveTo>
                <a:cubicBezTo>
                  <a:pt x="19636" y="18995"/>
                  <a:pt x="19196" y="19800"/>
                  <a:pt x="18655" y="19800"/>
                </a:cubicBezTo>
                <a:lnTo>
                  <a:pt x="1964" y="19800"/>
                </a:lnTo>
                <a:cubicBezTo>
                  <a:pt x="1422" y="19800"/>
                  <a:pt x="982" y="18995"/>
                  <a:pt x="982" y="18000"/>
                </a:cubicBezTo>
                <a:lnTo>
                  <a:pt x="982" y="3600"/>
                </a:lnTo>
                <a:cubicBezTo>
                  <a:pt x="982" y="2607"/>
                  <a:pt x="1422" y="1800"/>
                  <a:pt x="1964" y="1800"/>
                </a:cubicBezTo>
                <a:lnTo>
                  <a:pt x="18655" y="1800"/>
                </a:lnTo>
                <a:cubicBezTo>
                  <a:pt x="19196" y="1800"/>
                  <a:pt x="19636" y="2607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9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9"/>
                  <a:pt x="20618" y="18000"/>
                </a:cubicBezTo>
                <a:lnTo>
                  <a:pt x="20618" y="14400"/>
                </a:lnTo>
                <a:cubicBezTo>
                  <a:pt x="21160" y="14400"/>
                  <a:pt x="21600" y="13595"/>
                  <a:pt x="21600" y="12600"/>
                </a:cubicBezTo>
                <a:lnTo>
                  <a:pt x="21600" y="9000"/>
                </a:lnTo>
                <a:cubicBezTo>
                  <a:pt x="21600" y="8007"/>
                  <a:pt x="21160" y="7200"/>
                  <a:pt x="20618" y="7200"/>
                </a:cubicBezTo>
                <a:moveTo>
                  <a:pt x="1964" y="18000"/>
                </a:moveTo>
                <a:lnTo>
                  <a:pt x="10800" y="18000"/>
                </a:lnTo>
                <a:lnTo>
                  <a:pt x="10800" y="3600"/>
                </a:lnTo>
                <a:lnTo>
                  <a:pt x="1964" y="3600"/>
                </a:lnTo>
                <a:cubicBezTo>
                  <a:pt x="1964" y="3600"/>
                  <a:pt x="1964" y="18000"/>
                  <a:pt x="1964" y="18000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67" name="Shape 2667"/>
          <p:cNvSpPr/>
          <p:nvPr/>
        </p:nvSpPr>
        <p:spPr>
          <a:xfrm>
            <a:off x="880859" y="3089809"/>
            <a:ext cx="279328" cy="1523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18000"/>
                </a:moveTo>
                <a:lnTo>
                  <a:pt x="14727" y="18000"/>
                </a:lnTo>
                <a:lnTo>
                  <a:pt x="14727" y="3600"/>
                </a:lnTo>
                <a:lnTo>
                  <a:pt x="1964" y="3600"/>
                </a:lnTo>
                <a:cubicBezTo>
                  <a:pt x="1964" y="3600"/>
                  <a:pt x="1964" y="18000"/>
                  <a:pt x="1964" y="18000"/>
                </a:cubicBezTo>
                <a:close/>
                <a:moveTo>
                  <a:pt x="19636" y="18000"/>
                </a:moveTo>
                <a:cubicBezTo>
                  <a:pt x="19636" y="18994"/>
                  <a:pt x="19197" y="19800"/>
                  <a:pt x="18655" y="19800"/>
                </a:cubicBezTo>
                <a:lnTo>
                  <a:pt x="1964" y="19800"/>
                </a:lnTo>
                <a:cubicBezTo>
                  <a:pt x="1422" y="19800"/>
                  <a:pt x="982" y="18994"/>
                  <a:pt x="982" y="18000"/>
                </a:cubicBezTo>
                <a:lnTo>
                  <a:pt x="982" y="3600"/>
                </a:lnTo>
                <a:cubicBezTo>
                  <a:pt x="982" y="2606"/>
                  <a:pt x="1422" y="1800"/>
                  <a:pt x="1964" y="1800"/>
                </a:cubicBezTo>
                <a:lnTo>
                  <a:pt x="18655" y="1800"/>
                </a:lnTo>
                <a:cubicBezTo>
                  <a:pt x="19197" y="1800"/>
                  <a:pt x="19636" y="2606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8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8"/>
                  <a:pt x="20618" y="18000"/>
                </a:cubicBezTo>
                <a:lnTo>
                  <a:pt x="20618" y="14401"/>
                </a:lnTo>
                <a:cubicBezTo>
                  <a:pt x="21160" y="14401"/>
                  <a:pt x="21600" y="13594"/>
                  <a:pt x="21600" y="12600"/>
                </a:cubicBezTo>
                <a:lnTo>
                  <a:pt x="21600" y="9000"/>
                </a:lnTo>
                <a:cubicBezTo>
                  <a:pt x="21600" y="8006"/>
                  <a:pt x="21160" y="7200"/>
                  <a:pt x="20618" y="720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68" name="Shape 2668"/>
          <p:cNvSpPr/>
          <p:nvPr/>
        </p:nvSpPr>
        <p:spPr>
          <a:xfrm>
            <a:off x="1414120" y="3089809"/>
            <a:ext cx="279328" cy="1523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18000"/>
                </a:moveTo>
                <a:lnTo>
                  <a:pt x="18655" y="18000"/>
                </a:lnTo>
                <a:lnTo>
                  <a:pt x="18655" y="3600"/>
                </a:lnTo>
                <a:lnTo>
                  <a:pt x="1964" y="3600"/>
                </a:lnTo>
                <a:cubicBezTo>
                  <a:pt x="1964" y="3600"/>
                  <a:pt x="1964" y="18000"/>
                  <a:pt x="1964" y="18000"/>
                </a:cubicBezTo>
                <a:close/>
                <a:moveTo>
                  <a:pt x="19636" y="18000"/>
                </a:moveTo>
                <a:cubicBezTo>
                  <a:pt x="19636" y="18994"/>
                  <a:pt x="19197" y="19800"/>
                  <a:pt x="18655" y="19800"/>
                </a:cubicBezTo>
                <a:lnTo>
                  <a:pt x="1964" y="19800"/>
                </a:lnTo>
                <a:cubicBezTo>
                  <a:pt x="1422" y="19800"/>
                  <a:pt x="982" y="18994"/>
                  <a:pt x="982" y="18000"/>
                </a:cubicBezTo>
                <a:lnTo>
                  <a:pt x="982" y="3600"/>
                </a:lnTo>
                <a:cubicBezTo>
                  <a:pt x="982" y="2606"/>
                  <a:pt x="1422" y="1800"/>
                  <a:pt x="1964" y="1800"/>
                </a:cubicBezTo>
                <a:lnTo>
                  <a:pt x="18655" y="1800"/>
                </a:lnTo>
                <a:cubicBezTo>
                  <a:pt x="19197" y="1800"/>
                  <a:pt x="19636" y="2606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8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8"/>
                  <a:pt x="20618" y="18000"/>
                </a:cubicBezTo>
                <a:lnTo>
                  <a:pt x="20618" y="14401"/>
                </a:lnTo>
                <a:cubicBezTo>
                  <a:pt x="21160" y="14401"/>
                  <a:pt x="21600" y="13594"/>
                  <a:pt x="21600" y="12600"/>
                </a:cubicBezTo>
                <a:lnTo>
                  <a:pt x="21600" y="9000"/>
                </a:lnTo>
                <a:cubicBezTo>
                  <a:pt x="21600" y="8006"/>
                  <a:pt x="21160" y="7200"/>
                  <a:pt x="20618" y="720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69" name="Shape 2669"/>
          <p:cNvSpPr/>
          <p:nvPr/>
        </p:nvSpPr>
        <p:spPr>
          <a:xfrm>
            <a:off x="1960077" y="3026325"/>
            <a:ext cx="253935" cy="2793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60" y="2161"/>
                </a:moveTo>
                <a:lnTo>
                  <a:pt x="12960" y="2178"/>
                </a:lnTo>
                <a:cubicBezTo>
                  <a:pt x="12662" y="2178"/>
                  <a:pt x="12420" y="2398"/>
                  <a:pt x="12420" y="2669"/>
                </a:cubicBezTo>
                <a:cubicBezTo>
                  <a:pt x="12420" y="2940"/>
                  <a:pt x="12662" y="3160"/>
                  <a:pt x="12960" y="3160"/>
                </a:cubicBezTo>
                <a:lnTo>
                  <a:pt x="12960" y="3172"/>
                </a:lnTo>
                <a:cubicBezTo>
                  <a:pt x="17287" y="4066"/>
                  <a:pt x="20520" y="7577"/>
                  <a:pt x="20520" y="11782"/>
                </a:cubicBezTo>
                <a:cubicBezTo>
                  <a:pt x="20520" y="16662"/>
                  <a:pt x="16168" y="20618"/>
                  <a:pt x="10800" y="20618"/>
                </a:cubicBezTo>
                <a:cubicBezTo>
                  <a:pt x="5432" y="20618"/>
                  <a:pt x="1080" y="16662"/>
                  <a:pt x="1080" y="11782"/>
                </a:cubicBezTo>
                <a:cubicBezTo>
                  <a:pt x="1080" y="7577"/>
                  <a:pt x="4313" y="4066"/>
                  <a:pt x="8640" y="3172"/>
                </a:cubicBezTo>
                <a:lnTo>
                  <a:pt x="8640" y="3160"/>
                </a:lnTo>
                <a:cubicBezTo>
                  <a:pt x="8938" y="3160"/>
                  <a:pt x="9180" y="2940"/>
                  <a:pt x="9180" y="2669"/>
                </a:cubicBezTo>
                <a:cubicBezTo>
                  <a:pt x="9180" y="2398"/>
                  <a:pt x="8938" y="2178"/>
                  <a:pt x="8640" y="2178"/>
                </a:cubicBezTo>
                <a:lnTo>
                  <a:pt x="8640" y="2161"/>
                </a:lnTo>
                <a:cubicBezTo>
                  <a:pt x="3710" y="3071"/>
                  <a:pt x="0" y="7031"/>
                  <a:pt x="0" y="11782"/>
                </a:cubicBezTo>
                <a:cubicBezTo>
                  <a:pt x="0" y="17204"/>
                  <a:pt x="4835" y="21600"/>
                  <a:pt x="10800" y="21600"/>
                </a:cubicBezTo>
                <a:cubicBezTo>
                  <a:pt x="16765" y="21600"/>
                  <a:pt x="21600" y="17204"/>
                  <a:pt x="21600" y="11782"/>
                </a:cubicBezTo>
                <a:cubicBezTo>
                  <a:pt x="21600" y="7031"/>
                  <a:pt x="17890" y="3071"/>
                  <a:pt x="12960" y="2161"/>
                </a:cubicBezTo>
                <a:moveTo>
                  <a:pt x="10800" y="12763"/>
                </a:moveTo>
                <a:cubicBezTo>
                  <a:pt x="11098" y="12763"/>
                  <a:pt x="11340" y="12544"/>
                  <a:pt x="11340" y="12272"/>
                </a:cubicBezTo>
                <a:lnTo>
                  <a:pt x="11340" y="491"/>
                </a:lnTo>
                <a:cubicBezTo>
                  <a:pt x="11340" y="220"/>
                  <a:pt x="11098" y="0"/>
                  <a:pt x="10800" y="0"/>
                </a:cubicBezTo>
                <a:cubicBezTo>
                  <a:pt x="10502" y="0"/>
                  <a:pt x="10260" y="220"/>
                  <a:pt x="10260" y="491"/>
                </a:cubicBezTo>
                <a:lnTo>
                  <a:pt x="10260" y="12272"/>
                </a:lnTo>
                <a:cubicBezTo>
                  <a:pt x="10260" y="12544"/>
                  <a:pt x="10502" y="12763"/>
                  <a:pt x="10800" y="12763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70" name="Shape 2670"/>
          <p:cNvSpPr/>
          <p:nvPr/>
        </p:nvSpPr>
        <p:spPr>
          <a:xfrm>
            <a:off x="2480642" y="3064416"/>
            <a:ext cx="279328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21600"/>
                </a:moveTo>
                <a:lnTo>
                  <a:pt x="13255" y="21600"/>
                </a:lnTo>
                <a:lnTo>
                  <a:pt x="13255" y="0"/>
                </a:lnTo>
                <a:lnTo>
                  <a:pt x="12273" y="0"/>
                </a:lnTo>
                <a:cubicBezTo>
                  <a:pt x="12273" y="0"/>
                  <a:pt x="12273" y="21600"/>
                  <a:pt x="12273" y="21600"/>
                </a:cubicBezTo>
                <a:close/>
                <a:moveTo>
                  <a:pt x="14236" y="21600"/>
                </a:moveTo>
                <a:lnTo>
                  <a:pt x="16691" y="21600"/>
                </a:lnTo>
                <a:lnTo>
                  <a:pt x="16691" y="0"/>
                </a:lnTo>
                <a:lnTo>
                  <a:pt x="14236" y="0"/>
                </a:lnTo>
                <a:cubicBezTo>
                  <a:pt x="14236" y="0"/>
                  <a:pt x="14236" y="21600"/>
                  <a:pt x="14236" y="21600"/>
                </a:cubicBezTo>
                <a:close/>
                <a:moveTo>
                  <a:pt x="17673" y="21600"/>
                </a:moveTo>
                <a:lnTo>
                  <a:pt x="18655" y="21600"/>
                </a:lnTo>
                <a:lnTo>
                  <a:pt x="18655" y="0"/>
                </a:lnTo>
                <a:lnTo>
                  <a:pt x="17673" y="0"/>
                </a:lnTo>
                <a:cubicBezTo>
                  <a:pt x="17673" y="0"/>
                  <a:pt x="17673" y="21600"/>
                  <a:pt x="17673" y="21600"/>
                </a:cubicBezTo>
                <a:close/>
                <a:moveTo>
                  <a:pt x="20618" y="0"/>
                </a:moveTo>
                <a:lnTo>
                  <a:pt x="19636" y="0"/>
                </a:lnTo>
                <a:lnTo>
                  <a:pt x="19636" y="21600"/>
                </a:ln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4909" y="21600"/>
                </a:moveTo>
                <a:lnTo>
                  <a:pt x="5891" y="21600"/>
                </a:lnTo>
                <a:lnTo>
                  <a:pt x="5891" y="0"/>
                </a:lnTo>
                <a:lnTo>
                  <a:pt x="4909" y="0"/>
                </a:lnTo>
                <a:cubicBezTo>
                  <a:pt x="4909" y="0"/>
                  <a:pt x="4909" y="21600"/>
                  <a:pt x="4909" y="21600"/>
                </a:cubicBezTo>
                <a:close/>
                <a:moveTo>
                  <a:pt x="0" y="1350"/>
                </a:move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moveTo>
                  <a:pt x="1964" y="21600"/>
                </a:moveTo>
                <a:lnTo>
                  <a:pt x="3927" y="21600"/>
                </a:lnTo>
                <a:lnTo>
                  <a:pt x="3927" y="0"/>
                </a:lnTo>
                <a:lnTo>
                  <a:pt x="1964" y="0"/>
                </a:lnTo>
                <a:cubicBezTo>
                  <a:pt x="1964" y="0"/>
                  <a:pt x="1964" y="21600"/>
                  <a:pt x="1964" y="21600"/>
                </a:cubicBezTo>
                <a:close/>
                <a:moveTo>
                  <a:pt x="6873" y="21600"/>
                </a:moveTo>
                <a:lnTo>
                  <a:pt x="9327" y="21600"/>
                </a:lnTo>
                <a:lnTo>
                  <a:pt x="9327" y="0"/>
                </a:lnTo>
                <a:lnTo>
                  <a:pt x="6873" y="0"/>
                </a:lnTo>
                <a:cubicBezTo>
                  <a:pt x="6873" y="0"/>
                  <a:pt x="6873" y="21600"/>
                  <a:pt x="6873" y="21600"/>
                </a:cubicBezTo>
                <a:close/>
                <a:moveTo>
                  <a:pt x="10309" y="21600"/>
                </a:moveTo>
                <a:lnTo>
                  <a:pt x="11291" y="21600"/>
                </a:lnTo>
                <a:lnTo>
                  <a:pt x="11291" y="0"/>
                </a:lnTo>
                <a:lnTo>
                  <a:pt x="10309" y="0"/>
                </a:lnTo>
                <a:cubicBezTo>
                  <a:pt x="10309" y="0"/>
                  <a:pt x="10309" y="21600"/>
                  <a:pt x="10309" y="21600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71" name="Shape 2671"/>
          <p:cNvSpPr/>
          <p:nvPr/>
        </p:nvSpPr>
        <p:spPr>
          <a:xfrm>
            <a:off x="3013903" y="3026325"/>
            <a:ext cx="279328" cy="2793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5421"/>
                </a:moveTo>
                <a:cubicBezTo>
                  <a:pt x="10666" y="15276"/>
                  <a:pt x="10995" y="15082"/>
                  <a:pt x="11291" y="14845"/>
                </a:cubicBezTo>
                <a:lnTo>
                  <a:pt x="11291" y="8719"/>
                </a:lnTo>
                <a:cubicBezTo>
                  <a:pt x="10995" y="8482"/>
                  <a:pt x="10666" y="8287"/>
                  <a:pt x="10309" y="8143"/>
                </a:cubicBezTo>
                <a:cubicBezTo>
                  <a:pt x="10309" y="8143"/>
                  <a:pt x="10309" y="15421"/>
                  <a:pt x="10309" y="15421"/>
                </a:cubicBezTo>
                <a:close/>
                <a:moveTo>
                  <a:pt x="12273" y="13681"/>
                </a:moveTo>
                <a:cubicBezTo>
                  <a:pt x="12585" y="13118"/>
                  <a:pt x="12764" y="12471"/>
                  <a:pt x="12764" y="11782"/>
                </a:cubicBezTo>
                <a:cubicBezTo>
                  <a:pt x="12764" y="11092"/>
                  <a:pt x="12585" y="10445"/>
                  <a:pt x="12273" y="9882"/>
                </a:cubicBezTo>
                <a:cubicBezTo>
                  <a:pt x="12273" y="9882"/>
                  <a:pt x="12273" y="13681"/>
                  <a:pt x="12273" y="13681"/>
                </a:cubicBezTo>
                <a:close/>
                <a:moveTo>
                  <a:pt x="5891" y="14373"/>
                </a:moveTo>
                <a:lnTo>
                  <a:pt x="5891" y="9190"/>
                </a:lnTo>
                <a:cubicBezTo>
                  <a:pt x="5282" y="9882"/>
                  <a:pt x="4909" y="10788"/>
                  <a:pt x="4909" y="11782"/>
                </a:cubicBezTo>
                <a:cubicBezTo>
                  <a:pt x="4909" y="12776"/>
                  <a:pt x="5282" y="13681"/>
                  <a:pt x="5891" y="14373"/>
                </a:cubicBezTo>
                <a:moveTo>
                  <a:pt x="6873" y="8384"/>
                </a:moveTo>
                <a:lnTo>
                  <a:pt x="6873" y="15179"/>
                </a:lnTo>
                <a:cubicBezTo>
                  <a:pt x="7451" y="15514"/>
                  <a:pt x="8120" y="15709"/>
                  <a:pt x="8836" y="15709"/>
                </a:cubicBezTo>
                <a:cubicBezTo>
                  <a:pt x="9003" y="15709"/>
                  <a:pt x="9166" y="15696"/>
                  <a:pt x="9327" y="15675"/>
                </a:cubicBezTo>
                <a:lnTo>
                  <a:pt x="9327" y="7888"/>
                </a:lnTo>
                <a:cubicBezTo>
                  <a:pt x="9166" y="7868"/>
                  <a:pt x="9003" y="7854"/>
                  <a:pt x="8836" y="7854"/>
                </a:cubicBezTo>
                <a:cubicBezTo>
                  <a:pt x="8120" y="7854"/>
                  <a:pt x="7451" y="8049"/>
                  <a:pt x="6873" y="8384"/>
                </a:cubicBezTo>
                <a:moveTo>
                  <a:pt x="20618" y="0"/>
                </a:moveTo>
                <a:lnTo>
                  <a:pt x="19636" y="0"/>
                </a:lnTo>
                <a:lnTo>
                  <a:pt x="19636" y="15709"/>
                </a:ln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8836" y="17672"/>
                </a:moveTo>
                <a:cubicBezTo>
                  <a:pt x="5583" y="17672"/>
                  <a:pt x="2945" y="15035"/>
                  <a:pt x="2945" y="11782"/>
                </a:cubicBezTo>
                <a:cubicBezTo>
                  <a:pt x="2945" y="8528"/>
                  <a:pt x="5583" y="5891"/>
                  <a:pt x="8836" y="5891"/>
                </a:cubicBezTo>
                <a:cubicBezTo>
                  <a:pt x="12090" y="5891"/>
                  <a:pt x="14727" y="8528"/>
                  <a:pt x="14727" y="11782"/>
                </a:cubicBezTo>
                <a:cubicBezTo>
                  <a:pt x="14727" y="15035"/>
                  <a:pt x="12090" y="17672"/>
                  <a:pt x="8836" y="17672"/>
                </a:cubicBezTo>
                <a:moveTo>
                  <a:pt x="14027" y="16277"/>
                </a:moveTo>
                <a:cubicBezTo>
                  <a:pt x="15072" y="15072"/>
                  <a:pt x="15709" y="13503"/>
                  <a:pt x="15709" y="11782"/>
                </a:cubicBezTo>
                <a:cubicBezTo>
                  <a:pt x="15709" y="7986"/>
                  <a:pt x="12632" y="4909"/>
                  <a:pt x="8836" y="4909"/>
                </a:cubicBezTo>
                <a:cubicBezTo>
                  <a:pt x="5041" y="4909"/>
                  <a:pt x="1964" y="7986"/>
                  <a:pt x="1964" y="11782"/>
                </a:cubicBezTo>
                <a:cubicBezTo>
                  <a:pt x="1964" y="15577"/>
                  <a:pt x="5041" y="18654"/>
                  <a:pt x="8836" y="18654"/>
                </a:cubicBezTo>
                <a:cubicBezTo>
                  <a:pt x="10557" y="18654"/>
                  <a:pt x="12127" y="18017"/>
                  <a:pt x="13333" y="16972"/>
                </a:cubicBezTo>
                <a:lnTo>
                  <a:pt x="17817" y="21456"/>
                </a:lnTo>
                <a:cubicBezTo>
                  <a:pt x="17905" y="21545"/>
                  <a:pt x="18028" y="21600"/>
                  <a:pt x="18164" y="21600"/>
                </a:cubicBezTo>
                <a:cubicBezTo>
                  <a:pt x="18434" y="21600"/>
                  <a:pt x="18655" y="21380"/>
                  <a:pt x="18655" y="21109"/>
                </a:cubicBezTo>
                <a:cubicBezTo>
                  <a:pt x="18655" y="20974"/>
                  <a:pt x="18600" y="20851"/>
                  <a:pt x="18511" y="20762"/>
                </a:cubicBezTo>
                <a:cubicBezTo>
                  <a:pt x="18511" y="20762"/>
                  <a:pt x="14027" y="16277"/>
                  <a:pt x="14027" y="16277"/>
                </a:cubicBezTo>
                <a:close/>
                <a:moveTo>
                  <a:pt x="17673" y="15709"/>
                </a:moveTo>
                <a:lnTo>
                  <a:pt x="18655" y="15709"/>
                </a:lnTo>
                <a:lnTo>
                  <a:pt x="18655" y="0"/>
                </a:lnTo>
                <a:lnTo>
                  <a:pt x="17673" y="0"/>
                </a:lnTo>
                <a:cubicBezTo>
                  <a:pt x="17673" y="0"/>
                  <a:pt x="17673" y="15709"/>
                  <a:pt x="17673" y="15709"/>
                </a:cubicBezTo>
                <a:close/>
                <a:moveTo>
                  <a:pt x="16691" y="15709"/>
                </a:moveTo>
                <a:lnTo>
                  <a:pt x="16691" y="11783"/>
                </a:lnTo>
                <a:cubicBezTo>
                  <a:pt x="16691" y="13214"/>
                  <a:pt x="16301" y="14553"/>
                  <a:pt x="15631" y="15709"/>
                </a:cubicBezTo>
                <a:cubicBezTo>
                  <a:pt x="15631" y="15709"/>
                  <a:pt x="16691" y="15709"/>
                  <a:pt x="16691" y="15709"/>
                </a:cubicBezTo>
                <a:close/>
                <a:moveTo>
                  <a:pt x="16691" y="0"/>
                </a:moveTo>
                <a:lnTo>
                  <a:pt x="14236" y="0"/>
                </a:lnTo>
                <a:lnTo>
                  <a:pt x="14236" y="6088"/>
                </a:lnTo>
                <a:cubicBezTo>
                  <a:pt x="15745" y="7519"/>
                  <a:pt x="16691" y="9538"/>
                  <a:pt x="16691" y="11781"/>
                </a:cubicBezTo>
                <a:cubicBezTo>
                  <a:pt x="16691" y="11781"/>
                  <a:pt x="16691" y="0"/>
                  <a:pt x="16691" y="0"/>
                </a:cubicBezTo>
                <a:close/>
                <a:moveTo>
                  <a:pt x="11291" y="0"/>
                </a:moveTo>
                <a:lnTo>
                  <a:pt x="10309" y="0"/>
                </a:lnTo>
                <a:lnTo>
                  <a:pt x="10309" y="4070"/>
                </a:lnTo>
                <a:cubicBezTo>
                  <a:pt x="10645" y="4134"/>
                  <a:pt x="10972" y="4219"/>
                  <a:pt x="11291" y="4324"/>
                </a:cubicBezTo>
                <a:cubicBezTo>
                  <a:pt x="11291" y="4324"/>
                  <a:pt x="11291" y="0"/>
                  <a:pt x="11291" y="0"/>
                </a:cubicBezTo>
                <a:close/>
                <a:moveTo>
                  <a:pt x="1964" y="15709"/>
                </a:moveTo>
                <a:lnTo>
                  <a:pt x="2041" y="15709"/>
                </a:lnTo>
                <a:cubicBezTo>
                  <a:pt x="2016" y="15666"/>
                  <a:pt x="1988" y="15625"/>
                  <a:pt x="1964" y="15581"/>
                </a:cubicBezTo>
                <a:cubicBezTo>
                  <a:pt x="1964" y="15581"/>
                  <a:pt x="1964" y="15709"/>
                  <a:pt x="1964" y="15709"/>
                </a:cubicBezTo>
                <a:close/>
                <a:moveTo>
                  <a:pt x="13255" y="0"/>
                </a:moveTo>
                <a:lnTo>
                  <a:pt x="12273" y="0"/>
                </a:lnTo>
                <a:lnTo>
                  <a:pt x="12273" y="4727"/>
                </a:lnTo>
                <a:cubicBezTo>
                  <a:pt x="12613" y="4894"/>
                  <a:pt x="12944" y="5077"/>
                  <a:pt x="13255" y="5289"/>
                </a:cubicBezTo>
                <a:cubicBezTo>
                  <a:pt x="13255" y="5289"/>
                  <a:pt x="13255" y="0"/>
                  <a:pt x="13255" y="0"/>
                </a:cubicBezTo>
                <a:close/>
                <a:moveTo>
                  <a:pt x="9327" y="3952"/>
                </a:moveTo>
                <a:lnTo>
                  <a:pt x="9327" y="0"/>
                </a:lnTo>
                <a:lnTo>
                  <a:pt x="6873" y="0"/>
                </a:lnTo>
                <a:lnTo>
                  <a:pt x="6873" y="4185"/>
                </a:lnTo>
                <a:cubicBezTo>
                  <a:pt x="7501" y="4023"/>
                  <a:pt x="8157" y="3927"/>
                  <a:pt x="8836" y="3927"/>
                </a:cubicBezTo>
                <a:cubicBezTo>
                  <a:pt x="9002" y="3927"/>
                  <a:pt x="9164" y="3942"/>
                  <a:pt x="9327" y="3952"/>
                </a:cubicBezTo>
                <a:moveTo>
                  <a:pt x="5891" y="0"/>
                </a:moveTo>
                <a:lnTo>
                  <a:pt x="4909" y="0"/>
                </a:lnTo>
                <a:lnTo>
                  <a:pt x="4909" y="4987"/>
                </a:lnTo>
                <a:cubicBezTo>
                  <a:pt x="5224" y="4804"/>
                  <a:pt x="5551" y="4641"/>
                  <a:pt x="5891" y="4504"/>
                </a:cubicBezTo>
                <a:cubicBezTo>
                  <a:pt x="5891" y="4504"/>
                  <a:pt x="5891" y="0"/>
                  <a:pt x="5891" y="0"/>
                </a:cubicBezTo>
                <a:close/>
                <a:moveTo>
                  <a:pt x="0" y="982"/>
                </a:move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moveTo>
                  <a:pt x="3927" y="5656"/>
                </a:moveTo>
                <a:lnTo>
                  <a:pt x="3927" y="0"/>
                </a:lnTo>
                <a:lnTo>
                  <a:pt x="1964" y="0"/>
                </a:lnTo>
                <a:lnTo>
                  <a:pt x="1964" y="7982"/>
                </a:lnTo>
                <a:cubicBezTo>
                  <a:pt x="2462" y="7084"/>
                  <a:pt x="3131" y="6294"/>
                  <a:pt x="3927" y="5656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72" name="Shape 2672"/>
          <p:cNvSpPr/>
          <p:nvPr/>
        </p:nvSpPr>
        <p:spPr>
          <a:xfrm>
            <a:off x="3547164" y="3064416"/>
            <a:ext cx="279328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21600"/>
                </a:moveTo>
                <a:lnTo>
                  <a:pt x="11782" y="21600"/>
                </a:lnTo>
                <a:lnTo>
                  <a:pt x="11782" y="17550"/>
                </a:lnTo>
                <a:lnTo>
                  <a:pt x="9818" y="17550"/>
                </a:lnTo>
                <a:cubicBezTo>
                  <a:pt x="9818" y="17550"/>
                  <a:pt x="9818" y="21600"/>
                  <a:pt x="9818" y="21600"/>
                </a:cubicBezTo>
                <a:close/>
                <a:moveTo>
                  <a:pt x="7855" y="21600"/>
                </a:moveTo>
                <a:lnTo>
                  <a:pt x="8836" y="21600"/>
                </a:lnTo>
                <a:lnTo>
                  <a:pt x="8836" y="17550"/>
                </a:lnTo>
                <a:lnTo>
                  <a:pt x="7855" y="17550"/>
                </a:lnTo>
                <a:cubicBezTo>
                  <a:pt x="7855" y="17550"/>
                  <a:pt x="7855" y="21600"/>
                  <a:pt x="7855" y="21600"/>
                </a:cubicBezTo>
                <a:close/>
                <a:moveTo>
                  <a:pt x="2945" y="21600"/>
                </a:moveTo>
                <a:lnTo>
                  <a:pt x="3927" y="21600"/>
                </a:lnTo>
                <a:lnTo>
                  <a:pt x="3927" y="17550"/>
                </a:lnTo>
                <a:lnTo>
                  <a:pt x="2945" y="17550"/>
                </a:lnTo>
                <a:cubicBezTo>
                  <a:pt x="2945" y="17550"/>
                  <a:pt x="2945" y="21600"/>
                  <a:pt x="2945" y="21600"/>
                </a:cubicBezTo>
                <a:close/>
                <a:moveTo>
                  <a:pt x="4909" y="21600"/>
                </a:moveTo>
                <a:lnTo>
                  <a:pt x="6873" y="21600"/>
                </a:lnTo>
                <a:lnTo>
                  <a:pt x="6873" y="17550"/>
                </a:lnTo>
                <a:lnTo>
                  <a:pt x="4909" y="17550"/>
                </a:lnTo>
                <a:cubicBezTo>
                  <a:pt x="4909" y="17550"/>
                  <a:pt x="4909" y="21600"/>
                  <a:pt x="4909" y="21600"/>
                </a:cubicBezTo>
                <a:close/>
                <a:moveTo>
                  <a:pt x="12764" y="21600"/>
                </a:moveTo>
                <a:lnTo>
                  <a:pt x="13745" y="21600"/>
                </a:lnTo>
                <a:lnTo>
                  <a:pt x="13745" y="17550"/>
                </a:lnTo>
                <a:lnTo>
                  <a:pt x="12764" y="17550"/>
                </a:lnTo>
                <a:cubicBezTo>
                  <a:pt x="12764" y="17550"/>
                  <a:pt x="12764" y="21600"/>
                  <a:pt x="12764" y="21600"/>
                </a:cubicBezTo>
                <a:close/>
                <a:moveTo>
                  <a:pt x="20618" y="14850"/>
                </a:moveTo>
                <a:lnTo>
                  <a:pt x="982" y="14850"/>
                </a:lnTo>
                <a:lnTo>
                  <a:pt x="982" y="13500"/>
                </a:lnTo>
                <a:lnTo>
                  <a:pt x="20618" y="13500"/>
                </a:lnTo>
                <a:cubicBezTo>
                  <a:pt x="20618" y="13500"/>
                  <a:pt x="20618" y="14850"/>
                  <a:pt x="20618" y="14850"/>
                </a:cubicBezTo>
                <a:close/>
                <a:moveTo>
                  <a:pt x="20618" y="12150"/>
                </a:moveTo>
                <a:lnTo>
                  <a:pt x="982" y="12150"/>
                </a:lnTo>
                <a:cubicBezTo>
                  <a:pt x="440" y="12150"/>
                  <a:pt x="0" y="12755"/>
                  <a:pt x="0" y="13500"/>
                </a:cubicBezTo>
                <a:lnTo>
                  <a:pt x="0" y="14850"/>
                </a:lnTo>
                <a:cubicBezTo>
                  <a:pt x="0" y="15595"/>
                  <a:pt x="440" y="16200"/>
                  <a:pt x="982" y="16200"/>
                </a:cubicBezTo>
                <a:lnTo>
                  <a:pt x="20618" y="16200"/>
                </a:lnTo>
                <a:cubicBezTo>
                  <a:pt x="21160" y="16200"/>
                  <a:pt x="21600" y="15595"/>
                  <a:pt x="21600" y="14850"/>
                </a:cubicBezTo>
                <a:lnTo>
                  <a:pt x="21600" y="13500"/>
                </a:lnTo>
                <a:cubicBezTo>
                  <a:pt x="21600" y="12755"/>
                  <a:pt x="21160" y="12150"/>
                  <a:pt x="20618" y="12150"/>
                </a:cubicBezTo>
                <a:moveTo>
                  <a:pt x="982" y="20250"/>
                </a:moveTo>
                <a:cubicBezTo>
                  <a:pt x="982" y="20996"/>
                  <a:pt x="1422" y="21600"/>
                  <a:pt x="1964" y="21600"/>
                </a:cubicBezTo>
                <a:lnTo>
                  <a:pt x="1964" y="17550"/>
                </a:lnTo>
                <a:lnTo>
                  <a:pt x="982" y="17550"/>
                </a:lnTo>
                <a:cubicBezTo>
                  <a:pt x="982" y="17550"/>
                  <a:pt x="982" y="20250"/>
                  <a:pt x="982" y="20250"/>
                </a:cubicBezTo>
                <a:close/>
                <a:moveTo>
                  <a:pt x="16691" y="21600"/>
                </a:moveTo>
                <a:lnTo>
                  <a:pt x="17673" y="21600"/>
                </a:lnTo>
                <a:lnTo>
                  <a:pt x="17673" y="17550"/>
                </a:lnTo>
                <a:lnTo>
                  <a:pt x="16691" y="17550"/>
                </a:lnTo>
                <a:cubicBezTo>
                  <a:pt x="16691" y="17550"/>
                  <a:pt x="16691" y="21600"/>
                  <a:pt x="16691" y="21600"/>
                </a:cubicBezTo>
                <a:close/>
                <a:moveTo>
                  <a:pt x="14727" y="21600"/>
                </a:moveTo>
                <a:lnTo>
                  <a:pt x="15709" y="21600"/>
                </a:lnTo>
                <a:lnTo>
                  <a:pt x="15709" y="17550"/>
                </a:lnTo>
                <a:lnTo>
                  <a:pt x="14727" y="17550"/>
                </a:lnTo>
                <a:cubicBezTo>
                  <a:pt x="14727" y="17550"/>
                  <a:pt x="14727" y="21600"/>
                  <a:pt x="14727" y="21600"/>
                </a:cubicBezTo>
                <a:close/>
                <a:moveTo>
                  <a:pt x="18655" y="21600"/>
                </a:moveTo>
                <a:lnTo>
                  <a:pt x="19636" y="21600"/>
                </a:lnTo>
                <a:cubicBezTo>
                  <a:pt x="20178" y="21600"/>
                  <a:pt x="20618" y="20996"/>
                  <a:pt x="20618" y="20250"/>
                </a:cubicBezTo>
                <a:lnTo>
                  <a:pt x="20618" y="17550"/>
                </a:lnTo>
                <a:lnTo>
                  <a:pt x="18655" y="17550"/>
                </a:lnTo>
                <a:cubicBezTo>
                  <a:pt x="18655" y="17550"/>
                  <a:pt x="18655" y="21600"/>
                  <a:pt x="18655" y="21600"/>
                </a:cubicBezTo>
                <a:close/>
                <a:moveTo>
                  <a:pt x="15709" y="0"/>
                </a:moveTo>
                <a:lnTo>
                  <a:pt x="14727" y="0"/>
                </a:lnTo>
                <a:lnTo>
                  <a:pt x="14727" y="10800"/>
                </a:lnTo>
                <a:lnTo>
                  <a:pt x="15709" y="10800"/>
                </a:lnTo>
                <a:cubicBezTo>
                  <a:pt x="15709" y="10800"/>
                  <a:pt x="15709" y="0"/>
                  <a:pt x="15709" y="0"/>
                </a:cubicBezTo>
                <a:close/>
                <a:moveTo>
                  <a:pt x="20618" y="1350"/>
                </a:moveTo>
                <a:cubicBezTo>
                  <a:pt x="20618" y="605"/>
                  <a:pt x="20178" y="0"/>
                  <a:pt x="19636" y="0"/>
                </a:cubicBezTo>
                <a:lnTo>
                  <a:pt x="18655" y="0"/>
                </a:lnTo>
                <a:lnTo>
                  <a:pt x="18655" y="10800"/>
                </a:lnTo>
                <a:lnTo>
                  <a:pt x="20618" y="10800"/>
                </a:lnTo>
                <a:cubicBezTo>
                  <a:pt x="20618" y="10800"/>
                  <a:pt x="20618" y="1350"/>
                  <a:pt x="20618" y="1350"/>
                </a:cubicBezTo>
                <a:close/>
                <a:moveTo>
                  <a:pt x="13745" y="0"/>
                </a:moveTo>
                <a:lnTo>
                  <a:pt x="12764" y="0"/>
                </a:lnTo>
                <a:lnTo>
                  <a:pt x="12764" y="10800"/>
                </a:lnTo>
                <a:lnTo>
                  <a:pt x="13745" y="10800"/>
                </a:lnTo>
                <a:cubicBezTo>
                  <a:pt x="13745" y="10800"/>
                  <a:pt x="13745" y="0"/>
                  <a:pt x="13745" y="0"/>
                </a:cubicBezTo>
                <a:close/>
                <a:moveTo>
                  <a:pt x="17673" y="0"/>
                </a:moveTo>
                <a:lnTo>
                  <a:pt x="16691" y="0"/>
                </a:lnTo>
                <a:lnTo>
                  <a:pt x="16691" y="10800"/>
                </a:lnTo>
                <a:lnTo>
                  <a:pt x="17673" y="10800"/>
                </a:lnTo>
                <a:cubicBezTo>
                  <a:pt x="17673" y="10800"/>
                  <a:pt x="17673" y="0"/>
                  <a:pt x="17673" y="0"/>
                </a:cubicBezTo>
                <a:close/>
                <a:moveTo>
                  <a:pt x="1964" y="0"/>
                </a:moveTo>
                <a:cubicBezTo>
                  <a:pt x="1422" y="0"/>
                  <a:pt x="982" y="605"/>
                  <a:pt x="982" y="1350"/>
                </a:cubicBezTo>
                <a:lnTo>
                  <a:pt x="982" y="10800"/>
                </a:lnTo>
                <a:lnTo>
                  <a:pt x="1964" y="10800"/>
                </a:lnTo>
                <a:cubicBezTo>
                  <a:pt x="1964" y="10800"/>
                  <a:pt x="1964" y="0"/>
                  <a:pt x="1964" y="0"/>
                </a:cubicBezTo>
                <a:close/>
                <a:moveTo>
                  <a:pt x="3927" y="0"/>
                </a:moveTo>
                <a:lnTo>
                  <a:pt x="2945" y="0"/>
                </a:lnTo>
                <a:lnTo>
                  <a:pt x="2945" y="10800"/>
                </a:lnTo>
                <a:lnTo>
                  <a:pt x="3927" y="10800"/>
                </a:lnTo>
                <a:cubicBezTo>
                  <a:pt x="3927" y="10800"/>
                  <a:pt x="3927" y="0"/>
                  <a:pt x="3927" y="0"/>
                </a:cubicBezTo>
                <a:close/>
                <a:moveTo>
                  <a:pt x="6873" y="0"/>
                </a:moveTo>
                <a:lnTo>
                  <a:pt x="4909" y="0"/>
                </a:lnTo>
                <a:lnTo>
                  <a:pt x="4909" y="10800"/>
                </a:lnTo>
                <a:lnTo>
                  <a:pt x="6873" y="10800"/>
                </a:lnTo>
                <a:cubicBezTo>
                  <a:pt x="6873" y="10800"/>
                  <a:pt x="6873" y="0"/>
                  <a:pt x="6873" y="0"/>
                </a:cubicBezTo>
                <a:close/>
                <a:moveTo>
                  <a:pt x="8836" y="0"/>
                </a:moveTo>
                <a:lnTo>
                  <a:pt x="7855" y="0"/>
                </a:lnTo>
                <a:lnTo>
                  <a:pt x="7855" y="10800"/>
                </a:lnTo>
                <a:lnTo>
                  <a:pt x="8836" y="10800"/>
                </a:lnTo>
                <a:cubicBezTo>
                  <a:pt x="8836" y="10800"/>
                  <a:pt x="8836" y="0"/>
                  <a:pt x="8836" y="0"/>
                </a:cubicBezTo>
                <a:close/>
                <a:moveTo>
                  <a:pt x="11782" y="0"/>
                </a:moveTo>
                <a:lnTo>
                  <a:pt x="9818" y="0"/>
                </a:lnTo>
                <a:lnTo>
                  <a:pt x="9818" y="10800"/>
                </a:lnTo>
                <a:lnTo>
                  <a:pt x="11782" y="10800"/>
                </a:lnTo>
                <a:cubicBezTo>
                  <a:pt x="11782" y="10800"/>
                  <a:pt x="11782" y="0"/>
                  <a:pt x="11782" y="0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73" name="Shape 2673"/>
          <p:cNvSpPr/>
          <p:nvPr/>
        </p:nvSpPr>
        <p:spPr>
          <a:xfrm>
            <a:off x="4080425" y="302632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0309"/>
                </a:moveTo>
                <a:cubicBezTo>
                  <a:pt x="2726" y="10309"/>
                  <a:pt x="2945" y="10090"/>
                  <a:pt x="2945" y="9818"/>
                </a:cubicBezTo>
                <a:cubicBezTo>
                  <a:pt x="2945" y="9547"/>
                  <a:pt x="2726" y="9327"/>
                  <a:pt x="2455" y="9327"/>
                </a:cubicBezTo>
                <a:cubicBezTo>
                  <a:pt x="2183" y="9327"/>
                  <a:pt x="1964" y="9547"/>
                  <a:pt x="1964" y="9818"/>
                </a:cubicBezTo>
                <a:cubicBezTo>
                  <a:pt x="1964" y="10090"/>
                  <a:pt x="2183" y="10309"/>
                  <a:pt x="2455" y="10309"/>
                </a:cubicBezTo>
                <a:moveTo>
                  <a:pt x="20618" y="11782"/>
                </a:moveTo>
                <a:lnTo>
                  <a:pt x="982" y="11782"/>
                </a:ln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1782"/>
                  <a:pt x="20618" y="11782"/>
                </a:cubicBezTo>
                <a:close/>
                <a:moveTo>
                  <a:pt x="2945" y="982"/>
                </a:moveTo>
                <a:lnTo>
                  <a:pt x="14727" y="982"/>
                </a:lnTo>
                <a:lnTo>
                  <a:pt x="14727" y="4418"/>
                </a:lnTo>
                <a:cubicBezTo>
                  <a:pt x="14727" y="4690"/>
                  <a:pt x="14947" y="4909"/>
                  <a:pt x="15218" y="4909"/>
                </a:cubicBezTo>
                <a:lnTo>
                  <a:pt x="18655" y="4909"/>
                </a:lnTo>
                <a:lnTo>
                  <a:pt x="18655" y="6873"/>
                </a:lnTo>
                <a:lnTo>
                  <a:pt x="2945" y="6873"/>
                </a:lnTo>
                <a:cubicBezTo>
                  <a:pt x="2945" y="6873"/>
                  <a:pt x="2945" y="982"/>
                  <a:pt x="2945" y="982"/>
                </a:cubicBezTo>
                <a:close/>
                <a:moveTo>
                  <a:pt x="15709" y="1473"/>
                </a:moveTo>
                <a:lnTo>
                  <a:pt x="18164" y="3927"/>
                </a:lnTo>
                <a:lnTo>
                  <a:pt x="15709" y="3927"/>
                </a:lnTo>
                <a:cubicBezTo>
                  <a:pt x="15709" y="3927"/>
                  <a:pt x="15709" y="1473"/>
                  <a:pt x="15709" y="1473"/>
                </a:cubicBezTo>
                <a:close/>
                <a:moveTo>
                  <a:pt x="20618" y="6873"/>
                </a:moveTo>
                <a:lnTo>
                  <a:pt x="19636" y="6873"/>
                </a:lnTo>
                <a:lnTo>
                  <a:pt x="19636" y="3927"/>
                </a:lnTo>
                <a:lnTo>
                  <a:pt x="15709" y="0"/>
                </a:lnTo>
                <a:lnTo>
                  <a:pt x="2945" y="0"/>
                </a:lnTo>
                <a:cubicBezTo>
                  <a:pt x="2403" y="0"/>
                  <a:pt x="1964" y="440"/>
                  <a:pt x="1964" y="982"/>
                </a:cubicBezTo>
                <a:lnTo>
                  <a:pt x="1964" y="6873"/>
                </a:lnTo>
                <a:lnTo>
                  <a:pt x="982" y="6873"/>
                </a:lnTo>
                <a:cubicBezTo>
                  <a:pt x="439" y="6873"/>
                  <a:pt x="0" y="7313"/>
                  <a:pt x="0" y="7855"/>
                </a:cubicBezTo>
                <a:lnTo>
                  <a:pt x="0" y="11782"/>
                </a:lnTo>
                <a:cubicBezTo>
                  <a:pt x="0" y="12324"/>
                  <a:pt x="439" y="12764"/>
                  <a:pt x="982" y="12764"/>
                </a:cubicBezTo>
                <a:lnTo>
                  <a:pt x="1964" y="12764"/>
                </a:lnTo>
                <a:lnTo>
                  <a:pt x="1964" y="21109"/>
                </a:lnTo>
                <a:cubicBezTo>
                  <a:pt x="1964" y="21381"/>
                  <a:pt x="2183" y="21600"/>
                  <a:pt x="2455" y="21600"/>
                </a:cubicBezTo>
                <a:cubicBezTo>
                  <a:pt x="2726" y="21600"/>
                  <a:pt x="2945" y="21381"/>
                  <a:pt x="2945" y="21109"/>
                </a:cubicBezTo>
                <a:lnTo>
                  <a:pt x="2945" y="12764"/>
                </a:lnTo>
                <a:lnTo>
                  <a:pt x="3927" y="12764"/>
                </a:ln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cubicBezTo>
                  <a:pt x="4690" y="18655"/>
                  <a:pt x="4909" y="18435"/>
                  <a:pt x="4909" y="18164"/>
                </a:cubicBezTo>
                <a:lnTo>
                  <a:pt x="4909" y="12764"/>
                </a:lnTo>
                <a:lnTo>
                  <a:pt x="5891" y="12764"/>
                </a:lnTo>
                <a:lnTo>
                  <a:pt x="5891" y="15218"/>
                </a:lnTo>
                <a:cubicBezTo>
                  <a:pt x="5891" y="15490"/>
                  <a:pt x="6110" y="15709"/>
                  <a:pt x="6382" y="15709"/>
                </a:cubicBezTo>
                <a:cubicBezTo>
                  <a:pt x="6653" y="15709"/>
                  <a:pt x="6873" y="15490"/>
                  <a:pt x="6873" y="15218"/>
                </a:cubicBezTo>
                <a:lnTo>
                  <a:pt x="6873" y="12764"/>
                </a:lnTo>
                <a:lnTo>
                  <a:pt x="7855" y="12764"/>
                </a:lnTo>
                <a:lnTo>
                  <a:pt x="7855" y="20127"/>
                </a:lnTo>
                <a:cubicBezTo>
                  <a:pt x="7855" y="20399"/>
                  <a:pt x="8074" y="20618"/>
                  <a:pt x="8345" y="20618"/>
                </a:cubicBezTo>
                <a:cubicBezTo>
                  <a:pt x="8617" y="20618"/>
                  <a:pt x="8836" y="20399"/>
                  <a:pt x="8836" y="20127"/>
                </a:cubicBezTo>
                <a:lnTo>
                  <a:pt x="8836" y="12764"/>
                </a:lnTo>
                <a:lnTo>
                  <a:pt x="10309" y="12764"/>
                </a:lnTo>
                <a:lnTo>
                  <a:pt x="10309" y="19145"/>
                </a:lnTo>
                <a:cubicBezTo>
                  <a:pt x="10309" y="19417"/>
                  <a:pt x="10529" y="19636"/>
                  <a:pt x="10800" y="19636"/>
                </a:cubicBezTo>
                <a:cubicBezTo>
                  <a:pt x="11071" y="19636"/>
                  <a:pt x="11291" y="19417"/>
                  <a:pt x="11291" y="19145"/>
                </a:cubicBezTo>
                <a:lnTo>
                  <a:pt x="11291" y="12764"/>
                </a:lnTo>
                <a:lnTo>
                  <a:pt x="12764" y="12764"/>
                </a:lnTo>
                <a:lnTo>
                  <a:pt x="12764" y="16200"/>
                </a:lnTo>
                <a:cubicBezTo>
                  <a:pt x="12764" y="16472"/>
                  <a:pt x="12983" y="16691"/>
                  <a:pt x="13255" y="16691"/>
                </a:cubicBezTo>
                <a:cubicBezTo>
                  <a:pt x="13526" y="16691"/>
                  <a:pt x="13745" y="16472"/>
                  <a:pt x="13745" y="16200"/>
                </a:cubicBezTo>
                <a:lnTo>
                  <a:pt x="13745" y="12764"/>
                </a:lnTo>
                <a:lnTo>
                  <a:pt x="14727" y="12764"/>
                </a:lnTo>
                <a:lnTo>
                  <a:pt x="14727" y="17182"/>
                </a:lnTo>
                <a:cubicBezTo>
                  <a:pt x="14727" y="17453"/>
                  <a:pt x="14947" y="17673"/>
                  <a:pt x="15218" y="17673"/>
                </a:cubicBezTo>
                <a:cubicBezTo>
                  <a:pt x="15490" y="17673"/>
                  <a:pt x="15709" y="17453"/>
                  <a:pt x="15709" y="17182"/>
                </a:cubicBezTo>
                <a:lnTo>
                  <a:pt x="15709" y="12764"/>
                </a:lnTo>
                <a:lnTo>
                  <a:pt x="16691" y="12764"/>
                </a:lnTo>
                <a:lnTo>
                  <a:pt x="16691" y="20127"/>
                </a:lnTo>
                <a:cubicBezTo>
                  <a:pt x="16691" y="20399"/>
                  <a:pt x="16910" y="20618"/>
                  <a:pt x="17182" y="20618"/>
                </a:cubicBezTo>
                <a:cubicBezTo>
                  <a:pt x="17453" y="20618"/>
                  <a:pt x="17673" y="20399"/>
                  <a:pt x="17673" y="20127"/>
                </a:cubicBezTo>
                <a:lnTo>
                  <a:pt x="17673" y="12764"/>
                </a:lnTo>
                <a:lnTo>
                  <a:pt x="18655" y="12764"/>
                </a:lnTo>
                <a:lnTo>
                  <a:pt x="18655" y="19145"/>
                </a:lnTo>
                <a:cubicBezTo>
                  <a:pt x="18655" y="19417"/>
                  <a:pt x="18874" y="19636"/>
                  <a:pt x="19145" y="19636"/>
                </a:cubicBezTo>
                <a:cubicBezTo>
                  <a:pt x="19417" y="19636"/>
                  <a:pt x="19636" y="19417"/>
                  <a:pt x="19636" y="19145"/>
                </a:cubicBezTo>
                <a:lnTo>
                  <a:pt x="19636" y="12764"/>
                </a:lnTo>
                <a:lnTo>
                  <a:pt x="20618" y="12764"/>
                </a:lnTo>
                <a:cubicBezTo>
                  <a:pt x="21160" y="12764"/>
                  <a:pt x="21600" y="12324"/>
                  <a:pt x="21600" y="11782"/>
                </a:cubicBezTo>
                <a:lnTo>
                  <a:pt x="21600" y="7855"/>
                </a:lnTo>
                <a:cubicBezTo>
                  <a:pt x="21600" y="7313"/>
                  <a:pt x="21160" y="6873"/>
                  <a:pt x="20618" y="6873"/>
                </a:cubicBezTo>
                <a:moveTo>
                  <a:pt x="4418" y="10309"/>
                </a:moveTo>
                <a:cubicBezTo>
                  <a:pt x="4690" y="10309"/>
                  <a:pt x="4909" y="10090"/>
                  <a:pt x="4909" y="9818"/>
                </a:cubicBezTo>
                <a:cubicBezTo>
                  <a:pt x="4909" y="9547"/>
                  <a:pt x="4690" y="9327"/>
                  <a:pt x="4418" y="9327"/>
                </a:cubicBezTo>
                <a:cubicBezTo>
                  <a:pt x="4147" y="9327"/>
                  <a:pt x="3927" y="9547"/>
                  <a:pt x="3927" y="9818"/>
                </a:cubicBezTo>
                <a:cubicBezTo>
                  <a:pt x="3927" y="10090"/>
                  <a:pt x="4147" y="10309"/>
                  <a:pt x="4418" y="10309"/>
                </a:cubicBezTo>
                <a:moveTo>
                  <a:pt x="12273" y="3927"/>
                </a:moveTo>
                <a:lnTo>
                  <a:pt x="5400" y="3927"/>
                </a:lnTo>
                <a:cubicBezTo>
                  <a:pt x="5129" y="3927"/>
                  <a:pt x="4909" y="4147"/>
                  <a:pt x="4909" y="4418"/>
                </a:cubicBezTo>
                <a:cubicBezTo>
                  <a:pt x="4909" y="4690"/>
                  <a:pt x="5129" y="4909"/>
                  <a:pt x="5400" y="4909"/>
                </a:cubicBezTo>
                <a:lnTo>
                  <a:pt x="12273" y="4909"/>
                </a:lnTo>
                <a:cubicBezTo>
                  <a:pt x="12544" y="4909"/>
                  <a:pt x="12764" y="4690"/>
                  <a:pt x="12764" y="4418"/>
                </a:cubicBezTo>
                <a:cubicBezTo>
                  <a:pt x="12764" y="4147"/>
                  <a:pt x="12544" y="3927"/>
                  <a:pt x="12273" y="3927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74" name="Shape 2674"/>
          <p:cNvSpPr/>
          <p:nvPr/>
        </p:nvSpPr>
        <p:spPr>
          <a:xfrm>
            <a:off x="4626383" y="3026326"/>
            <a:ext cx="253935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80" y="20121"/>
                </a:moveTo>
                <a:cubicBezTo>
                  <a:pt x="11880" y="20393"/>
                  <a:pt x="11637" y="20612"/>
                  <a:pt x="11337" y="20612"/>
                </a:cubicBezTo>
                <a:cubicBezTo>
                  <a:pt x="11181" y="20612"/>
                  <a:pt x="11043" y="20552"/>
                  <a:pt x="10944" y="20457"/>
                </a:cubicBezTo>
                <a:lnTo>
                  <a:pt x="10941" y="20459"/>
                </a:lnTo>
                <a:lnTo>
                  <a:pt x="10800" y="20342"/>
                </a:lnTo>
                <a:lnTo>
                  <a:pt x="10800" y="1256"/>
                </a:lnTo>
                <a:lnTo>
                  <a:pt x="10958" y="1126"/>
                </a:lnTo>
                <a:lnTo>
                  <a:pt x="10960" y="1127"/>
                </a:lnTo>
                <a:cubicBezTo>
                  <a:pt x="11057" y="1042"/>
                  <a:pt x="11190" y="987"/>
                  <a:pt x="11337" y="987"/>
                </a:cubicBezTo>
                <a:cubicBezTo>
                  <a:pt x="11637" y="987"/>
                  <a:pt x="11880" y="1208"/>
                  <a:pt x="11880" y="1479"/>
                </a:cubicBezTo>
                <a:cubicBezTo>
                  <a:pt x="11880" y="1479"/>
                  <a:pt x="11880" y="20121"/>
                  <a:pt x="11880" y="20121"/>
                </a:cubicBezTo>
                <a:close/>
                <a:moveTo>
                  <a:pt x="9720" y="19448"/>
                </a:moveTo>
                <a:lnTo>
                  <a:pt x="4320" y="14979"/>
                </a:lnTo>
                <a:lnTo>
                  <a:pt x="4320" y="6606"/>
                </a:lnTo>
                <a:lnTo>
                  <a:pt x="4562" y="6407"/>
                </a:lnTo>
                <a:lnTo>
                  <a:pt x="4559" y="6406"/>
                </a:lnTo>
                <a:lnTo>
                  <a:pt x="9720" y="2147"/>
                </a:lnTo>
                <a:cubicBezTo>
                  <a:pt x="9720" y="2147"/>
                  <a:pt x="9720" y="19448"/>
                  <a:pt x="9720" y="19448"/>
                </a:cubicBezTo>
                <a:close/>
                <a:moveTo>
                  <a:pt x="3240" y="14649"/>
                </a:moveTo>
                <a:cubicBezTo>
                  <a:pt x="2008" y="14285"/>
                  <a:pt x="1080" y="12700"/>
                  <a:pt x="1080" y="10800"/>
                </a:cubicBezTo>
                <a:cubicBezTo>
                  <a:pt x="1080" y="8900"/>
                  <a:pt x="2008" y="7315"/>
                  <a:pt x="3240" y="6952"/>
                </a:cubicBezTo>
                <a:cubicBezTo>
                  <a:pt x="3240" y="6952"/>
                  <a:pt x="3240" y="14649"/>
                  <a:pt x="3240" y="14649"/>
                </a:cubicBezTo>
                <a:close/>
                <a:moveTo>
                  <a:pt x="12966" y="1472"/>
                </a:moveTo>
                <a:cubicBezTo>
                  <a:pt x="12966" y="658"/>
                  <a:pt x="12238" y="0"/>
                  <a:pt x="11339" y="0"/>
                </a:cubicBezTo>
                <a:cubicBezTo>
                  <a:pt x="10880" y="0"/>
                  <a:pt x="10467" y="174"/>
                  <a:pt x="10170" y="451"/>
                </a:cubicBezTo>
                <a:lnTo>
                  <a:pt x="3565" y="5905"/>
                </a:lnTo>
                <a:cubicBezTo>
                  <a:pt x="1578" y="6050"/>
                  <a:pt x="0" y="8183"/>
                  <a:pt x="0" y="10800"/>
                </a:cubicBezTo>
                <a:cubicBezTo>
                  <a:pt x="0" y="13425"/>
                  <a:pt x="1588" y="15563"/>
                  <a:pt x="3585" y="15696"/>
                </a:cubicBezTo>
                <a:lnTo>
                  <a:pt x="10170" y="21149"/>
                </a:lnTo>
                <a:cubicBezTo>
                  <a:pt x="10466" y="21426"/>
                  <a:pt x="10879" y="21600"/>
                  <a:pt x="11339" y="21600"/>
                </a:cubicBezTo>
                <a:cubicBezTo>
                  <a:pt x="12238" y="21600"/>
                  <a:pt x="12966" y="20941"/>
                  <a:pt x="12966" y="20129"/>
                </a:cubicBezTo>
                <a:cubicBezTo>
                  <a:pt x="12966" y="20110"/>
                  <a:pt x="12961" y="20092"/>
                  <a:pt x="12960" y="20073"/>
                </a:cubicBezTo>
                <a:lnTo>
                  <a:pt x="12960" y="1527"/>
                </a:lnTo>
                <a:cubicBezTo>
                  <a:pt x="12961" y="1508"/>
                  <a:pt x="12966" y="1490"/>
                  <a:pt x="12966" y="1472"/>
                </a:cubicBezTo>
                <a:moveTo>
                  <a:pt x="19124" y="10800"/>
                </a:moveTo>
                <a:lnTo>
                  <a:pt x="21442" y="8693"/>
                </a:lnTo>
                <a:cubicBezTo>
                  <a:pt x="21540" y="8604"/>
                  <a:pt x="21600" y="8481"/>
                  <a:pt x="21600" y="8345"/>
                </a:cubicBezTo>
                <a:cubicBezTo>
                  <a:pt x="21600" y="8074"/>
                  <a:pt x="21358" y="7855"/>
                  <a:pt x="21060" y="7855"/>
                </a:cubicBezTo>
                <a:cubicBezTo>
                  <a:pt x="20911" y="7855"/>
                  <a:pt x="20776" y="7909"/>
                  <a:pt x="20678" y="7998"/>
                </a:cubicBezTo>
                <a:lnTo>
                  <a:pt x="18360" y="10106"/>
                </a:lnTo>
                <a:lnTo>
                  <a:pt x="16042" y="7998"/>
                </a:lnTo>
                <a:cubicBezTo>
                  <a:pt x="15944" y="7909"/>
                  <a:pt x="15809" y="7855"/>
                  <a:pt x="15660" y="7855"/>
                </a:cubicBezTo>
                <a:cubicBezTo>
                  <a:pt x="15362" y="7855"/>
                  <a:pt x="15120" y="8074"/>
                  <a:pt x="15120" y="8345"/>
                </a:cubicBezTo>
                <a:cubicBezTo>
                  <a:pt x="15120" y="8481"/>
                  <a:pt x="15180" y="8604"/>
                  <a:pt x="15278" y="8693"/>
                </a:cubicBezTo>
                <a:lnTo>
                  <a:pt x="17596" y="10800"/>
                </a:lnTo>
                <a:lnTo>
                  <a:pt x="15278" y="12907"/>
                </a:lnTo>
                <a:cubicBezTo>
                  <a:pt x="15180" y="12996"/>
                  <a:pt x="15120" y="13119"/>
                  <a:pt x="15120" y="13255"/>
                </a:cubicBezTo>
                <a:cubicBezTo>
                  <a:pt x="15120" y="13526"/>
                  <a:pt x="15362" y="13745"/>
                  <a:pt x="15660" y="13745"/>
                </a:cubicBezTo>
                <a:cubicBezTo>
                  <a:pt x="15809" y="13745"/>
                  <a:pt x="15944" y="13691"/>
                  <a:pt x="16042" y="13602"/>
                </a:cubicBezTo>
                <a:lnTo>
                  <a:pt x="18360" y="11494"/>
                </a:lnTo>
                <a:lnTo>
                  <a:pt x="20678" y="13602"/>
                </a:lnTo>
                <a:cubicBezTo>
                  <a:pt x="20776" y="13691"/>
                  <a:pt x="20911" y="13745"/>
                  <a:pt x="21060" y="13745"/>
                </a:cubicBezTo>
                <a:cubicBezTo>
                  <a:pt x="21358" y="13745"/>
                  <a:pt x="21600" y="13526"/>
                  <a:pt x="21600" y="13255"/>
                </a:cubicBezTo>
                <a:cubicBezTo>
                  <a:pt x="21600" y="13119"/>
                  <a:pt x="21540" y="12996"/>
                  <a:pt x="21442" y="12907"/>
                </a:cubicBezTo>
                <a:cubicBezTo>
                  <a:pt x="21442" y="12907"/>
                  <a:pt x="19124" y="10800"/>
                  <a:pt x="19124" y="10800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75" name="Shape 2675"/>
          <p:cNvSpPr/>
          <p:nvPr/>
        </p:nvSpPr>
        <p:spPr>
          <a:xfrm>
            <a:off x="5210430" y="3026326"/>
            <a:ext cx="152436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90" y="20121"/>
                </a:moveTo>
                <a:cubicBezTo>
                  <a:pt x="19790" y="20393"/>
                  <a:pt x="19385" y="20612"/>
                  <a:pt x="18886" y="20612"/>
                </a:cubicBezTo>
                <a:cubicBezTo>
                  <a:pt x="18626" y="20612"/>
                  <a:pt x="18396" y="20552"/>
                  <a:pt x="18231" y="20457"/>
                </a:cubicBezTo>
                <a:lnTo>
                  <a:pt x="18227" y="20459"/>
                </a:lnTo>
                <a:lnTo>
                  <a:pt x="17991" y="20342"/>
                </a:lnTo>
                <a:lnTo>
                  <a:pt x="17991" y="1256"/>
                </a:lnTo>
                <a:lnTo>
                  <a:pt x="18255" y="1126"/>
                </a:lnTo>
                <a:lnTo>
                  <a:pt x="18258" y="1127"/>
                </a:lnTo>
                <a:cubicBezTo>
                  <a:pt x="18421" y="1042"/>
                  <a:pt x="18641" y="987"/>
                  <a:pt x="18886" y="987"/>
                </a:cubicBezTo>
                <a:cubicBezTo>
                  <a:pt x="19385" y="987"/>
                  <a:pt x="19790" y="1208"/>
                  <a:pt x="19790" y="1479"/>
                </a:cubicBezTo>
                <a:cubicBezTo>
                  <a:pt x="19790" y="1479"/>
                  <a:pt x="19790" y="20121"/>
                  <a:pt x="19790" y="20121"/>
                </a:cubicBezTo>
                <a:close/>
                <a:moveTo>
                  <a:pt x="16192" y="19448"/>
                </a:moveTo>
                <a:lnTo>
                  <a:pt x="7196" y="14978"/>
                </a:lnTo>
                <a:lnTo>
                  <a:pt x="7196" y="6607"/>
                </a:lnTo>
                <a:lnTo>
                  <a:pt x="7599" y="6407"/>
                </a:lnTo>
                <a:lnTo>
                  <a:pt x="7595" y="6406"/>
                </a:lnTo>
                <a:lnTo>
                  <a:pt x="16192" y="2147"/>
                </a:lnTo>
                <a:cubicBezTo>
                  <a:pt x="16192" y="2147"/>
                  <a:pt x="16192" y="19448"/>
                  <a:pt x="16192" y="19448"/>
                </a:cubicBezTo>
                <a:close/>
                <a:moveTo>
                  <a:pt x="5397" y="14648"/>
                </a:moveTo>
                <a:cubicBezTo>
                  <a:pt x="3344" y="14284"/>
                  <a:pt x="1799" y="12700"/>
                  <a:pt x="1799" y="10800"/>
                </a:cubicBezTo>
                <a:cubicBezTo>
                  <a:pt x="1799" y="8900"/>
                  <a:pt x="3344" y="7315"/>
                  <a:pt x="5397" y="6952"/>
                </a:cubicBezTo>
                <a:cubicBezTo>
                  <a:pt x="5397" y="6952"/>
                  <a:pt x="5397" y="14648"/>
                  <a:pt x="5397" y="14648"/>
                </a:cubicBezTo>
                <a:close/>
                <a:moveTo>
                  <a:pt x="21589" y="1527"/>
                </a:moveTo>
                <a:cubicBezTo>
                  <a:pt x="21591" y="1508"/>
                  <a:pt x="21600" y="1490"/>
                  <a:pt x="21600" y="1472"/>
                </a:cubicBezTo>
                <a:cubicBezTo>
                  <a:pt x="21600" y="658"/>
                  <a:pt x="20386" y="0"/>
                  <a:pt x="18889" y="0"/>
                </a:cubicBezTo>
                <a:cubicBezTo>
                  <a:pt x="18123" y="0"/>
                  <a:pt x="17435" y="174"/>
                  <a:pt x="16942" y="451"/>
                </a:cubicBezTo>
                <a:lnTo>
                  <a:pt x="5939" y="5905"/>
                </a:lnTo>
                <a:cubicBezTo>
                  <a:pt x="2628" y="6050"/>
                  <a:pt x="0" y="8183"/>
                  <a:pt x="0" y="10800"/>
                </a:cubicBezTo>
                <a:cubicBezTo>
                  <a:pt x="0" y="13425"/>
                  <a:pt x="2646" y="15563"/>
                  <a:pt x="5972" y="15696"/>
                </a:cubicBezTo>
                <a:lnTo>
                  <a:pt x="16942" y="21148"/>
                </a:lnTo>
                <a:cubicBezTo>
                  <a:pt x="17434" y="21426"/>
                  <a:pt x="18123" y="21600"/>
                  <a:pt x="18889" y="21600"/>
                </a:cubicBezTo>
                <a:cubicBezTo>
                  <a:pt x="20386" y="21600"/>
                  <a:pt x="21600" y="20941"/>
                  <a:pt x="21600" y="20129"/>
                </a:cubicBezTo>
                <a:cubicBezTo>
                  <a:pt x="21600" y="20110"/>
                  <a:pt x="21591" y="20092"/>
                  <a:pt x="21589" y="20073"/>
                </a:cubicBezTo>
                <a:cubicBezTo>
                  <a:pt x="21589" y="20073"/>
                  <a:pt x="21589" y="1527"/>
                  <a:pt x="21589" y="1527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76" name="Shape 2676"/>
          <p:cNvSpPr/>
          <p:nvPr/>
        </p:nvSpPr>
        <p:spPr>
          <a:xfrm>
            <a:off x="5718298" y="3026326"/>
            <a:ext cx="20314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50" y="20121"/>
                </a:moveTo>
                <a:cubicBezTo>
                  <a:pt x="14850" y="20393"/>
                  <a:pt x="14546" y="20612"/>
                  <a:pt x="14171" y="20612"/>
                </a:cubicBezTo>
                <a:cubicBezTo>
                  <a:pt x="13977" y="20612"/>
                  <a:pt x="13804" y="20552"/>
                  <a:pt x="13680" y="20457"/>
                </a:cubicBezTo>
                <a:lnTo>
                  <a:pt x="13677" y="20459"/>
                </a:lnTo>
                <a:lnTo>
                  <a:pt x="13500" y="20342"/>
                </a:lnTo>
                <a:lnTo>
                  <a:pt x="13500" y="1256"/>
                </a:lnTo>
                <a:lnTo>
                  <a:pt x="13698" y="1126"/>
                </a:lnTo>
                <a:lnTo>
                  <a:pt x="13700" y="1127"/>
                </a:lnTo>
                <a:cubicBezTo>
                  <a:pt x="13822" y="1042"/>
                  <a:pt x="13988" y="987"/>
                  <a:pt x="14171" y="987"/>
                </a:cubicBezTo>
                <a:cubicBezTo>
                  <a:pt x="14546" y="987"/>
                  <a:pt x="14850" y="1208"/>
                  <a:pt x="14850" y="1479"/>
                </a:cubicBezTo>
                <a:cubicBezTo>
                  <a:pt x="14850" y="1479"/>
                  <a:pt x="14850" y="20121"/>
                  <a:pt x="14850" y="20121"/>
                </a:cubicBezTo>
                <a:close/>
                <a:moveTo>
                  <a:pt x="12150" y="19448"/>
                </a:moveTo>
                <a:lnTo>
                  <a:pt x="5400" y="14978"/>
                </a:lnTo>
                <a:lnTo>
                  <a:pt x="5400" y="6607"/>
                </a:lnTo>
                <a:lnTo>
                  <a:pt x="5702" y="6407"/>
                </a:lnTo>
                <a:lnTo>
                  <a:pt x="5699" y="6406"/>
                </a:lnTo>
                <a:lnTo>
                  <a:pt x="12150" y="2147"/>
                </a:lnTo>
                <a:cubicBezTo>
                  <a:pt x="12150" y="2147"/>
                  <a:pt x="12150" y="19448"/>
                  <a:pt x="12150" y="19448"/>
                </a:cubicBezTo>
                <a:close/>
                <a:moveTo>
                  <a:pt x="4050" y="14648"/>
                </a:moveTo>
                <a:cubicBezTo>
                  <a:pt x="2509" y="14284"/>
                  <a:pt x="1350" y="12700"/>
                  <a:pt x="1350" y="10800"/>
                </a:cubicBezTo>
                <a:cubicBezTo>
                  <a:pt x="1350" y="8900"/>
                  <a:pt x="2509" y="7315"/>
                  <a:pt x="4050" y="6952"/>
                </a:cubicBezTo>
                <a:cubicBezTo>
                  <a:pt x="4050" y="6952"/>
                  <a:pt x="4050" y="14648"/>
                  <a:pt x="4050" y="14648"/>
                </a:cubicBezTo>
                <a:close/>
                <a:moveTo>
                  <a:pt x="16208" y="1472"/>
                </a:moveTo>
                <a:cubicBezTo>
                  <a:pt x="16208" y="658"/>
                  <a:pt x="15297" y="0"/>
                  <a:pt x="14174" y="0"/>
                </a:cubicBezTo>
                <a:cubicBezTo>
                  <a:pt x="13599" y="0"/>
                  <a:pt x="13083" y="174"/>
                  <a:pt x="12713" y="451"/>
                </a:cubicBezTo>
                <a:lnTo>
                  <a:pt x="4456" y="5905"/>
                </a:lnTo>
                <a:cubicBezTo>
                  <a:pt x="1972" y="6050"/>
                  <a:pt x="0" y="8183"/>
                  <a:pt x="0" y="10800"/>
                </a:cubicBezTo>
                <a:cubicBezTo>
                  <a:pt x="0" y="13425"/>
                  <a:pt x="1985" y="15563"/>
                  <a:pt x="4481" y="15696"/>
                </a:cubicBezTo>
                <a:lnTo>
                  <a:pt x="12713" y="21148"/>
                </a:lnTo>
                <a:cubicBezTo>
                  <a:pt x="13083" y="21426"/>
                  <a:pt x="13599" y="21600"/>
                  <a:pt x="14174" y="21600"/>
                </a:cubicBezTo>
                <a:cubicBezTo>
                  <a:pt x="15297" y="21600"/>
                  <a:pt x="16208" y="20941"/>
                  <a:pt x="16208" y="20129"/>
                </a:cubicBezTo>
                <a:cubicBezTo>
                  <a:pt x="16208" y="20110"/>
                  <a:pt x="16201" y="20092"/>
                  <a:pt x="16200" y="20073"/>
                </a:cubicBezTo>
                <a:lnTo>
                  <a:pt x="16200" y="1527"/>
                </a:lnTo>
                <a:cubicBezTo>
                  <a:pt x="16201" y="1508"/>
                  <a:pt x="16208" y="1490"/>
                  <a:pt x="16208" y="1472"/>
                </a:cubicBezTo>
                <a:moveTo>
                  <a:pt x="18225" y="7855"/>
                </a:moveTo>
                <a:cubicBezTo>
                  <a:pt x="17852" y="7855"/>
                  <a:pt x="17550" y="8074"/>
                  <a:pt x="17550" y="8345"/>
                </a:cubicBezTo>
                <a:cubicBezTo>
                  <a:pt x="17550" y="8617"/>
                  <a:pt x="17852" y="8836"/>
                  <a:pt x="18225" y="8836"/>
                </a:cubicBezTo>
                <a:cubicBezTo>
                  <a:pt x="19344" y="8836"/>
                  <a:pt x="20250" y="9716"/>
                  <a:pt x="20250" y="10800"/>
                </a:cubicBezTo>
                <a:cubicBezTo>
                  <a:pt x="20250" y="11884"/>
                  <a:pt x="19344" y="12764"/>
                  <a:pt x="18225" y="12764"/>
                </a:cubicBezTo>
                <a:cubicBezTo>
                  <a:pt x="17852" y="12764"/>
                  <a:pt x="17550" y="12983"/>
                  <a:pt x="17550" y="13255"/>
                </a:cubicBezTo>
                <a:cubicBezTo>
                  <a:pt x="17550" y="13526"/>
                  <a:pt x="17852" y="13745"/>
                  <a:pt x="18225" y="13745"/>
                </a:cubicBezTo>
                <a:cubicBezTo>
                  <a:pt x="20089" y="13745"/>
                  <a:pt x="21600" y="12426"/>
                  <a:pt x="21600" y="10800"/>
                </a:cubicBezTo>
                <a:cubicBezTo>
                  <a:pt x="21600" y="9173"/>
                  <a:pt x="20089" y="7855"/>
                  <a:pt x="18225" y="7855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77" name="Shape 2677"/>
          <p:cNvSpPr/>
          <p:nvPr/>
        </p:nvSpPr>
        <p:spPr>
          <a:xfrm>
            <a:off x="6289746" y="1426542"/>
            <a:ext cx="253935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60" y="7855"/>
                </a:moveTo>
                <a:cubicBezTo>
                  <a:pt x="15362" y="7855"/>
                  <a:pt x="15120" y="8075"/>
                  <a:pt x="15120" y="8345"/>
                </a:cubicBezTo>
                <a:cubicBezTo>
                  <a:pt x="15120" y="8617"/>
                  <a:pt x="15362" y="8836"/>
                  <a:pt x="15660" y="8836"/>
                </a:cubicBezTo>
                <a:cubicBezTo>
                  <a:pt x="16555" y="8836"/>
                  <a:pt x="17280" y="9716"/>
                  <a:pt x="17280" y="10800"/>
                </a:cubicBezTo>
                <a:cubicBezTo>
                  <a:pt x="17280" y="11884"/>
                  <a:pt x="16555" y="12764"/>
                  <a:pt x="15660" y="12764"/>
                </a:cubicBezTo>
                <a:cubicBezTo>
                  <a:pt x="15362" y="12764"/>
                  <a:pt x="15120" y="12984"/>
                  <a:pt x="15120" y="13255"/>
                </a:cubicBezTo>
                <a:cubicBezTo>
                  <a:pt x="15120" y="13526"/>
                  <a:pt x="15362" y="13745"/>
                  <a:pt x="15660" y="13745"/>
                </a:cubicBezTo>
                <a:cubicBezTo>
                  <a:pt x="17151" y="13745"/>
                  <a:pt x="18360" y="12427"/>
                  <a:pt x="18360" y="10800"/>
                </a:cubicBezTo>
                <a:cubicBezTo>
                  <a:pt x="18360" y="9174"/>
                  <a:pt x="17151" y="7855"/>
                  <a:pt x="15660" y="7855"/>
                </a:cubicBezTo>
                <a:moveTo>
                  <a:pt x="18472" y="5611"/>
                </a:moveTo>
                <a:lnTo>
                  <a:pt x="18463" y="5625"/>
                </a:lnTo>
                <a:cubicBezTo>
                  <a:pt x="18383" y="5584"/>
                  <a:pt x="18296" y="5554"/>
                  <a:pt x="18198" y="5554"/>
                </a:cubicBezTo>
                <a:cubicBezTo>
                  <a:pt x="17900" y="5554"/>
                  <a:pt x="17660" y="5774"/>
                  <a:pt x="17660" y="6044"/>
                </a:cubicBezTo>
                <a:cubicBezTo>
                  <a:pt x="17660" y="6216"/>
                  <a:pt x="17763" y="6361"/>
                  <a:pt x="17910" y="6449"/>
                </a:cubicBezTo>
                <a:lnTo>
                  <a:pt x="17909" y="6451"/>
                </a:lnTo>
                <a:cubicBezTo>
                  <a:pt x="19460" y="7271"/>
                  <a:pt x="20520" y="8909"/>
                  <a:pt x="20520" y="10800"/>
                </a:cubicBezTo>
                <a:cubicBezTo>
                  <a:pt x="20520" y="12689"/>
                  <a:pt x="19463" y="14325"/>
                  <a:pt x="17915" y="15147"/>
                </a:cubicBezTo>
                <a:lnTo>
                  <a:pt x="17919" y="15152"/>
                </a:lnTo>
                <a:cubicBezTo>
                  <a:pt x="17771" y="15239"/>
                  <a:pt x="17668" y="15384"/>
                  <a:pt x="17668" y="15556"/>
                </a:cubicBezTo>
                <a:cubicBezTo>
                  <a:pt x="17668" y="15827"/>
                  <a:pt x="17910" y="16046"/>
                  <a:pt x="18208" y="16046"/>
                </a:cubicBezTo>
                <a:cubicBezTo>
                  <a:pt x="18306" y="16046"/>
                  <a:pt x="18393" y="16016"/>
                  <a:pt x="18473" y="15975"/>
                </a:cubicBezTo>
                <a:lnTo>
                  <a:pt x="18480" y="15985"/>
                </a:lnTo>
                <a:cubicBezTo>
                  <a:pt x="20338" y="14990"/>
                  <a:pt x="21600" y="13041"/>
                  <a:pt x="21600" y="10800"/>
                </a:cubicBezTo>
                <a:cubicBezTo>
                  <a:pt x="21600" y="8556"/>
                  <a:pt x="20334" y="6606"/>
                  <a:pt x="18472" y="5611"/>
                </a:cubicBezTo>
                <a:moveTo>
                  <a:pt x="11880" y="20121"/>
                </a:moveTo>
                <a:cubicBezTo>
                  <a:pt x="11880" y="20393"/>
                  <a:pt x="11637" y="20612"/>
                  <a:pt x="11337" y="20612"/>
                </a:cubicBezTo>
                <a:cubicBezTo>
                  <a:pt x="11181" y="20612"/>
                  <a:pt x="11043" y="20552"/>
                  <a:pt x="10944" y="20457"/>
                </a:cubicBezTo>
                <a:lnTo>
                  <a:pt x="10942" y="20459"/>
                </a:lnTo>
                <a:lnTo>
                  <a:pt x="10800" y="20342"/>
                </a:lnTo>
                <a:lnTo>
                  <a:pt x="10800" y="1256"/>
                </a:lnTo>
                <a:lnTo>
                  <a:pt x="10958" y="1126"/>
                </a:lnTo>
                <a:lnTo>
                  <a:pt x="10960" y="1127"/>
                </a:lnTo>
                <a:cubicBezTo>
                  <a:pt x="11058" y="1042"/>
                  <a:pt x="11190" y="988"/>
                  <a:pt x="11337" y="988"/>
                </a:cubicBezTo>
                <a:cubicBezTo>
                  <a:pt x="11637" y="988"/>
                  <a:pt x="11880" y="1208"/>
                  <a:pt x="11880" y="1480"/>
                </a:cubicBezTo>
                <a:cubicBezTo>
                  <a:pt x="11880" y="1480"/>
                  <a:pt x="11880" y="20121"/>
                  <a:pt x="11880" y="20121"/>
                </a:cubicBezTo>
                <a:close/>
                <a:moveTo>
                  <a:pt x="9720" y="19448"/>
                </a:moveTo>
                <a:lnTo>
                  <a:pt x="4320" y="14979"/>
                </a:lnTo>
                <a:lnTo>
                  <a:pt x="4320" y="6607"/>
                </a:lnTo>
                <a:lnTo>
                  <a:pt x="4561" y="6407"/>
                </a:lnTo>
                <a:lnTo>
                  <a:pt x="4560" y="6406"/>
                </a:lnTo>
                <a:lnTo>
                  <a:pt x="9720" y="2147"/>
                </a:lnTo>
                <a:cubicBezTo>
                  <a:pt x="9720" y="2147"/>
                  <a:pt x="9720" y="19448"/>
                  <a:pt x="9720" y="19448"/>
                </a:cubicBezTo>
                <a:close/>
                <a:moveTo>
                  <a:pt x="3240" y="14649"/>
                </a:moveTo>
                <a:cubicBezTo>
                  <a:pt x="2008" y="14285"/>
                  <a:pt x="1080" y="12700"/>
                  <a:pt x="1080" y="10800"/>
                </a:cubicBezTo>
                <a:cubicBezTo>
                  <a:pt x="1080" y="8900"/>
                  <a:pt x="2008" y="7316"/>
                  <a:pt x="3240" y="6952"/>
                </a:cubicBezTo>
                <a:cubicBezTo>
                  <a:pt x="3240" y="6952"/>
                  <a:pt x="3240" y="14649"/>
                  <a:pt x="3240" y="14649"/>
                </a:cubicBezTo>
                <a:close/>
                <a:moveTo>
                  <a:pt x="12966" y="1472"/>
                </a:moveTo>
                <a:cubicBezTo>
                  <a:pt x="12966" y="659"/>
                  <a:pt x="12238" y="0"/>
                  <a:pt x="11339" y="0"/>
                </a:cubicBezTo>
                <a:cubicBezTo>
                  <a:pt x="10879" y="0"/>
                  <a:pt x="10466" y="175"/>
                  <a:pt x="10170" y="451"/>
                </a:cubicBezTo>
                <a:lnTo>
                  <a:pt x="3565" y="5905"/>
                </a:lnTo>
                <a:cubicBezTo>
                  <a:pt x="1578" y="6051"/>
                  <a:pt x="0" y="8183"/>
                  <a:pt x="0" y="10800"/>
                </a:cubicBezTo>
                <a:cubicBezTo>
                  <a:pt x="0" y="13426"/>
                  <a:pt x="1588" y="15564"/>
                  <a:pt x="3585" y="15697"/>
                </a:cubicBezTo>
                <a:lnTo>
                  <a:pt x="10170" y="21148"/>
                </a:lnTo>
                <a:cubicBezTo>
                  <a:pt x="10466" y="21426"/>
                  <a:pt x="10879" y="21600"/>
                  <a:pt x="11339" y="21600"/>
                </a:cubicBezTo>
                <a:cubicBezTo>
                  <a:pt x="12238" y="21600"/>
                  <a:pt x="12966" y="20941"/>
                  <a:pt x="12966" y="20129"/>
                </a:cubicBezTo>
                <a:cubicBezTo>
                  <a:pt x="12966" y="20110"/>
                  <a:pt x="12961" y="20093"/>
                  <a:pt x="12960" y="20074"/>
                </a:cubicBezTo>
                <a:lnTo>
                  <a:pt x="12960" y="1527"/>
                </a:lnTo>
                <a:cubicBezTo>
                  <a:pt x="12961" y="1508"/>
                  <a:pt x="12966" y="1490"/>
                  <a:pt x="12966" y="1472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78" name="Shape 2678"/>
          <p:cNvSpPr/>
          <p:nvPr/>
        </p:nvSpPr>
        <p:spPr>
          <a:xfrm>
            <a:off x="6810311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121"/>
                </a:moveTo>
                <a:cubicBezTo>
                  <a:pt x="10800" y="20393"/>
                  <a:pt x="10579" y="20612"/>
                  <a:pt x="10306" y="20612"/>
                </a:cubicBezTo>
                <a:cubicBezTo>
                  <a:pt x="10165" y="20612"/>
                  <a:pt x="10039" y="20552"/>
                  <a:pt x="9949" y="20457"/>
                </a:cubicBezTo>
                <a:lnTo>
                  <a:pt x="9947" y="20459"/>
                </a:lnTo>
                <a:lnTo>
                  <a:pt x="9818" y="20342"/>
                </a:lnTo>
                <a:lnTo>
                  <a:pt x="9818" y="1256"/>
                </a:lnTo>
                <a:lnTo>
                  <a:pt x="9962" y="1126"/>
                </a:lnTo>
                <a:lnTo>
                  <a:pt x="9963" y="1127"/>
                </a:lnTo>
                <a:cubicBezTo>
                  <a:pt x="10052" y="1042"/>
                  <a:pt x="10173" y="987"/>
                  <a:pt x="10306" y="987"/>
                </a:cubicBezTo>
                <a:cubicBezTo>
                  <a:pt x="10579" y="987"/>
                  <a:pt x="10800" y="1208"/>
                  <a:pt x="10800" y="1479"/>
                </a:cubicBezTo>
                <a:cubicBezTo>
                  <a:pt x="10800" y="1479"/>
                  <a:pt x="10800" y="20121"/>
                  <a:pt x="10800" y="20121"/>
                </a:cubicBezTo>
                <a:close/>
                <a:moveTo>
                  <a:pt x="8836" y="19448"/>
                </a:moveTo>
                <a:lnTo>
                  <a:pt x="3927" y="14979"/>
                </a:lnTo>
                <a:lnTo>
                  <a:pt x="3927" y="6607"/>
                </a:lnTo>
                <a:lnTo>
                  <a:pt x="4147" y="6407"/>
                </a:lnTo>
                <a:lnTo>
                  <a:pt x="4145" y="6406"/>
                </a:lnTo>
                <a:lnTo>
                  <a:pt x="8836" y="2147"/>
                </a:lnTo>
                <a:cubicBezTo>
                  <a:pt x="8836" y="2147"/>
                  <a:pt x="8836" y="19448"/>
                  <a:pt x="8836" y="19448"/>
                </a:cubicBezTo>
                <a:close/>
                <a:moveTo>
                  <a:pt x="2945" y="14649"/>
                </a:moveTo>
                <a:cubicBezTo>
                  <a:pt x="1825" y="14285"/>
                  <a:pt x="982" y="12700"/>
                  <a:pt x="982" y="10800"/>
                </a:cubicBezTo>
                <a:cubicBezTo>
                  <a:pt x="982" y="8900"/>
                  <a:pt x="1825" y="7315"/>
                  <a:pt x="2945" y="6952"/>
                </a:cubicBezTo>
                <a:cubicBezTo>
                  <a:pt x="2945" y="6952"/>
                  <a:pt x="2945" y="14649"/>
                  <a:pt x="2945" y="14649"/>
                </a:cubicBezTo>
                <a:close/>
                <a:moveTo>
                  <a:pt x="11787" y="1472"/>
                </a:moveTo>
                <a:cubicBezTo>
                  <a:pt x="11787" y="658"/>
                  <a:pt x="11126" y="0"/>
                  <a:pt x="10308" y="0"/>
                </a:cubicBezTo>
                <a:cubicBezTo>
                  <a:pt x="9890" y="0"/>
                  <a:pt x="9515" y="174"/>
                  <a:pt x="9246" y="451"/>
                </a:cubicBezTo>
                <a:lnTo>
                  <a:pt x="3241" y="5905"/>
                </a:lnTo>
                <a:cubicBezTo>
                  <a:pt x="1434" y="6051"/>
                  <a:pt x="0" y="8183"/>
                  <a:pt x="0" y="10800"/>
                </a:cubicBezTo>
                <a:cubicBezTo>
                  <a:pt x="0" y="13425"/>
                  <a:pt x="1444" y="15563"/>
                  <a:pt x="3259" y="15696"/>
                </a:cubicBezTo>
                <a:lnTo>
                  <a:pt x="9245" y="21148"/>
                </a:lnTo>
                <a:cubicBezTo>
                  <a:pt x="9514" y="21426"/>
                  <a:pt x="9890" y="21600"/>
                  <a:pt x="10308" y="21600"/>
                </a:cubicBezTo>
                <a:cubicBezTo>
                  <a:pt x="11126" y="21600"/>
                  <a:pt x="11787" y="20941"/>
                  <a:pt x="11787" y="20129"/>
                </a:cubicBezTo>
                <a:cubicBezTo>
                  <a:pt x="11787" y="20110"/>
                  <a:pt x="11782" y="20092"/>
                  <a:pt x="11782" y="20073"/>
                </a:cubicBezTo>
                <a:lnTo>
                  <a:pt x="11782" y="1527"/>
                </a:lnTo>
                <a:cubicBezTo>
                  <a:pt x="11782" y="1508"/>
                  <a:pt x="11787" y="1490"/>
                  <a:pt x="11787" y="1472"/>
                </a:cubicBezTo>
                <a:moveTo>
                  <a:pt x="13255" y="7855"/>
                </a:moveTo>
                <a:cubicBezTo>
                  <a:pt x="12984" y="7855"/>
                  <a:pt x="12764" y="8074"/>
                  <a:pt x="12764" y="8345"/>
                </a:cubicBezTo>
                <a:cubicBezTo>
                  <a:pt x="12764" y="8617"/>
                  <a:pt x="12984" y="8836"/>
                  <a:pt x="13255" y="8836"/>
                </a:cubicBezTo>
                <a:cubicBezTo>
                  <a:pt x="14068" y="8836"/>
                  <a:pt x="14727" y="9716"/>
                  <a:pt x="14727" y="10800"/>
                </a:cubicBezTo>
                <a:cubicBezTo>
                  <a:pt x="14727" y="11884"/>
                  <a:pt x="14068" y="12764"/>
                  <a:pt x="13255" y="12764"/>
                </a:cubicBezTo>
                <a:cubicBezTo>
                  <a:pt x="12984" y="12764"/>
                  <a:pt x="12764" y="12983"/>
                  <a:pt x="12764" y="13255"/>
                </a:cubicBezTo>
                <a:cubicBezTo>
                  <a:pt x="12764" y="13526"/>
                  <a:pt x="12984" y="13745"/>
                  <a:pt x="13255" y="13745"/>
                </a:cubicBezTo>
                <a:cubicBezTo>
                  <a:pt x="14610" y="13745"/>
                  <a:pt x="15709" y="12427"/>
                  <a:pt x="15709" y="10800"/>
                </a:cubicBezTo>
                <a:cubicBezTo>
                  <a:pt x="15709" y="9173"/>
                  <a:pt x="14610" y="7855"/>
                  <a:pt x="13255" y="7855"/>
                </a:cubicBezTo>
                <a:moveTo>
                  <a:pt x="17948" y="3495"/>
                </a:moveTo>
                <a:lnTo>
                  <a:pt x="17938" y="3509"/>
                </a:lnTo>
                <a:cubicBezTo>
                  <a:pt x="17860" y="3458"/>
                  <a:pt x="17773" y="3421"/>
                  <a:pt x="17674" y="3421"/>
                </a:cubicBezTo>
                <a:cubicBezTo>
                  <a:pt x="17403" y="3421"/>
                  <a:pt x="17184" y="3641"/>
                  <a:pt x="17184" y="3912"/>
                </a:cubicBezTo>
                <a:cubicBezTo>
                  <a:pt x="17184" y="4073"/>
                  <a:pt x="17266" y="4209"/>
                  <a:pt x="17386" y="4298"/>
                </a:cubicBezTo>
                <a:cubicBezTo>
                  <a:pt x="19336" y="5711"/>
                  <a:pt x="20618" y="8095"/>
                  <a:pt x="20618" y="10800"/>
                </a:cubicBezTo>
                <a:cubicBezTo>
                  <a:pt x="20618" y="13505"/>
                  <a:pt x="19336" y="15889"/>
                  <a:pt x="17385" y="17302"/>
                </a:cubicBezTo>
                <a:lnTo>
                  <a:pt x="17389" y="17309"/>
                </a:lnTo>
                <a:cubicBezTo>
                  <a:pt x="17275" y="17398"/>
                  <a:pt x="17197" y="17531"/>
                  <a:pt x="17197" y="17688"/>
                </a:cubicBezTo>
                <a:cubicBezTo>
                  <a:pt x="17197" y="17959"/>
                  <a:pt x="17417" y="18179"/>
                  <a:pt x="17688" y="18179"/>
                </a:cubicBezTo>
                <a:cubicBezTo>
                  <a:pt x="17788" y="18179"/>
                  <a:pt x="17875" y="18142"/>
                  <a:pt x="17952" y="18091"/>
                </a:cubicBezTo>
                <a:lnTo>
                  <a:pt x="17957" y="18098"/>
                </a:lnTo>
                <a:cubicBezTo>
                  <a:pt x="17982" y="18080"/>
                  <a:pt x="18004" y="18057"/>
                  <a:pt x="18029" y="18039"/>
                </a:cubicBezTo>
                <a:cubicBezTo>
                  <a:pt x="18031" y="18037"/>
                  <a:pt x="18034" y="18035"/>
                  <a:pt x="18037" y="18033"/>
                </a:cubicBezTo>
                <a:cubicBezTo>
                  <a:pt x="20189" y="16435"/>
                  <a:pt x="21600" y="13794"/>
                  <a:pt x="21600" y="10800"/>
                </a:cubicBezTo>
                <a:cubicBezTo>
                  <a:pt x="21600" y="7763"/>
                  <a:pt x="20152" y="5085"/>
                  <a:pt x="17948" y="3495"/>
                </a:cubicBezTo>
                <a:moveTo>
                  <a:pt x="15811" y="5611"/>
                </a:moveTo>
                <a:lnTo>
                  <a:pt x="15802" y="5625"/>
                </a:lnTo>
                <a:cubicBezTo>
                  <a:pt x="15730" y="5584"/>
                  <a:pt x="15651" y="5553"/>
                  <a:pt x="15562" y="5553"/>
                </a:cubicBezTo>
                <a:cubicBezTo>
                  <a:pt x="15291" y="5553"/>
                  <a:pt x="15072" y="5773"/>
                  <a:pt x="15072" y="6044"/>
                </a:cubicBezTo>
                <a:cubicBezTo>
                  <a:pt x="15072" y="6216"/>
                  <a:pt x="15166" y="6361"/>
                  <a:pt x="15300" y="6448"/>
                </a:cubicBezTo>
                <a:lnTo>
                  <a:pt x="15299" y="6450"/>
                </a:lnTo>
                <a:cubicBezTo>
                  <a:pt x="16709" y="7270"/>
                  <a:pt x="17673" y="8909"/>
                  <a:pt x="17673" y="10800"/>
                </a:cubicBezTo>
                <a:cubicBezTo>
                  <a:pt x="17673" y="12688"/>
                  <a:pt x="16712" y="14325"/>
                  <a:pt x="15305" y="15146"/>
                </a:cubicBezTo>
                <a:lnTo>
                  <a:pt x="15309" y="15151"/>
                </a:lnTo>
                <a:cubicBezTo>
                  <a:pt x="15174" y="15239"/>
                  <a:pt x="15080" y="15384"/>
                  <a:pt x="15080" y="15555"/>
                </a:cubicBezTo>
                <a:cubicBezTo>
                  <a:pt x="15080" y="15827"/>
                  <a:pt x="15300" y="16046"/>
                  <a:pt x="15571" y="16046"/>
                </a:cubicBezTo>
                <a:cubicBezTo>
                  <a:pt x="15660" y="16046"/>
                  <a:pt x="15740" y="16016"/>
                  <a:pt x="15812" y="15975"/>
                </a:cubicBezTo>
                <a:lnTo>
                  <a:pt x="15819" y="15985"/>
                </a:lnTo>
                <a:cubicBezTo>
                  <a:pt x="17507" y="14989"/>
                  <a:pt x="18655" y="13041"/>
                  <a:pt x="18655" y="10800"/>
                </a:cubicBezTo>
                <a:cubicBezTo>
                  <a:pt x="18655" y="8556"/>
                  <a:pt x="17504" y="6606"/>
                  <a:pt x="15811" y="5611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79" name="Shape 2679"/>
          <p:cNvSpPr/>
          <p:nvPr/>
        </p:nvSpPr>
        <p:spPr>
          <a:xfrm>
            <a:off x="7343572" y="1439239"/>
            <a:ext cx="279328" cy="2539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24" extrusionOk="0">
                <a:moveTo>
                  <a:pt x="17182" y="13452"/>
                </a:moveTo>
                <a:cubicBezTo>
                  <a:pt x="16640" y="13452"/>
                  <a:pt x="16200" y="13935"/>
                  <a:pt x="16200" y="14529"/>
                </a:cubicBezTo>
                <a:cubicBezTo>
                  <a:pt x="16200" y="15123"/>
                  <a:pt x="16640" y="15605"/>
                  <a:pt x="17182" y="15605"/>
                </a:cubicBezTo>
                <a:cubicBezTo>
                  <a:pt x="17724" y="15605"/>
                  <a:pt x="18164" y="15123"/>
                  <a:pt x="18164" y="14529"/>
                </a:cubicBezTo>
                <a:cubicBezTo>
                  <a:pt x="18164" y="13935"/>
                  <a:pt x="17724" y="13452"/>
                  <a:pt x="17182" y="13452"/>
                </a:cubicBezTo>
                <a:moveTo>
                  <a:pt x="15218" y="15605"/>
                </a:moveTo>
                <a:cubicBezTo>
                  <a:pt x="14676" y="15605"/>
                  <a:pt x="14236" y="16087"/>
                  <a:pt x="14236" y="16681"/>
                </a:cubicBezTo>
                <a:cubicBezTo>
                  <a:pt x="14236" y="17276"/>
                  <a:pt x="14676" y="17757"/>
                  <a:pt x="15218" y="17757"/>
                </a:cubicBezTo>
                <a:cubicBezTo>
                  <a:pt x="15760" y="17757"/>
                  <a:pt x="16200" y="17276"/>
                  <a:pt x="16200" y="16681"/>
                </a:cubicBezTo>
                <a:cubicBezTo>
                  <a:pt x="16200" y="16087"/>
                  <a:pt x="15760" y="15605"/>
                  <a:pt x="15218" y="15605"/>
                </a:cubicBezTo>
                <a:moveTo>
                  <a:pt x="16200" y="20448"/>
                </a:moveTo>
                <a:cubicBezTo>
                  <a:pt x="14668" y="20448"/>
                  <a:pt x="13319" y="19593"/>
                  <a:pt x="12527" y="18295"/>
                </a:cubicBezTo>
                <a:lnTo>
                  <a:pt x="9073" y="18295"/>
                </a:lnTo>
                <a:cubicBezTo>
                  <a:pt x="8281" y="19593"/>
                  <a:pt x="6932" y="20448"/>
                  <a:pt x="5400" y="20448"/>
                </a:cubicBezTo>
                <a:cubicBezTo>
                  <a:pt x="2960" y="20448"/>
                  <a:pt x="982" y="18280"/>
                  <a:pt x="982" y="15605"/>
                </a:cubicBezTo>
                <a:cubicBezTo>
                  <a:pt x="982" y="12930"/>
                  <a:pt x="2960" y="10762"/>
                  <a:pt x="5400" y="10762"/>
                </a:cubicBezTo>
                <a:lnTo>
                  <a:pt x="16200" y="10762"/>
                </a:lnTo>
                <a:cubicBezTo>
                  <a:pt x="18640" y="10762"/>
                  <a:pt x="20618" y="12930"/>
                  <a:pt x="20618" y="15605"/>
                </a:cubicBezTo>
                <a:cubicBezTo>
                  <a:pt x="20618" y="18280"/>
                  <a:pt x="18640" y="20448"/>
                  <a:pt x="16200" y="20448"/>
                </a:cubicBezTo>
                <a:moveTo>
                  <a:pt x="16200" y="9686"/>
                </a:moveTo>
                <a:lnTo>
                  <a:pt x="11319" y="9686"/>
                </a:lnTo>
                <a:cubicBezTo>
                  <a:pt x="10837" y="8713"/>
                  <a:pt x="11227" y="8217"/>
                  <a:pt x="11943" y="7448"/>
                </a:cubicBezTo>
                <a:cubicBezTo>
                  <a:pt x="12528" y="6820"/>
                  <a:pt x="13255" y="6038"/>
                  <a:pt x="13255" y="4843"/>
                </a:cubicBezTo>
                <a:cubicBezTo>
                  <a:pt x="13255" y="1854"/>
                  <a:pt x="10169" y="128"/>
                  <a:pt x="10038" y="56"/>
                </a:cubicBezTo>
                <a:cubicBezTo>
                  <a:pt x="9796" y="-76"/>
                  <a:pt x="9501" y="32"/>
                  <a:pt x="9379" y="297"/>
                </a:cubicBezTo>
                <a:cubicBezTo>
                  <a:pt x="9258" y="562"/>
                  <a:pt x="9356" y="886"/>
                  <a:pt x="9598" y="1019"/>
                </a:cubicBezTo>
                <a:cubicBezTo>
                  <a:pt x="9625" y="1034"/>
                  <a:pt x="12273" y="2523"/>
                  <a:pt x="12273" y="4843"/>
                </a:cubicBezTo>
                <a:cubicBezTo>
                  <a:pt x="12273" y="5586"/>
                  <a:pt x="11779" y="6117"/>
                  <a:pt x="11255" y="6679"/>
                </a:cubicBezTo>
                <a:cubicBezTo>
                  <a:pt x="10584" y="7401"/>
                  <a:pt x="9775" y="8296"/>
                  <a:pt x="10277" y="9686"/>
                </a:cubicBezTo>
                <a:lnTo>
                  <a:pt x="5400" y="9686"/>
                </a:lnTo>
                <a:cubicBezTo>
                  <a:pt x="2418" y="9686"/>
                  <a:pt x="0" y="12336"/>
                  <a:pt x="0" y="15605"/>
                </a:cubicBezTo>
                <a:cubicBezTo>
                  <a:pt x="0" y="18874"/>
                  <a:pt x="2418" y="21524"/>
                  <a:pt x="5400" y="21524"/>
                </a:cubicBezTo>
                <a:cubicBezTo>
                  <a:pt x="7077" y="21524"/>
                  <a:pt x="8575" y="20686"/>
                  <a:pt x="9565" y="19372"/>
                </a:cubicBezTo>
                <a:lnTo>
                  <a:pt x="12035" y="19372"/>
                </a:lnTo>
                <a:cubicBezTo>
                  <a:pt x="13025" y="20686"/>
                  <a:pt x="14523" y="21524"/>
                  <a:pt x="16200" y="21524"/>
                </a:cubicBezTo>
                <a:cubicBezTo>
                  <a:pt x="19182" y="21524"/>
                  <a:pt x="21600" y="18874"/>
                  <a:pt x="21600" y="15605"/>
                </a:cubicBezTo>
                <a:cubicBezTo>
                  <a:pt x="21600" y="12336"/>
                  <a:pt x="19182" y="9686"/>
                  <a:pt x="16200" y="9686"/>
                </a:cubicBezTo>
                <a:moveTo>
                  <a:pt x="6873" y="15067"/>
                </a:moveTo>
                <a:lnTo>
                  <a:pt x="5891" y="15067"/>
                </a:lnTo>
                <a:lnTo>
                  <a:pt x="5891" y="13990"/>
                </a:lnTo>
                <a:cubicBezTo>
                  <a:pt x="5891" y="13694"/>
                  <a:pt x="5671" y="13452"/>
                  <a:pt x="5400" y="13452"/>
                </a:cubicBezTo>
                <a:cubicBezTo>
                  <a:pt x="5129" y="13452"/>
                  <a:pt x="4909" y="13694"/>
                  <a:pt x="4909" y="13990"/>
                </a:cubicBezTo>
                <a:lnTo>
                  <a:pt x="4909" y="15067"/>
                </a:lnTo>
                <a:lnTo>
                  <a:pt x="3927" y="15067"/>
                </a:lnTo>
                <a:cubicBezTo>
                  <a:pt x="3656" y="15067"/>
                  <a:pt x="3436" y="15307"/>
                  <a:pt x="3436" y="15605"/>
                </a:cubicBezTo>
                <a:cubicBezTo>
                  <a:pt x="3436" y="15903"/>
                  <a:pt x="3656" y="16143"/>
                  <a:pt x="3927" y="16143"/>
                </a:cubicBezTo>
                <a:lnTo>
                  <a:pt x="4909" y="16143"/>
                </a:lnTo>
                <a:lnTo>
                  <a:pt x="4909" y="17219"/>
                </a:lnTo>
                <a:cubicBezTo>
                  <a:pt x="4909" y="17517"/>
                  <a:pt x="5129" y="17757"/>
                  <a:pt x="5400" y="17757"/>
                </a:cubicBezTo>
                <a:cubicBezTo>
                  <a:pt x="5671" y="17757"/>
                  <a:pt x="5891" y="17517"/>
                  <a:pt x="5891" y="17219"/>
                </a:cubicBezTo>
                <a:lnTo>
                  <a:pt x="5891" y="16143"/>
                </a:lnTo>
                <a:lnTo>
                  <a:pt x="6873" y="16143"/>
                </a:lnTo>
                <a:cubicBezTo>
                  <a:pt x="7144" y="16143"/>
                  <a:pt x="7364" y="15903"/>
                  <a:pt x="7364" y="15605"/>
                </a:cubicBezTo>
                <a:cubicBezTo>
                  <a:pt x="7364" y="15307"/>
                  <a:pt x="7144" y="15067"/>
                  <a:pt x="6873" y="15067"/>
                </a:cubicBezTo>
                <a:moveTo>
                  <a:pt x="12273" y="12376"/>
                </a:moveTo>
                <a:cubicBezTo>
                  <a:pt x="12002" y="12376"/>
                  <a:pt x="11782" y="12617"/>
                  <a:pt x="11782" y="12914"/>
                </a:cubicBezTo>
                <a:cubicBezTo>
                  <a:pt x="11782" y="13212"/>
                  <a:pt x="12002" y="13452"/>
                  <a:pt x="12273" y="13452"/>
                </a:cubicBezTo>
                <a:cubicBezTo>
                  <a:pt x="12544" y="13452"/>
                  <a:pt x="12764" y="13212"/>
                  <a:pt x="12764" y="12914"/>
                </a:cubicBezTo>
                <a:cubicBezTo>
                  <a:pt x="12764" y="12617"/>
                  <a:pt x="12544" y="12376"/>
                  <a:pt x="12273" y="12376"/>
                </a:cubicBezTo>
                <a:moveTo>
                  <a:pt x="9327" y="12376"/>
                </a:moveTo>
                <a:cubicBezTo>
                  <a:pt x="9056" y="12376"/>
                  <a:pt x="8836" y="12617"/>
                  <a:pt x="8836" y="12914"/>
                </a:cubicBezTo>
                <a:cubicBezTo>
                  <a:pt x="8836" y="13212"/>
                  <a:pt x="9056" y="13452"/>
                  <a:pt x="9327" y="13452"/>
                </a:cubicBezTo>
                <a:cubicBezTo>
                  <a:pt x="9598" y="13452"/>
                  <a:pt x="9818" y="13212"/>
                  <a:pt x="9818" y="12914"/>
                </a:cubicBezTo>
                <a:cubicBezTo>
                  <a:pt x="9818" y="12617"/>
                  <a:pt x="9598" y="12376"/>
                  <a:pt x="9327" y="12376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80" name="Shape 2680"/>
          <p:cNvSpPr/>
          <p:nvPr/>
        </p:nvSpPr>
        <p:spPr>
          <a:xfrm>
            <a:off x="7876833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15709"/>
                </a:moveTo>
                <a:lnTo>
                  <a:pt x="10309" y="15709"/>
                </a:lnTo>
                <a:cubicBezTo>
                  <a:pt x="10038" y="15709"/>
                  <a:pt x="9818" y="15929"/>
                  <a:pt x="9818" y="16200"/>
                </a:cubicBezTo>
                <a:cubicBezTo>
                  <a:pt x="9818" y="16472"/>
                  <a:pt x="10038" y="16691"/>
                  <a:pt x="10309" y="16691"/>
                </a:cubicBezTo>
                <a:lnTo>
                  <a:pt x="13255" y="16691"/>
                </a:lnTo>
                <a:cubicBezTo>
                  <a:pt x="13525" y="16691"/>
                  <a:pt x="13745" y="16472"/>
                  <a:pt x="13745" y="16200"/>
                </a:cubicBezTo>
                <a:cubicBezTo>
                  <a:pt x="13745" y="15929"/>
                  <a:pt x="13525" y="15709"/>
                  <a:pt x="13255" y="15709"/>
                </a:cubicBezTo>
                <a:moveTo>
                  <a:pt x="9818" y="12273"/>
                </a:moveTo>
                <a:cubicBezTo>
                  <a:pt x="9818" y="12112"/>
                  <a:pt x="9736" y="11976"/>
                  <a:pt x="9617" y="11887"/>
                </a:cubicBezTo>
                <a:lnTo>
                  <a:pt x="9622" y="11880"/>
                </a:lnTo>
                <a:lnTo>
                  <a:pt x="5695" y="8935"/>
                </a:lnTo>
                <a:lnTo>
                  <a:pt x="5690" y="8941"/>
                </a:lnTo>
                <a:cubicBezTo>
                  <a:pt x="5608" y="8880"/>
                  <a:pt x="5511" y="8836"/>
                  <a:pt x="5400" y="8836"/>
                </a:cubicBezTo>
                <a:cubicBezTo>
                  <a:pt x="5129" y="8836"/>
                  <a:pt x="4909" y="9056"/>
                  <a:pt x="4909" y="9327"/>
                </a:cubicBezTo>
                <a:cubicBezTo>
                  <a:pt x="4909" y="9488"/>
                  <a:pt x="4991" y="9624"/>
                  <a:pt x="5110" y="9713"/>
                </a:cubicBezTo>
                <a:lnTo>
                  <a:pt x="5105" y="9720"/>
                </a:lnTo>
                <a:lnTo>
                  <a:pt x="8509" y="12273"/>
                </a:lnTo>
                <a:lnTo>
                  <a:pt x="5105" y="14826"/>
                </a:lnTo>
                <a:lnTo>
                  <a:pt x="5110" y="14832"/>
                </a:lnTo>
                <a:cubicBezTo>
                  <a:pt x="4991" y="14922"/>
                  <a:pt x="4909" y="15058"/>
                  <a:pt x="4909" y="15218"/>
                </a:cubicBezTo>
                <a:cubicBezTo>
                  <a:pt x="4909" y="15490"/>
                  <a:pt x="5129" y="15709"/>
                  <a:pt x="5400" y="15709"/>
                </a:cubicBezTo>
                <a:cubicBezTo>
                  <a:pt x="5511" y="15709"/>
                  <a:pt x="5607" y="15666"/>
                  <a:pt x="5690" y="15604"/>
                </a:cubicBezTo>
                <a:lnTo>
                  <a:pt x="5695" y="15611"/>
                </a:lnTo>
                <a:lnTo>
                  <a:pt x="9622" y="12666"/>
                </a:lnTo>
                <a:lnTo>
                  <a:pt x="9617" y="12659"/>
                </a:lnTo>
                <a:cubicBezTo>
                  <a:pt x="9736" y="12569"/>
                  <a:pt x="9818" y="12433"/>
                  <a:pt x="9818" y="12273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81" name="Shape 2681"/>
          <p:cNvSpPr/>
          <p:nvPr/>
        </p:nvSpPr>
        <p:spPr>
          <a:xfrm>
            <a:off x="8410094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36"/>
                </a:moveTo>
                <a:lnTo>
                  <a:pt x="11291" y="19636"/>
                </a:lnTo>
                <a:cubicBezTo>
                  <a:pt x="11562" y="19636"/>
                  <a:pt x="11782" y="19416"/>
                  <a:pt x="11782" y="19146"/>
                </a:cubicBezTo>
                <a:cubicBezTo>
                  <a:pt x="11782" y="18874"/>
                  <a:pt x="11562" y="18655"/>
                  <a:pt x="11291" y="18655"/>
                </a:cubicBezTo>
                <a:lnTo>
                  <a:pt x="6382" y="18655"/>
                </a:lnTo>
                <a:cubicBezTo>
                  <a:pt x="6111" y="18655"/>
                  <a:pt x="5891" y="18874"/>
                  <a:pt x="5891" y="19146"/>
                </a:cubicBezTo>
                <a:cubicBezTo>
                  <a:pt x="5891" y="19416"/>
                  <a:pt x="6111" y="19636"/>
                  <a:pt x="6382" y="19636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7673"/>
                </a:lnTo>
                <a:lnTo>
                  <a:pt x="20618" y="17673"/>
                </a:lnTo>
                <a:cubicBezTo>
                  <a:pt x="20618" y="17673"/>
                  <a:pt x="20618" y="19636"/>
                  <a:pt x="20618" y="19636"/>
                </a:cubicBezTo>
                <a:close/>
                <a:moveTo>
                  <a:pt x="2822" y="10800"/>
                </a:moveTo>
                <a:lnTo>
                  <a:pt x="18778" y="10800"/>
                </a:lnTo>
                <a:lnTo>
                  <a:pt x="20461" y="16691"/>
                </a:lnTo>
                <a:lnTo>
                  <a:pt x="1139" y="16691"/>
                </a:lnTo>
                <a:cubicBezTo>
                  <a:pt x="1139" y="16691"/>
                  <a:pt x="2822" y="10800"/>
                  <a:pt x="2822" y="10800"/>
                </a:cubicBezTo>
                <a:close/>
                <a:moveTo>
                  <a:pt x="21600" y="17182"/>
                </a:moveTo>
                <a:cubicBezTo>
                  <a:pt x="21600" y="17118"/>
                  <a:pt x="21586" y="17057"/>
                  <a:pt x="21563" y="17000"/>
                </a:cubicBezTo>
                <a:lnTo>
                  <a:pt x="21565" y="17000"/>
                </a:lnTo>
                <a:lnTo>
                  <a:pt x="19602" y="10127"/>
                </a:lnTo>
                <a:lnTo>
                  <a:pt x="19599" y="10128"/>
                </a:lnTo>
                <a:cubicBezTo>
                  <a:pt x="19527" y="9947"/>
                  <a:pt x="19352" y="9818"/>
                  <a:pt x="19145" y="9818"/>
                </a:cubicBezTo>
                <a:lnTo>
                  <a:pt x="18164" y="9818"/>
                </a:lnTo>
                <a:lnTo>
                  <a:pt x="18164" y="3927"/>
                </a:lnTo>
                <a:cubicBezTo>
                  <a:pt x="18164" y="3656"/>
                  <a:pt x="17944" y="3436"/>
                  <a:pt x="17673" y="3436"/>
                </a:cubicBezTo>
                <a:cubicBezTo>
                  <a:pt x="17402" y="3436"/>
                  <a:pt x="17182" y="3656"/>
                  <a:pt x="17182" y="3927"/>
                </a:cubicBezTo>
                <a:lnTo>
                  <a:pt x="17182" y="9818"/>
                </a:lnTo>
                <a:lnTo>
                  <a:pt x="4418" y="9818"/>
                </a:lnTo>
                <a:lnTo>
                  <a:pt x="4418" y="3927"/>
                </a:lnTo>
                <a:cubicBezTo>
                  <a:pt x="4418" y="3656"/>
                  <a:pt x="4198" y="3436"/>
                  <a:pt x="3927" y="3436"/>
                </a:cubicBezTo>
                <a:cubicBezTo>
                  <a:pt x="3656" y="3436"/>
                  <a:pt x="3436" y="3656"/>
                  <a:pt x="3436" y="3927"/>
                </a:cubicBezTo>
                <a:lnTo>
                  <a:pt x="3436" y="9818"/>
                </a:lnTo>
                <a:lnTo>
                  <a:pt x="2455" y="9818"/>
                </a:lnTo>
                <a:cubicBezTo>
                  <a:pt x="2248" y="9818"/>
                  <a:pt x="2073" y="9947"/>
                  <a:pt x="2001" y="10128"/>
                </a:cubicBezTo>
                <a:lnTo>
                  <a:pt x="1998" y="10127"/>
                </a:lnTo>
                <a:lnTo>
                  <a:pt x="35" y="17000"/>
                </a:lnTo>
                <a:lnTo>
                  <a:pt x="37" y="17001"/>
                </a:lnTo>
                <a:cubicBezTo>
                  <a:pt x="14" y="17057"/>
                  <a:pt x="0" y="17118"/>
                  <a:pt x="0" y="17182"/>
                </a:cubicBezTo>
                <a:lnTo>
                  <a:pt x="0" y="18164"/>
                </a:lnTo>
                <a:lnTo>
                  <a:pt x="68" y="18164"/>
                </a:lnTo>
                <a:cubicBezTo>
                  <a:pt x="25" y="18320"/>
                  <a:pt x="0" y="18484"/>
                  <a:pt x="0" y="18655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8655"/>
                </a:lnTo>
                <a:cubicBezTo>
                  <a:pt x="21600" y="18484"/>
                  <a:pt x="21575" y="18320"/>
                  <a:pt x="21532" y="18164"/>
                </a:cubicBezTo>
                <a:lnTo>
                  <a:pt x="21600" y="18164"/>
                </a:lnTo>
                <a:cubicBezTo>
                  <a:pt x="21600" y="18164"/>
                  <a:pt x="21600" y="17182"/>
                  <a:pt x="21600" y="17182"/>
                </a:cubicBezTo>
                <a:close/>
                <a:moveTo>
                  <a:pt x="4418" y="19636"/>
                </a:moveTo>
                <a:cubicBezTo>
                  <a:pt x="4689" y="19636"/>
                  <a:pt x="4909" y="19416"/>
                  <a:pt x="4909" y="19146"/>
                </a:cubicBezTo>
                <a:cubicBezTo>
                  <a:pt x="4909" y="18874"/>
                  <a:pt x="4689" y="18655"/>
                  <a:pt x="4418" y="18655"/>
                </a:cubicBezTo>
                <a:cubicBezTo>
                  <a:pt x="4147" y="18655"/>
                  <a:pt x="3927" y="18874"/>
                  <a:pt x="3927" y="19146"/>
                </a:cubicBezTo>
                <a:cubicBezTo>
                  <a:pt x="3927" y="19416"/>
                  <a:pt x="4147" y="19636"/>
                  <a:pt x="4418" y="19636"/>
                </a:cubicBezTo>
                <a:moveTo>
                  <a:pt x="2455" y="19636"/>
                </a:moveTo>
                <a:cubicBezTo>
                  <a:pt x="2725" y="19636"/>
                  <a:pt x="2945" y="19416"/>
                  <a:pt x="2945" y="19146"/>
                </a:cubicBezTo>
                <a:cubicBezTo>
                  <a:pt x="2945" y="18874"/>
                  <a:pt x="2725" y="18655"/>
                  <a:pt x="2455" y="18655"/>
                </a:cubicBezTo>
                <a:cubicBezTo>
                  <a:pt x="2184" y="18655"/>
                  <a:pt x="1964" y="18874"/>
                  <a:pt x="1964" y="19146"/>
                </a:cubicBezTo>
                <a:cubicBezTo>
                  <a:pt x="1964" y="19416"/>
                  <a:pt x="2184" y="19636"/>
                  <a:pt x="2455" y="19636"/>
                </a:cubicBezTo>
                <a:moveTo>
                  <a:pt x="12003" y="3573"/>
                </a:moveTo>
                <a:lnTo>
                  <a:pt x="12664" y="2838"/>
                </a:lnTo>
                <a:cubicBezTo>
                  <a:pt x="12214" y="2308"/>
                  <a:pt x="11550" y="1964"/>
                  <a:pt x="10800" y="1964"/>
                </a:cubicBezTo>
                <a:cubicBezTo>
                  <a:pt x="9997" y="1964"/>
                  <a:pt x="9290" y="2355"/>
                  <a:pt x="8842" y="2952"/>
                </a:cubicBezTo>
                <a:lnTo>
                  <a:pt x="9546" y="3655"/>
                </a:lnTo>
                <a:cubicBezTo>
                  <a:pt x="9805" y="3231"/>
                  <a:pt x="10267" y="2945"/>
                  <a:pt x="10800" y="2945"/>
                </a:cubicBezTo>
                <a:cubicBezTo>
                  <a:pt x="11298" y="2945"/>
                  <a:pt x="11736" y="3194"/>
                  <a:pt x="12003" y="3573"/>
                </a:cubicBezTo>
                <a:moveTo>
                  <a:pt x="10309" y="4418"/>
                </a:moveTo>
                <a:cubicBezTo>
                  <a:pt x="10309" y="4690"/>
                  <a:pt x="10529" y="4909"/>
                  <a:pt x="10800" y="4909"/>
                </a:cubicBezTo>
                <a:cubicBezTo>
                  <a:pt x="11071" y="4909"/>
                  <a:pt x="11291" y="4690"/>
                  <a:pt x="11291" y="4418"/>
                </a:cubicBezTo>
                <a:cubicBezTo>
                  <a:pt x="11291" y="4147"/>
                  <a:pt x="11071" y="3927"/>
                  <a:pt x="10800" y="3927"/>
                </a:cubicBezTo>
                <a:cubicBezTo>
                  <a:pt x="10529" y="3927"/>
                  <a:pt x="10309" y="4147"/>
                  <a:pt x="10309" y="4418"/>
                </a:cubicBezTo>
                <a:moveTo>
                  <a:pt x="10800" y="982"/>
                </a:moveTo>
                <a:cubicBezTo>
                  <a:pt x="11802" y="982"/>
                  <a:pt x="12701" y="1414"/>
                  <a:pt x="13330" y="2098"/>
                </a:cubicBezTo>
                <a:lnTo>
                  <a:pt x="13989" y="1366"/>
                </a:lnTo>
                <a:cubicBezTo>
                  <a:pt x="13185" y="525"/>
                  <a:pt x="12055" y="0"/>
                  <a:pt x="10800" y="0"/>
                </a:cubicBezTo>
                <a:cubicBezTo>
                  <a:pt x="9455" y="0"/>
                  <a:pt x="8252" y="603"/>
                  <a:pt x="7442" y="1551"/>
                </a:cubicBezTo>
                <a:lnTo>
                  <a:pt x="8138" y="2246"/>
                </a:lnTo>
                <a:cubicBezTo>
                  <a:pt x="8768" y="1475"/>
                  <a:pt x="9726" y="982"/>
                  <a:pt x="10800" y="982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82" name="Shape 2682"/>
          <p:cNvSpPr/>
          <p:nvPr/>
        </p:nvSpPr>
        <p:spPr>
          <a:xfrm>
            <a:off x="8943355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6691"/>
                </a:moveTo>
                <a:cubicBezTo>
                  <a:pt x="20618" y="17775"/>
                  <a:pt x="19739" y="18655"/>
                  <a:pt x="18655" y="18655"/>
                </a:cubicBezTo>
                <a:lnTo>
                  <a:pt x="17673" y="18655"/>
                </a:lnTo>
                <a:lnTo>
                  <a:pt x="17673" y="14727"/>
                </a:lnTo>
                <a:cubicBezTo>
                  <a:pt x="17673" y="14186"/>
                  <a:pt x="17233" y="13745"/>
                  <a:pt x="16691" y="13745"/>
                </a:cubicBezTo>
                <a:lnTo>
                  <a:pt x="4909" y="13745"/>
                </a:lnTo>
                <a:cubicBezTo>
                  <a:pt x="4367" y="13745"/>
                  <a:pt x="3927" y="14186"/>
                  <a:pt x="3927" y="14727"/>
                </a:cubicBezTo>
                <a:lnTo>
                  <a:pt x="3927" y="18655"/>
                </a:lnTo>
                <a:lnTo>
                  <a:pt x="2945" y="18655"/>
                </a:lnTo>
                <a:cubicBezTo>
                  <a:pt x="1861" y="18655"/>
                  <a:pt x="982" y="17775"/>
                  <a:pt x="982" y="16691"/>
                </a:cubicBezTo>
                <a:lnTo>
                  <a:pt x="982" y="8836"/>
                </a:lnTo>
                <a:cubicBezTo>
                  <a:pt x="982" y="7752"/>
                  <a:pt x="1861" y="6873"/>
                  <a:pt x="2945" y="6873"/>
                </a:cubicBezTo>
                <a:lnTo>
                  <a:pt x="18655" y="6873"/>
                </a:lnTo>
                <a:cubicBezTo>
                  <a:pt x="19739" y="6873"/>
                  <a:pt x="20618" y="7752"/>
                  <a:pt x="20618" y="8836"/>
                </a:cubicBezTo>
                <a:cubicBezTo>
                  <a:pt x="20618" y="8836"/>
                  <a:pt x="20618" y="16691"/>
                  <a:pt x="20618" y="16691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4727"/>
                </a:lnTo>
                <a:lnTo>
                  <a:pt x="16691" y="14727"/>
                </a:lnTo>
                <a:cubicBezTo>
                  <a:pt x="16691" y="14727"/>
                  <a:pt x="16691" y="20618"/>
                  <a:pt x="16691" y="20618"/>
                </a:cubicBezTo>
                <a:close/>
                <a:moveTo>
                  <a:pt x="4909" y="982"/>
                </a:moveTo>
                <a:lnTo>
                  <a:pt x="16691" y="982"/>
                </a:lnTo>
                <a:lnTo>
                  <a:pt x="16691" y="5891"/>
                </a:lnTo>
                <a:lnTo>
                  <a:pt x="4909" y="5891"/>
                </a:lnTo>
                <a:cubicBezTo>
                  <a:pt x="4909" y="5891"/>
                  <a:pt x="4909" y="982"/>
                  <a:pt x="4909" y="982"/>
                </a:cubicBezTo>
                <a:close/>
                <a:moveTo>
                  <a:pt x="18655" y="5891"/>
                </a:moveTo>
                <a:lnTo>
                  <a:pt x="17673" y="5891"/>
                </a:ln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4909" y="0"/>
                </a:lnTo>
                <a:cubicBezTo>
                  <a:pt x="4367" y="0"/>
                  <a:pt x="3927" y="440"/>
                  <a:pt x="3927" y="982"/>
                </a:cubicBezTo>
                <a:lnTo>
                  <a:pt x="3927" y="5891"/>
                </a:lnTo>
                <a:lnTo>
                  <a:pt x="2945" y="5891"/>
                </a:lnTo>
                <a:cubicBezTo>
                  <a:pt x="1318" y="5891"/>
                  <a:pt x="0" y="7210"/>
                  <a:pt x="0" y="8836"/>
                </a:cubicBezTo>
                <a:lnTo>
                  <a:pt x="0" y="16691"/>
                </a:lnTo>
                <a:cubicBezTo>
                  <a:pt x="0" y="18318"/>
                  <a:pt x="1318" y="19636"/>
                  <a:pt x="2945" y="19636"/>
                </a:cubicBezTo>
                <a:lnTo>
                  <a:pt x="3927" y="19636"/>
                </a:lnTo>
                <a:lnTo>
                  <a:pt x="3927" y="20618"/>
                </a:lnTo>
                <a:cubicBezTo>
                  <a:pt x="3927" y="21161"/>
                  <a:pt x="4367" y="21600"/>
                  <a:pt x="4909" y="21600"/>
                </a:cubicBezTo>
                <a:lnTo>
                  <a:pt x="16691" y="21600"/>
                </a:lnTo>
                <a:cubicBezTo>
                  <a:pt x="17233" y="21600"/>
                  <a:pt x="17673" y="21161"/>
                  <a:pt x="17673" y="20618"/>
                </a:cubicBezTo>
                <a:lnTo>
                  <a:pt x="17673" y="19636"/>
                </a:lnTo>
                <a:lnTo>
                  <a:pt x="18655" y="19636"/>
                </a:lnTo>
                <a:cubicBezTo>
                  <a:pt x="20282" y="19636"/>
                  <a:pt x="21600" y="18318"/>
                  <a:pt x="21600" y="16691"/>
                </a:cubicBezTo>
                <a:lnTo>
                  <a:pt x="21600" y="8836"/>
                </a:lnTo>
                <a:cubicBezTo>
                  <a:pt x="21600" y="7210"/>
                  <a:pt x="20282" y="5891"/>
                  <a:pt x="18655" y="5891"/>
                </a:cubicBezTo>
                <a:moveTo>
                  <a:pt x="17673" y="8836"/>
                </a:moveTo>
                <a:cubicBezTo>
                  <a:pt x="17131" y="8836"/>
                  <a:pt x="16691" y="9276"/>
                  <a:pt x="16691" y="9818"/>
                </a:cubicBezTo>
                <a:cubicBezTo>
                  <a:pt x="16691" y="10360"/>
                  <a:pt x="17131" y="10800"/>
                  <a:pt x="17673" y="10800"/>
                </a:cubicBezTo>
                <a:cubicBezTo>
                  <a:pt x="18214" y="10800"/>
                  <a:pt x="18655" y="10360"/>
                  <a:pt x="18655" y="9818"/>
                </a:cubicBezTo>
                <a:cubicBezTo>
                  <a:pt x="18655" y="9276"/>
                  <a:pt x="18214" y="8836"/>
                  <a:pt x="17673" y="8836"/>
                </a:cubicBezTo>
                <a:moveTo>
                  <a:pt x="14727" y="8836"/>
                </a:moveTo>
                <a:cubicBezTo>
                  <a:pt x="14186" y="8836"/>
                  <a:pt x="13745" y="9276"/>
                  <a:pt x="13745" y="9818"/>
                </a:cubicBezTo>
                <a:cubicBezTo>
                  <a:pt x="13745" y="10360"/>
                  <a:pt x="14186" y="10800"/>
                  <a:pt x="14727" y="10800"/>
                </a:cubicBezTo>
                <a:cubicBezTo>
                  <a:pt x="15269" y="10800"/>
                  <a:pt x="15709" y="10360"/>
                  <a:pt x="15709" y="9818"/>
                </a:cubicBezTo>
                <a:cubicBezTo>
                  <a:pt x="15709" y="9276"/>
                  <a:pt x="15269" y="8836"/>
                  <a:pt x="14727" y="8836"/>
                </a:cubicBezTo>
                <a:moveTo>
                  <a:pt x="7364" y="16691"/>
                </a:moveTo>
                <a:lnTo>
                  <a:pt x="12273" y="16691"/>
                </a:lnTo>
                <a:cubicBezTo>
                  <a:pt x="12544" y="16691"/>
                  <a:pt x="12764" y="16472"/>
                  <a:pt x="12764" y="16200"/>
                </a:cubicBezTo>
                <a:cubicBezTo>
                  <a:pt x="12764" y="15929"/>
                  <a:pt x="12544" y="15709"/>
                  <a:pt x="12273" y="15709"/>
                </a:cubicBezTo>
                <a:lnTo>
                  <a:pt x="7364" y="15709"/>
                </a:lnTo>
                <a:cubicBezTo>
                  <a:pt x="7092" y="15709"/>
                  <a:pt x="6873" y="15929"/>
                  <a:pt x="6873" y="16200"/>
                </a:cubicBezTo>
                <a:cubicBezTo>
                  <a:pt x="6873" y="16472"/>
                  <a:pt x="7092" y="16691"/>
                  <a:pt x="7364" y="16691"/>
                </a:cubicBezTo>
                <a:moveTo>
                  <a:pt x="7364" y="18655"/>
                </a:move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7893"/>
                  <a:pt x="14508" y="17673"/>
                  <a:pt x="14236" y="17673"/>
                </a:cubicBezTo>
                <a:lnTo>
                  <a:pt x="7364" y="17673"/>
                </a:lnTo>
                <a:cubicBezTo>
                  <a:pt x="7092" y="17673"/>
                  <a:pt x="6873" y="17893"/>
                  <a:pt x="6873" y="18164"/>
                </a:cubicBezTo>
                <a:cubicBezTo>
                  <a:pt x="6873" y="18435"/>
                  <a:pt x="7092" y="18655"/>
                  <a:pt x="7364" y="18655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83" name="Shape 2683"/>
          <p:cNvSpPr/>
          <p:nvPr/>
        </p:nvSpPr>
        <p:spPr>
          <a:xfrm>
            <a:off x="9514706" y="1426542"/>
            <a:ext cx="203145" cy="2792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05" h="21528" extrusionOk="0">
                <a:moveTo>
                  <a:pt x="13441" y="9294"/>
                </a:moveTo>
                <a:lnTo>
                  <a:pt x="13441" y="9784"/>
                </a:lnTo>
                <a:lnTo>
                  <a:pt x="1344" y="9784"/>
                </a:lnTo>
                <a:lnTo>
                  <a:pt x="1344" y="9294"/>
                </a:lnTo>
                <a:cubicBezTo>
                  <a:pt x="1344" y="7028"/>
                  <a:pt x="3696" y="5163"/>
                  <a:pt x="6720" y="4919"/>
                </a:cubicBezTo>
                <a:lnTo>
                  <a:pt x="6720" y="9784"/>
                </a:lnTo>
                <a:lnTo>
                  <a:pt x="8065" y="9784"/>
                </a:lnTo>
                <a:lnTo>
                  <a:pt x="8065" y="4919"/>
                </a:lnTo>
                <a:cubicBezTo>
                  <a:pt x="11089" y="5163"/>
                  <a:pt x="13441" y="7028"/>
                  <a:pt x="13441" y="9294"/>
                </a:cubicBezTo>
                <a:moveTo>
                  <a:pt x="13441" y="16145"/>
                </a:moveTo>
                <a:cubicBezTo>
                  <a:pt x="13441" y="18578"/>
                  <a:pt x="10733" y="20549"/>
                  <a:pt x="7393" y="20549"/>
                </a:cubicBezTo>
                <a:cubicBezTo>
                  <a:pt x="4052" y="20549"/>
                  <a:pt x="1344" y="18578"/>
                  <a:pt x="1344" y="16145"/>
                </a:cubicBezTo>
                <a:lnTo>
                  <a:pt x="1344" y="10762"/>
                </a:lnTo>
                <a:lnTo>
                  <a:pt x="13441" y="10762"/>
                </a:lnTo>
                <a:cubicBezTo>
                  <a:pt x="13441" y="10762"/>
                  <a:pt x="13441" y="16145"/>
                  <a:pt x="13441" y="16145"/>
                </a:cubicBezTo>
                <a:close/>
                <a:moveTo>
                  <a:pt x="21134" y="48"/>
                </a:moveTo>
                <a:cubicBezTo>
                  <a:pt x="20801" y="-72"/>
                  <a:pt x="20436" y="41"/>
                  <a:pt x="20232" y="268"/>
                </a:cubicBezTo>
                <a:cubicBezTo>
                  <a:pt x="18723" y="1944"/>
                  <a:pt x="16716" y="3504"/>
                  <a:pt x="13069" y="2006"/>
                </a:cubicBezTo>
                <a:cubicBezTo>
                  <a:pt x="10993" y="1153"/>
                  <a:pt x="9603" y="1431"/>
                  <a:pt x="8642" y="1862"/>
                </a:cubicBezTo>
                <a:cubicBezTo>
                  <a:pt x="7655" y="2307"/>
                  <a:pt x="6969" y="3089"/>
                  <a:pt x="6778" y="3935"/>
                </a:cubicBezTo>
                <a:cubicBezTo>
                  <a:pt x="2984" y="4162"/>
                  <a:pt x="0" y="6473"/>
                  <a:pt x="0" y="9294"/>
                </a:cubicBezTo>
                <a:lnTo>
                  <a:pt x="0" y="16145"/>
                </a:lnTo>
                <a:cubicBezTo>
                  <a:pt x="0" y="19118"/>
                  <a:pt x="3310" y="21528"/>
                  <a:pt x="7393" y="21528"/>
                </a:cubicBezTo>
                <a:cubicBezTo>
                  <a:pt x="11475" y="21528"/>
                  <a:pt x="14785" y="19118"/>
                  <a:pt x="14785" y="16145"/>
                </a:cubicBezTo>
                <a:lnTo>
                  <a:pt x="14785" y="9294"/>
                </a:lnTo>
                <a:cubicBezTo>
                  <a:pt x="14785" y="6507"/>
                  <a:pt x="11875" y="4215"/>
                  <a:pt x="8146" y="3940"/>
                </a:cubicBezTo>
                <a:cubicBezTo>
                  <a:pt x="8301" y="3479"/>
                  <a:pt x="8690" y="2991"/>
                  <a:pt x="9348" y="2695"/>
                </a:cubicBezTo>
                <a:cubicBezTo>
                  <a:pt x="10308" y="2263"/>
                  <a:pt x="10946" y="2328"/>
                  <a:pt x="12468" y="2882"/>
                </a:cubicBezTo>
                <a:cubicBezTo>
                  <a:pt x="15022" y="3811"/>
                  <a:pt x="16657" y="3572"/>
                  <a:pt x="17947" y="3206"/>
                </a:cubicBezTo>
                <a:cubicBezTo>
                  <a:pt x="19526" y="2759"/>
                  <a:pt x="20650" y="1847"/>
                  <a:pt x="21434" y="705"/>
                </a:cubicBezTo>
                <a:cubicBezTo>
                  <a:pt x="21600" y="463"/>
                  <a:pt x="21466" y="170"/>
                  <a:pt x="21134" y="48"/>
                </a:cubicBezTo>
                <a:moveTo>
                  <a:pt x="7393" y="18592"/>
                </a:moveTo>
                <a:cubicBezTo>
                  <a:pt x="8134" y="18592"/>
                  <a:pt x="8737" y="18153"/>
                  <a:pt x="8737" y="17613"/>
                </a:cubicBezTo>
                <a:cubicBezTo>
                  <a:pt x="8737" y="17073"/>
                  <a:pt x="8134" y="16635"/>
                  <a:pt x="7393" y="16635"/>
                </a:cubicBezTo>
                <a:cubicBezTo>
                  <a:pt x="6650" y="16635"/>
                  <a:pt x="6048" y="17073"/>
                  <a:pt x="6048" y="17613"/>
                </a:cubicBezTo>
                <a:cubicBezTo>
                  <a:pt x="6048" y="18153"/>
                  <a:pt x="6650" y="18592"/>
                  <a:pt x="7393" y="18592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84" name="Shape 2684"/>
          <p:cNvSpPr/>
          <p:nvPr/>
        </p:nvSpPr>
        <p:spPr>
          <a:xfrm>
            <a:off x="10009878" y="1426542"/>
            <a:ext cx="279328" cy="2796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40" extrusionOk="0">
                <a:moveTo>
                  <a:pt x="4418" y="19095"/>
                </a:moveTo>
                <a:lnTo>
                  <a:pt x="5400" y="19095"/>
                </a:lnTo>
                <a:lnTo>
                  <a:pt x="5400" y="18117"/>
                </a:lnTo>
                <a:lnTo>
                  <a:pt x="4418" y="18117"/>
                </a:lnTo>
                <a:cubicBezTo>
                  <a:pt x="4418" y="18117"/>
                  <a:pt x="4418" y="19095"/>
                  <a:pt x="4418" y="19095"/>
                </a:cubicBezTo>
                <a:close/>
                <a:moveTo>
                  <a:pt x="6382" y="16160"/>
                </a:moveTo>
                <a:lnTo>
                  <a:pt x="5400" y="16160"/>
                </a:lnTo>
                <a:lnTo>
                  <a:pt x="5400" y="17139"/>
                </a:lnTo>
                <a:lnTo>
                  <a:pt x="6382" y="17139"/>
                </a:lnTo>
                <a:cubicBezTo>
                  <a:pt x="6382" y="17139"/>
                  <a:pt x="6382" y="16160"/>
                  <a:pt x="6382" y="16160"/>
                </a:cubicBezTo>
                <a:close/>
                <a:moveTo>
                  <a:pt x="2455" y="19095"/>
                </a:moveTo>
                <a:lnTo>
                  <a:pt x="3436" y="19095"/>
                </a:lnTo>
                <a:lnTo>
                  <a:pt x="3436" y="18117"/>
                </a:lnTo>
                <a:lnTo>
                  <a:pt x="2455" y="18117"/>
                </a:lnTo>
                <a:cubicBezTo>
                  <a:pt x="2455" y="18117"/>
                  <a:pt x="2455" y="19095"/>
                  <a:pt x="2455" y="19095"/>
                </a:cubicBezTo>
                <a:close/>
                <a:moveTo>
                  <a:pt x="4418" y="16160"/>
                </a:moveTo>
                <a:lnTo>
                  <a:pt x="2455" y="16160"/>
                </a:lnTo>
                <a:lnTo>
                  <a:pt x="2455" y="17139"/>
                </a:lnTo>
                <a:lnTo>
                  <a:pt x="4418" y="17139"/>
                </a:lnTo>
                <a:cubicBezTo>
                  <a:pt x="4418" y="17139"/>
                  <a:pt x="4418" y="16160"/>
                  <a:pt x="4418" y="16160"/>
                </a:cubicBezTo>
                <a:close/>
                <a:moveTo>
                  <a:pt x="3436" y="12248"/>
                </a:moveTo>
                <a:lnTo>
                  <a:pt x="2455" y="12248"/>
                </a:lnTo>
                <a:lnTo>
                  <a:pt x="2455" y="13226"/>
                </a:lnTo>
                <a:lnTo>
                  <a:pt x="3436" y="13226"/>
                </a:lnTo>
                <a:cubicBezTo>
                  <a:pt x="3436" y="13226"/>
                  <a:pt x="3436" y="12248"/>
                  <a:pt x="3436" y="12248"/>
                </a:cubicBezTo>
                <a:close/>
                <a:moveTo>
                  <a:pt x="3436" y="14204"/>
                </a:moveTo>
                <a:lnTo>
                  <a:pt x="2455" y="14204"/>
                </a:lnTo>
                <a:lnTo>
                  <a:pt x="2455" y="15182"/>
                </a:lnTo>
                <a:lnTo>
                  <a:pt x="3436" y="15182"/>
                </a:lnTo>
                <a:cubicBezTo>
                  <a:pt x="3436" y="15182"/>
                  <a:pt x="3436" y="14204"/>
                  <a:pt x="3436" y="14204"/>
                </a:cubicBezTo>
                <a:close/>
                <a:moveTo>
                  <a:pt x="6382" y="19095"/>
                </a:moveTo>
                <a:lnTo>
                  <a:pt x="13255" y="19095"/>
                </a:lnTo>
                <a:lnTo>
                  <a:pt x="13255" y="18117"/>
                </a:lnTo>
                <a:lnTo>
                  <a:pt x="6382" y="18117"/>
                </a:lnTo>
                <a:cubicBezTo>
                  <a:pt x="6382" y="18117"/>
                  <a:pt x="6382" y="19095"/>
                  <a:pt x="6382" y="19095"/>
                </a:cubicBezTo>
                <a:close/>
                <a:moveTo>
                  <a:pt x="18164" y="15182"/>
                </a:moveTo>
                <a:lnTo>
                  <a:pt x="19145" y="15182"/>
                </a:lnTo>
                <a:lnTo>
                  <a:pt x="19145" y="14204"/>
                </a:lnTo>
                <a:lnTo>
                  <a:pt x="18164" y="14204"/>
                </a:lnTo>
                <a:cubicBezTo>
                  <a:pt x="18164" y="14204"/>
                  <a:pt x="18164" y="15182"/>
                  <a:pt x="18164" y="15182"/>
                </a:cubicBezTo>
                <a:close/>
                <a:moveTo>
                  <a:pt x="5400" y="14204"/>
                </a:moveTo>
                <a:lnTo>
                  <a:pt x="4418" y="14204"/>
                </a:lnTo>
                <a:lnTo>
                  <a:pt x="4418" y="15182"/>
                </a:lnTo>
                <a:lnTo>
                  <a:pt x="5400" y="15182"/>
                </a:lnTo>
                <a:cubicBezTo>
                  <a:pt x="5400" y="15182"/>
                  <a:pt x="5400" y="14204"/>
                  <a:pt x="5400" y="14204"/>
                </a:cubicBezTo>
                <a:close/>
                <a:moveTo>
                  <a:pt x="14236" y="16160"/>
                </a:moveTo>
                <a:lnTo>
                  <a:pt x="13255" y="16160"/>
                </a:lnTo>
                <a:lnTo>
                  <a:pt x="13255" y="17139"/>
                </a:lnTo>
                <a:lnTo>
                  <a:pt x="14236" y="17139"/>
                </a:lnTo>
                <a:cubicBezTo>
                  <a:pt x="14236" y="17139"/>
                  <a:pt x="14236" y="16160"/>
                  <a:pt x="14236" y="16160"/>
                </a:cubicBezTo>
                <a:close/>
                <a:moveTo>
                  <a:pt x="20618" y="19584"/>
                </a:moveTo>
                <a:cubicBezTo>
                  <a:pt x="20618" y="20124"/>
                  <a:pt x="20178" y="20562"/>
                  <a:pt x="19636" y="20562"/>
                </a:cubicBezTo>
                <a:lnTo>
                  <a:pt x="1964" y="20562"/>
                </a:lnTo>
                <a:cubicBezTo>
                  <a:pt x="1421" y="20562"/>
                  <a:pt x="982" y="20124"/>
                  <a:pt x="982" y="19584"/>
                </a:cubicBezTo>
                <a:lnTo>
                  <a:pt x="982" y="11759"/>
                </a:lnTo>
                <a:cubicBezTo>
                  <a:pt x="982" y="11219"/>
                  <a:pt x="1421" y="10781"/>
                  <a:pt x="1964" y="10781"/>
                </a:cubicBezTo>
                <a:lnTo>
                  <a:pt x="19636" y="10781"/>
                </a:lnTo>
                <a:cubicBezTo>
                  <a:pt x="20178" y="10781"/>
                  <a:pt x="20618" y="11219"/>
                  <a:pt x="20618" y="11759"/>
                </a:cubicBezTo>
                <a:cubicBezTo>
                  <a:pt x="20618" y="11759"/>
                  <a:pt x="20618" y="19584"/>
                  <a:pt x="20618" y="19584"/>
                </a:cubicBezTo>
                <a:close/>
                <a:moveTo>
                  <a:pt x="19636" y="9803"/>
                </a:moveTo>
                <a:lnTo>
                  <a:pt x="10965" y="9803"/>
                </a:lnTo>
                <a:cubicBezTo>
                  <a:pt x="10831" y="9456"/>
                  <a:pt x="10774" y="9056"/>
                  <a:pt x="10870" y="8651"/>
                </a:cubicBezTo>
                <a:cubicBezTo>
                  <a:pt x="11059" y="7853"/>
                  <a:pt x="11782" y="7224"/>
                  <a:pt x="12961" y="6833"/>
                </a:cubicBezTo>
                <a:cubicBezTo>
                  <a:pt x="14940" y="6175"/>
                  <a:pt x="15841" y="4938"/>
                  <a:pt x="16249" y="4015"/>
                </a:cubicBezTo>
                <a:cubicBezTo>
                  <a:pt x="16747" y="2886"/>
                  <a:pt x="16801" y="1546"/>
                  <a:pt x="16396" y="335"/>
                </a:cubicBezTo>
                <a:cubicBezTo>
                  <a:pt x="16310" y="79"/>
                  <a:pt x="16032" y="-60"/>
                  <a:pt x="15774" y="25"/>
                </a:cubicBezTo>
                <a:cubicBezTo>
                  <a:pt x="15517" y="112"/>
                  <a:pt x="15378" y="388"/>
                  <a:pt x="15464" y="644"/>
                </a:cubicBezTo>
                <a:cubicBezTo>
                  <a:pt x="16091" y="2519"/>
                  <a:pt x="15480" y="4964"/>
                  <a:pt x="12650" y="5904"/>
                </a:cubicBezTo>
                <a:cubicBezTo>
                  <a:pt x="10733" y="6542"/>
                  <a:pt x="10105" y="7627"/>
                  <a:pt x="9915" y="8427"/>
                </a:cubicBezTo>
                <a:cubicBezTo>
                  <a:pt x="9809" y="8876"/>
                  <a:pt x="9824" y="9351"/>
                  <a:pt x="9937" y="9803"/>
                </a:cubicBezTo>
                <a:lnTo>
                  <a:pt x="1964" y="9803"/>
                </a:lnTo>
                <a:cubicBezTo>
                  <a:pt x="879" y="9803"/>
                  <a:pt x="0" y="10679"/>
                  <a:pt x="0" y="11759"/>
                </a:cubicBezTo>
                <a:lnTo>
                  <a:pt x="0" y="19584"/>
                </a:lnTo>
                <a:cubicBezTo>
                  <a:pt x="0" y="20664"/>
                  <a:pt x="879" y="21540"/>
                  <a:pt x="1964" y="21540"/>
                </a:cubicBezTo>
                <a:lnTo>
                  <a:pt x="19636" y="21540"/>
                </a:lnTo>
                <a:cubicBezTo>
                  <a:pt x="20721" y="21540"/>
                  <a:pt x="21600" y="20664"/>
                  <a:pt x="21600" y="19584"/>
                </a:cubicBezTo>
                <a:lnTo>
                  <a:pt x="21600" y="11759"/>
                </a:lnTo>
                <a:cubicBezTo>
                  <a:pt x="21600" y="10679"/>
                  <a:pt x="20721" y="9803"/>
                  <a:pt x="19636" y="9803"/>
                </a:cubicBezTo>
                <a:moveTo>
                  <a:pt x="17182" y="17139"/>
                </a:moveTo>
                <a:lnTo>
                  <a:pt x="19145" y="17139"/>
                </a:lnTo>
                <a:lnTo>
                  <a:pt x="19145" y="16160"/>
                </a:lnTo>
                <a:lnTo>
                  <a:pt x="17182" y="16160"/>
                </a:lnTo>
                <a:cubicBezTo>
                  <a:pt x="17182" y="16160"/>
                  <a:pt x="17182" y="17139"/>
                  <a:pt x="17182" y="17139"/>
                </a:cubicBezTo>
                <a:close/>
                <a:moveTo>
                  <a:pt x="14236" y="19095"/>
                </a:moveTo>
                <a:lnTo>
                  <a:pt x="15218" y="19095"/>
                </a:lnTo>
                <a:lnTo>
                  <a:pt x="15218" y="18117"/>
                </a:lnTo>
                <a:lnTo>
                  <a:pt x="14236" y="18117"/>
                </a:lnTo>
                <a:cubicBezTo>
                  <a:pt x="14236" y="18117"/>
                  <a:pt x="14236" y="19095"/>
                  <a:pt x="14236" y="19095"/>
                </a:cubicBezTo>
                <a:close/>
                <a:moveTo>
                  <a:pt x="16200" y="19095"/>
                </a:moveTo>
                <a:lnTo>
                  <a:pt x="17182" y="19095"/>
                </a:lnTo>
                <a:lnTo>
                  <a:pt x="17182" y="18117"/>
                </a:lnTo>
                <a:lnTo>
                  <a:pt x="16200" y="18117"/>
                </a:lnTo>
                <a:cubicBezTo>
                  <a:pt x="16200" y="18117"/>
                  <a:pt x="16200" y="19095"/>
                  <a:pt x="16200" y="19095"/>
                </a:cubicBezTo>
                <a:close/>
                <a:moveTo>
                  <a:pt x="18164" y="19095"/>
                </a:moveTo>
                <a:lnTo>
                  <a:pt x="19145" y="19095"/>
                </a:lnTo>
                <a:lnTo>
                  <a:pt x="19145" y="18117"/>
                </a:lnTo>
                <a:lnTo>
                  <a:pt x="18164" y="18117"/>
                </a:lnTo>
                <a:cubicBezTo>
                  <a:pt x="18164" y="18117"/>
                  <a:pt x="18164" y="19095"/>
                  <a:pt x="18164" y="19095"/>
                </a:cubicBezTo>
                <a:close/>
                <a:moveTo>
                  <a:pt x="16200" y="16160"/>
                </a:moveTo>
                <a:lnTo>
                  <a:pt x="15218" y="16160"/>
                </a:lnTo>
                <a:lnTo>
                  <a:pt x="15218" y="17139"/>
                </a:lnTo>
                <a:lnTo>
                  <a:pt x="16200" y="17139"/>
                </a:lnTo>
                <a:cubicBezTo>
                  <a:pt x="16200" y="17139"/>
                  <a:pt x="16200" y="16160"/>
                  <a:pt x="16200" y="16160"/>
                </a:cubicBezTo>
                <a:close/>
                <a:moveTo>
                  <a:pt x="18164" y="13226"/>
                </a:moveTo>
                <a:lnTo>
                  <a:pt x="19145" y="13226"/>
                </a:lnTo>
                <a:lnTo>
                  <a:pt x="19145" y="12248"/>
                </a:lnTo>
                <a:lnTo>
                  <a:pt x="18164" y="12248"/>
                </a:lnTo>
                <a:cubicBezTo>
                  <a:pt x="18164" y="12248"/>
                  <a:pt x="18164" y="13226"/>
                  <a:pt x="18164" y="13226"/>
                </a:cubicBezTo>
                <a:close/>
                <a:moveTo>
                  <a:pt x="13255" y="12248"/>
                </a:moveTo>
                <a:lnTo>
                  <a:pt x="12273" y="12248"/>
                </a:lnTo>
                <a:lnTo>
                  <a:pt x="12273" y="13226"/>
                </a:lnTo>
                <a:lnTo>
                  <a:pt x="13255" y="13226"/>
                </a:lnTo>
                <a:cubicBezTo>
                  <a:pt x="13255" y="13226"/>
                  <a:pt x="13255" y="12248"/>
                  <a:pt x="13255" y="12248"/>
                </a:cubicBezTo>
                <a:close/>
                <a:moveTo>
                  <a:pt x="13255" y="14204"/>
                </a:moveTo>
                <a:lnTo>
                  <a:pt x="12273" y="14204"/>
                </a:lnTo>
                <a:lnTo>
                  <a:pt x="12273" y="15182"/>
                </a:lnTo>
                <a:lnTo>
                  <a:pt x="13255" y="15182"/>
                </a:lnTo>
                <a:cubicBezTo>
                  <a:pt x="13255" y="15182"/>
                  <a:pt x="13255" y="14204"/>
                  <a:pt x="13255" y="14204"/>
                </a:cubicBezTo>
                <a:close/>
                <a:moveTo>
                  <a:pt x="15218" y="14204"/>
                </a:moveTo>
                <a:lnTo>
                  <a:pt x="14236" y="14204"/>
                </a:lnTo>
                <a:lnTo>
                  <a:pt x="14236" y="15182"/>
                </a:lnTo>
                <a:lnTo>
                  <a:pt x="15218" y="15182"/>
                </a:lnTo>
                <a:cubicBezTo>
                  <a:pt x="15218" y="15182"/>
                  <a:pt x="15218" y="14204"/>
                  <a:pt x="15218" y="14204"/>
                </a:cubicBezTo>
                <a:close/>
                <a:moveTo>
                  <a:pt x="17182" y="14204"/>
                </a:moveTo>
                <a:lnTo>
                  <a:pt x="16200" y="14204"/>
                </a:lnTo>
                <a:lnTo>
                  <a:pt x="16200" y="15182"/>
                </a:lnTo>
                <a:lnTo>
                  <a:pt x="17182" y="15182"/>
                </a:lnTo>
                <a:cubicBezTo>
                  <a:pt x="17182" y="15182"/>
                  <a:pt x="17182" y="14204"/>
                  <a:pt x="17182" y="14204"/>
                </a:cubicBezTo>
                <a:close/>
                <a:moveTo>
                  <a:pt x="15218" y="12248"/>
                </a:moveTo>
                <a:lnTo>
                  <a:pt x="14236" y="12248"/>
                </a:lnTo>
                <a:lnTo>
                  <a:pt x="14236" y="13226"/>
                </a:lnTo>
                <a:lnTo>
                  <a:pt x="15218" y="13226"/>
                </a:lnTo>
                <a:cubicBezTo>
                  <a:pt x="15218" y="13226"/>
                  <a:pt x="15218" y="12248"/>
                  <a:pt x="15218" y="12248"/>
                </a:cubicBezTo>
                <a:close/>
                <a:moveTo>
                  <a:pt x="17182" y="12248"/>
                </a:moveTo>
                <a:lnTo>
                  <a:pt x="16200" y="12248"/>
                </a:lnTo>
                <a:lnTo>
                  <a:pt x="16200" y="13226"/>
                </a:lnTo>
                <a:lnTo>
                  <a:pt x="17182" y="13226"/>
                </a:lnTo>
                <a:cubicBezTo>
                  <a:pt x="17182" y="13226"/>
                  <a:pt x="17182" y="12248"/>
                  <a:pt x="17182" y="12248"/>
                </a:cubicBezTo>
                <a:close/>
                <a:moveTo>
                  <a:pt x="11291" y="12248"/>
                </a:moveTo>
                <a:lnTo>
                  <a:pt x="10309" y="12248"/>
                </a:lnTo>
                <a:lnTo>
                  <a:pt x="10309" y="13226"/>
                </a:lnTo>
                <a:lnTo>
                  <a:pt x="11291" y="13226"/>
                </a:lnTo>
                <a:cubicBezTo>
                  <a:pt x="11291" y="13226"/>
                  <a:pt x="11291" y="12248"/>
                  <a:pt x="11291" y="12248"/>
                </a:cubicBezTo>
                <a:close/>
                <a:moveTo>
                  <a:pt x="5400" y="12248"/>
                </a:moveTo>
                <a:lnTo>
                  <a:pt x="4418" y="12248"/>
                </a:lnTo>
                <a:lnTo>
                  <a:pt x="4418" y="13226"/>
                </a:lnTo>
                <a:lnTo>
                  <a:pt x="5400" y="13226"/>
                </a:lnTo>
                <a:cubicBezTo>
                  <a:pt x="5400" y="13226"/>
                  <a:pt x="5400" y="12248"/>
                  <a:pt x="5400" y="12248"/>
                </a:cubicBezTo>
                <a:close/>
                <a:moveTo>
                  <a:pt x="7364" y="17139"/>
                </a:moveTo>
                <a:lnTo>
                  <a:pt x="8345" y="17139"/>
                </a:lnTo>
                <a:lnTo>
                  <a:pt x="8345" y="16160"/>
                </a:lnTo>
                <a:lnTo>
                  <a:pt x="7364" y="16160"/>
                </a:lnTo>
                <a:cubicBezTo>
                  <a:pt x="7364" y="16160"/>
                  <a:pt x="7364" y="17139"/>
                  <a:pt x="7364" y="17139"/>
                </a:cubicBezTo>
                <a:close/>
                <a:moveTo>
                  <a:pt x="7364" y="14204"/>
                </a:moveTo>
                <a:lnTo>
                  <a:pt x="6382" y="14204"/>
                </a:lnTo>
                <a:lnTo>
                  <a:pt x="6382" y="15182"/>
                </a:lnTo>
                <a:lnTo>
                  <a:pt x="7364" y="15182"/>
                </a:lnTo>
                <a:cubicBezTo>
                  <a:pt x="7364" y="15182"/>
                  <a:pt x="7364" y="14204"/>
                  <a:pt x="7364" y="14204"/>
                </a:cubicBezTo>
                <a:close/>
                <a:moveTo>
                  <a:pt x="7364" y="12248"/>
                </a:moveTo>
                <a:lnTo>
                  <a:pt x="6382" y="12248"/>
                </a:lnTo>
                <a:lnTo>
                  <a:pt x="6382" y="13226"/>
                </a:lnTo>
                <a:lnTo>
                  <a:pt x="7364" y="13226"/>
                </a:lnTo>
                <a:cubicBezTo>
                  <a:pt x="7364" y="13226"/>
                  <a:pt x="7364" y="12248"/>
                  <a:pt x="7364" y="12248"/>
                </a:cubicBezTo>
                <a:close/>
                <a:moveTo>
                  <a:pt x="9327" y="14204"/>
                </a:moveTo>
                <a:lnTo>
                  <a:pt x="8345" y="14204"/>
                </a:lnTo>
                <a:lnTo>
                  <a:pt x="8345" y="15182"/>
                </a:lnTo>
                <a:lnTo>
                  <a:pt x="9327" y="15182"/>
                </a:lnTo>
                <a:cubicBezTo>
                  <a:pt x="9327" y="15182"/>
                  <a:pt x="9327" y="14204"/>
                  <a:pt x="9327" y="14204"/>
                </a:cubicBezTo>
                <a:close/>
                <a:moveTo>
                  <a:pt x="11291" y="14204"/>
                </a:moveTo>
                <a:lnTo>
                  <a:pt x="10309" y="14204"/>
                </a:lnTo>
                <a:lnTo>
                  <a:pt x="10309" y="15182"/>
                </a:lnTo>
                <a:lnTo>
                  <a:pt x="11291" y="15182"/>
                </a:lnTo>
                <a:cubicBezTo>
                  <a:pt x="11291" y="15182"/>
                  <a:pt x="11291" y="14204"/>
                  <a:pt x="11291" y="14204"/>
                </a:cubicBezTo>
                <a:close/>
                <a:moveTo>
                  <a:pt x="9327" y="12248"/>
                </a:moveTo>
                <a:lnTo>
                  <a:pt x="8345" y="12248"/>
                </a:lnTo>
                <a:lnTo>
                  <a:pt x="8345" y="13226"/>
                </a:lnTo>
                <a:lnTo>
                  <a:pt x="9327" y="13226"/>
                </a:lnTo>
                <a:cubicBezTo>
                  <a:pt x="9327" y="13226"/>
                  <a:pt x="9327" y="12248"/>
                  <a:pt x="9327" y="12248"/>
                </a:cubicBezTo>
                <a:close/>
                <a:moveTo>
                  <a:pt x="11291" y="17139"/>
                </a:moveTo>
                <a:lnTo>
                  <a:pt x="12273" y="17139"/>
                </a:lnTo>
                <a:lnTo>
                  <a:pt x="12273" y="16160"/>
                </a:lnTo>
                <a:lnTo>
                  <a:pt x="11291" y="16160"/>
                </a:lnTo>
                <a:cubicBezTo>
                  <a:pt x="11291" y="16160"/>
                  <a:pt x="11291" y="17139"/>
                  <a:pt x="11291" y="17139"/>
                </a:cubicBezTo>
                <a:close/>
                <a:moveTo>
                  <a:pt x="9327" y="17139"/>
                </a:moveTo>
                <a:lnTo>
                  <a:pt x="10309" y="17139"/>
                </a:lnTo>
                <a:lnTo>
                  <a:pt x="10309" y="16160"/>
                </a:lnTo>
                <a:lnTo>
                  <a:pt x="9327" y="16160"/>
                </a:lnTo>
                <a:cubicBezTo>
                  <a:pt x="9327" y="16160"/>
                  <a:pt x="9327" y="17139"/>
                  <a:pt x="9327" y="17139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85" name="Shape 2685"/>
          <p:cNvSpPr/>
          <p:nvPr/>
        </p:nvSpPr>
        <p:spPr>
          <a:xfrm>
            <a:off x="10543139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145"/>
                </a:moveTo>
                <a:cubicBezTo>
                  <a:pt x="20618" y="19959"/>
                  <a:pt x="19959" y="20618"/>
                  <a:pt x="19145" y="20618"/>
                </a:cubicBezTo>
                <a:cubicBezTo>
                  <a:pt x="18332" y="20618"/>
                  <a:pt x="17673" y="19959"/>
                  <a:pt x="17673" y="19145"/>
                </a:cubicBezTo>
                <a:lnTo>
                  <a:pt x="17673" y="14236"/>
                </a:lnTo>
                <a:cubicBezTo>
                  <a:pt x="17673" y="13424"/>
                  <a:pt x="18332" y="12764"/>
                  <a:pt x="19145" y="12764"/>
                </a:cubicBezTo>
                <a:cubicBezTo>
                  <a:pt x="19959" y="12764"/>
                  <a:pt x="20618" y="13424"/>
                  <a:pt x="20618" y="14236"/>
                </a:cubicBezTo>
                <a:cubicBezTo>
                  <a:pt x="20618" y="14236"/>
                  <a:pt x="20618" y="19145"/>
                  <a:pt x="20618" y="19145"/>
                </a:cubicBezTo>
                <a:close/>
                <a:moveTo>
                  <a:pt x="3927" y="14236"/>
                </a:moveTo>
                <a:lnTo>
                  <a:pt x="3927" y="19145"/>
                </a:lnTo>
                <a:cubicBezTo>
                  <a:pt x="3927" y="19959"/>
                  <a:pt x="3268" y="20618"/>
                  <a:pt x="2455" y="20618"/>
                </a:cubicBezTo>
                <a:cubicBezTo>
                  <a:pt x="1641" y="20618"/>
                  <a:pt x="982" y="19959"/>
                  <a:pt x="982" y="19145"/>
                </a:cubicBezTo>
                <a:lnTo>
                  <a:pt x="982" y="14236"/>
                </a:lnTo>
                <a:cubicBezTo>
                  <a:pt x="982" y="13424"/>
                  <a:pt x="1641" y="12764"/>
                  <a:pt x="2455" y="12764"/>
                </a:cubicBezTo>
                <a:cubicBezTo>
                  <a:pt x="3268" y="12764"/>
                  <a:pt x="3927" y="13424"/>
                  <a:pt x="3927" y="14236"/>
                </a:cubicBezTo>
                <a:moveTo>
                  <a:pt x="19636" y="11831"/>
                </a:moveTo>
                <a:lnTo>
                  <a:pt x="19636" y="5891"/>
                </a:lnTo>
                <a:cubicBezTo>
                  <a:pt x="19636" y="2638"/>
                  <a:pt x="16999" y="0"/>
                  <a:pt x="13745" y="0"/>
                </a:cubicBezTo>
                <a:lnTo>
                  <a:pt x="7855" y="0"/>
                </a:lnTo>
                <a:cubicBezTo>
                  <a:pt x="4601" y="0"/>
                  <a:pt x="1964" y="2638"/>
                  <a:pt x="1964" y="5891"/>
                </a:cubicBezTo>
                <a:lnTo>
                  <a:pt x="1964" y="11831"/>
                </a:lnTo>
                <a:cubicBezTo>
                  <a:pt x="843" y="12059"/>
                  <a:pt x="0" y="13049"/>
                  <a:pt x="0" y="14236"/>
                </a:cubicBezTo>
                <a:lnTo>
                  <a:pt x="0" y="19145"/>
                </a:lnTo>
                <a:cubicBezTo>
                  <a:pt x="0" y="20501"/>
                  <a:pt x="1099" y="21600"/>
                  <a:pt x="2455" y="21600"/>
                </a:cubicBezTo>
                <a:cubicBezTo>
                  <a:pt x="3810" y="21600"/>
                  <a:pt x="4909" y="20501"/>
                  <a:pt x="4909" y="19145"/>
                </a:cubicBezTo>
                <a:lnTo>
                  <a:pt x="4909" y="14236"/>
                </a:lnTo>
                <a:cubicBezTo>
                  <a:pt x="4909" y="13049"/>
                  <a:pt x="4066" y="12059"/>
                  <a:pt x="2945" y="11831"/>
                </a:cubicBezTo>
                <a:lnTo>
                  <a:pt x="2945" y="5891"/>
                </a:lnTo>
                <a:cubicBezTo>
                  <a:pt x="2945" y="3180"/>
                  <a:pt x="5144" y="982"/>
                  <a:pt x="7855" y="982"/>
                </a:cubicBezTo>
                <a:lnTo>
                  <a:pt x="13745" y="982"/>
                </a:lnTo>
                <a:cubicBezTo>
                  <a:pt x="16457" y="982"/>
                  <a:pt x="18655" y="3180"/>
                  <a:pt x="18655" y="5891"/>
                </a:cubicBezTo>
                <a:lnTo>
                  <a:pt x="18655" y="11831"/>
                </a:lnTo>
                <a:cubicBezTo>
                  <a:pt x="17534" y="12059"/>
                  <a:pt x="16691" y="13049"/>
                  <a:pt x="16691" y="14236"/>
                </a:cubicBezTo>
                <a:lnTo>
                  <a:pt x="16691" y="19145"/>
                </a:lnTo>
                <a:cubicBezTo>
                  <a:pt x="16691" y="20501"/>
                  <a:pt x="17790" y="21600"/>
                  <a:pt x="19145" y="21600"/>
                </a:cubicBezTo>
                <a:cubicBezTo>
                  <a:pt x="20501" y="21600"/>
                  <a:pt x="21600" y="20501"/>
                  <a:pt x="21600" y="19145"/>
                </a:cubicBezTo>
                <a:lnTo>
                  <a:pt x="21600" y="14236"/>
                </a:lnTo>
                <a:cubicBezTo>
                  <a:pt x="21600" y="13049"/>
                  <a:pt x="20757" y="12059"/>
                  <a:pt x="19636" y="11831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86" name="Shape 2686"/>
          <p:cNvSpPr/>
          <p:nvPr/>
        </p:nvSpPr>
        <p:spPr>
          <a:xfrm>
            <a:off x="11076400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7673"/>
                </a:moveTo>
                <a:cubicBezTo>
                  <a:pt x="20618" y="18215"/>
                  <a:pt x="20178" y="18655"/>
                  <a:pt x="19636" y="18655"/>
                </a:cubicBezTo>
                <a:lnTo>
                  <a:pt x="19636" y="14727"/>
                </a:lnTo>
                <a:cubicBezTo>
                  <a:pt x="20178" y="14727"/>
                  <a:pt x="20618" y="15167"/>
                  <a:pt x="20618" y="15709"/>
                </a:cubicBez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18655" y="19145"/>
                </a:moveTo>
                <a:cubicBezTo>
                  <a:pt x="18655" y="19959"/>
                  <a:pt x="17995" y="20618"/>
                  <a:pt x="17182" y="20618"/>
                </a:cubicBezTo>
                <a:cubicBezTo>
                  <a:pt x="16368" y="20618"/>
                  <a:pt x="15709" y="19959"/>
                  <a:pt x="15709" y="19145"/>
                </a:cubicBezTo>
                <a:lnTo>
                  <a:pt x="15709" y="14236"/>
                </a:lnTo>
                <a:cubicBezTo>
                  <a:pt x="15709" y="13424"/>
                  <a:pt x="16368" y="12764"/>
                  <a:pt x="17182" y="12764"/>
                </a:cubicBezTo>
                <a:cubicBezTo>
                  <a:pt x="17995" y="12764"/>
                  <a:pt x="18655" y="13424"/>
                  <a:pt x="18655" y="14236"/>
                </a:cubicBezTo>
                <a:cubicBezTo>
                  <a:pt x="18655" y="14236"/>
                  <a:pt x="18655" y="19145"/>
                  <a:pt x="18655" y="19145"/>
                </a:cubicBezTo>
                <a:close/>
                <a:moveTo>
                  <a:pt x="4418" y="12764"/>
                </a:moveTo>
                <a:cubicBezTo>
                  <a:pt x="5231" y="12764"/>
                  <a:pt x="5891" y="13424"/>
                  <a:pt x="5891" y="14236"/>
                </a:cubicBezTo>
                <a:lnTo>
                  <a:pt x="5891" y="19145"/>
                </a:lnTo>
                <a:cubicBezTo>
                  <a:pt x="5891" y="19959"/>
                  <a:pt x="5231" y="20618"/>
                  <a:pt x="4418" y="20618"/>
                </a:cubicBezTo>
                <a:cubicBezTo>
                  <a:pt x="3605" y="20618"/>
                  <a:pt x="2945" y="19959"/>
                  <a:pt x="2945" y="19145"/>
                </a:cubicBezTo>
                <a:lnTo>
                  <a:pt x="2945" y="14236"/>
                </a:lnTo>
                <a:cubicBezTo>
                  <a:pt x="2945" y="13424"/>
                  <a:pt x="3605" y="12764"/>
                  <a:pt x="4418" y="12764"/>
                </a:cubicBezTo>
                <a:moveTo>
                  <a:pt x="1964" y="18655"/>
                </a:moveTo>
                <a:cubicBezTo>
                  <a:pt x="1422" y="18655"/>
                  <a:pt x="982" y="18215"/>
                  <a:pt x="982" y="17673"/>
                </a:cubicBezTo>
                <a:lnTo>
                  <a:pt x="982" y="15709"/>
                </a:lnTo>
                <a:cubicBezTo>
                  <a:pt x="982" y="15167"/>
                  <a:pt x="1422" y="14727"/>
                  <a:pt x="1964" y="14727"/>
                </a:cubicBezTo>
                <a:cubicBezTo>
                  <a:pt x="1964" y="14727"/>
                  <a:pt x="1964" y="18655"/>
                  <a:pt x="1964" y="18655"/>
                </a:cubicBezTo>
                <a:close/>
                <a:moveTo>
                  <a:pt x="19636" y="13745"/>
                </a:moveTo>
                <a:lnTo>
                  <a:pt x="19636" y="5891"/>
                </a:lnTo>
                <a:cubicBezTo>
                  <a:pt x="19636" y="2638"/>
                  <a:pt x="16999" y="0"/>
                  <a:pt x="13745" y="0"/>
                </a:cubicBezTo>
                <a:lnTo>
                  <a:pt x="7855" y="0"/>
                </a:lnTo>
                <a:cubicBezTo>
                  <a:pt x="4601" y="0"/>
                  <a:pt x="1964" y="2638"/>
                  <a:pt x="1964" y="5891"/>
                </a:cubicBezTo>
                <a:lnTo>
                  <a:pt x="1964" y="13745"/>
                </a:lnTo>
                <a:cubicBezTo>
                  <a:pt x="879" y="13745"/>
                  <a:pt x="0" y="14625"/>
                  <a:pt x="0" y="15709"/>
                </a:cubicBezTo>
                <a:lnTo>
                  <a:pt x="0" y="17673"/>
                </a:lnTo>
                <a:cubicBezTo>
                  <a:pt x="0" y="18757"/>
                  <a:pt x="879" y="19636"/>
                  <a:pt x="1964" y="19636"/>
                </a:cubicBezTo>
                <a:lnTo>
                  <a:pt x="2013" y="19636"/>
                </a:lnTo>
                <a:cubicBezTo>
                  <a:pt x="2241" y="20757"/>
                  <a:pt x="3231" y="21600"/>
                  <a:pt x="4418" y="21600"/>
                </a:cubicBezTo>
                <a:cubicBezTo>
                  <a:pt x="5774" y="21600"/>
                  <a:pt x="6873" y="20501"/>
                  <a:pt x="6873" y="19145"/>
                </a:cubicBezTo>
                <a:lnTo>
                  <a:pt x="6873" y="14236"/>
                </a:lnTo>
                <a:cubicBezTo>
                  <a:pt x="6873" y="12881"/>
                  <a:pt x="5774" y="11782"/>
                  <a:pt x="4418" y="11782"/>
                </a:cubicBezTo>
                <a:cubicBezTo>
                  <a:pt x="3863" y="11782"/>
                  <a:pt x="3357" y="11973"/>
                  <a:pt x="2945" y="12284"/>
                </a:cubicBezTo>
                <a:lnTo>
                  <a:pt x="2945" y="5891"/>
                </a:lnTo>
                <a:cubicBezTo>
                  <a:pt x="2945" y="3180"/>
                  <a:pt x="5144" y="982"/>
                  <a:pt x="7855" y="982"/>
                </a:cubicBezTo>
                <a:lnTo>
                  <a:pt x="13745" y="982"/>
                </a:lnTo>
                <a:cubicBezTo>
                  <a:pt x="16456" y="982"/>
                  <a:pt x="18655" y="3180"/>
                  <a:pt x="18655" y="5891"/>
                </a:cubicBezTo>
                <a:lnTo>
                  <a:pt x="18655" y="12284"/>
                </a:lnTo>
                <a:cubicBezTo>
                  <a:pt x="18243" y="11973"/>
                  <a:pt x="17737" y="11782"/>
                  <a:pt x="17182" y="11782"/>
                </a:cubicBezTo>
                <a:cubicBezTo>
                  <a:pt x="15826" y="11782"/>
                  <a:pt x="14727" y="12881"/>
                  <a:pt x="14727" y="14236"/>
                </a:cubicBezTo>
                <a:lnTo>
                  <a:pt x="14727" y="19145"/>
                </a:lnTo>
                <a:cubicBezTo>
                  <a:pt x="14727" y="20501"/>
                  <a:pt x="15826" y="21600"/>
                  <a:pt x="17182" y="21600"/>
                </a:cubicBezTo>
                <a:cubicBezTo>
                  <a:pt x="18369" y="21600"/>
                  <a:pt x="19359" y="20757"/>
                  <a:pt x="19587" y="19636"/>
                </a:cubicBezTo>
                <a:lnTo>
                  <a:pt x="19636" y="19636"/>
                </a:lnTo>
                <a:cubicBezTo>
                  <a:pt x="20721" y="19636"/>
                  <a:pt x="21600" y="18757"/>
                  <a:pt x="21600" y="17673"/>
                </a:cubicBezTo>
                <a:lnTo>
                  <a:pt x="21600" y="15709"/>
                </a:lnTo>
                <a:cubicBezTo>
                  <a:pt x="21600" y="14625"/>
                  <a:pt x="20721" y="13745"/>
                  <a:pt x="19636" y="13745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87" name="Shape 2687"/>
          <p:cNvSpPr/>
          <p:nvPr/>
        </p:nvSpPr>
        <p:spPr>
          <a:xfrm>
            <a:off x="6277049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6200"/>
                </a:moveTo>
                <a:lnTo>
                  <a:pt x="15709" y="16200"/>
                </a:lnTo>
                <a:lnTo>
                  <a:pt x="15709" y="14727"/>
                </a:lnTo>
                <a:lnTo>
                  <a:pt x="18655" y="14727"/>
                </a:lnTo>
                <a:cubicBezTo>
                  <a:pt x="18655" y="14727"/>
                  <a:pt x="18655" y="16200"/>
                  <a:pt x="18655" y="16200"/>
                </a:cubicBezTo>
                <a:close/>
                <a:moveTo>
                  <a:pt x="18655" y="18655"/>
                </a:moveTo>
                <a:lnTo>
                  <a:pt x="15709" y="18655"/>
                </a:lnTo>
                <a:lnTo>
                  <a:pt x="15709" y="17182"/>
                </a:lnTo>
                <a:lnTo>
                  <a:pt x="18655" y="17182"/>
                </a:lnTo>
                <a:cubicBezTo>
                  <a:pt x="18655" y="17182"/>
                  <a:pt x="18655" y="18655"/>
                  <a:pt x="18655" y="18655"/>
                </a:cubicBezTo>
                <a:close/>
                <a:moveTo>
                  <a:pt x="17182" y="20618"/>
                </a:moveTo>
                <a:cubicBezTo>
                  <a:pt x="16542" y="20618"/>
                  <a:pt x="16002" y="20207"/>
                  <a:pt x="15799" y="19636"/>
                </a:cubicBezTo>
                <a:lnTo>
                  <a:pt x="18564" y="19636"/>
                </a:lnTo>
                <a:cubicBezTo>
                  <a:pt x="18361" y="20207"/>
                  <a:pt x="17822" y="20618"/>
                  <a:pt x="17182" y="20618"/>
                </a:cubicBezTo>
                <a:moveTo>
                  <a:pt x="17182" y="12764"/>
                </a:moveTo>
                <a:cubicBezTo>
                  <a:pt x="17822" y="12764"/>
                  <a:pt x="18361" y="13175"/>
                  <a:pt x="18564" y="13745"/>
                </a:cubicBezTo>
                <a:lnTo>
                  <a:pt x="15799" y="13745"/>
                </a:lnTo>
                <a:cubicBezTo>
                  <a:pt x="16002" y="13175"/>
                  <a:pt x="16542" y="12764"/>
                  <a:pt x="17182" y="12764"/>
                </a:cubicBezTo>
                <a:moveTo>
                  <a:pt x="5891" y="16200"/>
                </a:moveTo>
                <a:lnTo>
                  <a:pt x="2945" y="16200"/>
                </a:lnTo>
                <a:lnTo>
                  <a:pt x="2945" y="14727"/>
                </a:lnTo>
                <a:lnTo>
                  <a:pt x="5891" y="14727"/>
                </a:lnTo>
                <a:cubicBezTo>
                  <a:pt x="5891" y="14727"/>
                  <a:pt x="5891" y="16200"/>
                  <a:pt x="5891" y="16200"/>
                </a:cubicBezTo>
                <a:close/>
                <a:moveTo>
                  <a:pt x="4418" y="12764"/>
                </a:moveTo>
                <a:cubicBezTo>
                  <a:pt x="5058" y="12764"/>
                  <a:pt x="5598" y="13175"/>
                  <a:pt x="5801" y="13745"/>
                </a:cubicBezTo>
                <a:lnTo>
                  <a:pt x="3036" y="13745"/>
                </a:lnTo>
                <a:cubicBezTo>
                  <a:pt x="3239" y="13175"/>
                  <a:pt x="3778" y="12764"/>
                  <a:pt x="4418" y="12764"/>
                </a:cubicBezTo>
                <a:moveTo>
                  <a:pt x="5891" y="18655"/>
                </a:moveTo>
                <a:lnTo>
                  <a:pt x="2945" y="18655"/>
                </a:lnTo>
                <a:lnTo>
                  <a:pt x="2945" y="17182"/>
                </a:lnTo>
                <a:lnTo>
                  <a:pt x="5891" y="17182"/>
                </a:lnTo>
                <a:cubicBezTo>
                  <a:pt x="5891" y="17182"/>
                  <a:pt x="5891" y="18655"/>
                  <a:pt x="5891" y="18655"/>
                </a:cubicBezTo>
                <a:close/>
                <a:moveTo>
                  <a:pt x="4418" y="20618"/>
                </a:moveTo>
                <a:cubicBezTo>
                  <a:pt x="3778" y="20618"/>
                  <a:pt x="3239" y="20207"/>
                  <a:pt x="3036" y="19636"/>
                </a:cubicBezTo>
                <a:lnTo>
                  <a:pt x="5801" y="19636"/>
                </a:lnTo>
                <a:cubicBezTo>
                  <a:pt x="5598" y="20207"/>
                  <a:pt x="5058" y="20618"/>
                  <a:pt x="4418" y="20618"/>
                </a:cubicBezTo>
                <a:moveTo>
                  <a:pt x="19636" y="13745"/>
                </a:moveTo>
                <a:lnTo>
                  <a:pt x="19636" y="8836"/>
                </a:lnTo>
                <a:cubicBezTo>
                  <a:pt x="19636" y="3956"/>
                  <a:pt x="15680" y="0"/>
                  <a:pt x="10800" y="0"/>
                </a:cubicBezTo>
                <a:cubicBezTo>
                  <a:pt x="5920" y="0"/>
                  <a:pt x="1964" y="3956"/>
                  <a:pt x="1964" y="8836"/>
                </a:cubicBezTo>
                <a:lnTo>
                  <a:pt x="1964" y="13745"/>
                </a:lnTo>
                <a:cubicBezTo>
                  <a:pt x="879" y="13745"/>
                  <a:pt x="0" y="14625"/>
                  <a:pt x="0" y="15709"/>
                </a:cubicBezTo>
                <a:lnTo>
                  <a:pt x="0" y="17673"/>
                </a:lnTo>
                <a:cubicBezTo>
                  <a:pt x="0" y="18757"/>
                  <a:pt x="879" y="19636"/>
                  <a:pt x="1964" y="19636"/>
                </a:cubicBezTo>
                <a:lnTo>
                  <a:pt x="2013" y="19636"/>
                </a:lnTo>
                <a:cubicBezTo>
                  <a:pt x="2241" y="20757"/>
                  <a:pt x="3231" y="21600"/>
                  <a:pt x="4418" y="21600"/>
                </a:cubicBezTo>
                <a:cubicBezTo>
                  <a:pt x="5774" y="21600"/>
                  <a:pt x="6873" y="20501"/>
                  <a:pt x="6873" y="19145"/>
                </a:cubicBezTo>
                <a:lnTo>
                  <a:pt x="6873" y="14236"/>
                </a:lnTo>
                <a:cubicBezTo>
                  <a:pt x="6873" y="12881"/>
                  <a:pt x="5774" y="11782"/>
                  <a:pt x="4418" y="11782"/>
                </a:cubicBezTo>
                <a:cubicBezTo>
                  <a:pt x="3864" y="11782"/>
                  <a:pt x="3356" y="11971"/>
                  <a:pt x="2945" y="12282"/>
                </a:cubicBezTo>
                <a:lnTo>
                  <a:pt x="2945" y="8836"/>
                </a:lnTo>
                <a:cubicBezTo>
                  <a:pt x="2945" y="4499"/>
                  <a:pt x="6462" y="982"/>
                  <a:pt x="10800" y="982"/>
                </a:cubicBezTo>
                <a:cubicBezTo>
                  <a:pt x="15138" y="982"/>
                  <a:pt x="18655" y="4499"/>
                  <a:pt x="18655" y="8836"/>
                </a:cubicBezTo>
                <a:lnTo>
                  <a:pt x="18655" y="12282"/>
                </a:lnTo>
                <a:cubicBezTo>
                  <a:pt x="18244" y="11971"/>
                  <a:pt x="17736" y="11782"/>
                  <a:pt x="17182" y="11782"/>
                </a:cubicBezTo>
                <a:cubicBezTo>
                  <a:pt x="15826" y="11782"/>
                  <a:pt x="14727" y="12881"/>
                  <a:pt x="14727" y="14236"/>
                </a:cubicBezTo>
                <a:lnTo>
                  <a:pt x="14727" y="19145"/>
                </a:lnTo>
                <a:cubicBezTo>
                  <a:pt x="14727" y="20501"/>
                  <a:pt x="15826" y="21600"/>
                  <a:pt x="17182" y="21600"/>
                </a:cubicBezTo>
                <a:cubicBezTo>
                  <a:pt x="18369" y="21600"/>
                  <a:pt x="19360" y="20757"/>
                  <a:pt x="19587" y="19636"/>
                </a:cubicBezTo>
                <a:lnTo>
                  <a:pt x="19636" y="19636"/>
                </a:lnTo>
                <a:cubicBezTo>
                  <a:pt x="20721" y="19636"/>
                  <a:pt x="21600" y="18757"/>
                  <a:pt x="21600" y="17673"/>
                </a:cubicBezTo>
                <a:lnTo>
                  <a:pt x="21600" y="15709"/>
                </a:lnTo>
                <a:cubicBezTo>
                  <a:pt x="21600" y="14625"/>
                  <a:pt x="20721" y="13745"/>
                  <a:pt x="19636" y="13745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88" name="Shape 2688"/>
          <p:cNvSpPr/>
          <p:nvPr/>
        </p:nvSpPr>
        <p:spPr>
          <a:xfrm>
            <a:off x="6810311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309"/>
                </a:moveTo>
                <a:cubicBezTo>
                  <a:pt x="20618" y="10851"/>
                  <a:pt x="20178" y="11291"/>
                  <a:pt x="19636" y="11291"/>
                </a:cubicBezTo>
                <a:lnTo>
                  <a:pt x="19636" y="7364"/>
                </a:lnTo>
                <a:cubicBezTo>
                  <a:pt x="20178" y="7364"/>
                  <a:pt x="20618" y="7804"/>
                  <a:pt x="20618" y="8345"/>
                </a:cubicBezTo>
                <a:cubicBezTo>
                  <a:pt x="20618" y="8345"/>
                  <a:pt x="20618" y="10309"/>
                  <a:pt x="20618" y="10309"/>
                </a:cubicBezTo>
                <a:close/>
                <a:moveTo>
                  <a:pt x="18655" y="17182"/>
                </a:moveTo>
                <a:cubicBezTo>
                  <a:pt x="18655" y="17453"/>
                  <a:pt x="18434" y="17673"/>
                  <a:pt x="18164" y="17673"/>
                </a:cubicBezTo>
                <a:cubicBezTo>
                  <a:pt x="17893" y="17673"/>
                  <a:pt x="17673" y="17453"/>
                  <a:pt x="17673" y="17182"/>
                </a:cubicBezTo>
                <a:lnTo>
                  <a:pt x="17673" y="1473"/>
                </a:lnTo>
                <a:cubicBezTo>
                  <a:pt x="17673" y="1202"/>
                  <a:pt x="17893" y="982"/>
                  <a:pt x="18164" y="982"/>
                </a:cubicBezTo>
                <a:cubicBezTo>
                  <a:pt x="18434" y="982"/>
                  <a:pt x="18655" y="1202"/>
                  <a:pt x="18655" y="1473"/>
                </a:cubicBezTo>
                <a:cubicBezTo>
                  <a:pt x="18655" y="1473"/>
                  <a:pt x="18655" y="17182"/>
                  <a:pt x="18655" y="17182"/>
                </a:cubicBezTo>
                <a:close/>
                <a:moveTo>
                  <a:pt x="16691" y="15788"/>
                </a:moveTo>
                <a:lnTo>
                  <a:pt x="2945" y="11745"/>
                </a:lnTo>
                <a:lnTo>
                  <a:pt x="2945" y="6910"/>
                </a:lnTo>
                <a:lnTo>
                  <a:pt x="16691" y="2867"/>
                </a:lnTo>
                <a:cubicBezTo>
                  <a:pt x="16691" y="2867"/>
                  <a:pt x="16691" y="15788"/>
                  <a:pt x="16691" y="15788"/>
                </a:cubicBezTo>
                <a:close/>
                <a:moveTo>
                  <a:pt x="8251" y="18655"/>
                </a:moveTo>
                <a:lnTo>
                  <a:pt x="5357" y="18655"/>
                </a:lnTo>
                <a:lnTo>
                  <a:pt x="4126" y="13116"/>
                </a:lnTo>
                <a:lnTo>
                  <a:pt x="7167" y="14010"/>
                </a:lnTo>
                <a:cubicBezTo>
                  <a:pt x="7167" y="14010"/>
                  <a:pt x="8251" y="18655"/>
                  <a:pt x="8251" y="18655"/>
                </a:cubicBezTo>
                <a:close/>
                <a:moveTo>
                  <a:pt x="8709" y="20618"/>
                </a:moveTo>
                <a:lnTo>
                  <a:pt x="5794" y="20618"/>
                </a:lnTo>
                <a:lnTo>
                  <a:pt x="5576" y="19636"/>
                </a:lnTo>
                <a:lnTo>
                  <a:pt x="8479" y="19636"/>
                </a:lnTo>
                <a:cubicBezTo>
                  <a:pt x="8479" y="19636"/>
                  <a:pt x="8709" y="20618"/>
                  <a:pt x="8709" y="20618"/>
                </a:cubicBezTo>
                <a:close/>
                <a:moveTo>
                  <a:pt x="1964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1964" y="6873"/>
                </a:lnTo>
                <a:cubicBezTo>
                  <a:pt x="1964" y="6873"/>
                  <a:pt x="1964" y="11782"/>
                  <a:pt x="1964" y="11782"/>
                </a:cubicBezTo>
                <a:close/>
                <a:moveTo>
                  <a:pt x="19636" y="6382"/>
                </a:moveTo>
                <a:lnTo>
                  <a:pt x="19636" y="1473"/>
                </a:lnTo>
                <a:cubicBezTo>
                  <a:pt x="19636" y="659"/>
                  <a:pt x="18977" y="0"/>
                  <a:pt x="18164" y="0"/>
                </a:cubicBezTo>
                <a:cubicBezTo>
                  <a:pt x="17350" y="0"/>
                  <a:pt x="16691" y="659"/>
                  <a:pt x="16691" y="1473"/>
                </a:cubicBezTo>
                <a:lnTo>
                  <a:pt x="16691" y="1844"/>
                </a:lnTo>
                <a:lnTo>
                  <a:pt x="2459" y="6029"/>
                </a:lnTo>
                <a:cubicBezTo>
                  <a:pt x="2313" y="5944"/>
                  <a:pt x="2145" y="5891"/>
                  <a:pt x="1964" y="5891"/>
                </a:cubicBez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11782"/>
                </a:lnTo>
                <a:cubicBezTo>
                  <a:pt x="0" y="12324"/>
                  <a:pt x="440" y="12764"/>
                  <a:pt x="982" y="12764"/>
                </a:cubicBezTo>
                <a:lnTo>
                  <a:pt x="1964" y="12764"/>
                </a:lnTo>
                <a:cubicBezTo>
                  <a:pt x="2145" y="12764"/>
                  <a:pt x="2313" y="12711"/>
                  <a:pt x="2458" y="12626"/>
                </a:cubicBezTo>
                <a:lnTo>
                  <a:pt x="3050" y="12799"/>
                </a:lnTo>
                <a:lnTo>
                  <a:pt x="4921" y="21216"/>
                </a:lnTo>
                <a:lnTo>
                  <a:pt x="4930" y="21214"/>
                </a:lnTo>
                <a:cubicBezTo>
                  <a:pt x="4979" y="21433"/>
                  <a:pt x="5166" y="21600"/>
                  <a:pt x="5400" y="21600"/>
                </a:cubicBezTo>
                <a:lnTo>
                  <a:pt x="9327" y="21600"/>
                </a:lnTo>
                <a:cubicBezTo>
                  <a:pt x="9598" y="21600"/>
                  <a:pt x="9818" y="21381"/>
                  <a:pt x="9818" y="21109"/>
                </a:cubicBezTo>
                <a:cubicBezTo>
                  <a:pt x="9818" y="21072"/>
                  <a:pt x="9805" y="21039"/>
                  <a:pt x="9797" y="21005"/>
                </a:cubicBezTo>
                <a:lnTo>
                  <a:pt x="9806" y="21003"/>
                </a:lnTo>
                <a:lnTo>
                  <a:pt x="8249" y="14329"/>
                </a:lnTo>
                <a:lnTo>
                  <a:pt x="16691" y="16811"/>
                </a:lnTo>
                <a:lnTo>
                  <a:pt x="16691" y="17182"/>
                </a:lnTo>
                <a:cubicBezTo>
                  <a:pt x="16691" y="17995"/>
                  <a:pt x="17350" y="18655"/>
                  <a:pt x="18164" y="18655"/>
                </a:cubicBezTo>
                <a:cubicBezTo>
                  <a:pt x="18977" y="18655"/>
                  <a:pt x="19636" y="17995"/>
                  <a:pt x="19636" y="17182"/>
                </a:cubicBezTo>
                <a:lnTo>
                  <a:pt x="19636" y="12273"/>
                </a:lnTo>
                <a:cubicBezTo>
                  <a:pt x="20721" y="12273"/>
                  <a:pt x="21600" y="11394"/>
                  <a:pt x="21600" y="10309"/>
                </a:cubicBezTo>
                <a:lnTo>
                  <a:pt x="21600" y="8345"/>
                </a:lnTo>
                <a:cubicBezTo>
                  <a:pt x="21600" y="7261"/>
                  <a:pt x="20721" y="6382"/>
                  <a:pt x="19636" y="6382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89" name="Shape 2689"/>
          <p:cNvSpPr/>
          <p:nvPr/>
        </p:nvSpPr>
        <p:spPr>
          <a:xfrm>
            <a:off x="7343572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1291"/>
                </a:moveTo>
                <a:lnTo>
                  <a:pt x="18655" y="7364"/>
                </a:lnTo>
                <a:cubicBezTo>
                  <a:pt x="19739" y="7364"/>
                  <a:pt x="20618" y="8243"/>
                  <a:pt x="20618" y="9327"/>
                </a:cubicBezTo>
                <a:cubicBezTo>
                  <a:pt x="20618" y="10412"/>
                  <a:pt x="19739" y="11291"/>
                  <a:pt x="18655" y="11291"/>
                </a:cubicBezTo>
                <a:moveTo>
                  <a:pt x="17673" y="17182"/>
                </a:moveTo>
                <a:cubicBezTo>
                  <a:pt x="17673" y="17453"/>
                  <a:pt x="17453" y="17673"/>
                  <a:pt x="17182" y="17673"/>
                </a:cubicBezTo>
                <a:cubicBezTo>
                  <a:pt x="16911" y="17673"/>
                  <a:pt x="16691" y="17453"/>
                  <a:pt x="16691" y="17182"/>
                </a:cubicBezTo>
                <a:lnTo>
                  <a:pt x="16691" y="1473"/>
                </a:lnTo>
                <a:cubicBezTo>
                  <a:pt x="16691" y="1202"/>
                  <a:pt x="16911" y="982"/>
                  <a:pt x="17182" y="982"/>
                </a:cubicBezTo>
                <a:cubicBezTo>
                  <a:pt x="17453" y="982"/>
                  <a:pt x="17673" y="1202"/>
                  <a:pt x="17673" y="1473"/>
                </a:cubicBezTo>
                <a:cubicBezTo>
                  <a:pt x="17673" y="1473"/>
                  <a:pt x="17673" y="17182"/>
                  <a:pt x="17673" y="17182"/>
                </a:cubicBezTo>
                <a:close/>
                <a:moveTo>
                  <a:pt x="15709" y="15780"/>
                </a:moveTo>
                <a:lnTo>
                  <a:pt x="8836" y="13718"/>
                </a:lnTo>
                <a:lnTo>
                  <a:pt x="8836" y="4937"/>
                </a:lnTo>
                <a:lnTo>
                  <a:pt x="15709" y="2875"/>
                </a:lnTo>
                <a:cubicBezTo>
                  <a:pt x="15709" y="2875"/>
                  <a:pt x="15709" y="15780"/>
                  <a:pt x="15709" y="15780"/>
                </a:cubicBezTo>
                <a:close/>
                <a:moveTo>
                  <a:pt x="9479" y="19636"/>
                </a:moveTo>
                <a:lnTo>
                  <a:pt x="9697" y="20618"/>
                </a:lnTo>
                <a:lnTo>
                  <a:pt x="6775" y="20618"/>
                </a:lnTo>
                <a:lnTo>
                  <a:pt x="6558" y="19636"/>
                </a:lnTo>
                <a:cubicBezTo>
                  <a:pt x="6558" y="19636"/>
                  <a:pt x="9479" y="19636"/>
                  <a:pt x="9479" y="19636"/>
                </a:cubicBezTo>
                <a:close/>
                <a:moveTo>
                  <a:pt x="6339" y="18655"/>
                </a:moveTo>
                <a:lnTo>
                  <a:pt x="5356" y="14232"/>
                </a:lnTo>
                <a:lnTo>
                  <a:pt x="8176" y="14545"/>
                </a:lnTo>
                <a:lnTo>
                  <a:pt x="8360" y="14600"/>
                </a:lnTo>
                <a:lnTo>
                  <a:pt x="9260" y="18655"/>
                </a:lnTo>
                <a:cubicBezTo>
                  <a:pt x="9260" y="18655"/>
                  <a:pt x="6339" y="18655"/>
                  <a:pt x="6339" y="18655"/>
                </a:cubicBezTo>
                <a:close/>
                <a:moveTo>
                  <a:pt x="982" y="12764"/>
                </a:moveTo>
                <a:lnTo>
                  <a:pt x="982" y="10800"/>
                </a:lnTo>
                <a:lnTo>
                  <a:pt x="3436" y="10800"/>
                </a:lnTo>
                <a:cubicBezTo>
                  <a:pt x="3707" y="10800"/>
                  <a:pt x="3927" y="10581"/>
                  <a:pt x="3927" y="10309"/>
                </a:cubicBezTo>
                <a:cubicBezTo>
                  <a:pt x="3927" y="10038"/>
                  <a:pt x="3707" y="9818"/>
                  <a:pt x="3436" y="9818"/>
                </a:cubicBezTo>
                <a:lnTo>
                  <a:pt x="982" y="9818"/>
                </a:lnTo>
                <a:lnTo>
                  <a:pt x="982" y="8836"/>
                </a:lnTo>
                <a:lnTo>
                  <a:pt x="2455" y="8836"/>
                </a:lnTo>
                <a:cubicBezTo>
                  <a:pt x="2725" y="8836"/>
                  <a:pt x="2945" y="8617"/>
                  <a:pt x="2945" y="8345"/>
                </a:cubicBezTo>
                <a:cubicBezTo>
                  <a:pt x="2945" y="8075"/>
                  <a:pt x="2725" y="7855"/>
                  <a:pt x="2455" y="7855"/>
                </a:cubicBezTo>
                <a:lnTo>
                  <a:pt x="982" y="7855"/>
                </a:lnTo>
                <a:lnTo>
                  <a:pt x="982" y="5891"/>
                </a:lnTo>
                <a:lnTo>
                  <a:pt x="7855" y="5128"/>
                </a:lnTo>
                <a:lnTo>
                  <a:pt x="7855" y="13528"/>
                </a:lnTo>
                <a:cubicBezTo>
                  <a:pt x="7855" y="13528"/>
                  <a:pt x="982" y="12764"/>
                  <a:pt x="982" y="12764"/>
                </a:cubicBezTo>
                <a:close/>
                <a:moveTo>
                  <a:pt x="18655" y="6382"/>
                </a:moveTo>
                <a:lnTo>
                  <a:pt x="18655" y="1473"/>
                </a:lnTo>
                <a:cubicBezTo>
                  <a:pt x="18655" y="659"/>
                  <a:pt x="17995" y="0"/>
                  <a:pt x="17182" y="0"/>
                </a:cubicBezTo>
                <a:cubicBezTo>
                  <a:pt x="16368" y="0"/>
                  <a:pt x="15709" y="659"/>
                  <a:pt x="15709" y="1473"/>
                </a:cubicBezTo>
                <a:lnTo>
                  <a:pt x="15709" y="1850"/>
                </a:lnTo>
                <a:lnTo>
                  <a:pt x="8175" y="4110"/>
                </a:ln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12764"/>
                </a:lnTo>
                <a:cubicBezTo>
                  <a:pt x="0" y="13306"/>
                  <a:pt x="440" y="13745"/>
                  <a:pt x="982" y="13745"/>
                </a:cubicBezTo>
                <a:lnTo>
                  <a:pt x="4325" y="14117"/>
                </a:lnTo>
                <a:lnTo>
                  <a:pt x="5903" y="21216"/>
                </a:lnTo>
                <a:lnTo>
                  <a:pt x="5912" y="21214"/>
                </a:lnTo>
                <a:cubicBezTo>
                  <a:pt x="5961" y="21433"/>
                  <a:pt x="6148" y="21600"/>
                  <a:pt x="6382" y="21600"/>
                </a:cubicBezTo>
                <a:lnTo>
                  <a:pt x="10309" y="21600"/>
                </a:lnTo>
                <a:cubicBezTo>
                  <a:pt x="10580" y="21600"/>
                  <a:pt x="10800" y="21381"/>
                  <a:pt x="10800" y="21109"/>
                </a:cubicBezTo>
                <a:cubicBezTo>
                  <a:pt x="10800" y="21072"/>
                  <a:pt x="10787" y="21039"/>
                  <a:pt x="10779" y="21005"/>
                </a:cubicBezTo>
                <a:lnTo>
                  <a:pt x="10788" y="21003"/>
                </a:lnTo>
                <a:lnTo>
                  <a:pt x="9437" y="14923"/>
                </a:lnTo>
                <a:lnTo>
                  <a:pt x="15709" y="16805"/>
                </a:lnTo>
                <a:lnTo>
                  <a:pt x="15709" y="17182"/>
                </a:lnTo>
                <a:cubicBezTo>
                  <a:pt x="15709" y="17995"/>
                  <a:pt x="16368" y="18655"/>
                  <a:pt x="17182" y="18655"/>
                </a:cubicBezTo>
                <a:cubicBezTo>
                  <a:pt x="17995" y="18655"/>
                  <a:pt x="18655" y="17995"/>
                  <a:pt x="18655" y="17182"/>
                </a:cubicBezTo>
                <a:lnTo>
                  <a:pt x="18655" y="12273"/>
                </a:lnTo>
                <a:cubicBezTo>
                  <a:pt x="20281" y="12273"/>
                  <a:pt x="21600" y="10954"/>
                  <a:pt x="21600" y="9327"/>
                </a:cubicBezTo>
                <a:cubicBezTo>
                  <a:pt x="21600" y="7701"/>
                  <a:pt x="20281" y="6382"/>
                  <a:pt x="18655" y="6382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90" name="Shape 2690"/>
          <p:cNvSpPr/>
          <p:nvPr/>
        </p:nvSpPr>
        <p:spPr>
          <a:xfrm>
            <a:off x="7876833" y="1972500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880"/>
                </a:moveTo>
                <a:cubicBezTo>
                  <a:pt x="20618" y="12476"/>
                  <a:pt x="20178" y="12960"/>
                  <a:pt x="19636" y="12960"/>
                </a:cubicBezTo>
                <a:lnTo>
                  <a:pt x="19636" y="8640"/>
                </a:lnTo>
                <a:cubicBezTo>
                  <a:pt x="20178" y="8640"/>
                  <a:pt x="20618" y="9124"/>
                  <a:pt x="20618" y="9720"/>
                </a:cubicBezTo>
                <a:cubicBezTo>
                  <a:pt x="20618" y="9720"/>
                  <a:pt x="20618" y="11880"/>
                  <a:pt x="20618" y="11880"/>
                </a:cubicBezTo>
                <a:close/>
                <a:moveTo>
                  <a:pt x="18655" y="19980"/>
                </a:moveTo>
                <a:cubicBezTo>
                  <a:pt x="18655" y="20279"/>
                  <a:pt x="18434" y="20520"/>
                  <a:pt x="18164" y="20520"/>
                </a:cubicBezTo>
                <a:cubicBezTo>
                  <a:pt x="17893" y="20520"/>
                  <a:pt x="17673" y="20279"/>
                  <a:pt x="17673" y="19980"/>
                </a:cubicBezTo>
                <a:lnTo>
                  <a:pt x="17673" y="1620"/>
                </a:lnTo>
                <a:cubicBezTo>
                  <a:pt x="17673" y="1322"/>
                  <a:pt x="17893" y="1080"/>
                  <a:pt x="18164" y="1080"/>
                </a:cubicBezTo>
                <a:cubicBezTo>
                  <a:pt x="18434" y="1080"/>
                  <a:pt x="18655" y="1322"/>
                  <a:pt x="18655" y="1620"/>
                </a:cubicBezTo>
                <a:cubicBezTo>
                  <a:pt x="18655" y="1620"/>
                  <a:pt x="18655" y="19980"/>
                  <a:pt x="18655" y="19980"/>
                </a:cubicBezTo>
                <a:close/>
                <a:moveTo>
                  <a:pt x="16691" y="18404"/>
                </a:moveTo>
                <a:lnTo>
                  <a:pt x="2944" y="13512"/>
                </a:lnTo>
                <a:cubicBezTo>
                  <a:pt x="2944" y="13508"/>
                  <a:pt x="2945" y="13504"/>
                  <a:pt x="2945" y="13500"/>
                </a:cubicBezTo>
                <a:lnTo>
                  <a:pt x="2945" y="8100"/>
                </a:lnTo>
                <a:cubicBezTo>
                  <a:pt x="2945" y="8096"/>
                  <a:pt x="2944" y="8093"/>
                  <a:pt x="2944" y="8089"/>
                </a:cubicBezTo>
                <a:lnTo>
                  <a:pt x="16691" y="3197"/>
                </a:lnTo>
                <a:cubicBezTo>
                  <a:pt x="16691" y="3197"/>
                  <a:pt x="16691" y="18404"/>
                  <a:pt x="16691" y="18404"/>
                </a:cubicBezTo>
                <a:close/>
                <a:moveTo>
                  <a:pt x="12480" y="18725"/>
                </a:moveTo>
                <a:cubicBezTo>
                  <a:pt x="12316" y="19294"/>
                  <a:pt x="11764" y="19608"/>
                  <a:pt x="11247" y="19428"/>
                </a:cubicBezTo>
                <a:lnTo>
                  <a:pt x="6102" y="17625"/>
                </a:lnTo>
                <a:cubicBezTo>
                  <a:pt x="5585" y="17444"/>
                  <a:pt x="5299" y="16837"/>
                  <a:pt x="5464" y="16269"/>
                </a:cubicBezTo>
                <a:lnTo>
                  <a:pt x="5654" y="15610"/>
                </a:lnTo>
                <a:lnTo>
                  <a:pt x="12661" y="18104"/>
                </a:lnTo>
                <a:cubicBezTo>
                  <a:pt x="12661" y="18104"/>
                  <a:pt x="12480" y="18725"/>
                  <a:pt x="12480" y="18725"/>
                </a:cubicBezTo>
                <a:close/>
                <a:moveTo>
                  <a:pt x="1964" y="13500"/>
                </a:moveTo>
                <a:lnTo>
                  <a:pt x="982" y="13500"/>
                </a:lnTo>
                <a:lnTo>
                  <a:pt x="982" y="8100"/>
                </a:lnTo>
                <a:lnTo>
                  <a:pt x="1964" y="8100"/>
                </a:lnTo>
                <a:cubicBezTo>
                  <a:pt x="1964" y="8100"/>
                  <a:pt x="1964" y="13500"/>
                  <a:pt x="1964" y="13500"/>
                </a:cubicBezTo>
                <a:close/>
                <a:moveTo>
                  <a:pt x="19636" y="7560"/>
                </a:moveTo>
                <a:lnTo>
                  <a:pt x="19636" y="1620"/>
                </a:lnTo>
                <a:cubicBezTo>
                  <a:pt x="19636" y="725"/>
                  <a:pt x="18977" y="0"/>
                  <a:pt x="18164" y="0"/>
                </a:cubicBezTo>
                <a:cubicBezTo>
                  <a:pt x="17350" y="0"/>
                  <a:pt x="16691" y="725"/>
                  <a:pt x="16691" y="1620"/>
                </a:cubicBezTo>
                <a:lnTo>
                  <a:pt x="16691" y="2062"/>
                </a:lnTo>
                <a:lnTo>
                  <a:pt x="2411" y="7144"/>
                </a:lnTo>
                <a:cubicBezTo>
                  <a:pt x="2276" y="7067"/>
                  <a:pt x="2126" y="7020"/>
                  <a:pt x="1964" y="7020"/>
                </a:cubicBezTo>
                <a:lnTo>
                  <a:pt x="982" y="7020"/>
                </a:lnTo>
                <a:cubicBezTo>
                  <a:pt x="440" y="7020"/>
                  <a:pt x="0" y="7504"/>
                  <a:pt x="0" y="8100"/>
                </a:cubicBezTo>
                <a:lnTo>
                  <a:pt x="0" y="13500"/>
                </a:lnTo>
                <a:cubicBezTo>
                  <a:pt x="0" y="14097"/>
                  <a:pt x="440" y="14580"/>
                  <a:pt x="982" y="14580"/>
                </a:cubicBezTo>
                <a:lnTo>
                  <a:pt x="1964" y="14580"/>
                </a:lnTo>
                <a:cubicBezTo>
                  <a:pt x="2126" y="14580"/>
                  <a:pt x="2276" y="14533"/>
                  <a:pt x="2411" y="14457"/>
                </a:cubicBezTo>
                <a:lnTo>
                  <a:pt x="4720" y="15278"/>
                </a:lnTo>
                <a:lnTo>
                  <a:pt x="4529" y="15941"/>
                </a:lnTo>
                <a:cubicBezTo>
                  <a:pt x="4199" y="17078"/>
                  <a:pt x="4770" y="18292"/>
                  <a:pt x="5803" y="18654"/>
                </a:cubicBezTo>
                <a:lnTo>
                  <a:pt x="10949" y="20456"/>
                </a:lnTo>
                <a:cubicBezTo>
                  <a:pt x="11983" y="20819"/>
                  <a:pt x="13087" y="20190"/>
                  <a:pt x="13416" y="19053"/>
                </a:cubicBezTo>
                <a:lnTo>
                  <a:pt x="13595" y="18437"/>
                </a:lnTo>
                <a:lnTo>
                  <a:pt x="16691" y="19538"/>
                </a:lnTo>
                <a:lnTo>
                  <a:pt x="16691" y="19980"/>
                </a:lnTo>
                <a:cubicBezTo>
                  <a:pt x="16691" y="20875"/>
                  <a:pt x="17350" y="21600"/>
                  <a:pt x="18164" y="21600"/>
                </a:cubicBezTo>
                <a:cubicBezTo>
                  <a:pt x="18977" y="21600"/>
                  <a:pt x="19636" y="20875"/>
                  <a:pt x="19636" y="19980"/>
                </a:cubicBezTo>
                <a:lnTo>
                  <a:pt x="19636" y="14040"/>
                </a:lnTo>
                <a:cubicBezTo>
                  <a:pt x="20721" y="14040"/>
                  <a:pt x="21600" y="13073"/>
                  <a:pt x="21600" y="11880"/>
                </a:cubicBezTo>
                <a:lnTo>
                  <a:pt x="21600" y="9720"/>
                </a:lnTo>
                <a:cubicBezTo>
                  <a:pt x="21600" y="8527"/>
                  <a:pt x="20721" y="7560"/>
                  <a:pt x="19636" y="756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91" name="Shape 2691"/>
          <p:cNvSpPr/>
          <p:nvPr/>
        </p:nvSpPr>
        <p:spPr>
          <a:xfrm>
            <a:off x="8473578" y="1959803"/>
            <a:ext cx="15236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00" y="19924"/>
                </a:moveTo>
                <a:lnTo>
                  <a:pt x="12600" y="12476"/>
                </a:lnTo>
                <a:lnTo>
                  <a:pt x="19427" y="16200"/>
                </a:lnTo>
                <a:cubicBezTo>
                  <a:pt x="19427" y="16200"/>
                  <a:pt x="12600" y="19924"/>
                  <a:pt x="12600" y="19924"/>
                </a:cubicBezTo>
                <a:close/>
                <a:moveTo>
                  <a:pt x="12600" y="1676"/>
                </a:moveTo>
                <a:lnTo>
                  <a:pt x="19427" y="5400"/>
                </a:lnTo>
                <a:lnTo>
                  <a:pt x="12600" y="9124"/>
                </a:lnTo>
                <a:cubicBezTo>
                  <a:pt x="12600" y="9124"/>
                  <a:pt x="12600" y="1676"/>
                  <a:pt x="12600" y="1676"/>
                </a:cubicBezTo>
                <a:close/>
                <a:moveTo>
                  <a:pt x="21352" y="15862"/>
                </a:moveTo>
                <a:lnTo>
                  <a:pt x="21337" y="15854"/>
                </a:lnTo>
                <a:cubicBezTo>
                  <a:pt x="21336" y="15853"/>
                  <a:pt x="21335" y="15853"/>
                  <a:pt x="21335" y="15852"/>
                </a:cubicBezTo>
                <a:lnTo>
                  <a:pt x="12600" y="11088"/>
                </a:lnTo>
                <a:lnTo>
                  <a:pt x="12600" y="10512"/>
                </a:lnTo>
                <a:lnTo>
                  <a:pt x="21335" y="5748"/>
                </a:lnTo>
                <a:lnTo>
                  <a:pt x="21336" y="5747"/>
                </a:lnTo>
                <a:lnTo>
                  <a:pt x="21352" y="5739"/>
                </a:lnTo>
                <a:lnTo>
                  <a:pt x="21349" y="5738"/>
                </a:lnTo>
                <a:cubicBezTo>
                  <a:pt x="21503" y="5649"/>
                  <a:pt x="21600" y="5532"/>
                  <a:pt x="21600" y="5400"/>
                </a:cubicBezTo>
                <a:cubicBezTo>
                  <a:pt x="21600" y="5265"/>
                  <a:pt x="21499" y="5142"/>
                  <a:pt x="21336" y="5053"/>
                </a:cubicBezTo>
                <a:lnTo>
                  <a:pt x="12336" y="144"/>
                </a:lnTo>
                <a:cubicBezTo>
                  <a:pt x="12173" y="55"/>
                  <a:pt x="11948" y="0"/>
                  <a:pt x="11700" y="0"/>
                </a:cubicBezTo>
                <a:cubicBezTo>
                  <a:pt x="11203" y="0"/>
                  <a:pt x="10800" y="220"/>
                  <a:pt x="10800" y="491"/>
                </a:cubicBezTo>
                <a:lnTo>
                  <a:pt x="10800" y="10106"/>
                </a:lnTo>
                <a:lnTo>
                  <a:pt x="1552" y="5062"/>
                </a:lnTo>
                <a:lnTo>
                  <a:pt x="1549" y="5063"/>
                </a:lnTo>
                <a:cubicBezTo>
                  <a:pt x="1385" y="4969"/>
                  <a:pt x="1157" y="4909"/>
                  <a:pt x="900" y="4909"/>
                </a:cubicBezTo>
                <a:cubicBezTo>
                  <a:pt x="403" y="4909"/>
                  <a:pt x="0" y="5129"/>
                  <a:pt x="0" y="5400"/>
                </a:cubicBezTo>
                <a:cubicBezTo>
                  <a:pt x="0" y="5532"/>
                  <a:pt x="97" y="5649"/>
                  <a:pt x="251" y="5738"/>
                </a:cubicBezTo>
                <a:lnTo>
                  <a:pt x="248" y="5739"/>
                </a:lnTo>
                <a:lnTo>
                  <a:pt x="264" y="5747"/>
                </a:lnTo>
                <a:lnTo>
                  <a:pt x="264" y="5748"/>
                </a:lnTo>
                <a:lnTo>
                  <a:pt x="9527" y="10800"/>
                </a:lnTo>
                <a:lnTo>
                  <a:pt x="265" y="15852"/>
                </a:lnTo>
                <a:cubicBezTo>
                  <a:pt x="265" y="15853"/>
                  <a:pt x="264" y="15853"/>
                  <a:pt x="263" y="15854"/>
                </a:cubicBezTo>
                <a:lnTo>
                  <a:pt x="248" y="15862"/>
                </a:lnTo>
                <a:lnTo>
                  <a:pt x="251" y="15863"/>
                </a:lnTo>
                <a:cubicBezTo>
                  <a:pt x="97" y="15951"/>
                  <a:pt x="0" y="16069"/>
                  <a:pt x="0" y="16200"/>
                </a:cubicBezTo>
                <a:cubicBezTo>
                  <a:pt x="0" y="16471"/>
                  <a:pt x="403" y="16691"/>
                  <a:pt x="900" y="16691"/>
                </a:cubicBezTo>
                <a:cubicBezTo>
                  <a:pt x="1157" y="16691"/>
                  <a:pt x="1385" y="16631"/>
                  <a:pt x="1549" y="16537"/>
                </a:cubicBezTo>
                <a:lnTo>
                  <a:pt x="1552" y="16539"/>
                </a:lnTo>
                <a:lnTo>
                  <a:pt x="10800" y="11494"/>
                </a:lnTo>
                <a:lnTo>
                  <a:pt x="10800" y="21109"/>
                </a:lnTo>
                <a:cubicBezTo>
                  <a:pt x="10800" y="21380"/>
                  <a:pt x="11203" y="21600"/>
                  <a:pt x="11700" y="21600"/>
                </a:cubicBezTo>
                <a:cubicBezTo>
                  <a:pt x="11948" y="21600"/>
                  <a:pt x="12173" y="21546"/>
                  <a:pt x="12336" y="21456"/>
                </a:cubicBezTo>
                <a:lnTo>
                  <a:pt x="21336" y="16547"/>
                </a:lnTo>
                <a:cubicBezTo>
                  <a:pt x="21499" y="16458"/>
                  <a:pt x="21600" y="16336"/>
                  <a:pt x="21600" y="16200"/>
                </a:cubicBezTo>
                <a:cubicBezTo>
                  <a:pt x="21600" y="16069"/>
                  <a:pt x="21503" y="15951"/>
                  <a:pt x="21349" y="15863"/>
                </a:cubicBezTo>
                <a:cubicBezTo>
                  <a:pt x="21349" y="15863"/>
                  <a:pt x="21352" y="15862"/>
                  <a:pt x="21352" y="15862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92" name="Shape 2692"/>
          <p:cNvSpPr/>
          <p:nvPr/>
        </p:nvSpPr>
        <p:spPr>
          <a:xfrm>
            <a:off x="8968749" y="1959803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00" y="16691"/>
                </a:moveTo>
                <a:lnTo>
                  <a:pt x="15600" y="16691"/>
                </a:lnTo>
                <a:lnTo>
                  <a:pt x="15600" y="14727"/>
                </a:lnTo>
                <a:lnTo>
                  <a:pt x="13200" y="14727"/>
                </a:lnTo>
                <a:cubicBezTo>
                  <a:pt x="13200" y="14727"/>
                  <a:pt x="13200" y="16691"/>
                  <a:pt x="13200" y="16691"/>
                </a:cubicBezTo>
                <a:close/>
                <a:moveTo>
                  <a:pt x="9600" y="10800"/>
                </a:moveTo>
                <a:lnTo>
                  <a:pt x="12000" y="10800"/>
                </a:lnTo>
                <a:lnTo>
                  <a:pt x="12000" y="8836"/>
                </a:lnTo>
                <a:lnTo>
                  <a:pt x="9600" y="8836"/>
                </a:lnTo>
                <a:cubicBezTo>
                  <a:pt x="9600" y="8836"/>
                  <a:pt x="9600" y="10800"/>
                  <a:pt x="9600" y="10800"/>
                </a:cubicBezTo>
                <a:close/>
                <a:moveTo>
                  <a:pt x="13200" y="19636"/>
                </a:moveTo>
                <a:lnTo>
                  <a:pt x="15600" y="19636"/>
                </a:lnTo>
                <a:lnTo>
                  <a:pt x="15600" y="17673"/>
                </a:lnTo>
                <a:lnTo>
                  <a:pt x="13200" y="17673"/>
                </a:lnTo>
                <a:cubicBezTo>
                  <a:pt x="13200" y="17673"/>
                  <a:pt x="13200" y="19636"/>
                  <a:pt x="13200" y="19636"/>
                </a:cubicBezTo>
                <a:close/>
                <a:moveTo>
                  <a:pt x="13200" y="13745"/>
                </a:moveTo>
                <a:lnTo>
                  <a:pt x="15600" y="13745"/>
                </a:lnTo>
                <a:lnTo>
                  <a:pt x="15600" y="11782"/>
                </a:lnTo>
                <a:lnTo>
                  <a:pt x="13200" y="11782"/>
                </a:lnTo>
                <a:cubicBezTo>
                  <a:pt x="13200" y="11782"/>
                  <a:pt x="13200" y="13745"/>
                  <a:pt x="13200" y="13745"/>
                </a:cubicBezTo>
                <a:close/>
                <a:moveTo>
                  <a:pt x="16800" y="10800"/>
                </a:moveTo>
                <a:lnTo>
                  <a:pt x="19200" y="10800"/>
                </a:lnTo>
                <a:lnTo>
                  <a:pt x="19200" y="8836"/>
                </a:lnTo>
                <a:lnTo>
                  <a:pt x="16800" y="8836"/>
                </a:lnTo>
                <a:cubicBezTo>
                  <a:pt x="16800" y="8836"/>
                  <a:pt x="16800" y="10800"/>
                  <a:pt x="16800" y="10800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13200" y="10800"/>
                </a:moveTo>
                <a:lnTo>
                  <a:pt x="15600" y="10800"/>
                </a:lnTo>
                <a:lnTo>
                  <a:pt x="15600" y="8836"/>
                </a:lnTo>
                <a:lnTo>
                  <a:pt x="13200" y="8836"/>
                </a:lnTo>
                <a:cubicBezTo>
                  <a:pt x="13200" y="8836"/>
                  <a:pt x="13200" y="10800"/>
                  <a:pt x="13200" y="10800"/>
                </a:cubicBezTo>
                <a:close/>
                <a:moveTo>
                  <a:pt x="3600" y="2945"/>
                </a:moveTo>
                <a:lnTo>
                  <a:pt x="18000" y="2945"/>
                </a:lnTo>
                <a:lnTo>
                  <a:pt x="18000" y="6873"/>
                </a:lnTo>
                <a:lnTo>
                  <a:pt x="3600" y="6873"/>
                </a:lnTo>
                <a:cubicBezTo>
                  <a:pt x="3600" y="6873"/>
                  <a:pt x="3600" y="2945"/>
                  <a:pt x="3600" y="2945"/>
                </a:cubicBezTo>
                <a:close/>
                <a:moveTo>
                  <a:pt x="2400" y="7855"/>
                </a:moveTo>
                <a:lnTo>
                  <a:pt x="19200" y="7855"/>
                </a:lnTo>
                <a:lnTo>
                  <a:pt x="19200" y="1964"/>
                </a:lnTo>
                <a:lnTo>
                  <a:pt x="2400" y="1964"/>
                </a:lnTo>
                <a:cubicBezTo>
                  <a:pt x="2400" y="1964"/>
                  <a:pt x="2400" y="7855"/>
                  <a:pt x="2400" y="7855"/>
                </a:cubicBezTo>
                <a:close/>
                <a:moveTo>
                  <a:pt x="9600" y="13745"/>
                </a:moveTo>
                <a:lnTo>
                  <a:pt x="12000" y="13745"/>
                </a:lnTo>
                <a:lnTo>
                  <a:pt x="12000" y="11782"/>
                </a:lnTo>
                <a:lnTo>
                  <a:pt x="9600" y="11782"/>
                </a:lnTo>
                <a:cubicBezTo>
                  <a:pt x="9600" y="11782"/>
                  <a:pt x="9600" y="13745"/>
                  <a:pt x="9600" y="13745"/>
                </a:cubicBezTo>
                <a:close/>
                <a:moveTo>
                  <a:pt x="16800" y="19636"/>
                </a:moveTo>
                <a:lnTo>
                  <a:pt x="19200" y="19636"/>
                </a:lnTo>
                <a:lnTo>
                  <a:pt x="19200" y="11782"/>
                </a:lnTo>
                <a:lnTo>
                  <a:pt x="16800" y="11782"/>
                </a:lnTo>
                <a:cubicBezTo>
                  <a:pt x="16800" y="11782"/>
                  <a:pt x="16800" y="19636"/>
                  <a:pt x="16800" y="19636"/>
                </a:cubicBezTo>
                <a:close/>
                <a:moveTo>
                  <a:pt x="2400" y="16691"/>
                </a:moveTo>
                <a:lnTo>
                  <a:pt x="4800" y="16691"/>
                </a:lnTo>
                <a:lnTo>
                  <a:pt x="4800" y="14727"/>
                </a:lnTo>
                <a:lnTo>
                  <a:pt x="2400" y="14727"/>
                </a:lnTo>
                <a:cubicBezTo>
                  <a:pt x="2400" y="14727"/>
                  <a:pt x="2400" y="16691"/>
                  <a:pt x="2400" y="16691"/>
                </a:cubicBezTo>
                <a:close/>
                <a:moveTo>
                  <a:pt x="2400" y="10800"/>
                </a:moveTo>
                <a:lnTo>
                  <a:pt x="4800" y="10800"/>
                </a:lnTo>
                <a:lnTo>
                  <a:pt x="4800" y="8836"/>
                </a:lnTo>
                <a:lnTo>
                  <a:pt x="2400" y="8836"/>
                </a:lnTo>
                <a:cubicBezTo>
                  <a:pt x="2400" y="8836"/>
                  <a:pt x="2400" y="10800"/>
                  <a:pt x="2400" y="10800"/>
                </a:cubicBezTo>
                <a:close/>
                <a:moveTo>
                  <a:pt x="2400" y="19636"/>
                </a:moveTo>
                <a:lnTo>
                  <a:pt x="4800" y="19636"/>
                </a:lnTo>
                <a:lnTo>
                  <a:pt x="4800" y="17673"/>
                </a:lnTo>
                <a:lnTo>
                  <a:pt x="2400" y="17673"/>
                </a:lnTo>
                <a:cubicBezTo>
                  <a:pt x="2400" y="17673"/>
                  <a:pt x="2400" y="19636"/>
                  <a:pt x="2400" y="19636"/>
                </a:cubicBezTo>
                <a:close/>
                <a:moveTo>
                  <a:pt x="2400" y="13745"/>
                </a:moveTo>
                <a:lnTo>
                  <a:pt x="4800" y="13745"/>
                </a:lnTo>
                <a:lnTo>
                  <a:pt x="4800" y="11782"/>
                </a:lnTo>
                <a:lnTo>
                  <a:pt x="2400" y="11782"/>
                </a:lnTo>
                <a:cubicBezTo>
                  <a:pt x="2400" y="11782"/>
                  <a:pt x="2400" y="13745"/>
                  <a:pt x="2400" y="13745"/>
                </a:cubicBezTo>
                <a:close/>
                <a:moveTo>
                  <a:pt x="9600" y="16691"/>
                </a:moveTo>
                <a:lnTo>
                  <a:pt x="12000" y="16691"/>
                </a:lnTo>
                <a:lnTo>
                  <a:pt x="12000" y="14727"/>
                </a:lnTo>
                <a:lnTo>
                  <a:pt x="9600" y="14727"/>
                </a:lnTo>
                <a:cubicBezTo>
                  <a:pt x="9600" y="14727"/>
                  <a:pt x="9600" y="16691"/>
                  <a:pt x="9600" y="16691"/>
                </a:cubicBezTo>
                <a:close/>
                <a:moveTo>
                  <a:pt x="6000" y="19636"/>
                </a:moveTo>
                <a:lnTo>
                  <a:pt x="8400" y="19636"/>
                </a:lnTo>
                <a:lnTo>
                  <a:pt x="8400" y="17673"/>
                </a:lnTo>
                <a:lnTo>
                  <a:pt x="6000" y="17673"/>
                </a:lnTo>
                <a:cubicBezTo>
                  <a:pt x="6000" y="17673"/>
                  <a:pt x="6000" y="19636"/>
                  <a:pt x="6000" y="19636"/>
                </a:cubicBezTo>
                <a:close/>
                <a:moveTo>
                  <a:pt x="9600" y="19636"/>
                </a:moveTo>
                <a:lnTo>
                  <a:pt x="12000" y="19636"/>
                </a:lnTo>
                <a:lnTo>
                  <a:pt x="12000" y="17673"/>
                </a:lnTo>
                <a:lnTo>
                  <a:pt x="9600" y="17673"/>
                </a:lnTo>
                <a:cubicBezTo>
                  <a:pt x="9600" y="17673"/>
                  <a:pt x="9600" y="19636"/>
                  <a:pt x="9600" y="19636"/>
                </a:cubicBezTo>
                <a:close/>
                <a:moveTo>
                  <a:pt x="6000" y="16691"/>
                </a:moveTo>
                <a:lnTo>
                  <a:pt x="8400" y="16691"/>
                </a:lnTo>
                <a:lnTo>
                  <a:pt x="8400" y="14727"/>
                </a:lnTo>
                <a:lnTo>
                  <a:pt x="6000" y="14727"/>
                </a:lnTo>
                <a:cubicBezTo>
                  <a:pt x="6000" y="14727"/>
                  <a:pt x="6000" y="16691"/>
                  <a:pt x="6000" y="16691"/>
                </a:cubicBezTo>
                <a:close/>
                <a:moveTo>
                  <a:pt x="6000" y="13745"/>
                </a:moveTo>
                <a:lnTo>
                  <a:pt x="8400" y="13745"/>
                </a:lnTo>
                <a:lnTo>
                  <a:pt x="8400" y="11782"/>
                </a:lnTo>
                <a:lnTo>
                  <a:pt x="6000" y="11782"/>
                </a:lnTo>
                <a:cubicBezTo>
                  <a:pt x="6000" y="11782"/>
                  <a:pt x="6000" y="13745"/>
                  <a:pt x="6000" y="13745"/>
                </a:cubicBezTo>
                <a:close/>
                <a:moveTo>
                  <a:pt x="6000" y="10800"/>
                </a:moveTo>
                <a:lnTo>
                  <a:pt x="8400" y="10800"/>
                </a:lnTo>
                <a:lnTo>
                  <a:pt x="8400" y="8836"/>
                </a:lnTo>
                <a:lnTo>
                  <a:pt x="6000" y="8836"/>
                </a:lnTo>
                <a:cubicBezTo>
                  <a:pt x="6000" y="8836"/>
                  <a:pt x="6000" y="10800"/>
                  <a:pt x="6000" y="10800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93" name="Shape 2693"/>
          <p:cNvSpPr/>
          <p:nvPr/>
        </p:nvSpPr>
        <p:spPr>
          <a:xfrm>
            <a:off x="9476617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82" y="11782"/>
                </a:moveTo>
                <a:lnTo>
                  <a:pt x="9818" y="11782"/>
                </a:lnTo>
                <a:lnTo>
                  <a:pt x="9818" y="13745"/>
                </a:lnTo>
                <a:lnTo>
                  <a:pt x="11782" y="13745"/>
                </a:lnTo>
                <a:cubicBezTo>
                  <a:pt x="11782" y="13745"/>
                  <a:pt x="11782" y="11782"/>
                  <a:pt x="11782" y="11782"/>
                </a:cubicBezTo>
                <a:close/>
                <a:moveTo>
                  <a:pt x="7855" y="17673"/>
                </a:moveTo>
                <a:lnTo>
                  <a:pt x="9818" y="17673"/>
                </a:lnTo>
                <a:lnTo>
                  <a:pt x="9818" y="16691"/>
                </a:lnTo>
                <a:lnTo>
                  <a:pt x="7855" y="16691"/>
                </a:lnTo>
                <a:cubicBezTo>
                  <a:pt x="7855" y="16691"/>
                  <a:pt x="7855" y="17673"/>
                  <a:pt x="7855" y="17673"/>
                </a:cubicBezTo>
                <a:close/>
                <a:moveTo>
                  <a:pt x="11782" y="17673"/>
                </a:moveTo>
                <a:lnTo>
                  <a:pt x="13745" y="17673"/>
                </a:lnTo>
                <a:lnTo>
                  <a:pt x="13745" y="16691"/>
                </a:lnTo>
                <a:lnTo>
                  <a:pt x="11782" y="16691"/>
                </a:lnTo>
                <a:cubicBezTo>
                  <a:pt x="11782" y="16691"/>
                  <a:pt x="11782" y="17673"/>
                  <a:pt x="11782" y="17673"/>
                </a:cubicBezTo>
                <a:close/>
                <a:moveTo>
                  <a:pt x="12764" y="8836"/>
                </a:moveTo>
                <a:cubicBezTo>
                  <a:pt x="12492" y="8836"/>
                  <a:pt x="12273" y="9056"/>
                  <a:pt x="12273" y="9327"/>
                </a:cubicBezTo>
                <a:cubicBezTo>
                  <a:pt x="12273" y="9599"/>
                  <a:pt x="12492" y="9818"/>
                  <a:pt x="12764" y="9818"/>
                </a:cubicBezTo>
                <a:cubicBezTo>
                  <a:pt x="13035" y="9818"/>
                  <a:pt x="13255" y="9599"/>
                  <a:pt x="13255" y="9327"/>
                </a:cubicBezTo>
                <a:cubicBezTo>
                  <a:pt x="13255" y="9056"/>
                  <a:pt x="13035" y="8836"/>
                  <a:pt x="12764" y="8836"/>
                </a:cubicBezTo>
                <a:moveTo>
                  <a:pt x="3927" y="12764"/>
                </a:moveTo>
                <a:cubicBezTo>
                  <a:pt x="3927" y="11679"/>
                  <a:pt x="4806" y="10800"/>
                  <a:pt x="5891" y="10800"/>
                </a:cubicBezTo>
                <a:cubicBezTo>
                  <a:pt x="6975" y="10800"/>
                  <a:pt x="7855" y="11679"/>
                  <a:pt x="7855" y="12764"/>
                </a:cubicBezTo>
                <a:cubicBezTo>
                  <a:pt x="7855" y="13848"/>
                  <a:pt x="6975" y="14727"/>
                  <a:pt x="5891" y="14727"/>
                </a:cubicBezTo>
                <a:cubicBezTo>
                  <a:pt x="4806" y="14727"/>
                  <a:pt x="3927" y="13848"/>
                  <a:pt x="3927" y="12764"/>
                </a:cubicBezTo>
                <a:moveTo>
                  <a:pt x="17673" y="12764"/>
                </a:moveTo>
                <a:cubicBezTo>
                  <a:pt x="17673" y="13848"/>
                  <a:pt x="16794" y="14727"/>
                  <a:pt x="15709" y="14727"/>
                </a:cubicBezTo>
                <a:cubicBezTo>
                  <a:pt x="14625" y="14727"/>
                  <a:pt x="13745" y="13848"/>
                  <a:pt x="13745" y="12764"/>
                </a:cubicBezTo>
                <a:cubicBezTo>
                  <a:pt x="13745" y="11679"/>
                  <a:pt x="14625" y="10800"/>
                  <a:pt x="15709" y="10800"/>
                </a:cubicBezTo>
                <a:cubicBezTo>
                  <a:pt x="16794" y="10800"/>
                  <a:pt x="17673" y="11679"/>
                  <a:pt x="17673" y="12764"/>
                </a:cubicBezTo>
                <a:moveTo>
                  <a:pt x="20618" y="8836"/>
                </a:moveTo>
                <a:lnTo>
                  <a:pt x="19145" y="8836"/>
                </a:lnTo>
                <a:cubicBezTo>
                  <a:pt x="18874" y="8836"/>
                  <a:pt x="18655" y="9056"/>
                  <a:pt x="18655" y="9327"/>
                </a:cubicBezTo>
                <a:cubicBezTo>
                  <a:pt x="18655" y="9599"/>
                  <a:pt x="18874" y="9818"/>
                  <a:pt x="19145" y="9818"/>
                </a:cubicBezTo>
                <a:lnTo>
                  <a:pt x="20618" y="9818"/>
                </a:lnTo>
                <a:lnTo>
                  <a:pt x="20618" y="12273"/>
                </a:lnTo>
                <a:lnTo>
                  <a:pt x="18605" y="12273"/>
                </a:lnTo>
                <a:cubicBezTo>
                  <a:pt x="18370" y="10881"/>
                  <a:pt x="17167" y="9818"/>
                  <a:pt x="15709" y="9818"/>
                </a:cubicBezTo>
                <a:cubicBezTo>
                  <a:pt x="14082" y="9818"/>
                  <a:pt x="12764" y="11137"/>
                  <a:pt x="12764" y="12764"/>
                </a:cubicBezTo>
                <a:cubicBezTo>
                  <a:pt x="12764" y="14390"/>
                  <a:pt x="14082" y="15709"/>
                  <a:pt x="15709" y="15709"/>
                </a:cubicBezTo>
                <a:cubicBezTo>
                  <a:pt x="17167" y="15709"/>
                  <a:pt x="18370" y="14646"/>
                  <a:pt x="18605" y="13255"/>
                </a:cubicBezTo>
                <a:lnTo>
                  <a:pt x="20618" y="13255"/>
                </a:lnTo>
                <a:lnTo>
                  <a:pt x="20618" y="18655"/>
                </a:lnTo>
                <a:lnTo>
                  <a:pt x="982" y="18655"/>
                </a:lnTo>
                <a:lnTo>
                  <a:pt x="982" y="13255"/>
                </a:lnTo>
                <a:lnTo>
                  <a:pt x="2995" y="13255"/>
                </a:lnTo>
                <a:cubicBezTo>
                  <a:pt x="3230" y="14646"/>
                  <a:pt x="4433" y="15709"/>
                  <a:pt x="5891" y="15709"/>
                </a:cubicBezTo>
                <a:cubicBezTo>
                  <a:pt x="7517" y="15709"/>
                  <a:pt x="8836" y="14390"/>
                  <a:pt x="8836" y="12764"/>
                </a:cubicBezTo>
                <a:cubicBezTo>
                  <a:pt x="8836" y="11137"/>
                  <a:pt x="7517" y="9818"/>
                  <a:pt x="5891" y="9818"/>
                </a:cubicBezTo>
                <a:cubicBezTo>
                  <a:pt x="4433" y="9818"/>
                  <a:pt x="3230" y="10881"/>
                  <a:pt x="2995" y="12273"/>
                </a:cubicBezTo>
                <a:lnTo>
                  <a:pt x="982" y="12273"/>
                </a:lnTo>
                <a:lnTo>
                  <a:pt x="982" y="9818"/>
                </a:lnTo>
                <a:lnTo>
                  <a:pt x="2455" y="9818"/>
                </a:lnTo>
                <a:cubicBezTo>
                  <a:pt x="2726" y="9818"/>
                  <a:pt x="2945" y="9599"/>
                  <a:pt x="2945" y="9327"/>
                </a:cubicBezTo>
                <a:cubicBezTo>
                  <a:pt x="2945" y="9056"/>
                  <a:pt x="2726" y="8836"/>
                  <a:pt x="2455" y="8836"/>
                </a:cubicBezTo>
                <a:lnTo>
                  <a:pt x="982" y="8836"/>
                </a:lnTo>
                <a:lnTo>
                  <a:pt x="982" y="7855"/>
                </a:lnTo>
                <a:cubicBezTo>
                  <a:pt x="982" y="7313"/>
                  <a:pt x="1421" y="6873"/>
                  <a:pt x="1964" y="6873"/>
                </a:cubicBezTo>
                <a:lnTo>
                  <a:pt x="19636" y="6873"/>
                </a:lnTo>
                <a:cubicBezTo>
                  <a:pt x="20178" y="6873"/>
                  <a:pt x="20618" y="7313"/>
                  <a:pt x="20618" y="7855"/>
                </a:cubicBezTo>
                <a:cubicBezTo>
                  <a:pt x="20618" y="7855"/>
                  <a:pt x="20618" y="8836"/>
                  <a:pt x="20618" y="8836"/>
                </a:cubicBezTo>
                <a:close/>
                <a:moveTo>
                  <a:pt x="19636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20618" y="19636"/>
                </a:lnTo>
                <a:cubicBezTo>
                  <a:pt x="20618" y="20178"/>
                  <a:pt x="20178" y="20618"/>
                  <a:pt x="19636" y="20618"/>
                </a:cubicBezTo>
                <a:moveTo>
                  <a:pt x="5891" y="4909"/>
                </a:moveTo>
                <a:lnTo>
                  <a:pt x="15709" y="4909"/>
                </a:lnTo>
                <a:lnTo>
                  <a:pt x="15709" y="5891"/>
                </a:lnTo>
                <a:lnTo>
                  <a:pt x="5891" y="5891"/>
                </a:lnTo>
                <a:cubicBezTo>
                  <a:pt x="5891" y="5891"/>
                  <a:pt x="5891" y="4909"/>
                  <a:pt x="5891" y="4909"/>
                </a:cubicBezTo>
                <a:close/>
                <a:moveTo>
                  <a:pt x="19636" y="5891"/>
                </a:moveTo>
                <a:lnTo>
                  <a:pt x="19636" y="2855"/>
                </a:lnTo>
                <a:cubicBezTo>
                  <a:pt x="20207" y="2653"/>
                  <a:pt x="20618" y="2113"/>
                  <a:pt x="20618" y="1473"/>
                </a:cubicBezTo>
                <a:cubicBezTo>
                  <a:pt x="20618" y="659"/>
                  <a:pt x="19959" y="0"/>
                  <a:pt x="19145" y="0"/>
                </a:cubicBezTo>
                <a:cubicBezTo>
                  <a:pt x="18332" y="0"/>
                  <a:pt x="17673" y="659"/>
                  <a:pt x="17673" y="1473"/>
                </a:cubicBezTo>
                <a:cubicBezTo>
                  <a:pt x="17673" y="2113"/>
                  <a:pt x="18084" y="2653"/>
                  <a:pt x="18655" y="2855"/>
                </a:cubicBezTo>
                <a:lnTo>
                  <a:pt x="18655" y="5891"/>
                </a:lnTo>
                <a:lnTo>
                  <a:pt x="16691" y="5891"/>
                </a:lnTo>
                <a:lnTo>
                  <a:pt x="16691" y="4909"/>
                </a:lnTo>
                <a:cubicBezTo>
                  <a:pt x="16691" y="4367"/>
                  <a:pt x="16251" y="3927"/>
                  <a:pt x="15709" y="3927"/>
                </a:cubicBezTo>
                <a:lnTo>
                  <a:pt x="5891" y="3927"/>
                </a:lnTo>
                <a:cubicBezTo>
                  <a:pt x="5348" y="3927"/>
                  <a:pt x="4909" y="4367"/>
                  <a:pt x="4909" y="4909"/>
                </a:cubicBezTo>
                <a:lnTo>
                  <a:pt x="4909" y="5891"/>
                </a:lnTo>
                <a:lnTo>
                  <a:pt x="1964" y="5891"/>
                </a:lnTo>
                <a:cubicBezTo>
                  <a:pt x="879" y="5891"/>
                  <a:pt x="0" y="6770"/>
                  <a:pt x="0" y="7855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7855"/>
                </a:lnTo>
                <a:cubicBezTo>
                  <a:pt x="21600" y="6770"/>
                  <a:pt x="20721" y="5891"/>
                  <a:pt x="19636" y="5891"/>
                </a:cubicBezTo>
                <a:moveTo>
                  <a:pt x="10800" y="9818"/>
                </a:moveTo>
                <a:cubicBezTo>
                  <a:pt x="11071" y="9818"/>
                  <a:pt x="11291" y="9599"/>
                  <a:pt x="11291" y="9327"/>
                </a:cubicBezTo>
                <a:cubicBezTo>
                  <a:pt x="11291" y="9056"/>
                  <a:pt x="11071" y="8836"/>
                  <a:pt x="10800" y="8836"/>
                </a:cubicBezTo>
                <a:cubicBezTo>
                  <a:pt x="10529" y="8836"/>
                  <a:pt x="10309" y="9056"/>
                  <a:pt x="10309" y="9327"/>
                </a:cubicBezTo>
                <a:cubicBezTo>
                  <a:pt x="10309" y="9599"/>
                  <a:pt x="10529" y="9818"/>
                  <a:pt x="10800" y="9818"/>
                </a:cubicBezTo>
                <a:moveTo>
                  <a:pt x="9327" y="9327"/>
                </a:moveTo>
                <a:cubicBezTo>
                  <a:pt x="9327" y="9056"/>
                  <a:pt x="9108" y="8836"/>
                  <a:pt x="8836" y="8836"/>
                </a:cubicBezTo>
                <a:cubicBezTo>
                  <a:pt x="8565" y="8836"/>
                  <a:pt x="8345" y="9056"/>
                  <a:pt x="8345" y="9327"/>
                </a:cubicBezTo>
                <a:cubicBezTo>
                  <a:pt x="8345" y="9599"/>
                  <a:pt x="8565" y="9818"/>
                  <a:pt x="8836" y="9818"/>
                </a:cubicBezTo>
                <a:cubicBezTo>
                  <a:pt x="9108" y="9818"/>
                  <a:pt x="9327" y="9599"/>
                  <a:pt x="9327" y="9327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94" name="Shape 2694"/>
          <p:cNvSpPr/>
          <p:nvPr/>
        </p:nvSpPr>
        <p:spPr>
          <a:xfrm>
            <a:off x="10009878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38" y="14727"/>
                </a:moveTo>
                <a:cubicBezTo>
                  <a:pt x="13628" y="14411"/>
                  <a:pt x="13690" y="14083"/>
                  <a:pt x="13721" y="13745"/>
                </a:cubicBezTo>
                <a:lnTo>
                  <a:pt x="2970" y="13745"/>
                </a:lnTo>
                <a:cubicBezTo>
                  <a:pt x="3001" y="14083"/>
                  <a:pt x="3063" y="14411"/>
                  <a:pt x="3153" y="14727"/>
                </a:cubicBezTo>
                <a:cubicBezTo>
                  <a:pt x="3153" y="14727"/>
                  <a:pt x="13538" y="14727"/>
                  <a:pt x="13538" y="14727"/>
                </a:cubicBezTo>
                <a:close/>
                <a:moveTo>
                  <a:pt x="18655" y="12764"/>
                </a:moveTo>
                <a:cubicBezTo>
                  <a:pt x="18383" y="12764"/>
                  <a:pt x="18164" y="12984"/>
                  <a:pt x="18164" y="13255"/>
                </a:cubicBezTo>
                <a:cubicBezTo>
                  <a:pt x="18164" y="13526"/>
                  <a:pt x="18383" y="13745"/>
                  <a:pt x="18655" y="13745"/>
                </a:cubicBezTo>
                <a:cubicBezTo>
                  <a:pt x="18926" y="13745"/>
                  <a:pt x="19145" y="13526"/>
                  <a:pt x="19145" y="13255"/>
                </a:cubicBezTo>
                <a:cubicBezTo>
                  <a:pt x="19145" y="12984"/>
                  <a:pt x="18926" y="12764"/>
                  <a:pt x="18655" y="12764"/>
                </a:cubicBezTo>
                <a:moveTo>
                  <a:pt x="18655" y="8836"/>
                </a:moveTo>
                <a:cubicBezTo>
                  <a:pt x="18112" y="8836"/>
                  <a:pt x="17673" y="9276"/>
                  <a:pt x="17673" y="9818"/>
                </a:cubicBezTo>
                <a:cubicBezTo>
                  <a:pt x="17673" y="10360"/>
                  <a:pt x="18112" y="10800"/>
                  <a:pt x="18655" y="10800"/>
                </a:cubicBezTo>
                <a:cubicBezTo>
                  <a:pt x="19197" y="10800"/>
                  <a:pt x="19636" y="10360"/>
                  <a:pt x="19636" y="9818"/>
                </a:cubicBezTo>
                <a:cubicBezTo>
                  <a:pt x="19636" y="9276"/>
                  <a:pt x="19197" y="8836"/>
                  <a:pt x="18655" y="8836"/>
                </a:cubicBezTo>
                <a:moveTo>
                  <a:pt x="20618" y="19636"/>
                </a:moveTo>
                <a:cubicBezTo>
                  <a:pt x="20618" y="20178"/>
                  <a:pt x="20179" y="20618"/>
                  <a:pt x="19636" y="20618"/>
                </a:cubicBezTo>
                <a:lnTo>
                  <a:pt x="16691" y="20618"/>
                </a:lnTo>
                <a:lnTo>
                  <a:pt x="16691" y="5891"/>
                </a:lnTo>
                <a:lnTo>
                  <a:pt x="19636" y="5891"/>
                </a:lnTo>
                <a:cubicBezTo>
                  <a:pt x="20179" y="5891"/>
                  <a:pt x="20618" y="6331"/>
                  <a:pt x="20618" y="6873"/>
                </a:cubicBezTo>
                <a:cubicBezTo>
                  <a:pt x="20618" y="6873"/>
                  <a:pt x="20618" y="19636"/>
                  <a:pt x="20618" y="19636"/>
                </a:cubicBezTo>
                <a:close/>
                <a:moveTo>
                  <a:pt x="15709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6873"/>
                </a:lnTo>
                <a:cubicBezTo>
                  <a:pt x="982" y="6331"/>
                  <a:pt x="1421" y="5891"/>
                  <a:pt x="1964" y="5891"/>
                </a:cubicBezTo>
                <a:lnTo>
                  <a:pt x="15709" y="5891"/>
                </a:lnTo>
                <a:cubicBezTo>
                  <a:pt x="15709" y="5891"/>
                  <a:pt x="15709" y="20618"/>
                  <a:pt x="15709" y="20618"/>
                </a:cubicBezTo>
                <a:close/>
                <a:moveTo>
                  <a:pt x="19636" y="4909"/>
                </a:moveTo>
                <a:lnTo>
                  <a:pt x="4909" y="4909"/>
                </a:lnTo>
                <a:lnTo>
                  <a:pt x="4909" y="2855"/>
                </a:lnTo>
                <a:cubicBezTo>
                  <a:pt x="5480" y="2653"/>
                  <a:pt x="5891" y="2113"/>
                  <a:pt x="5891" y="1473"/>
                </a:cubicBezTo>
                <a:cubicBezTo>
                  <a:pt x="5891" y="659"/>
                  <a:pt x="5231" y="0"/>
                  <a:pt x="4418" y="0"/>
                </a:cubicBezTo>
                <a:cubicBezTo>
                  <a:pt x="3605" y="0"/>
                  <a:pt x="2945" y="659"/>
                  <a:pt x="2945" y="1473"/>
                </a:cubicBezTo>
                <a:cubicBezTo>
                  <a:pt x="2945" y="2113"/>
                  <a:pt x="3357" y="2653"/>
                  <a:pt x="3927" y="2855"/>
                </a:cubicBezTo>
                <a:lnTo>
                  <a:pt x="3927" y="4909"/>
                </a:lnTo>
                <a:lnTo>
                  <a:pt x="1964" y="4909"/>
                </a:lnTo>
                <a:cubicBezTo>
                  <a:pt x="879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6873"/>
                </a:lnTo>
                <a:cubicBezTo>
                  <a:pt x="21600" y="5788"/>
                  <a:pt x="20721" y="4909"/>
                  <a:pt x="19636" y="4909"/>
                </a:cubicBezTo>
                <a:moveTo>
                  <a:pt x="18655" y="15709"/>
                </a:moveTo>
                <a:cubicBezTo>
                  <a:pt x="18383" y="15709"/>
                  <a:pt x="18164" y="15929"/>
                  <a:pt x="18164" y="16200"/>
                </a:cubicBezTo>
                <a:cubicBezTo>
                  <a:pt x="18164" y="16471"/>
                  <a:pt x="18383" y="16691"/>
                  <a:pt x="18655" y="16691"/>
                </a:cubicBezTo>
                <a:cubicBezTo>
                  <a:pt x="18926" y="16691"/>
                  <a:pt x="19145" y="16471"/>
                  <a:pt x="19145" y="16200"/>
                </a:cubicBezTo>
                <a:cubicBezTo>
                  <a:pt x="19145" y="15929"/>
                  <a:pt x="18926" y="15709"/>
                  <a:pt x="18655" y="15709"/>
                </a:cubicBezTo>
                <a:moveTo>
                  <a:pt x="4199" y="16691"/>
                </a:moveTo>
                <a:lnTo>
                  <a:pt x="12492" y="16691"/>
                </a:lnTo>
                <a:cubicBezTo>
                  <a:pt x="12744" y="16387"/>
                  <a:pt x="12971" y="16064"/>
                  <a:pt x="13152" y="15709"/>
                </a:cubicBezTo>
                <a:lnTo>
                  <a:pt x="3539" y="15709"/>
                </a:lnTo>
                <a:cubicBezTo>
                  <a:pt x="3720" y="16064"/>
                  <a:pt x="3947" y="16387"/>
                  <a:pt x="4199" y="16691"/>
                </a:cubicBezTo>
                <a:moveTo>
                  <a:pt x="8345" y="7855"/>
                </a:moveTo>
                <a:cubicBezTo>
                  <a:pt x="7196" y="7855"/>
                  <a:pt x="6138" y="8224"/>
                  <a:pt x="5263" y="8836"/>
                </a:cubicBezTo>
                <a:lnTo>
                  <a:pt x="11428" y="8836"/>
                </a:lnTo>
                <a:cubicBezTo>
                  <a:pt x="10553" y="8224"/>
                  <a:pt x="9495" y="7855"/>
                  <a:pt x="8345" y="7855"/>
                </a:cubicBezTo>
                <a:moveTo>
                  <a:pt x="8345" y="18655"/>
                </a:moveTo>
                <a:cubicBezTo>
                  <a:pt x="9495" y="18655"/>
                  <a:pt x="10553" y="18285"/>
                  <a:pt x="11428" y="17673"/>
                </a:cubicBezTo>
                <a:lnTo>
                  <a:pt x="5263" y="17673"/>
                </a:lnTo>
                <a:cubicBezTo>
                  <a:pt x="6138" y="18285"/>
                  <a:pt x="7196" y="18655"/>
                  <a:pt x="8345" y="18655"/>
                </a:cubicBezTo>
                <a:moveTo>
                  <a:pt x="12492" y="9818"/>
                </a:moveTo>
                <a:lnTo>
                  <a:pt x="4199" y="9818"/>
                </a:lnTo>
                <a:cubicBezTo>
                  <a:pt x="3947" y="10122"/>
                  <a:pt x="3720" y="10446"/>
                  <a:pt x="3539" y="10800"/>
                </a:cubicBezTo>
                <a:lnTo>
                  <a:pt x="13152" y="10800"/>
                </a:lnTo>
                <a:cubicBezTo>
                  <a:pt x="12971" y="10446"/>
                  <a:pt x="12744" y="10122"/>
                  <a:pt x="12492" y="9818"/>
                </a:cubicBezTo>
                <a:moveTo>
                  <a:pt x="13538" y="11782"/>
                </a:moveTo>
                <a:lnTo>
                  <a:pt x="3153" y="11782"/>
                </a:lnTo>
                <a:cubicBezTo>
                  <a:pt x="3063" y="12098"/>
                  <a:pt x="3001" y="12427"/>
                  <a:pt x="2970" y="12764"/>
                </a:cubicBezTo>
                <a:lnTo>
                  <a:pt x="13721" y="12764"/>
                </a:lnTo>
                <a:cubicBezTo>
                  <a:pt x="13690" y="12427"/>
                  <a:pt x="13628" y="12098"/>
                  <a:pt x="13538" y="11782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95" name="Shape 2695"/>
          <p:cNvSpPr/>
          <p:nvPr/>
        </p:nvSpPr>
        <p:spPr>
          <a:xfrm>
            <a:off x="10543139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5218"/>
                </a:moveTo>
                <a:cubicBezTo>
                  <a:pt x="14727" y="15490"/>
                  <a:pt x="14947" y="15709"/>
                  <a:pt x="15218" y="15709"/>
                </a:cubicBezTo>
                <a:cubicBezTo>
                  <a:pt x="15490" y="15709"/>
                  <a:pt x="15709" y="15490"/>
                  <a:pt x="15709" y="15218"/>
                </a:cubicBezTo>
                <a:cubicBezTo>
                  <a:pt x="15709" y="14947"/>
                  <a:pt x="15490" y="14727"/>
                  <a:pt x="15218" y="14727"/>
                </a:cubicBezTo>
                <a:cubicBezTo>
                  <a:pt x="14947" y="14727"/>
                  <a:pt x="14727" y="14947"/>
                  <a:pt x="14727" y="15218"/>
                </a:cubicBezTo>
                <a:moveTo>
                  <a:pt x="20618" y="12764"/>
                </a:moveTo>
                <a:lnTo>
                  <a:pt x="17673" y="12764"/>
                </a:lnTo>
                <a:lnTo>
                  <a:pt x="17673" y="3927"/>
                </a:lnTo>
                <a:lnTo>
                  <a:pt x="3927" y="3927"/>
                </a:lnTo>
                <a:lnTo>
                  <a:pt x="3927" y="9510"/>
                </a:lnTo>
                <a:cubicBezTo>
                  <a:pt x="3308" y="10442"/>
                  <a:pt x="2945" y="11560"/>
                  <a:pt x="2945" y="12764"/>
                </a:cubicBezTo>
                <a:lnTo>
                  <a:pt x="982" y="12764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2764"/>
                  <a:pt x="20618" y="12764"/>
                </a:cubicBezTo>
                <a:close/>
                <a:moveTo>
                  <a:pt x="9327" y="12764"/>
                </a:moveTo>
                <a:cubicBezTo>
                  <a:pt x="9327" y="13035"/>
                  <a:pt x="9108" y="13255"/>
                  <a:pt x="8836" y="13255"/>
                </a:cubicBezTo>
                <a:cubicBezTo>
                  <a:pt x="8565" y="13255"/>
                  <a:pt x="8345" y="13035"/>
                  <a:pt x="8345" y="12764"/>
                </a:cubicBezTo>
                <a:cubicBezTo>
                  <a:pt x="8345" y="12493"/>
                  <a:pt x="8565" y="12273"/>
                  <a:pt x="8836" y="12273"/>
                </a:cubicBezTo>
                <a:cubicBezTo>
                  <a:pt x="9108" y="12273"/>
                  <a:pt x="9327" y="12493"/>
                  <a:pt x="9327" y="12764"/>
                </a:cubicBezTo>
                <a:moveTo>
                  <a:pt x="8836" y="7855"/>
                </a:moveTo>
                <a:cubicBezTo>
                  <a:pt x="10295" y="7855"/>
                  <a:pt x="11601" y="8494"/>
                  <a:pt x="12500" y="9504"/>
                </a:cubicBezTo>
                <a:lnTo>
                  <a:pt x="10301" y="12846"/>
                </a:lnTo>
                <a:cubicBezTo>
                  <a:pt x="10302" y="12818"/>
                  <a:pt x="10309" y="12792"/>
                  <a:pt x="10309" y="12764"/>
                </a:cubicBezTo>
                <a:cubicBezTo>
                  <a:pt x="10309" y="11951"/>
                  <a:pt x="9649" y="11291"/>
                  <a:pt x="8836" y="11291"/>
                </a:cubicBezTo>
                <a:cubicBezTo>
                  <a:pt x="8023" y="11291"/>
                  <a:pt x="7364" y="11951"/>
                  <a:pt x="7364" y="12764"/>
                </a:cubicBezTo>
                <a:cubicBezTo>
                  <a:pt x="7364" y="13577"/>
                  <a:pt x="8023" y="14236"/>
                  <a:pt x="8836" y="14236"/>
                </a:cubicBezTo>
                <a:cubicBezTo>
                  <a:pt x="9072" y="14236"/>
                  <a:pt x="9293" y="14175"/>
                  <a:pt x="9491" y="14076"/>
                </a:cubicBezTo>
                <a:lnTo>
                  <a:pt x="8925" y="14938"/>
                </a:lnTo>
                <a:lnTo>
                  <a:pt x="8639" y="14741"/>
                </a:lnTo>
                <a:lnTo>
                  <a:pt x="7962" y="16664"/>
                </a:lnTo>
                <a:lnTo>
                  <a:pt x="8494" y="17043"/>
                </a:lnTo>
                <a:lnTo>
                  <a:pt x="8881" y="16700"/>
                </a:lnTo>
                <a:lnTo>
                  <a:pt x="10064" y="16936"/>
                </a:lnTo>
                <a:lnTo>
                  <a:pt x="9561" y="16099"/>
                </a:lnTo>
                <a:lnTo>
                  <a:pt x="10020" y="15694"/>
                </a:lnTo>
                <a:lnTo>
                  <a:pt x="9423" y="15282"/>
                </a:lnTo>
                <a:lnTo>
                  <a:pt x="9736" y="15491"/>
                </a:lnTo>
                <a:lnTo>
                  <a:pt x="13114" y="10359"/>
                </a:lnTo>
                <a:cubicBezTo>
                  <a:pt x="13514" y="11069"/>
                  <a:pt x="13745" y="11889"/>
                  <a:pt x="13745" y="12764"/>
                </a:cubicBezTo>
                <a:cubicBezTo>
                  <a:pt x="13745" y="15475"/>
                  <a:pt x="11548" y="17673"/>
                  <a:pt x="8836" y="17673"/>
                </a:cubicBezTo>
                <a:cubicBezTo>
                  <a:pt x="6125" y="17673"/>
                  <a:pt x="3927" y="15475"/>
                  <a:pt x="3927" y="12764"/>
                </a:cubicBezTo>
                <a:cubicBezTo>
                  <a:pt x="3927" y="10053"/>
                  <a:pt x="6125" y="7855"/>
                  <a:pt x="8836" y="7855"/>
                </a:cubicBezTo>
                <a:moveTo>
                  <a:pt x="14727" y="5891"/>
                </a:moveTo>
                <a:cubicBezTo>
                  <a:pt x="14186" y="5891"/>
                  <a:pt x="13745" y="6331"/>
                  <a:pt x="13745" y="6873"/>
                </a:cubicBezTo>
                <a:cubicBezTo>
                  <a:pt x="13745" y="7062"/>
                  <a:pt x="13802" y="7237"/>
                  <a:pt x="13894" y="7386"/>
                </a:cubicBezTo>
                <a:lnTo>
                  <a:pt x="13057" y="8659"/>
                </a:lnTo>
                <a:cubicBezTo>
                  <a:pt x="11987" y="7558"/>
                  <a:pt x="10492" y="6873"/>
                  <a:pt x="8836" y="6873"/>
                </a:cubicBezTo>
                <a:cubicBezTo>
                  <a:pt x="7325" y="6873"/>
                  <a:pt x="5952" y="7447"/>
                  <a:pt x="4909" y="8382"/>
                </a:cubicBezTo>
                <a:lnTo>
                  <a:pt x="4909" y="4909"/>
                </a:lnTo>
                <a:lnTo>
                  <a:pt x="16691" y="4909"/>
                </a:lnTo>
                <a:lnTo>
                  <a:pt x="16691" y="16691"/>
                </a:lnTo>
                <a:lnTo>
                  <a:pt x="13219" y="16691"/>
                </a:lnTo>
                <a:cubicBezTo>
                  <a:pt x="14154" y="15648"/>
                  <a:pt x="14727" y="14275"/>
                  <a:pt x="14727" y="12764"/>
                </a:cubicBezTo>
                <a:cubicBezTo>
                  <a:pt x="14727" y="11536"/>
                  <a:pt x="14351" y="10398"/>
                  <a:pt x="13709" y="9453"/>
                </a:cubicBezTo>
                <a:lnTo>
                  <a:pt x="14764" y="7851"/>
                </a:lnTo>
                <a:cubicBezTo>
                  <a:pt x="15288" y="7832"/>
                  <a:pt x="15709" y="7402"/>
                  <a:pt x="15709" y="6873"/>
                </a:cubicBezTo>
                <a:cubicBezTo>
                  <a:pt x="15709" y="6331"/>
                  <a:pt x="15269" y="5891"/>
                  <a:pt x="14727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745"/>
                </a:lnTo>
                <a:lnTo>
                  <a:pt x="3034" y="13745"/>
                </a:lnTo>
                <a:cubicBezTo>
                  <a:pt x="3502" y="16531"/>
                  <a:pt x="5918" y="18655"/>
                  <a:pt x="8836" y="18655"/>
                </a:cubicBezTo>
                <a:cubicBezTo>
                  <a:pt x="10040" y="18655"/>
                  <a:pt x="11158" y="18292"/>
                  <a:pt x="12090" y="17673"/>
                </a:cubicBezTo>
                <a:lnTo>
                  <a:pt x="17673" y="17673"/>
                </a:lnTo>
                <a:lnTo>
                  <a:pt x="17673" y="13745"/>
                </a:lnTo>
                <a:lnTo>
                  <a:pt x="20618" y="13745"/>
                </a:lnTo>
                <a:cubicBezTo>
                  <a:pt x="20618" y="13745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96" name="Shape 2696"/>
          <p:cNvSpPr/>
          <p:nvPr/>
        </p:nvSpPr>
        <p:spPr>
          <a:xfrm>
            <a:off x="11076400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764" y="19636"/>
                </a:moveTo>
                <a:cubicBezTo>
                  <a:pt x="12764" y="20178"/>
                  <a:pt x="12324" y="20618"/>
                  <a:pt x="11782" y="20618"/>
                </a:cubicBezTo>
                <a:lnTo>
                  <a:pt x="9818" y="20618"/>
                </a:lnTo>
                <a:cubicBezTo>
                  <a:pt x="9276" y="20618"/>
                  <a:pt x="8836" y="20178"/>
                  <a:pt x="8836" y="19636"/>
                </a:cubicBezTo>
                <a:lnTo>
                  <a:pt x="8836" y="17673"/>
                </a:lnTo>
                <a:cubicBezTo>
                  <a:pt x="8836" y="17131"/>
                  <a:pt x="9276" y="16691"/>
                  <a:pt x="9818" y="16691"/>
                </a:cubicBezTo>
                <a:lnTo>
                  <a:pt x="11782" y="16691"/>
                </a:lnTo>
                <a:cubicBezTo>
                  <a:pt x="12324" y="16691"/>
                  <a:pt x="12764" y="17131"/>
                  <a:pt x="12764" y="17673"/>
                </a:cubicBezTo>
                <a:cubicBezTo>
                  <a:pt x="12764" y="17673"/>
                  <a:pt x="12764" y="19636"/>
                  <a:pt x="12764" y="19636"/>
                </a:cubicBezTo>
                <a:close/>
                <a:moveTo>
                  <a:pt x="11782" y="15709"/>
                </a:moveTo>
                <a:lnTo>
                  <a:pt x="9818" y="15709"/>
                </a:lnTo>
                <a:cubicBezTo>
                  <a:pt x="8734" y="15709"/>
                  <a:pt x="7855" y="16588"/>
                  <a:pt x="7855" y="17673"/>
                </a:cubicBezTo>
                <a:lnTo>
                  <a:pt x="7855" y="19636"/>
                </a:lnTo>
                <a:cubicBezTo>
                  <a:pt x="7855" y="20721"/>
                  <a:pt x="8734" y="21600"/>
                  <a:pt x="9818" y="21600"/>
                </a:cubicBezTo>
                <a:lnTo>
                  <a:pt x="11782" y="21600"/>
                </a:lnTo>
                <a:cubicBezTo>
                  <a:pt x="12866" y="21600"/>
                  <a:pt x="13745" y="20721"/>
                  <a:pt x="13745" y="19636"/>
                </a:cubicBezTo>
                <a:lnTo>
                  <a:pt x="13745" y="17673"/>
                </a:lnTo>
                <a:cubicBezTo>
                  <a:pt x="13745" y="16588"/>
                  <a:pt x="12866" y="15709"/>
                  <a:pt x="11782" y="157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cubicBezTo>
                  <a:pt x="17131" y="20618"/>
                  <a:pt x="16691" y="20178"/>
                  <a:pt x="16691" y="19636"/>
                </a:cubicBezTo>
                <a:lnTo>
                  <a:pt x="16691" y="17673"/>
                </a:lnTo>
                <a:cubicBezTo>
                  <a:pt x="16691" y="17131"/>
                  <a:pt x="17131" y="16691"/>
                  <a:pt x="17673" y="16691"/>
                </a:cubicBezTo>
                <a:lnTo>
                  <a:pt x="19636" y="16691"/>
                </a:lnTo>
                <a:cubicBezTo>
                  <a:pt x="20178" y="16691"/>
                  <a:pt x="20618" y="17131"/>
                  <a:pt x="20618" y="17673"/>
                </a:cubicBezTo>
                <a:cubicBezTo>
                  <a:pt x="20618" y="17673"/>
                  <a:pt x="20618" y="19636"/>
                  <a:pt x="20618" y="19636"/>
                </a:cubicBezTo>
                <a:close/>
                <a:moveTo>
                  <a:pt x="19636" y="15709"/>
                </a:moveTo>
                <a:lnTo>
                  <a:pt x="17673" y="15709"/>
                </a:lnTo>
                <a:cubicBezTo>
                  <a:pt x="16588" y="15709"/>
                  <a:pt x="15709" y="16588"/>
                  <a:pt x="15709" y="17673"/>
                </a:cubicBezTo>
                <a:lnTo>
                  <a:pt x="15709" y="19636"/>
                </a:lnTo>
                <a:cubicBezTo>
                  <a:pt x="15709" y="20721"/>
                  <a:pt x="16588" y="21600"/>
                  <a:pt x="17673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7673"/>
                </a:lnTo>
                <a:cubicBezTo>
                  <a:pt x="21600" y="16588"/>
                  <a:pt x="20721" y="15709"/>
                  <a:pt x="19636" y="15709"/>
                </a:cubicBezTo>
                <a:moveTo>
                  <a:pt x="4909" y="19636"/>
                </a:moveTo>
                <a:cubicBezTo>
                  <a:pt x="4909" y="20178"/>
                  <a:pt x="4469" y="20618"/>
                  <a:pt x="3927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7673"/>
                </a:lnTo>
                <a:cubicBezTo>
                  <a:pt x="982" y="17131"/>
                  <a:pt x="1422" y="16691"/>
                  <a:pt x="1964" y="16691"/>
                </a:cubicBezTo>
                <a:lnTo>
                  <a:pt x="3927" y="16691"/>
                </a:lnTo>
                <a:cubicBezTo>
                  <a:pt x="4469" y="16691"/>
                  <a:pt x="4909" y="17131"/>
                  <a:pt x="4909" y="17673"/>
                </a:cubicBezTo>
                <a:cubicBezTo>
                  <a:pt x="4909" y="17673"/>
                  <a:pt x="4909" y="19636"/>
                  <a:pt x="4909" y="19636"/>
                </a:cubicBezTo>
                <a:close/>
                <a:moveTo>
                  <a:pt x="3927" y="15709"/>
                </a:moveTo>
                <a:lnTo>
                  <a:pt x="1964" y="15709"/>
                </a:lnTo>
                <a:cubicBezTo>
                  <a:pt x="879" y="15709"/>
                  <a:pt x="0" y="16588"/>
                  <a:pt x="0" y="17673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3927" y="21600"/>
                </a:lnTo>
                <a:cubicBezTo>
                  <a:pt x="5012" y="21600"/>
                  <a:pt x="5891" y="20721"/>
                  <a:pt x="5891" y="19636"/>
                </a:cubicBezTo>
                <a:lnTo>
                  <a:pt x="5891" y="17673"/>
                </a:lnTo>
                <a:cubicBezTo>
                  <a:pt x="5891" y="16588"/>
                  <a:pt x="5012" y="15709"/>
                  <a:pt x="3927" y="15709"/>
                </a:cubicBezTo>
                <a:moveTo>
                  <a:pt x="2945" y="14727"/>
                </a:moveTo>
                <a:cubicBezTo>
                  <a:pt x="3217" y="14727"/>
                  <a:pt x="3436" y="14507"/>
                  <a:pt x="3436" y="14236"/>
                </a:cubicBezTo>
                <a:lnTo>
                  <a:pt x="3436" y="10800"/>
                </a:lnTo>
                <a:lnTo>
                  <a:pt x="10309" y="10800"/>
                </a:lnTo>
                <a:lnTo>
                  <a:pt x="10309" y="14236"/>
                </a:lnTo>
                <a:cubicBezTo>
                  <a:pt x="10309" y="14507"/>
                  <a:pt x="10529" y="14727"/>
                  <a:pt x="10800" y="14727"/>
                </a:cubicBezTo>
                <a:cubicBezTo>
                  <a:pt x="11071" y="14727"/>
                  <a:pt x="11291" y="14507"/>
                  <a:pt x="11291" y="14236"/>
                </a:cubicBezTo>
                <a:lnTo>
                  <a:pt x="11291" y="10800"/>
                </a:lnTo>
                <a:lnTo>
                  <a:pt x="18164" y="10800"/>
                </a:lnTo>
                <a:lnTo>
                  <a:pt x="18164" y="14236"/>
                </a:lnTo>
                <a:cubicBezTo>
                  <a:pt x="18164" y="14507"/>
                  <a:pt x="18384" y="14727"/>
                  <a:pt x="18655" y="14727"/>
                </a:cubicBezTo>
                <a:cubicBezTo>
                  <a:pt x="18926" y="14727"/>
                  <a:pt x="19145" y="14507"/>
                  <a:pt x="19145" y="14236"/>
                </a:cubicBezTo>
                <a:lnTo>
                  <a:pt x="19145" y="10309"/>
                </a:lnTo>
                <a:cubicBezTo>
                  <a:pt x="19145" y="10038"/>
                  <a:pt x="18926" y="9818"/>
                  <a:pt x="18655" y="9818"/>
                </a:cubicBezTo>
                <a:lnTo>
                  <a:pt x="11291" y="9818"/>
                </a:lnTo>
                <a:lnTo>
                  <a:pt x="11291" y="7364"/>
                </a:lnTo>
                <a:cubicBezTo>
                  <a:pt x="11291" y="7093"/>
                  <a:pt x="11071" y="6873"/>
                  <a:pt x="10800" y="6873"/>
                </a:cubicBezTo>
                <a:cubicBezTo>
                  <a:pt x="10529" y="6873"/>
                  <a:pt x="10309" y="7093"/>
                  <a:pt x="10309" y="7364"/>
                </a:cubicBezTo>
                <a:lnTo>
                  <a:pt x="10309" y="9818"/>
                </a:lnTo>
                <a:lnTo>
                  <a:pt x="2945" y="9818"/>
                </a:lnTo>
                <a:cubicBezTo>
                  <a:pt x="2674" y="9818"/>
                  <a:pt x="2455" y="10038"/>
                  <a:pt x="2455" y="10309"/>
                </a:cubicBezTo>
                <a:lnTo>
                  <a:pt x="2455" y="14236"/>
                </a:lnTo>
                <a:cubicBezTo>
                  <a:pt x="2455" y="14507"/>
                  <a:pt x="2674" y="14727"/>
                  <a:pt x="2945" y="14727"/>
                </a:cubicBezTo>
                <a:moveTo>
                  <a:pt x="8836" y="1964"/>
                </a:moveTo>
                <a:cubicBezTo>
                  <a:pt x="8836" y="1422"/>
                  <a:pt x="9276" y="982"/>
                  <a:pt x="9818" y="982"/>
                </a:cubicBezTo>
                <a:lnTo>
                  <a:pt x="11782" y="982"/>
                </a:lnTo>
                <a:cubicBezTo>
                  <a:pt x="12324" y="982"/>
                  <a:pt x="12764" y="1422"/>
                  <a:pt x="12764" y="1964"/>
                </a:cubicBezTo>
                <a:lnTo>
                  <a:pt x="12764" y="3927"/>
                </a:lnTo>
                <a:cubicBezTo>
                  <a:pt x="12764" y="4469"/>
                  <a:pt x="12324" y="4909"/>
                  <a:pt x="11782" y="4909"/>
                </a:cubicBezTo>
                <a:lnTo>
                  <a:pt x="9818" y="4909"/>
                </a:lnTo>
                <a:cubicBezTo>
                  <a:pt x="9276" y="4909"/>
                  <a:pt x="8836" y="4469"/>
                  <a:pt x="8836" y="3927"/>
                </a:cubicBezTo>
                <a:cubicBezTo>
                  <a:pt x="8836" y="3927"/>
                  <a:pt x="8836" y="1964"/>
                  <a:pt x="8836" y="1964"/>
                </a:cubicBezTo>
                <a:close/>
                <a:moveTo>
                  <a:pt x="9818" y="5891"/>
                </a:moveTo>
                <a:lnTo>
                  <a:pt x="11782" y="5891"/>
                </a:lnTo>
                <a:cubicBezTo>
                  <a:pt x="12866" y="5891"/>
                  <a:pt x="13745" y="5012"/>
                  <a:pt x="13745" y="3927"/>
                </a:cubicBezTo>
                <a:lnTo>
                  <a:pt x="13745" y="1964"/>
                </a:lnTo>
                <a:cubicBezTo>
                  <a:pt x="13745" y="879"/>
                  <a:pt x="12866" y="0"/>
                  <a:pt x="11782" y="0"/>
                </a:cubicBezTo>
                <a:lnTo>
                  <a:pt x="9818" y="0"/>
                </a:lnTo>
                <a:cubicBezTo>
                  <a:pt x="8734" y="0"/>
                  <a:pt x="7855" y="879"/>
                  <a:pt x="7855" y="1964"/>
                </a:cubicBezTo>
                <a:lnTo>
                  <a:pt x="7855" y="3927"/>
                </a:lnTo>
                <a:cubicBezTo>
                  <a:pt x="7855" y="5012"/>
                  <a:pt x="8734" y="5891"/>
                  <a:pt x="9818" y="5891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97" name="Shape 2697"/>
          <p:cNvSpPr/>
          <p:nvPr/>
        </p:nvSpPr>
        <p:spPr>
          <a:xfrm>
            <a:off x="6289746" y="2493064"/>
            <a:ext cx="253935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020" y="13745"/>
                </a:moveTo>
                <a:lnTo>
                  <a:pt x="4860" y="13745"/>
                </a:lnTo>
                <a:lnTo>
                  <a:pt x="4860" y="15709"/>
                </a:lnTo>
                <a:lnTo>
                  <a:pt x="7020" y="15709"/>
                </a:lnTo>
                <a:cubicBezTo>
                  <a:pt x="7020" y="15709"/>
                  <a:pt x="7020" y="13745"/>
                  <a:pt x="7020" y="13745"/>
                </a:cubicBezTo>
                <a:close/>
                <a:moveTo>
                  <a:pt x="5400" y="10800"/>
                </a:moveTo>
                <a:lnTo>
                  <a:pt x="3240" y="10800"/>
                </a:lnTo>
                <a:lnTo>
                  <a:pt x="3240" y="12764"/>
                </a:lnTo>
                <a:lnTo>
                  <a:pt x="5400" y="12764"/>
                </a:lnTo>
                <a:cubicBezTo>
                  <a:pt x="5400" y="12764"/>
                  <a:pt x="5400" y="10800"/>
                  <a:pt x="5400" y="10800"/>
                </a:cubicBezTo>
                <a:close/>
                <a:moveTo>
                  <a:pt x="5940" y="18655"/>
                </a:moveTo>
                <a:lnTo>
                  <a:pt x="15660" y="18655"/>
                </a:lnTo>
                <a:lnTo>
                  <a:pt x="15660" y="16691"/>
                </a:lnTo>
                <a:lnTo>
                  <a:pt x="5940" y="16691"/>
                </a:lnTo>
                <a:cubicBezTo>
                  <a:pt x="5940" y="16691"/>
                  <a:pt x="5940" y="18655"/>
                  <a:pt x="5940" y="18655"/>
                </a:cubicBezTo>
                <a:close/>
                <a:moveTo>
                  <a:pt x="20520" y="19636"/>
                </a:moveTo>
                <a:cubicBezTo>
                  <a:pt x="20520" y="20179"/>
                  <a:pt x="20036" y="20618"/>
                  <a:pt x="19440" y="20618"/>
                </a:cubicBezTo>
                <a:lnTo>
                  <a:pt x="2160" y="20618"/>
                </a:lnTo>
                <a:cubicBezTo>
                  <a:pt x="1564" y="20618"/>
                  <a:pt x="1080" y="20179"/>
                  <a:pt x="1080" y="19636"/>
                </a:cubicBezTo>
                <a:lnTo>
                  <a:pt x="1080" y="9818"/>
                </a:lnTo>
                <a:cubicBezTo>
                  <a:pt x="1080" y="9276"/>
                  <a:pt x="1564" y="8836"/>
                  <a:pt x="2160" y="8836"/>
                </a:cubicBezTo>
                <a:lnTo>
                  <a:pt x="19440" y="8836"/>
                </a:lnTo>
                <a:cubicBezTo>
                  <a:pt x="20036" y="8836"/>
                  <a:pt x="20520" y="9276"/>
                  <a:pt x="20520" y="9818"/>
                </a:cubicBezTo>
                <a:cubicBezTo>
                  <a:pt x="20520" y="9818"/>
                  <a:pt x="20520" y="19636"/>
                  <a:pt x="20520" y="19636"/>
                </a:cubicBezTo>
                <a:close/>
                <a:moveTo>
                  <a:pt x="19440" y="7855"/>
                </a:moveTo>
                <a:lnTo>
                  <a:pt x="2160" y="7855"/>
                </a:lnTo>
                <a:cubicBezTo>
                  <a:pt x="967" y="7855"/>
                  <a:pt x="0" y="8734"/>
                  <a:pt x="0" y="9818"/>
                </a:cubicBezTo>
                <a:lnTo>
                  <a:pt x="0" y="19636"/>
                </a:lnTo>
                <a:cubicBezTo>
                  <a:pt x="0" y="20721"/>
                  <a:pt x="967" y="21600"/>
                  <a:pt x="2160" y="21600"/>
                </a:cubicBezTo>
                <a:lnTo>
                  <a:pt x="19440" y="21600"/>
                </a:lnTo>
                <a:cubicBezTo>
                  <a:pt x="20633" y="21600"/>
                  <a:pt x="21600" y="20721"/>
                  <a:pt x="21600" y="19636"/>
                </a:cubicBezTo>
                <a:lnTo>
                  <a:pt x="21600" y="9818"/>
                </a:lnTo>
                <a:cubicBezTo>
                  <a:pt x="21600" y="8734"/>
                  <a:pt x="20633" y="7855"/>
                  <a:pt x="19440" y="7855"/>
                </a:cubicBezTo>
                <a:moveTo>
                  <a:pt x="16200" y="12764"/>
                </a:moveTo>
                <a:lnTo>
                  <a:pt x="18360" y="12764"/>
                </a:lnTo>
                <a:lnTo>
                  <a:pt x="18360" y="10800"/>
                </a:lnTo>
                <a:lnTo>
                  <a:pt x="16200" y="10800"/>
                </a:lnTo>
                <a:cubicBezTo>
                  <a:pt x="16200" y="10800"/>
                  <a:pt x="16200" y="12764"/>
                  <a:pt x="16200" y="12764"/>
                </a:cubicBezTo>
                <a:close/>
                <a:moveTo>
                  <a:pt x="14580" y="15709"/>
                </a:moveTo>
                <a:lnTo>
                  <a:pt x="16740" y="15709"/>
                </a:lnTo>
                <a:lnTo>
                  <a:pt x="16740" y="13745"/>
                </a:lnTo>
                <a:lnTo>
                  <a:pt x="14580" y="13745"/>
                </a:lnTo>
                <a:cubicBezTo>
                  <a:pt x="14580" y="13745"/>
                  <a:pt x="14580" y="15709"/>
                  <a:pt x="14580" y="15709"/>
                </a:cubicBezTo>
                <a:close/>
                <a:moveTo>
                  <a:pt x="10800" y="0"/>
                </a:moveTo>
                <a:lnTo>
                  <a:pt x="6480" y="3927"/>
                </a:lnTo>
                <a:lnTo>
                  <a:pt x="15120" y="3927"/>
                </a:lnTo>
                <a:cubicBezTo>
                  <a:pt x="15120" y="3927"/>
                  <a:pt x="10800" y="0"/>
                  <a:pt x="10800" y="0"/>
                </a:cubicBezTo>
                <a:close/>
                <a:moveTo>
                  <a:pt x="8640" y="10800"/>
                </a:moveTo>
                <a:lnTo>
                  <a:pt x="6480" y="10800"/>
                </a:lnTo>
                <a:lnTo>
                  <a:pt x="6480" y="12764"/>
                </a:lnTo>
                <a:lnTo>
                  <a:pt x="8640" y="12764"/>
                </a:lnTo>
                <a:cubicBezTo>
                  <a:pt x="8640" y="12764"/>
                  <a:pt x="8640" y="10800"/>
                  <a:pt x="8640" y="10800"/>
                </a:cubicBezTo>
                <a:close/>
                <a:moveTo>
                  <a:pt x="11340" y="15709"/>
                </a:moveTo>
                <a:lnTo>
                  <a:pt x="13500" y="15709"/>
                </a:lnTo>
                <a:lnTo>
                  <a:pt x="13500" y="13745"/>
                </a:lnTo>
                <a:lnTo>
                  <a:pt x="11340" y="13745"/>
                </a:lnTo>
                <a:cubicBezTo>
                  <a:pt x="11340" y="13745"/>
                  <a:pt x="11340" y="15709"/>
                  <a:pt x="11340" y="15709"/>
                </a:cubicBezTo>
                <a:close/>
                <a:moveTo>
                  <a:pt x="15120" y="10800"/>
                </a:moveTo>
                <a:lnTo>
                  <a:pt x="12960" y="10800"/>
                </a:lnTo>
                <a:lnTo>
                  <a:pt x="12960" y="12764"/>
                </a:lnTo>
                <a:lnTo>
                  <a:pt x="15120" y="12764"/>
                </a:lnTo>
                <a:cubicBezTo>
                  <a:pt x="15120" y="12764"/>
                  <a:pt x="15120" y="10800"/>
                  <a:pt x="15120" y="10800"/>
                </a:cubicBezTo>
                <a:close/>
                <a:moveTo>
                  <a:pt x="11880" y="10800"/>
                </a:moveTo>
                <a:lnTo>
                  <a:pt x="9720" y="10800"/>
                </a:lnTo>
                <a:lnTo>
                  <a:pt x="9720" y="12764"/>
                </a:lnTo>
                <a:lnTo>
                  <a:pt x="11880" y="12764"/>
                </a:lnTo>
                <a:cubicBezTo>
                  <a:pt x="11880" y="12764"/>
                  <a:pt x="11880" y="10800"/>
                  <a:pt x="11880" y="10800"/>
                </a:cubicBezTo>
                <a:close/>
                <a:moveTo>
                  <a:pt x="8100" y="15709"/>
                </a:moveTo>
                <a:lnTo>
                  <a:pt x="10260" y="15709"/>
                </a:lnTo>
                <a:lnTo>
                  <a:pt x="10260" y="13745"/>
                </a:lnTo>
                <a:lnTo>
                  <a:pt x="8100" y="13745"/>
                </a:lnTo>
                <a:cubicBezTo>
                  <a:pt x="8100" y="13745"/>
                  <a:pt x="8100" y="15709"/>
                  <a:pt x="8100" y="15709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98" name="Shape 2698"/>
          <p:cNvSpPr/>
          <p:nvPr/>
        </p:nvSpPr>
        <p:spPr>
          <a:xfrm>
            <a:off x="6823008" y="2493064"/>
            <a:ext cx="253935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940" y="10800"/>
                </a:moveTo>
                <a:lnTo>
                  <a:pt x="15660" y="10800"/>
                </a:lnTo>
                <a:lnTo>
                  <a:pt x="15660" y="8836"/>
                </a:lnTo>
                <a:lnTo>
                  <a:pt x="5940" y="8836"/>
                </a:lnTo>
                <a:cubicBezTo>
                  <a:pt x="5940" y="8836"/>
                  <a:pt x="5940" y="10800"/>
                  <a:pt x="5940" y="10800"/>
                </a:cubicBezTo>
                <a:close/>
                <a:moveTo>
                  <a:pt x="5400" y="2945"/>
                </a:moveTo>
                <a:lnTo>
                  <a:pt x="3240" y="2945"/>
                </a:lnTo>
                <a:lnTo>
                  <a:pt x="3240" y="4909"/>
                </a:lnTo>
                <a:lnTo>
                  <a:pt x="5400" y="4909"/>
                </a:lnTo>
                <a:cubicBezTo>
                  <a:pt x="5400" y="4909"/>
                  <a:pt x="5400" y="2945"/>
                  <a:pt x="5400" y="2945"/>
                </a:cubicBezTo>
                <a:close/>
                <a:moveTo>
                  <a:pt x="7020" y="5891"/>
                </a:moveTo>
                <a:lnTo>
                  <a:pt x="4860" y="5891"/>
                </a:lnTo>
                <a:lnTo>
                  <a:pt x="4860" y="7855"/>
                </a:lnTo>
                <a:lnTo>
                  <a:pt x="7020" y="7855"/>
                </a:lnTo>
                <a:cubicBezTo>
                  <a:pt x="7020" y="7855"/>
                  <a:pt x="7020" y="5891"/>
                  <a:pt x="7020" y="5891"/>
                </a:cubicBezTo>
                <a:close/>
                <a:moveTo>
                  <a:pt x="14580" y="7855"/>
                </a:moveTo>
                <a:lnTo>
                  <a:pt x="16740" y="7855"/>
                </a:lnTo>
                <a:lnTo>
                  <a:pt x="16740" y="5891"/>
                </a:lnTo>
                <a:lnTo>
                  <a:pt x="14580" y="5891"/>
                </a:lnTo>
                <a:cubicBezTo>
                  <a:pt x="14580" y="5891"/>
                  <a:pt x="14580" y="7855"/>
                  <a:pt x="14580" y="7855"/>
                </a:cubicBezTo>
                <a:close/>
                <a:moveTo>
                  <a:pt x="20520" y="11782"/>
                </a:moveTo>
                <a:cubicBezTo>
                  <a:pt x="20520" y="12324"/>
                  <a:pt x="20036" y="12764"/>
                  <a:pt x="19440" y="12764"/>
                </a:cubicBezTo>
                <a:lnTo>
                  <a:pt x="2160" y="12764"/>
                </a:lnTo>
                <a:cubicBezTo>
                  <a:pt x="1564" y="12764"/>
                  <a:pt x="1080" y="12324"/>
                  <a:pt x="1080" y="11782"/>
                </a:cubicBezTo>
                <a:lnTo>
                  <a:pt x="1080" y="1964"/>
                </a:lnTo>
                <a:cubicBezTo>
                  <a:pt x="1080" y="1422"/>
                  <a:pt x="1564" y="982"/>
                  <a:pt x="2160" y="982"/>
                </a:cubicBezTo>
                <a:lnTo>
                  <a:pt x="19440" y="982"/>
                </a:lnTo>
                <a:cubicBezTo>
                  <a:pt x="20036" y="982"/>
                  <a:pt x="20520" y="1422"/>
                  <a:pt x="20520" y="1964"/>
                </a:cubicBezTo>
                <a:cubicBezTo>
                  <a:pt x="20520" y="1964"/>
                  <a:pt x="20520" y="11782"/>
                  <a:pt x="20520" y="11782"/>
                </a:cubicBezTo>
                <a:close/>
                <a:moveTo>
                  <a:pt x="19440" y="0"/>
                </a:moveTo>
                <a:lnTo>
                  <a:pt x="2160" y="0"/>
                </a:lnTo>
                <a:cubicBezTo>
                  <a:pt x="967" y="0"/>
                  <a:pt x="0" y="879"/>
                  <a:pt x="0" y="1964"/>
                </a:cubicBezTo>
                <a:lnTo>
                  <a:pt x="0" y="11782"/>
                </a:lnTo>
                <a:cubicBezTo>
                  <a:pt x="0" y="12866"/>
                  <a:pt x="967" y="13745"/>
                  <a:pt x="2160" y="13745"/>
                </a:cubicBezTo>
                <a:lnTo>
                  <a:pt x="19440" y="13745"/>
                </a:lnTo>
                <a:cubicBezTo>
                  <a:pt x="20633" y="13745"/>
                  <a:pt x="21600" y="12866"/>
                  <a:pt x="21600" y="11782"/>
                </a:cubicBezTo>
                <a:lnTo>
                  <a:pt x="21600" y="1964"/>
                </a:lnTo>
                <a:cubicBezTo>
                  <a:pt x="21600" y="879"/>
                  <a:pt x="20633" y="0"/>
                  <a:pt x="19440" y="0"/>
                </a:cubicBezTo>
                <a:moveTo>
                  <a:pt x="16200" y="4909"/>
                </a:moveTo>
                <a:lnTo>
                  <a:pt x="18360" y="4909"/>
                </a:lnTo>
                <a:lnTo>
                  <a:pt x="18360" y="2945"/>
                </a:lnTo>
                <a:lnTo>
                  <a:pt x="16200" y="2945"/>
                </a:lnTo>
                <a:cubicBezTo>
                  <a:pt x="16200" y="2945"/>
                  <a:pt x="16200" y="4909"/>
                  <a:pt x="16200" y="4909"/>
                </a:cubicBezTo>
                <a:close/>
                <a:moveTo>
                  <a:pt x="8640" y="2945"/>
                </a:moveTo>
                <a:lnTo>
                  <a:pt x="6480" y="2945"/>
                </a:lnTo>
                <a:lnTo>
                  <a:pt x="6480" y="4909"/>
                </a:lnTo>
                <a:lnTo>
                  <a:pt x="8640" y="4909"/>
                </a:lnTo>
                <a:cubicBezTo>
                  <a:pt x="8640" y="4909"/>
                  <a:pt x="8640" y="2945"/>
                  <a:pt x="8640" y="2945"/>
                </a:cubicBezTo>
                <a:close/>
                <a:moveTo>
                  <a:pt x="11340" y="7855"/>
                </a:moveTo>
                <a:lnTo>
                  <a:pt x="13500" y="7855"/>
                </a:lnTo>
                <a:lnTo>
                  <a:pt x="13500" y="5891"/>
                </a:lnTo>
                <a:lnTo>
                  <a:pt x="11340" y="5891"/>
                </a:lnTo>
                <a:cubicBezTo>
                  <a:pt x="11340" y="5891"/>
                  <a:pt x="11340" y="7855"/>
                  <a:pt x="11340" y="7855"/>
                </a:cubicBezTo>
                <a:close/>
                <a:moveTo>
                  <a:pt x="10800" y="21600"/>
                </a:moveTo>
                <a:lnTo>
                  <a:pt x="15120" y="17673"/>
                </a:lnTo>
                <a:lnTo>
                  <a:pt x="6480" y="17673"/>
                </a:lnTo>
                <a:cubicBezTo>
                  <a:pt x="6480" y="17673"/>
                  <a:pt x="10800" y="21600"/>
                  <a:pt x="10800" y="21600"/>
                </a:cubicBezTo>
                <a:close/>
                <a:moveTo>
                  <a:pt x="15120" y="2945"/>
                </a:moveTo>
                <a:lnTo>
                  <a:pt x="12960" y="2945"/>
                </a:lnTo>
                <a:lnTo>
                  <a:pt x="12960" y="4909"/>
                </a:lnTo>
                <a:lnTo>
                  <a:pt x="15120" y="4909"/>
                </a:lnTo>
                <a:cubicBezTo>
                  <a:pt x="15120" y="4909"/>
                  <a:pt x="15120" y="2945"/>
                  <a:pt x="15120" y="2945"/>
                </a:cubicBezTo>
                <a:close/>
                <a:moveTo>
                  <a:pt x="8100" y="7855"/>
                </a:moveTo>
                <a:lnTo>
                  <a:pt x="10260" y="7855"/>
                </a:lnTo>
                <a:lnTo>
                  <a:pt x="10260" y="5891"/>
                </a:lnTo>
                <a:lnTo>
                  <a:pt x="8100" y="5891"/>
                </a:lnTo>
                <a:cubicBezTo>
                  <a:pt x="8100" y="5891"/>
                  <a:pt x="8100" y="7855"/>
                  <a:pt x="8100" y="7855"/>
                </a:cubicBezTo>
                <a:close/>
                <a:moveTo>
                  <a:pt x="11880" y="2945"/>
                </a:moveTo>
                <a:lnTo>
                  <a:pt x="9720" y="2945"/>
                </a:lnTo>
                <a:lnTo>
                  <a:pt x="9720" y="4909"/>
                </a:lnTo>
                <a:lnTo>
                  <a:pt x="11880" y="4909"/>
                </a:lnTo>
                <a:cubicBezTo>
                  <a:pt x="11880" y="4909"/>
                  <a:pt x="11880" y="2945"/>
                  <a:pt x="11880" y="2945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699" name="Shape 2699"/>
          <p:cNvSpPr/>
          <p:nvPr/>
        </p:nvSpPr>
        <p:spPr>
          <a:xfrm>
            <a:off x="7343572" y="2518458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976" y="20400"/>
                </a:moveTo>
                <a:lnTo>
                  <a:pt x="10800" y="13522"/>
                </a:lnTo>
                <a:lnTo>
                  <a:pt x="15623" y="20400"/>
                </a:lnTo>
                <a:cubicBezTo>
                  <a:pt x="15623" y="20400"/>
                  <a:pt x="5976" y="20400"/>
                  <a:pt x="5976" y="20400"/>
                </a:cubicBezTo>
                <a:close/>
                <a:moveTo>
                  <a:pt x="17063" y="20610"/>
                </a:moveTo>
                <a:lnTo>
                  <a:pt x="11172" y="12210"/>
                </a:lnTo>
                <a:lnTo>
                  <a:pt x="11168" y="12214"/>
                </a:lnTo>
                <a:cubicBezTo>
                  <a:pt x="11078" y="12086"/>
                  <a:pt x="10949" y="12000"/>
                  <a:pt x="10800" y="12000"/>
                </a:cubicBezTo>
                <a:cubicBezTo>
                  <a:pt x="10651" y="12000"/>
                  <a:pt x="10521" y="12086"/>
                  <a:pt x="10432" y="12214"/>
                </a:cubicBezTo>
                <a:lnTo>
                  <a:pt x="10427" y="12210"/>
                </a:lnTo>
                <a:lnTo>
                  <a:pt x="4536" y="20610"/>
                </a:lnTo>
                <a:lnTo>
                  <a:pt x="4540" y="20614"/>
                </a:lnTo>
                <a:cubicBezTo>
                  <a:pt x="4467" y="20719"/>
                  <a:pt x="4418" y="20851"/>
                  <a:pt x="4418" y="21000"/>
                </a:cubicBezTo>
                <a:cubicBezTo>
                  <a:pt x="4418" y="21332"/>
                  <a:pt x="4638" y="21600"/>
                  <a:pt x="4909" y="21600"/>
                </a:cubicBezTo>
                <a:lnTo>
                  <a:pt x="16691" y="21600"/>
                </a:lnTo>
                <a:cubicBezTo>
                  <a:pt x="16962" y="21600"/>
                  <a:pt x="17182" y="21332"/>
                  <a:pt x="17182" y="21000"/>
                </a:cubicBezTo>
                <a:cubicBezTo>
                  <a:pt x="17182" y="20851"/>
                  <a:pt x="17133" y="20719"/>
                  <a:pt x="17059" y="20614"/>
                </a:cubicBezTo>
                <a:cubicBezTo>
                  <a:pt x="17059" y="20614"/>
                  <a:pt x="17063" y="20610"/>
                  <a:pt x="17063" y="20610"/>
                </a:cubicBezTo>
                <a:close/>
                <a:moveTo>
                  <a:pt x="21109" y="0"/>
                </a:moveTo>
                <a:lnTo>
                  <a:pt x="491" y="0"/>
                </a:lnTo>
                <a:cubicBezTo>
                  <a:pt x="220" y="0"/>
                  <a:pt x="0" y="269"/>
                  <a:pt x="0" y="600"/>
                </a:cubicBezTo>
                <a:lnTo>
                  <a:pt x="0" y="17400"/>
                </a:lnTo>
                <a:cubicBezTo>
                  <a:pt x="0" y="17732"/>
                  <a:pt x="220" y="18000"/>
                  <a:pt x="491" y="18000"/>
                </a:cubicBezTo>
                <a:lnTo>
                  <a:pt x="4418" y="18000"/>
                </a:lnTo>
                <a:cubicBezTo>
                  <a:pt x="4689" y="18000"/>
                  <a:pt x="4909" y="17732"/>
                  <a:pt x="4909" y="17400"/>
                </a:cubicBezTo>
                <a:cubicBezTo>
                  <a:pt x="4909" y="17068"/>
                  <a:pt x="4689" y="16800"/>
                  <a:pt x="4418" y="16800"/>
                </a:cubicBezTo>
                <a:lnTo>
                  <a:pt x="982" y="16800"/>
                </a:lnTo>
                <a:lnTo>
                  <a:pt x="982" y="1200"/>
                </a:lnTo>
                <a:lnTo>
                  <a:pt x="20618" y="1200"/>
                </a:lnTo>
                <a:lnTo>
                  <a:pt x="20618" y="16800"/>
                </a:lnTo>
                <a:lnTo>
                  <a:pt x="17182" y="16800"/>
                </a:lnTo>
                <a:cubicBezTo>
                  <a:pt x="16911" y="16800"/>
                  <a:pt x="16691" y="17068"/>
                  <a:pt x="16691" y="17400"/>
                </a:cubicBezTo>
                <a:cubicBezTo>
                  <a:pt x="16691" y="17732"/>
                  <a:pt x="16911" y="18000"/>
                  <a:pt x="17182" y="18000"/>
                </a:cubicBezTo>
                <a:lnTo>
                  <a:pt x="21109" y="18000"/>
                </a:lnTo>
                <a:cubicBezTo>
                  <a:pt x="21380" y="18000"/>
                  <a:pt x="21600" y="17732"/>
                  <a:pt x="21600" y="174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00" name="Shape 2700"/>
          <p:cNvSpPr/>
          <p:nvPr/>
        </p:nvSpPr>
        <p:spPr>
          <a:xfrm>
            <a:off x="7876833" y="249306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4" y="20618"/>
                </a:moveTo>
                <a:lnTo>
                  <a:pt x="15069" y="13232"/>
                </a:lnTo>
                <a:lnTo>
                  <a:pt x="15063" y="13228"/>
                </a:lnTo>
                <a:cubicBezTo>
                  <a:pt x="15472" y="12512"/>
                  <a:pt x="15709" y="11684"/>
                  <a:pt x="15709" y="10800"/>
                </a:cubicBezTo>
                <a:cubicBezTo>
                  <a:pt x="15709" y="9192"/>
                  <a:pt x="14932" y="7768"/>
                  <a:pt x="13737" y="6873"/>
                </a:cubicBezTo>
                <a:lnTo>
                  <a:pt x="19796" y="6873"/>
                </a:lnTo>
                <a:cubicBezTo>
                  <a:pt x="20322" y="8076"/>
                  <a:pt x="20618" y="9403"/>
                  <a:pt x="20618" y="10800"/>
                </a:cubicBezTo>
                <a:cubicBezTo>
                  <a:pt x="20618" y="16221"/>
                  <a:pt x="16225" y="20615"/>
                  <a:pt x="10804" y="20618"/>
                </a:cubicBezTo>
                <a:moveTo>
                  <a:pt x="9708" y="20554"/>
                </a:moveTo>
                <a:cubicBezTo>
                  <a:pt x="4800" y="20010"/>
                  <a:pt x="982" y="15853"/>
                  <a:pt x="982" y="10800"/>
                </a:cubicBezTo>
                <a:cubicBezTo>
                  <a:pt x="982" y="9010"/>
                  <a:pt x="1468" y="7337"/>
                  <a:pt x="2305" y="5892"/>
                </a:cubicBezTo>
                <a:lnTo>
                  <a:pt x="6452" y="13076"/>
                </a:lnTo>
                <a:cubicBezTo>
                  <a:pt x="7273" y="14640"/>
                  <a:pt x="8911" y="15709"/>
                  <a:pt x="10800" y="15709"/>
                </a:cubicBezTo>
                <a:cubicBezTo>
                  <a:pt x="11487" y="15709"/>
                  <a:pt x="12141" y="15567"/>
                  <a:pt x="12734" y="15312"/>
                </a:cubicBezTo>
                <a:cubicBezTo>
                  <a:pt x="12734" y="15312"/>
                  <a:pt x="9708" y="20554"/>
                  <a:pt x="9708" y="20554"/>
                </a:cubicBezTo>
                <a:close/>
                <a:moveTo>
                  <a:pt x="7315" y="12607"/>
                </a:moveTo>
                <a:cubicBezTo>
                  <a:pt x="7034" y="12065"/>
                  <a:pt x="6873" y="11452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cubicBezTo>
                  <a:pt x="9318" y="14727"/>
                  <a:pt x="8029" y="13906"/>
                  <a:pt x="7360" y="12694"/>
                </a:cubicBezTo>
                <a:lnTo>
                  <a:pt x="7364" y="12691"/>
                </a:lnTo>
                <a:cubicBezTo>
                  <a:pt x="7364" y="12691"/>
                  <a:pt x="7315" y="12607"/>
                  <a:pt x="7315" y="12607"/>
                </a:cubicBezTo>
                <a:close/>
                <a:moveTo>
                  <a:pt x="10800" y="982"/>
                </a:moveTo>
                <a:cubicBezTo>
                  <a:pt x="14432" y="982"/>
                  <a:pt x="17596" y="2959"/>
                  <a:pt x="19294" y="5891"/>
                </a:cubicBezTo>
                <a:lnTo>
                  <a:pt x="10800" y="5891"/>
                </a:lnTo>
                <a:cubicBezTo>
                  <a:pt x="8290" y="5891"/>
                  <a:pt x="6223" y="7776"/>
                  <a:pt x="5930" y="10207"/>
                </a:cubicBezTo>
                <a:lnTo>
                  <a:pt x="2909" y="4975"/>
                </a:lnTo>
                <a:cubicBezTo>
                  <a:pt x="4697" y="2557"/>
                  <a:pt x="7561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01" name="Shape 2701"/>
          <p:cNvSpPr/>
          <p:nvPr/>
        </p:nvSpPr>
        <p:spPr>
          <a:xfrm>
            <a:off x="8410094" y="2562896"/>
            <a:ext cx="279328" cy="1269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724" y="15100"/>
                </a:moveTo>
                <a:lnTo>
                  <a:pt x="17582" y="15100"/>
                </a:lnTo>
                <a:lnTo>
                  <a:pt x="17582" y="8844"/>
                </a:lnTo>
                <a:lnTo>
                  <a:pt x="16724" y="8844"/>
                </a:lnTo>
                <a:cubicBezTo>
                  <a:pt x="16724" y="8844"/>
                  <a:pt x="16724" y="15100"/>
                  <a:pt x="16724" y="15100"/>
                </a:cubicBezTo>
                <a:close/>
                <a:moveTo>
                  <a:pt x="13336" y="15100"/>
                </a:moveTo>
                <a:lnTo>
                  <a:pt x="14199" y="15100"/>
                </a:lnTo>
                <a:lnTo>
                  <a:pt x="14199" y="11633"/>
                </a:lnTo>
                <a:lnTo>
                  <a:pt x="15565" y="11633"/>
                </a:lnTo>
                <a:lnTo>
                  <a:pt x="15565" y="10047"/>
                </a:lnTo>
                <a:lnTo>
                  <a:pt x="14199" y="10047"/>
                </a:lnTo>
                <a:lnTo>
                  <a:pt x="14199" y="8077"/>
                </a:lnTo>
                <a:lnTo>
                  <a:pt x="15661" y="8077"/>
                </a:lnTo>
                <a:lnTo>
                  <a:pt x="15661" y="6478"/>
                </a:lnTo>
                <a:lnTo>
                  <a:pt x="13336" y="6478"/>
                </a:lnTo>
                <a:cubicBezTo>
                  <a:pt x="13336" y="6478"/>
                  <a:pt x="13336" y="15100"/>
                  <a:pt x="13336" y="15100"/>
                </a:cubicBezTo>
                <a:close/>
                <a:moveTo>
                  <a:pt x="20618" y="12960"/>
                </a:moveTo>
                <a:cubicBezTo>
                  <a:pt x="20618" y="16538"/>
                  <a:pt x="19299" y="19440"/>
                  <a:pt x="17673" y="19440"/>
                </a:cubicBezTo>
                <a:lnTo>
                  <a:pt x="7855" y="19440"/>
                </a:lnTo>
                <a:cubicBezTo>
                  <a:pt x="9481" y="19440"/>
                  <a:pt x="10800" y="16538"/>
                  <a:pt x="10800" y="12960"/>
                </a:cubicBezTo>
                <a:lnTo>
                  <a:pt x="10800" y="8640"/>
                </a:lnTo>
                <a:cubicBezTo>
                  <a:pt x="10800" y="5062"/>
                  <a:pt x="12119" y="2160"/>
                  <a:pt x="13745" y="2160"/>
                </a:cubicBezTo>
                <a:lnTo>
                  <a:pt x="17673" y="2160"/>
                </a:lnTo>
                <a:cubicBezTo>
                  <a:pt x="19299" y="2160"/>
                  <a:pt x="20618" y="5062"/>
                  <a:pt x="20618" y="8640"/>
                </a:cubicBezTo>
                <a:cubicBezTo>
                  <a:pt x="20618" y="8640"/>
                  <a:pt x="20618" y="12960"/>
                  <a:pt x="20618" y="12960"/>
                </a:cubicBezTo>
                <a:close/>
                <a:moveTo>
                  <a:pt x="6607" y="15121"/>
                </a:moveTo>
                <a:lnTo>
                  <a:pt x="5673" y="15121"/>
                </a:lnTo>
                <a:lnTo>
                  <a:pt x="5350" y="11399"/>
                </a:lnTo>
                <a:cubicBezTo>
                  <a:pt x="5276" y="10527"/>
                  <a:pt x="5214" y="9718"/>
                  <a:pt x="5169" y="8730"/>
                </a:cubicBezTo>
                <a:lnTo>
                  <a:pt x="5157" y="8730"/>
                </a:lnTo>
                <a:cubicBezTo>
                  <a:pt x="5090" y="9705"/>
                  <a:pt x="5028" y="10527"/>
                  <a:pt x="4937" y="11399"/>
                </a:cubicBezTo>
                <a:lnTo>
                  <a:pt x="4574" y="15121"/>
                </a:lnTo>
                <a:lnTo>
                  <a:pt x="3629" y="15121"/>
                </a:lnTo>
                <a:lnTo>
                  <a:pt x="2723" y="6471"/>
                </a:lnTo>
                <a:lnTo>
                  <a:pt x="3646" y="6471"/>
                </a:lnTo>
                <a:lnTo>
                  <a:pt x="3935" y="10039"/>
                </a:lnTo>
                <a:cubicBezTo>
                  <a:pt x="4020" y="11066"/>
                  <a:pt x="4099" y="12182"/>
                  <a:pt x="4161" y="13055"/>
                </a:cubicBezTo>
                <a:lnTo>
                  <a:pt x="4172" y="13055"/>
                </a:lnTo>
                <a:cubicBezTo>
                  <a:pt x="4235" y="12118"/>
                  <a:pt x="4325" y="11078"/>
                  <a:pt x="4422" y="10013"/>
                </a:cubicBezTo>
                <a:lnTo>
                  <a:pt x="4744" y="6471"/>
                </a:lnTo>
                <a:lnTo>
                  <a:pt x="5662" y="6471"/>
                </a:lnTo>
                <a:lnTo>
                  <a:pt x="5967" y="10117"/>
                </a:lnTo>
                <a:cubicBezTo>
                  <a:pt x="6052" y="11130"/>
                  <a:pt x="6114" y="12054"/>
                  <a:pt x="6171" y="13017"/>
                </a:cubicBezTo>
                <a:lnTo>
                  <a:pt x="6182" y="13017"/>
                </a:lnTo>
                <a:cubicBezTo>
                  <a:pt x="6239" y="12054"/>
                  <a:pt x="6324" y="11040"/>
                  <a:pt x="6403" y="10013"/>
                </a:cubicBezTo>
                <a:lnTo>
                  <a:pt x="6715" y="6471"/>
                </a:lnTo>
                <a:lnTo>
                  <a:pt x="7592" y="6471"/>
                </a:lnTo>
                <a:cubicBezTo>
                  <a:pt x="7592" y="6471"/>
                  <a:pt x="6607" y="15121"/>
                  <a:pt x="6607" y="15121"/>
                </a:cubicBezTo>
                <a:close/>
                <a:moveTo>
                  <a:pt x="8940" y="15121"/>
                </a:moveTo>
                <a:lnTo>
                  <a:pt x="8080" y="15121"/>
                </a:lnTo>
                <a:lnTo>
                  <a:pt x="8080" y="8845"/>
                </a:lnTo>
                <a:lnTo>
                  <a:pt x="8940" y="8845"/>
                </a:lnTo>
                <a:cubicBezTo>
                  <a:pt x="8940" y="8845"/>
                  <a:pt x="8940" y="15121"/>
                  <a:pt x="8940" y="15121"/>
                </a:cubicBezTo>
                <a:close/>
                <a:moveTo>
                  <a:pt x="8510" y="6111"/>
                </a:moveTo>
                <a:cubicBezTo>
                  <a:pt x="8788" y="6111"/>
                  <a:pt x="8963" y="6535"/>
                  <a:pt x="8969" y="7100"/>
                </a:cubicBezTo>
                <a:cubicBezTo>
                  <a:pt x="8969" y="7638"/>
                  <a:pt x="8788" y="8076"/>
                  <a:pt x="8505" y="8076"/>
                </a:cubicBezTo>
                <a:cubicBezTo>
                  <a:pt x="8233" y="8076"/>
                  <a:pt x="8052" y="7638"/>
                  <a:pt x="8058" y="7100"/>
                </a:cubicBezTo>
                <a:cubicBezTo>
                  <a:pt x="8052" y="6535"/>
                  <a:pt x="8233" y="6111"/>
                  <a:pt x="8510" y="6111"/>
                </a:cubicBezTo>
                <a:moveTo>
                  <a:pt x="17673" y="0"/>
                </a:moveTo>
                <a:lnTo>
                  <a:pt x="3927" y="0"/>
                </a:lnTo>
                <a:cubicBezTo>
                  <a:pt x="1758" y="0"/>
                  <a:pt x="0" y="3869"/>
                  <a:pt x="0" y="8640"/>
                </a:cubicBezTo>
                <a:lnTo>
                  <a:pt x="0" y="12960"/>
                </a:lnTo>
                <a:cubicBezTo>
                  <a:pt x="0" y="17731"/>
                  <a:pt x="1758" y="21600"/>
                  <a:pt x="3927" y="21600"/>
                </a:cubicBezTo>
                <a:lnTo>
                  <a:pt x="17673" y="21600"/>
                </a:lnTo>
                <a:cubicBezTo>
                  <a:pt x="19842" y="21600"/>
                  <a:pt x="21600" y="17731"/>
                  <a:pt x="21600" y="12960"/>
                </a:cubicBezTo>
                <a:lnTo>
                  <a:pt x="21600" y="8640"/>
                </a:lnTo>
                <a:cubicBezTo>
                  <a:pt x="21600" y="3869"/>
                  <a:pt x="19842" y="0"/>
                  <a:pt x="17673" y="0"/>
                </a:cubicBezTo>
                <a:moveTo>
                  <a:pt x="17153" y="6119"/>
                </a:moveTo>
                <a:cubicBezTo>
                  <a:pt x="16876" y="6119"/>
                  <a:pt x="16696" y="6543"/>
                  <a:pt x="16701" y="7104"/>
                </a:cubicBezTo>
                <a:cubicBezTo>
                  <a:pt x="16696" y="7642"/>
                  <a:pt x="16876" y="8077"/>
                  <a:pt x="17147" y="8077"/>
                </a:cubicBezTo>
                <a:cubicBezTo>
                  <a:pt x="17429" y="8077"/>
                  <a:pt x="17610" y="7642"/>
                  <a:pt x="17610" y="7104"/>
                </a:cubicBezTo>
                <a:cubicBezTo>
                  <a:pt x="17604" y="6543"/>
                  <a:pt x="17429" y="6119"/>
                  <a:pt x="17153" y="6119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02" name="Shape 2702"/>
          <p:cNvSpPr/>
          <p:nvPr/>
        </p:nvSpPr>
        <p:spPr>
          <a:xfrm>
            <a:off x="8943355" y="2505761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520"/>
                </a:moveTo>
                <a:cubicBezTo>
                  <a:pt x="7396" y="20520"/>
                  <a:pt x="4399" y="18805"/>
                  <a:pt x="2638" y="16200"/>
                </a:cubicBezTo>
                <a:lnTo>
                  <a:pt x="9966" y="16200"/>
                </a:lnTo>
                <a:cubicBezTo>
                  <a:pt x="10478" y="17309"/>
                  <a:pt x="12251" y="18900"/>
                  <a:pt x="13500" y="18900"/>
                </a:cubicBezTo>
                <a:cubicBezTo>
                  <a:pt x="14973" y="18900"/>
                  <a:pt x="16200" y="17820"/>
                  <a:pt x="16200" y="15660"/>
                </a:cubicBezTo>
                <a:cubicBezTo>
                  <a:pt x="16200" y="13500"/>
                  <a:pt x="14973" y="12420"/>
                  <a:pt x="13500" y="12420"/>
                </a:cubicBezTo>
                <a:cubicBezTo>
                  <a:pt x="12241" y="12420"/>
                  <a:pt x="10447" y="13973"/>
                  <a:pt x="9953" y="15120"/>
                </a:cubicBezTo>
                <a:lnTo>
                  <a:pt x="2014" y="15120"/>
                </a:lnTo>
                <a:cubicBezTo>
                  <a:pt x="1359" y="13817"/>
                  <a:pt x="982" y="12354"/>
                  <a:pt x="982" y="10800"/>
                </a:cubicBezTo>
                <a:cubicBezTo>
                  <a:pt x="982" y="9246"/>
                  <a:pt x="1359" y="7783"/>
                  <a:pt x="2014" y="6480"/>
                </a:cubicBezTo>
                <a:lnTo>
                  <a:pt x="9966" y="6480"/>
                </a:lnTo>
                <a:cubicBezTo>
                  <a:pt x="10478" y="7589"/>
                  <a:pt x="12252" y="9180"/>
                  <a:pt x="13500" y="9180"/>
                </a:cubicBezTo>
                <a:cubicBezTo>
                  <a:pt x="14973" y="9180"/>
                  <a:pt x="16200" y="8100"/>
                  <a:pt x="16200" y="5940"/>
                </a:cubicBezTo>
                <a:cubicBezTo>
                  <a:pt x="16200" y="3780"/>
                  <a:pt x="14973" y="2700"/>
                  <a:pt x="13500" y="2700"/>
                </a:cubicBezTo>
                <a:cubicBezTo>
                  <a:pt x="12241" y="2700"/>
                  <a:pt x="10447" y="4253"/>
                  <a:pt x="9953" y="5400"/>
                </a:cubicBezTo>
                <a:lnTo>
                  <a:pt x="2638" y="5400"/>
                </a:lnTo>
                <a:cubicBezTo>
                  <a:pt x="4399" y="2796"/>
                  <a:pt x="7396" y="1080"/>
                  <a:pt x="10800" y="1080"/>
                </a:cubicBezTo>
                <a:cubicBezTo>
                  <a:pt x="16038" y="1080"/>
                  <a:pt x="20306" y="5145"/>
                  <a:pt x="20590" y="10260"/>
                </a:cubicBezTo>
                <a:lnTo>
                  <a:pt x="10652" y="10260"/>
                </a:lnTo>
                <a:cubicBezTo>
                  <a:pt x="10140" y="9151"/>
                  <a:pt x="8367" y="7560"/>
                  <a:pt x="7118" y="7560"/>
                </a:cubicBezTo>
                <a:cubicBezTo>
                  <a:pt x="5645" y="7560"/>
                  <a:pt x="4418" y="8640"/>
                  <a:pt x="4418" y="10800"/>
                </a:cubicBezTo>
                <a:cubicBezTo>
                  <a:pt x="4418" y="12960"/>
                  <a:pt x="5645" y="14040"/>
                  <a:pt x="7118" y="14040"/>
                </a:cubicBezTo>
                <a:cubicBezTo>
                  <a:pt x="8377" y="14040"/>
                  <a:pt x="10171" y="12488"/>
                  <a:pt x="10665" y="11340"/>
                </a:cubicBezTo>
                <a:lnTo>
                  <a:pt x="20590" y="11340"/>
                </a:lnTo>
                <a:cubicBezTo>
                  <a:pt x="20306" y="16456"/>
                  <a:pt x="16038" y="20520"/>
                  <a:pt x="10800" y="20520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03" name="Shape 2703"/>
          <p:cNvSpPr/>
          <p:nvPr/>
        </p:nvSpPr>
        <p:spPr>
          <a:xfrm>
            <a:off x="9489313" y="2493064"/>
            <a:ext cx="253935" cy="2796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60" y="8839"/>
                </a:moveTo>
                <a:cubicBezTo>
                  <a:pt x="15958" y="8839"/>
                  <a:pt x="16200" y="8619"/>
                  <a:pt x="16200" y="8348"/>
                </a:cubicBezTo>
                <a:lnTo>
                  <a:pt x="16200" y="6386"/>
                </a:lnTo>
                <a:cubicBezTo>
                  <a:pt x="16200" y="6115"/>
                  <a:pt x="15958" y="5896"/>
                  <a:pt x="15660" y="5896"/>
                </a:cubicBezTo>
                <a:cubicBezTo>
                  <a:pt x="15362" y="5896"/>
                  <a:pt x="15120" y="6115"/>
                  <a:pt x="15120" y="6386"/>
                </a:cubicBezTo>
                <a:lnTo>
                  <a:pt x="15120" y="8348"/>
                </a:lnTo>
                <a:cubicBezTo>
                  <a:pt x="15120" y="8619"/>
                  <a:pt x="15362" y="8839"/>
                  <a:pt x="15660" y="8839"/>
                </a:cubicBezTo>
                <a:moveTo>
                  <a:pt x="20520" y="17666"/>
                </a:moveTo>
                <a:lnTo>
                  <a:pt x="13048" y="17666"/>
                </a:lnTo>
                <a:cubicBezTo>
                  <a:pt x="12910" y="16942"/>
                  <a:pt x="12848" y="16231"/>
                  <a:pt x="12830" y="15570"/>
                </a:cubicBezTo>
                <a:cubicBezTo>
                  <a:pt x="16149" y="15233"/>
                  <a:pt x="18453" y="14207"/>
                  <a:pt x="18568" y="14155"/>
                </a:cubicBezTo>
                <a:lnTo>
                  <a:pt x="18085" y="13278"/>
                </a:lnTo>
                <a:cubicBezTo>
                  <a:pt x="18059" y="13289"/>
                  <a:pt x="15906" y="14245"/>
                  <a:pt x="12837" y="14581"/>
                </a:cubicBezTo>
                <a:cubicBezTo>
                  <a:pt x="12896" y="13028"/>
                  <a:pt x="13167" y="11927"/>
                  <a:pt x="13173" y="11902"/>
                </a:cubicBezTo>
                <a:lnTo>
                  <a:pt x="13325" y="11301"/>
                </a:lnTo>
                <a:lnTo>
                  <a:pt x="9308" y="11301"/>
                </a:lnTo>
                <a:cubicBezTo>
                  <a:pt x="9741" y="8291"/>
                  <a:pt x="10857" y="5772"/>
                  <a:pt x="11921" y="3934"/>
                </a:cubicBezTo>
                <a:lnTo>
                  <a:pt x="20520" y="3934"/>
                </a:lnTo>
                <a:cubicBezTo>
                  <a:pt x="20520" y="3934"/>
                  <a:pt x="20520" y="17666"/>
                  <a:pt x="20520" y="17666"/>
                </a:cubicBezTo>
                <a:close/>
                <a:moveTo>
                  <a:pt x="10766" y="15678"/>
                </a:moveTo>
                <a:cubicBezTo>
                  <a:pt x="11096" y="15678"/>
                  <a:pt x="11418" y="15668"/>
                  <a:pt x="11734" y="15653"/>
                </a:cubicBezTo>
                <a:cubicBezTo>
                  <a:pt x="11753" y="16291"/>
                  <a:pt x="11808" y="16967"/>
                  <a:pt x="11933" y="17666"/>
                </a:cubicBezTo>
                <a:lnTo>
                  <a:pt x="1080" y="17666"/>
                </a:lnTo>
                <a:lnTo>
                  <a:pt x="1080" y="3934"/>
                </a:lnTo>
                <a:lnTo>
                  <a:pt x="10689" y="3934"/>
                </a:lnTo>
                <a:cubicBezTo>
                  <a:pt x="9598" y="5921"/>
                  <a:pt x="8520" y="8577"/>
                  <a:pt x="8164" y="11742"/>
                </a:cubicBezTo>
                <a:lnTo>
                  <a:pt x="8103" y="12282"/>
                </a:lnTo>
                <a:lnTo>
                  <a:pt x="11993" y="12282"/>
                </a:lnTo>
                <a:cubicBezTo>
                  <a:pt x="11893" y="12823"/>
                  <a:pt x="11771" y="13665"/>
                  <a:pt x="11736" y="14669"/>
                </a:cubicBezTo>
                <a:cubicBezTo>
                  <a:pt x="11418" y="14686"/>
                  <a:pt x="11097" y="14697"/>
                  <a:pt x="10766" y="14697"/>
                </a:cubicBezTo>
                <a:cubicBezTo>
                  <a:pt x="6636" y="14697"/>
                  <a:pt x="3478" y="13292"/>
                  <a:pt x="3447" y="13278"/>
                </a:cubicBezTo>
                <a:lnTo>
                  <a:pt x="2965" y="14155"/>
                </a:lnTo>
                <a:cubicBezTo>
                  <a:pt x="3102" y="14218"/>
                  <a:pt x="6369" y="15678"/>
                  <a:pt x="10766" y="15678"/>
                </a:cubicBezTo>
                <a:moveTo>
                  <a:pt x="20520" y="2954"/>
                </a:moveTo>
                <a:lnTo>
                  <a:pt x="12519" y="2954"/>
                </a:lnTo>
                <a:cubicBezTo>
                  <a:pt x="13470" y="1490"/>
                  <a:pt x="14254" y="661"/>
                  <a:pt x="14273" y="641"/>
                </a:cubicBezTo>
                <a:lnTo>
                  <a:pt x="13456" y="0"/>
                </a:lnTo>
                <a:cubicBezTo>
                  <a:pt x="13366" y="95"/>
                  <a:pt x="12371" y="1151"/>
                  <a:pt x="11260" y="2954"/>
                </a:cubicBezTo>
                <a:lnTo>
                  <a:pt x="1080" y="2954"/>
                </a:lnTo>
                <a:cubicBezTo>
                  <a:pt x="483" y="2954"/>
                  <a:pt x="0" y="3393"/>
                  <a:pt x="0" y="3934"/>
                </a:cubicBezTo>
                <a:lnTo>
                  <a:pt x="0" y="17666"/>
                </a:lnTo>
                <a:cubicBezTo>
                  <a:pt x="0" y="18207"/>
                  <a:pt x="483" y="18646"/>
                  <a:pt x="1080" y="18646"/>
                </a:cubicBezTo>
                <a:lnTo>
                  <a:pt x="12155" y="18646"/>
                </a:lnTo>
                <a:cubicBezTo>
                  <a:pt x="12423" y="19645"/>
                  <a:pt x="12834" y="20653"/>
                  <a:pt x="13465" y="21600"/>
                </a:cubicBezTo>
                <a:lnTo>
                  <a:pt x="14389" y="21092"/>
                </a:lnTo>
                <a:cubicBezTo>
                  <a:pt x="13874" y="20318"/>
                  <a:pt x="13522" y="19485"/>
                  <a:pt x="13281" y="18646"/>
                </a:cubicBezTo>
                <a:lnTo>
                  <a:pt x="20520" y="18646"/>
                </a:lnTo>
                <a:cubicBezTo>
                  <a:pt x="21116" y="18646"/>
                  <a:pt x="21600" y="18207"/>
                  <a:pt x="21600" y="17666"/>
                </a:cubicBezTo>
                <a:lnTo>
                  <a:pt x="21600" y="3934"/>
                </a:lnTo>
                <a:cubicBezTo>
                  <a:pt x="21600" y="3393"/>
                  <a:pt x="21116" y="2954"/>
                  <a:pt x="20520" y="2954"/>
                </a:cubicBezTo>
                <a:moveTo>
                  <a:pt x="5940" y="8839"/>
                </a:moveTo>
                <a:cubicBezTo>
                  <a:pt x="6238" y="8839"/>
                  <a:pt x="6480" y="8619"/>
                  <a:pt x="6480" y="8348"/>
                </a:cubicBezTo>
                <a:lnTo>
                  <a:pt x="6480" y="6386"/>
                </a:lnTo>
                <a:cubicBezTo>
                  <a:pt x="6480" y="6115"/>
                  <a:pt x="6238" y="5896"/>
                  <a:pt x="5940" y="5896"/>
                </a:cubicBezTo>
                <a:cubicBezTo>
                  <a:pt x="5642" y="5896"/>
                  <a:pt x="5400" y="6115"/>
                  <a:pt x="5400" y="6386"/>
                </a:cubicBezTo>
                <a:lnTo>
                  <a:pt x="5400" y="8348"/>
                </a:lnTo>
                <a:cubicBezTo>
                  <a:pt x="5400" y="8619"/>
                  <a:pt x="5642" y="8839"/>
                  <a:pt x="5940" y="8839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04" name="Shape 2704"/>
          <p:cNvSpPr/>
          <p:nvPr/>
        </p:nvSpPr>
        <p:spPr>
          <a:xfrm>
            <a:off x="10009878" y="2493064"/>
            <a:ext cx="279328" cy="2793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5628" y="4904"/>
                </a:moveTo>
                <a:lnTo>
                  <a:pt x="14334" y="4904"/>
                </a:lnTo>
                <a:lnTo>
                  <a:pt x="10776" y="9842"/>
                </a:lnTo>
                <a:lnTo>
                  <a:pt x="7337" y="4904"/>
                </a:lnTo>
                <a:lnTo>
                  <a:pt x="5975" y="4904"/>
                </a:lnTo>
                <a:lnTo>
                  <a:pt x="10094" y="10618"/>
                </a:lnTo>
                <a:lnTo>
                  <a:pt x="5736" y="16696"/>
                </a:lnTo>
                <a:lnTo>
                  <a:pt x="7030" y="16696"/>
                </a:lnTo>
                <a:lnTo>
                  <a:pt x="10776" y="11493"/>
                </a:lnTo>
                <a:lnTo>
                  <a:pt x="14470" y="16696"/>
                </a:lnTo>
                <a:lnTo>
                  <a:pt x="15866" y="16696"/>
                </a:lnTo>
                <a:lnTo>
                  <a:pt x="11474" y="10651"/>
                </a:lnTo>
                <a:cubicBezTo>
                  <a:pt x="11474" y="10651"/>
                  <a:pt x="15628" y="4904"/>
                  <a:pt x="15628" y="4904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05" name="Shape 2705"/>
          <p:cNvSpPr/>
          <p:nvPr/>
        </p:nvSpPr>
        <p:spPr>
          <a:xfrm>
            <a:off x="10543138" y="2493064"/>
            <a:ext cx="279260" cy="2795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3820"/>
                </a:moveTo>
                <a:lnTo>
                  <a:pt x="7853" y="2877"/>
                </a:lnTo>
                <a:lnTo>
                  <a:pt x="7853" y="8838"/>
                </a:lnTo>
                <a:lnTo>
                  <a:pt x="982" y="8838"/>
                </a:lnTo>
                <a:cubicBezTo>
                  <a:pt x="982" y="8838"/>
                  <a:pt x="982" y="3820"/>
                  <a:pt x="982" y="3820"/>
                </a:cubicBezTo>
                <a:close/>
                <a:moveTo>
                  <a:pt x="0" y="9819"/>
                </a:moveTo>
                <a:lnTo>
                  <a:pt x="8835" y="9819"/>
                </a:lnTo>
                <a:lnTo>
                  <a:pt x="8835" y="1752"/>
                </a:lnTo>
                <a:lnTo>
                  <a:pt x="0" y="2964"/>
                </a:lnTo>
                <a:cubicBezTo>
                  <a:pt x="0" y="2964"/>
                  <a:pt x="0" y="9819"/>
                  <a:pt x="0" y="9819"/>
                </a:cubicBezTo>
                <a:close/>
                <a:moveTo>
                  <a:pt x="20618" y="8838"/>
                </a:moveTo>
                <a:lnTo>
                  <a:pt x="11771" y="8838"/>
                </a:lnTo>
                <a:lnTo>
                  <a:pt x="11771" y="2339"/>
                </a:lnTo>
                <a:lnTo>
                  <a:pt x="20618" y="1125"/>
                </a:lnTo>
                <a:cubicBezTo>
                  <a:pt x="20618" y="1125"/>
                  <a:pt x="20618" y="8838"/>
                  <a:pt x="20618" y="8838"/>
                </a:cubicBezTo>
                <a:close/>
                <a:moveTo>
                  <a:pt x="10789" y="1484"/>
                </a:moveTo>
                <a:lnTo>
                  <a:pt x="10789" y="9819"/>
                </a:lnTo>
                <a:lnTo>
                  <a:pt x="21600" y="9819"/>
                </a:lnTo>
                <a:lnTo>
                  <a:pt x="21600" y="0"/>
                </a:lnTo>
                <a:cubicBezTo>
                  <a:pt x="21600" y="0"/>
                  <a:pt x="10789" y="1484"/>
                  <a:pt x="10789" y="1484"/>
                </a:cubicBezTo>
                <a:close/>
                <a:moveTo>
                  <a:pt x="982" y="12763"/>
                </a:moveTo>
                <a:lnTo>
                  <a:pt x="7853" y="12763"/>
                </a:lnTo>
                <a:lnTo>
                  <a:pt x="7853" y="18722"/>
                </a:lnTo>
                <a:lnTo>
                  <a:pt x="982" y="17780"/>
                </a:lnTo>
                <a:cubicBezTo>
                  <a:pt x="982" y="17780"/>
                  <a:pt x="982" y="12763"/>
                  <a:pt x="982" y="12763"/>
                </a:cubicBezTo>
                <a:close/>
                <a:moveTo>
                  <a:pt x="0" y="18635"/>
                </a:moveTo>
                <a:lnTo>
                  <a:pt x="8835" y="19848"/>
                </a:lnTo>
                <a:lnTo>
                  <a:pt x="8835" y="11782"/>
                </a:lnTo>
                <a:lnTo>
                  <a:pt x="0" y="11782"/>
                </a:lnTo>
                <a:cubicBezTo>
                  <a:pt x="0" y="11782"/>
                  <a:pt x="0" y="18635"/>
                  <a:pt x="0" y="18635"/>
                </a:cubicBezTo>
                <a:close/>
                <a:moveTo>
                  <a:pt x="11771" y="12763"/>
                </a:moveTo>
                <a:lnTo>
                  <a:pt x="20618" y="12763"/>
                </a:lnTo>
                <a:lnTo>
                  <a:pt x="20618" y="20475"/>
                </a:lnTo>
                <a:lnTo>
                  <a:pt x="11771" y="19261"/>
                </a:lnTo>
                <a:cubicBezTo>
                  <a:pt x="11771" y="19261"/>
                  <a:pt x="11771" y="12763"/>
                  <a:pt x="11771" y="12763"/>
                </a:cubicBezTo>
                <a:close/>
                <a:moveTo>
                  <a:pt x="10789" y="20116"/>
                </a:moveTo>
                <a:lnTo>
                  <a:pt x="21600" y="21600"/>
                </a:lnTo>
                <a:lnTo>
                  <a:pt x="21600" y="11782"/>
                </a:lnTo>
                <a:lnTo>
                  <a:pt x="10789" y="11782"/>
                </a:lnTo>
                <a:cubicBezTo>
                  <a:pt x="10789" y="11782"/>
                  <a:pt x="10789" y="20116"/>
                  <a:pt x="10789" y="20116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06" name="Shape 2706"/>
          <p:cNvSpPr/>
          <p:nvPr/>
        </p:nvSpPr>
        <p:spPr>
          <a:xfrm>
            <a:off x="11114490" y="2493064"/>
            <a:ext cx="20314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3745"/>
                </a:moveTo>
                <a:cubicBezTo>
                  <a:pt x="20250" y="14016"/>
                  <a:pt x="19948" y="14236"/>
                  <a:pt x="19575" y="14236"/>
                </a:cubicBezTo>
                <a:cubicBezTo>
                  <a:pt x="19202" y="14236"/>
                  <a:pt x="18900" y="14016"/>
                  <a:pt x="18900" y="13745"/>
                </a:cubicBezTo>
                <a:lnTo>
                  <a:pt x="18900" y="6873"/>
                </a:lnTo>
                <a:cubicBezTo>
                  <a:pt x="18900" y="6602"/>
                  <a:pt x="19202" y="6382"/>
                  <a:pt x="19575" y="6382"/>
                </a:cubicBezTo>
                <a:cubicBezTo>
                  <a:pt x="19948" y="6382"/>
                  <a:pt x="20250" y="6602"/>
                  <a:pt x="20250" y="6873"/>
                </a:cubicBezTo>
                <a:cubicBezTo>
                  <a:pt x="20250" y="6873"/>
                  <a:pt x="20250" y="13745"/>
                  <a:pt x="20250" y="13745"/>
                </a:cubicBezTo>
                <a:close/>
                <a:moveTo>
                  <a:pt x="17550" y="16691"/>
                </a:moveTo>
                <a:lnTo>
                  <a:pt x="4050" y="16691"/>
                </a:lnTo>
                <a:lnTo>
                  <a:pt x="4050" y="6382"/>
                </a:lnTo>
                <a:lnTo>
                  <a:pt x="17550" y="6382"/>
                </a:lnTo>
                <a:cubicBezTo>
                  <a:pt x="17550" y="6382"/>
                  <a:pt x="17550" y="16691"/>
                  <a:pt x="17550" y="16691"/>
                </a:cubicBezTo>
                <a:close/>
                <a:moveTo>
                  <a:pt x="14850" y="20127"/>
                </a:moveTo>
                <a:cubicBezTo>
                  <a:pt x="14850" y="20399"/>
                  <a:pt x="14548" y="20618"/>
                  <a:pt x="14175" y="20618"/>
                </a:cubicBezTo>
                <a:cubicBezTo>
                  <a:pt x="13802" y="20618"/>
                  <a:pt x="13500" y="20399"/>
                  <a:pt x="13500" y="20127"/>
                </a:cubicBezTo>
                <a:lnTo>
                  <a:pt x="13500" y="17673"/>
                </a:lnTo>
                <a:lnTo>
                  <a:pt x="14850" y="17673"/>
                </a:lnTo>
                <a:cubicBezTo>
                  <a:pt x="14850" y="17673"/>
                  <a:pt x="14850" y="20127"/>
                  <a:pt x="14850" y="20127"/>
                </a:cubicBezTo>
                <a:close/>
                <a:moveTo>
                  <a:pt x="8100" y="20127"/>
                </a:moveTo>
                <a:cubicBezTo>
                  <a:pt x="8100" y="20399"/>
                  <a:pt x="7798" y="20618"/>
                  <a:pt x="7425" y="20618"/>
                </a:cubicBezTo>
                <a:cubicBezTo>
                  <a:pt x="7052" y="20618"/>
                  <a:pt x="6750" y="20399"/>
                  <a:pt x="6750" y="20127"/>
                </a:cubicBezTo>
                <a:lnTo>
                  <a:pt x="6750" y="17673"/>
                </a:lnTo>
                <a:lnTo>
                  <a:pt x="8100" y="17673"/>
                </a:lnTo>
                <a:cubicBezTo>
                  <a:pt x="8100" y="17673"/>
                  <a:pt x="8100" y="20127"/>
                  <a:pt x="8100" y="20127"/>
                </a:cubicBezTo>
                <a:close/>
                <a:moveTo>
                  <a:pt x="10800" y="1964"/>
                </a:moveTo>
                <a:cubicBezTo>
                  <a:pt x="14242" y="1964"/>
                  <a:pt x="17075" y="3464"/>
                  <a:pt x="17492" y="5400"/>
                </a:cubicBezTo>
                <a:lnTo>
                  <a:pt x="4108" y="5400"/>
                </a:lnTo>
                <a:cubicBezTo>
                  <a:pt x="4525" y="3464"/>
                  <a:pt x="7358" y="1964"/>
                  <a:pt x="10800" y="1964"/>
                </a:cubicBezTo>
                <a:moveTo>
                  <a:pt x="2700" y="13745"/>
                </a:moveTo>
                <a:cubicBezTo>
                  <a:pt x="2700" y="14016"/>
                  <a:pt x="2398" y="14236"/>
                  <a:pt x="2025" y="14236"/>
                </a:cubicBezTo>
                <a:cubicBezTo>
                  <a:pt x="1652" y="14236"/>
                  <a:pt x="1350" y="14016"/>
                  <a:pt x="1350" y="13745"/>
                </a:cubicBezTo>
                <a:lnTo>
                  <a:pt x="1350" y="6873"/>
                </a:lnTo>
                <a:cubicBezTo>
                  <a:pt x="1350" y="6602"/>
                  <a:pt x="1652" y="6382"/>
                  <a:pt x="2025" y="6382"/>
                </a:cubicBezTo>
                <a:cubicBezTo>
                  <a:pt x="2398" y="6382"/>
                  <a:pt x="2700" y="6602"/>
                  <a:pt x="2700" y="6873"/>
                </a:cubicBezTo>
                <a:cubicBezTo>
                  <a:pt x="2700" y="6873"/>
                  <a:pt x="2700" y="13745"/>
                  <a:pt x="2700" y="13745"/>
                </a:cubicBezTo>
                <a:close/>
                <a:moveTo>
                  <a:pt x="19575" y="5400"/>
                </a:moveTo>
                <a:cubicBezTo>
                  <a:pt x="19336" y="5400"/>
                  <a:pt x="19112" y="5435"/>
                  <a:pt x="18900" y="5491"/>
                </a:cubicBezTo>
                <a:lnTo>
                  <a:pt x="18900" y="5400"/>
                </a:lnTo>
                <a:lnTo>
                  <a:pt x="18847" y="5400"/>
                </a:lnTo>
                <a:cubicBezTo>
                  <a:pt x="18595" y="3873"/>
                  <a:pt x="17191" y="2553"/>
                  <a:pt x="15171" y="1763"/>
                </a:cubicBezTo>
                <a:lnTo>
                  <a:pt x="16087" y="763"/>
                </a:lnTo>
                <a:lnTo>
                  <a:pt x="16076" y="758"/>
                </a:lnTo>
                <a:cubicBezTo>
                  <a:pt x="16148" y="681"/>
                  <a:pt x="16200" y="592"/>
                  <a:pt x="16200" y="491"/>
                </a:cubicBezTo>
                <a:cubicBezTo>
                  <a:pt x="16200" y="220"/>
                  <a:pt x="15898" y="0"/>
                  <a:pt x="15525" y="0"/>
                </a:cubicBezTo>
                <a:cubicBezTo>
                  <a:pt x="15291" y="0"/>
                  <a:pt x="15095" y="93"/>
                  <a:pt x="14974" y="223"/>
                </a:cubicBezTo>
                <a:lnTo>
                  <a:pt x="14963" y="219"/>
                </a:lnTo>
                <a:lnTo>
                  <a:pt x="13915" y="1362"/>
                </a:lnTo>
                <a:cubicBezTo>
                  <a:pt x="12956" y="1119"/>
                  <a:pt x="11905" y="982"/>
                  <a:pt x="10800" y="982"/>
                </a:cubicBezTo>
                <a:cubicBezTo>
                  <a:pt x="9695" y="982"/>
                  <a:pt x="8644" y="1119"/>
                  <a:pt x="7685" y="1362"/>
                </a:cubicBezTo>
                <a:lnTo>
                  <a:pt x="6637" y="219"/>
                </a:lnTo>
                <a:lnTo>
                  <a:pt x="6626" y="223"/>
                </a:lnTo>
                <a:cubicBezTo>
                  <a:pt x="6505" y="93"/>
                  <a:pt x="6309" y="0"/>
                  <a:pt x="6075" y="0"/>
                </a:cubicBezTo>
                <a:cubicBezTo>
                  <a:pt x="5702" y="0"/>
                  <a:pt x="5400" y="220"/>
                  <a:pt x="5400" y="491"/>
                </a:cubicBezTo>
                <a:cubicBezTo>
                  <a:pt x="5400" y="592"/>
                  <a:pt x="5452" y="681"/>
                  <a:pt x="5524" y="758"/>
                </a:cubicBezTo>
                <a:lnTo>
                  <a:pt x="5513" y="763"/>
                </a:lnTo>
                <a:lnTo>
                  <a:pt x="6430" y="1763"/>
                </a:lnTo>
                <a:cubicBezTo>
                  <a:pt x="4409" y="2553"/>
                  <a:pt x="3005" y="3873"/>
                  <a:pt x="2753" y="5400"/>
                </a:cubicBezTo>
                <a:lnTo>
                  <a:pt x="2700" y="5400"/>
                </a:lnTo>
                <a:lnTo>
                  <a:pt x="2700" y="5491"/>
                </a:lnTo>
                <a:cubicBezTo>
                  <a:pt x="2488" y="5435"/>
                  <a:pt x="2263" y="5400"/>
                  <a:pt x="2025" y="5400"/>
                </a:cubicBezTo>
                <a:cubicBezTo>
                  <a:pt x="907" y="5400"/>
                  <a:pt x="0" y="6060"/>
                  <a:pt x="0" y="6873"/>
                </a:cubicBezTo>
                <a:lnTo>
                  <a:pt x="0" y="13745"/>
                </a:lnTo>
                <a:cubicBezTo>
                  <a:pt x="0" y="14559"/>
                  <a:pt x="907" y="15218"/>
                  <a:pt x="2025" y="15218"/>
                </a:cubicBezTo>
                <a:cubicBezTo>
                  <a:pt x="2263" y="15218"/>
                  <a:pt x="2488" y="15183"/>
                  <a:pt x="2700" y="15128"/>
                </a:cubicBezTo>
                <a:lnTo>
                  <a:pt x="2700" y="16691"/>
                </a:lnTo>
                <a:cubicBezTo>
                  <a:pt x="2700" y="17233"/>
                  <a:pt x="3305" y="17673"/>
                  <a:pt x="4050" y="17673"/>
                </a:cubicBezTo>
                <a:lnTo>
                  <a:pt x="5400" y="17673"/>
                </a:lnTo>
                <a:lnTo>
                  <a:pt x="5400" y="20127"/>
                </a:lnTo>
                <a:cubicBezTo>
                  <a:pt x="5400" y="20941"/>
                  <a:pt x="6307" y="21600"/>
                  <a:pt x="7425" y="21600"/>
                </a:cubicBezTo>
                <a:cubicBezTo>
                  <a:pt x="8543" y="21600"/>
                  <a:pt x="9450" y="20941"/>
                  <a:pt x="9450" y="20127"/>
                </a:cubicBezTo>
                <a:lnTo>
                  <a:pt x="9450" y="17673"/>
                </a:lnTo>
                <a:lnTo>
                  <a:pt x="12150" y="17673"/>
                </a:lnTo>
                <a:lnTo>
                  <a:pt x="12150" y="20127"/>
                </a:lnTo>
                <a:cubicBezTo>
                  <a:pt x="12150" y="20941"/>
                  <a:pt x="13056" y="21600"/>
                  <a:pt x="14175" y="21600"/>
                </a:cubicBezTo>
                <a:cubicBezTo>
                  <a:pt x="15294" y="21600"/>
                  <a:pt x="16200" y="20941"/>
                  <a:pt x="16200" y="20127"/>
                </a:cubicBezTo>
                <a:lnTo>
                  <a:pt x="16200" y="17673"/>
                </a:lnTo>
                <a:lnTo>
                  <a:pt x="17550" y="17673"/>
                </a:lnTo>
                <a:cubicBezTo>
                  <a:pt x="18295" y="17673"/>
                  <a:pt x="18900" y="17233"/>
                  <a:pt x="18900" y="16691"/>
                </a:cubicBezTo>
                <a:lnTo>
                  <a:pt x="18900" y="15128"/>
                </a:lnTo>
                <a:cubicBezTo>
                  <a:pt x="19112" y="15183"/>
                  <a:pt x="19336" y="15218"/>
                  <a:pt x="19575" y="15218"/>
                </a:cubicBezTo>
                <a:cubicBezTo>
                  <a:pt x="20694" y="15218"/>
                  <a:pt x="21600" y="14559"/>
                  <a:pt x="21600" y="13745"/>
                </a:cubicBezTo>
                <a:lnTo>
                  <a:pt x="21600" y="6873"/>
                </a:lnTo>
                <a:cubicBezTo>
                  <a:pt x="21600" y="6060"/>
                  <a:pt x="20694" y="5400"/>
                  <a:pt x="19575" y="5400"/>
                </a:cubicBezTo>
                <a:moveTo>
                  <a:pt x="12825" y="3436"/>
                </a:moveTo>
                <a:cubicBezTo>
                  <a:pt x="12452" y="3436"/>
                  <a:pt x="12150" y="3656"/>
                  <a:pt x="12150" y="3927"/>
                </a:cubicBezTo>
                <a:cubicBezTo>
                  <a:pt x="12150" y="4199"/>
                  <a:pt x="12452" y="4418"/>
                  <a:pt x="12825" y="4418"/>
                </a:cubicBezTo>
                <a:cubicBezTo>
                  <a:pt x="13198" y="4418"/>
                  <a:pt x="13500" y="4199"/>
                  <a:pt x="13500" y="3927"/>
                </a:cubicBezTo>
                <a:cubicBezTo>
                  <a:pt x="13500" y="3656"/>
                  <a:pt x="13198" y="3436"/>
                  <a:pt x="12825" y="3436"/>
                </a:cubicBezTo>
                <a:moveTo>
                  <a:pt x="8775" y="3436"/>
                </a:moveTo>
                <a:cubicBezTo>
                  <a:pt x="8402" y="3436"/>
                  <a:pt x="8100" y="3656"/>
                  <a:pt x="8100" y="3927"/>
                </a:cubicBezTo>
                <a:cubicBezTo>
                  <a:pt x="8100" y="4199"/>
                  <a:pt x="8402" y="4418"/>
                  <a:pt x="8775" y="4418"/>
                </a:cubicBezTo>
                <a:cubicBezTo>
                  <a:pt x="9148" y="4418"/>
                  <a:pt x="9450" y="4199"/>
                  <a:pt x="9450" y="3927"/>
                </a:cubicBezTo>
                <a:cubicBezTo>
                  <a:pt x="9450" y="3656"/>
                  <a:pt x="9148" y="3436"/>
                  <a:pt x="8775" y="3436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08" name="Shape 2708"/>
          <p:cNvSpPr/>
          <p:nvPr/>
        </p:nvSpPr>
        <p:spPr>
          <a:xfrm>
            <a:off x="880859" y="410596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8836" y="13888"/>
                </a:moveTo>
                <a:lnTo>
                  <a:pt x="8836" y="7712"/>
                </a:lnTo>
                <a:lnTo>
                  <a:pt x="14241" y="10800"/>
                </a:lnTo>
                <a:cubicBezTo>
                  <a:pt x="14241" y="10800"/>
                  <a:pt x="8836" y="13888"/>
                  <a:pt x="8836" y="13888"/>
                </a:cubicBezTo>
                <a:close/>
                <a:moveTo>
                  <a:pt x="15520" y="10422"/>
                </a:moveTo>
                <a:lnTo>
                  <a:pt x="15525" y="10416"/>
                </a:lnTo>
                <a:lnTo>
                  <a:pt x="15438" y="10367"/>
                </a:lnTo>
                <a:cubicBezTo>
                  <a:pt x="15425" y="10361"/>
                  <a:pt x="15414" y="10351"/>
                  <a:pt x="15401" y="10346"/>
                </a:cubicBezTo>
                <a:lnTo>
                  <a:pt x="8652" y="6489"/>
                </a:lnTo>
                <a:lnTo>
                  <a:pt x="8647" y="6495"/>
                </a:lnTo>
                <a:cubicBezTo>
                  <a:pt x="8563" y="6428"/>
                  <a:pt x="8461" y="6382"/>
                  <a:pt x="8345" y="6382"/>
                </a:cubicBezTo>
                <a:cubicBezTo>
                  <a:pt x="8075" y="6382"/>
                  <a:pt x="7855" y="6601"/>
                  <a:pt x="7855" y="6873"/>
                </a:cubicBezTo>
                <a:lnTo>
                  <a:pt x="7855" y="14727"/>
                </a:lnTo>
                <a:cubicBezTo>
                  <a:pt x="7855" y="14999"/>
                  <a:pt x="8075" y="15218"/>
                  <a:pt x="8345" y="15218"/>
                </a:cubicBezTo>
                <a:cubicBezTo>
                  <a:pt x="8461" y="15218"/>
                  <a:pt x="8563" y="15172"/>
                  <a:pt x="8647" y="15105"/>
                </a:cubicBezTo>
                <a:lnTo>
                  <a:pt x="8652" y="15111"/>
                </a:lnTo>
                <a:lnTo>
                  <a:pt x="15401" y="11254"/>
                </a:lnTo>
                <a:cubicBezTo>
                  <a:pt x="15414" y="11249"/>
                  <a:pt x="15425" y="11240"/>
                  <a:pt x="15438" y="11233"/>
                </a:cubicBezTo>
                <a:lnTo>
                  <a:pt x="15525" y="11184"/>
                </a:lnTo>
                <a:lnTo>
                  <a:pt x="15520" y="11178"/>
                </a:lnTo>
                <a:cubicBezTo>
                  <a:pt x="15632" y="11088"/>
                  <a:pt x="15709" y="10955"/>
                  <a:pt x="15709" y="10800"/>
                </a:cubicBezTo>
                <a:cubicBezTo>
                  <a:pt x="15709" y="10645"/>
                  <a:pt x="15632" y="10512"/>
                  <a:pt x="15520" y="10422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09" name="Shape 2709"/>
          <p:cNvSpPr/>
          <p:nvPr/>
        </p:nvSpPr>
        <p:spPr>
          <a:xfrm>
            <a:off x="1414120" y="410596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745" y="13745"/>
                </a:moveTo>
                <a:lnTo>
                  <a:pt x="12764" y="13745"/>
                </a:lnTo>
                <a:lnTo>
                  <a:pt x="12764" y="7855"/>
                </a:lnTo>
                <a:lnTo>
                  <a:pt x="13745" y="7855"/>
                </a:lnTo>
                <a:cubicBezTo>
                  <a:pt x="13745" y="7855"/>
                  <a:pt x="13745" y="13745"/>
                  <a:pt x="13745" y="13745"/>
                </a:cubicBezTo>
                <a:close/>
                <a:moveTo>
                  <a:pt x="14236" y="6873"/>
                </a:moveTo>
                <a:lnTo>
                  <a:pt x="12273" y="6873"/>
                </a:lnTo>
                <a:cubicBezTo>
                  <a:pt x="12002" y="6873"/>
                  <a:pt x="11782" y="7092"/>
                  <a:pt x="11782" y="7364"/>
                </a:cubicBezTo>
                <a:lnTo>
                  <a:pt x="11782" y="14236"/>
                </a:lnTo>
                <a:cubicBezTo>
                  <a:pt x="11782" y="14508"/>
                  <a:pt x="12002" y="14727"/>
                  <a:pt x="12273" y="14727"/>
                </a:cubicBezTo>
                <a:lnTo>
                  <a:pt x="14236" y="14727"/>
                </a:lnTo>
                <a:cubicBezTo>
                  <a:pt x="14507" y="14727"/>
                  <a:pt x="14727" y="14508"/>
                  <a:pt x="14727" y="14236"/>
                </a:cubicBezTo>
                <a:lnTo>
                  <a:pt x="14727" y="7364"/>
                </a:lnTo>
                <a:cubicBezTo>
                  <a:pt x="14727" y="7092"/>
                  <a:pt x="14507" y="6873"/>
                  <a:pt x="14236" y="6873"/>
                </a:cubicBezTo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8836" y="13745"/>
                </a:moveTo>
                <a:lnTo>
                  <a:pt x="7855" y="13745"/>
                </a:lnTo>
                <a:lnTo>
                  <a:pt x="7855" y="7855"/>
                </a:lnTo>
                <a:lnTo>
                  <a:pt x="8836" y="7855"/>
                </a:lnTo>
                <a:cubicBezTo>
                  <a:pt x="8836" y="7855"/>
                  <a:pt x="8836" y="13745"/>
                  <a:pt x="8836" y="13745"/>
                </a:cubicBezTo>
                <a:close/>
                <a:moveTo>
                  <a:pt x="9327" y="6873"/>
                </a:moveTo>
                <a:lnTo>
                  <a:pt x="7364" y="6873"/>
                </a:lnTo>
                <a:cubicBezTo>
                  <a:pt x="7093" y="6873"/>
                  <a:pt x="6873" y="7092"/>
                  <a:pt x="6873" y="7364"/>
                </a:cubicBezTo>
                <a:lnTo>
                  <a:pt x="6873" y="14236"/>
                </a:lnTo>
                <a:cubicBezTo>
                  <a:pt x="6873" y="14508"/>
                  <a:pt x="7093" y="14727"/>
                  <a:pt x="7364" y="14727"/>
                </a:cubicBezTo>
                <a:lnTo>
                  <a:pt x="9327" y="14727"/>
                </a:lnTo>
                <a:cubicBezTo>
                  <a:pt x="9598" y="14727"/>
                  <a:pt x="9818" y="14508"/>
                  <a:pt x="9818" y="14236"/>
                </a:cubicBezTo>
                <a:lnTo>
                  <a:pt x="9818" y="7364"/>
                </a:lnTo>
                <a:cubicBezTo>
                  <a:pt x="9818" y="7092"/>
                  <a:pt x="9598" y="6873"/>
                  <a:pt x="9327" y="6873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10" name="Shape 2710"/>
          <p:cNvSpPr/>
          <p:nvPr/>
        </p:nvSpPr>
        <p:spPr>
          <a:xfrm>
            <a:off x="1947381" y="410596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745" y="13745"/>
                </a:moveTo>
                <a:lnTo>
                  <a:pt x="7855" y="13745"/>
                </a:lnTo>
                <a:lnTo>
                  <a:pt x="7855" y="7855"/>
                </a:lnTo>
                <a:lnTo>
                  <a:pt x="13745" y="7855"/>
                </a:lnTo>
                <a:cubicBezTo>
                  <a:pt x="13745" y="7855"/>
                  <a:pt x="13745" y="13745"/>
                  <a:pt x="13745" y="13745"/>
                </a:cubicBezTo>
                <a:close/>
                <a:moveTo>
                  <a:pt x="14236" y="6873"/>
                </a:moveTo>
                <a:lnTo>
                  <a:pt x="7364" y="6873"/>
                </a:lnTo>
                <a:cubicBezTo>
                  <a:pt x="7093" y="6873"/>
                  <a:pt x="6873" y="7092"/>
                  <a:pt x="6873" y="7364"/>
                </a:cubicBezTo>
                <a:lnTo>
                  <a:pt x="6873" y="14236"/>
                </a:lnTo>
                <a:cubicBezTo>
                  <a:pt x="6873" y="14508"/>
                  <a:pt x="7093" y="14727"/>
                  <a:pt x="7364" y="14727"/>
                </a:cubicBezTo>
                <a:lnTo>
                  <a:pt x="14236" y="14727"/>
                </a:lnTo>
                <a:cubicBezTo>
                  <a:pt x="14507" y="14727"/>
                  <a:pt x="14727" y="14508"/>
                  <a:pt x="14727" y="14236"/>
                </a:cubicBezTo>
                <a:lnTo>
                  <a:pt x="14727" y="7364"/>
                </a:lnTo>
                <a:cubicBezTo>
                  <a:pt x="14727" y="7092"/>
                  <a:pt x="14507" y="6873"/>
                  <a:pt x="14236" y="6873"/>
                </a:cubicBezTo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11" name="Shape 2711"/>
          <p:cNvSpPr/>
          <p:nvPr/>
        </p:nvSpPr>
        <p:spPr>
          <a:xfrm>
            <a:off x="2480642" y="410596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12" name="Shape 2712"/>
          <p:cNvSpPr/>
          <p:nvPr/>
        </p:nvSpPr>
        <p:spPr>
          <a:xfrm>
            <a:off x="3013903" y="410596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3888"/>
                </a:moveTo>
                <a:lnTo>
                  <a:pt x="10800" y="7712"/>
                </a:lnTo>
                <a:lnTo>
                  <a:pt x="16204" y="10800"/>
                </a:lnTo>
                <a:cubicBezTo>
                  <a:pt x="16204" y="10800"/>
                  <a:pt x="10800" y="13888"/>
                  <a:pt x="10800" y="13888"/>
                </a:cubicBezTo>
                <a:close/>
                <a:moveTo>
                  <a:pt x="17484" y="10422"/>
                </a:moveTo>
                <a:lnTo>
                  <a:pt x="17489" y="10416"/>
                </a:lnTo>
                <a:lnTo>
                  <a:pt x="17402" y="10367"/>
                </a:lnTo>
                <a:cubicBezTo>
                  <a:pt x="17389" y="10361"/>
                  <a:pt x="17378" y="10351"/>
                  <a:pt x="17365" y="10346"/>
                </a:cubicBezTo>
                <a:lnTo>
                  <a:pt x="10616" y="6489"/>
                </a:lnTo>
                <a:lnTo>
                  <a:pt x="10611" y="6495"/>
                </a:lnTo>
                <a:cubicBezTo>
                  <a:pt x="10527" y="6428"/>
                  <a:pt x="10425" y="6382"/>
                  <a:pt x="10309" y="6382"/>
                </a:cubicBezTo>
                <a:cubicBezTo>
                  <a:pt x="10038" y="6382"/>
                  <a:pt x="9818" y="6601"/>
                  <a:pt x="9818" y="6873"/>
                </a:cubicBezTo>
                <a:lnTo>
                  <a:pt x="9818" y="14727"/>
                </a:lnTo>
                <a:cubicBezTo>
                  <a:pt x="9818" y="14999"/>
                  <a:pt x="10038" y="15218"/>
                  <a:pt x="10309" y="15218"/>
                </a:cubicBezTo>
                <a:cubicBezTo>
                  <a:pt x="10425" y="15218"/>
                  <a:pt x="10527" y="15172"/>
                  <a:pt x="10611" y="15105"/>
                </a:cubicBezTo>
                <a:lnTo>
                  <a:pt x="10616" y="15111"/>
                </a:lnTo>
                <a:lnTo>
                  <a:pt x="17365" y="11254"/>
                </a:lnTo>
                <a:cubicBezTo>
                  <a:pt x="17378" y="11249"/>
                  <a:pt x="17388" y="11239"/>
                  <a:pt x="17401" y="11233"/>
                </a:cubicBezTo>
                <a:lnTo>
                  <a:pt x="17489" y="11184"/>
                </a:lnTo>
                <a:lnTo>
                  <a:pt x="17484" y="11178"/>
                </a:lnTo>
                <a:cubicBezTo>
                  <a:pt x="17596" y="11088"/>
                  <a:pt x="17673" y="10955"/>
                  <a:pt x="17673" y="10800"/>
                </a:cubicBezTo>
                <a:cubicBezTo>
                  <a:pt x="17673" y="10645"/>
                  <a:pt x="17596" y="10512"/>
                  <a:pt x="17484" y="10422"/>
                </a:cubicBezTo>
                <a:moveTo>
                  <a:pt x="10800" y="20618"/>
                </a:moveTo>
                <a:cubicBezTo>
                  <a:pt x="5377" y="20618"/>
                  <a:pt x="982" y="16222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6684" y="6495"/>
                </a:moveTo>
                <a:cubicBezTo>
                  <a:pt x="6600" y="6428"/>
                  <a:pt x="6498" y="6382"/>
                  <a:pt x="6382" y="6382"/>
                </a:cubicBezTo>
                <a:cubicBezTo>
                  <a:pt x="6111" y="6382"/>
                  <a:pt x="5891" y="6601"/>
                  <a:pt x="5891" y="6873"/>
                </a:cubicBezTo>
                <a:lnTo>
                  <a:pt x="5891" y="14727"/>
                </a:lnTo>
                <a:cubicBezTo>
                  <a:pt x="5891" y="14999"/>
                  <a:pt x="6111" y="15218"/>
                  <a:pt x="6382" y="15218"/>
                </a:cubicBezTo>
                <a:cubicBezTo>
                  <a:pt x="6498" y="15218"/>
                  <a:pt x="6600" y="15172"/>
                  <a:pt x="6684" y="15105"/>
                </a:cubicBezTo>
                <a:lnTo>
                  <a:pt x="6689" y="15111"/>
                </a:lnTo>
                <a:lnTo>
                  <a:pt x="8836" y="13883"/>
                </a:lnTo>
                <a:lnTo>
                  <a:pt x="8836" y="12766"/>
                </a:lnTo>
                <a:lnTo>
                  <a:pt x="6873" y="13888"/>
                </a:lnTo>
                <a:lnTo>
                  <a:pt x="6873" y="7712"/>
                </a:lnTo>
                <a:lnTo>
                  <a:pt x="8836" y="8834"/>
                </a:lnTo>
                <a:lnTo>
                  <a:pt x="8836" y="7716"/>
                </a:lnTo>
                <a:lnTo>
                  <a:pt x="6689" y="6489"/>
                </a:lnTo>
                <a:cubicBezTo>
                  <a:pt x="6689" y="6489"/>
                  <a:pt x="6684" y="6495"/>
                  <a:pt x="6684" y="6495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13" name="Shape 2713"/>
          <p:cNvSpPr/>
          <p:nvPr/>
        </p:nvSpPr>
        <p:spPr>
          <a:xfrm>
            <a:off x="3547164" y="410596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4236"/>
                </a:moveTo>
                <a:lnTo>
                  <a:pt x="13745" y="14236"/>
                </a:lnTo>
                <a:lnTo>
                  <a:pt x="13745" y="7364"/>
                </a:lnTo>
                <a:lnTo>
                  <a:pt x="14727" y="7364"/>
                </a:lnTo>
                <a:cubicBezTo>
                  <a:pt x="14727" y="7364"/>
                  <a:pt x="14727" y="14236"/>
                  <a:pt x="14727" y="14236"/>
                </a:cubicBezTo>
                <a:close/>
                <a:moveTo>
                  <a:pt x="6873" y="13888"/>
                </a:moveTo>
                <a:lnTo>
                  <a:pt x="6873" y="7712"/>
                </a:lnTo>
                <a:lnTo>
                  <a:pt x="12277" y="10800"/>
                </a:lnTo>
                <a:cubicBezTo>
                  <a:pt x="12277" y="10800"/>
                  <a:pt x="6873" y="13888"/>
                  <a:pt x="6873" y="13888"/>
                </a:cubicBezTo>
                <a:close/>
                <a:moveTo>
                  <a:pt x="15218" y="6382"/>
                </a:moveTo>
                <a:lnTo>
                  <a:pt x="13255" y="6382"/>
                </a:lnTo>
                <a:cubicBezTo>
                  <a:pt x="12983" y="6382"/>
                  <a:pt x="12764" y="6601"/>
                  <a:pt x="12764" y="6873"/>
                </a:cubicBezTo>
                <a:lnTo>
                  <a:pt x="12764" y="9961"/>
                </a:lnTo>
                <a:lnTo>
                  <a:pt x="6689" y="6489"/>
                </a:lnTo>
                <a:lnTo>
                  <a:pt x="6684" y="6495"/>
                </a:lnTo>
                <a:cubicBezTo>
                  <a:pt x="6600" y="6428"/>
                  <a:pt x="6498" y="6382"/>
                  <a:pt x="6382" y="6382"/>
                </a:cubicBezTo>
                <a:cubicBezTo>
                  <a:pt x="6110" y="6382"/>
                  <a:pt x="5891" y="6601"/>
                  <a:pt x="5891" y="6873"/>
                </a:cubicBezTo>
                <a:lnTo>
                  <a:pt x="5891" y="14727"/>
                </a:lnTo>
                <a:cubicBezTo>
                  <a:pt x="5891" y="14999"/>
                  <a:pt x="6110" y="15218"/>
                  <a:pt x="6382" y="15218"/>
                </a:cubicBezTo>
                <a:cubicBezTo>
                  <a:pt x="6498" y="15218"/>
                  <a:pt x="6600" y="15172"/>
                  <a:pt x="6684" y="15105"/>
                </a:cubicBezTo>
                <a:lnTo>
                  <a:pt x="6689" y="15111"/>
                </a:lnTo>
                <a:lnTo>
                  <a:pt x="12764" y="11639"/>
                </a:lnTo>
                <a:lnTo>
                  <a:pt x="12764" y="14727"/>
                </a:lnTo>
                <a:cubicBezTo>
                  <a:pt x="12764" y="14999"/>
                  <a:pt x="12983" y="15218"/>
                  <a:pt x="13255" y="15218"/>
                </a:cubicBezTo>
                <a:lnTo>
                  <a:pt x="15218" y="15218"/>
                </a:lnTo>
                <a:cubicBezTo>
                  <a:pt x="15490" y="15218"/>
                  <a:pt x="15709" y="14999"/>
                  <a:pt x="15709" y="14727"/>
                </a:cubicBezTo>
                <a:lnTo>
                  <a:pt x="15709" y="6873"/>
                </a:lnTo>
                <a:cubicBezTo>
                  <a:pt x="15709" y="6601"/>
                  <a:pt x="15490" y="6382"/>
                  <a:pt x="15218" y="6382"/>
                </a:cubicBezTo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14" name="Shape 2714"/>
          <p:cNvSpPr/>
          <p:nvPr/>
        </p:nvSpPr>
        <p:spPr>
          <a:xfrm>
            <a:off x="4080425" y="410596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8054" y="9818"/>
                </a:moveTo>
                <a:lnTo>
                  <a:pt x="10800" y="7072"/>
                </a:lnTo>
                <a:lnTo>
                  <a:pt x="13547" y="9818"/>
                </a:lnTo>
                <a:cubicBezTo>
                  <a:pt x="13547" y="9818"/>
                  <a:pt x="8054" y="9818"/>
                  <a:pt x="8054" y="9818"/>
                </a:cubicBezTo>
                <a:close/>
                <a:moveTo>
                  <a:pt x="15111" y="10002"/>
                </a:moveTo>
                <a:lnTo>
                  <a:pt x="15083" y="9975"/>
                </a:lnTo>
                <a:cubicBezTo>
                  <a:pt x="15076" y="9968"/>
                  <a:pt x="15069" y="9960"/>
                  <a:pt x="15061" y="9953"/>
                </a:cubicBezTo>
                <a:lnTo>
                  <a:pt x="11184" y="6075"/>
                </a:lnTo>
                <a:lnTo>
                  <a:pt x="11177" y="6080"/>
                </a:lnTo>
                <a:cubicBezTo>
                  <a:pt x="11088" y="5968"/>
                  <a:pt x="10955" y="5891"/>
                  <a:pt x="10800" y="5891"/>
                </a:cubicBezTo>
                <a:cubicBezTo>
                  <a:pt x="10645" y="5891"/>
                  <a:pt x="10512" y="5968"/>
                  <a:pt x="10422" y="6080"/>
                </a:cubicBezTo>
                <a:lnTo>
                  <a:pt x="10416" y="6075"/>
                </a:lnTo>
                <a:lnTo>
                  <a:pt x="6539" y="9953"/>
                </a:lnTo>
                <a:cubicBezTo>
                  <a:pt x="6531" y="9960"/>
                  <a:pt x="6524" y="9968"/>
                  <a:pt x="6517" y="9975"/>
                </a:cubicBezTo>
                <a:lnTo>
                  <a:pt x="6489" y="10002"/>
                </a:lnTo>
                <a:lnTo>
                  <a:pt x="6495" y="10007"/>
                </a:lnTo>
                <a:cubicBezTo>
                  <a:pt x="6428" y="10091"/>
                  <a:pt x="6382" y="10193"/>
                  <a:pt x="6382" y="10309"/>
                </a:cubicBezTo>
                <a:cubicBezTo>
                  <a:pt x="6382" y="10580"/>
                  <a:pt x="6601" y="10800"/>
                  <a:pt x="6873" y="10800"/>
                </a:cubicBezTo>
                <a:lnTo>
                  <a:pt x="14727" y="10800"/>
                </a:lnTo>
                <a:cubicBezTo>
                  <a:pt x="14999" y="10800"/>
                  <a:pt x="15218" y="10580"/>
                  <a:pt x="15218" y="10309"/>
                </a:cubicBezTo>
                <a:cubicBezTo>
                  <a:pt x="15218" y="10193"/>
                  <a:pt x="15172" y="10091"/>
                  <a:pt x="15105" y="10007"/>
                </a:cubicBezTo>
                <a:cubicBezTo>
                  <a:pt x="15105" y="10007"/>
                  <a:pt x="15111" y="10002"/>
                  <a:pt x="15111" y="10002"/>
                </a:cubicBezTo>
                <a:close/>
                <a:moveTo>
                  <a:pt x="14236" y="13745"/>
                </a:moveTo>
                <a:lnTo>
                  <a:pt x="7364" y="13745"/>
                </a:lnTo>
                <a:lnTo>
                  <a:pt x="7364" y="12764"/>
                </a:lnTo>
                <a:lnTo>
                  <a:pt x="14236" y="12764"/>
                </a:lnTo>
                <a:cubicBezTo>
                  <a:pt x="14236" y="12764"/>
                  <a:pt x="14236" y="13745"/>
                  <a:pt x="14236" y="13745"/>
                </a:cubicBezTo>
                <a:close/>
                <a:moveTo>
                  <a:pt x="14727" y="11782"/>
                </a:moveTo>
                <a:lnTo>
                  <a:pt x="6873" y="11782"/>
                </a:lnTo>
                <a:cubicBezTo>
                  <a:pt x="6601" y="11782"/>
                  <a:pt x="6382" y="12001"/>
                  <a:pt x="6382" y="12273"/>
                </a:cubicBezTo>
                <a:lnTo>
                  <a:pt x="6382" y="14236"/>
                </a:lnTo>
                <a:cubicBezTo>
                  <a:pt x="6382" y="14508"/>
                  <a:pt x="6601" y="14727"/>
                  <a:pt x="6873" y="14727"/>
                </a:cubicBezTo>
                <a:lnTo>
                  <a:pt x="14727" y="14727"/>
                </a:lnTo>
                <a:cubicBezTo>
                  <a:pt x="14999" y="14727"/>
                  <a:pt x="15218" y="14508"/>
                  <a:pt x="15218" y="14236"/>
                </a:cubicBezTo>
                <a:lnTo>
                  <a:pt x="15218" y="12273"/>
                </a:lnTo>
                <a:cubicBezTo>
                  <a:pt x="15218" y="12001"/>
                  <a:pt x="14999" y="11782"/>
                  <a:pt x="14727" y="11782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15" name="Shape 2715"/>
          <p:cNvSpPr/>
          <p:nvPr/>
        </p:nvSpPr>
        <p:spPr>
          <a:xfrm>
            <a:off x="4613686" y="410596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21600"/>
                </a:moveTo>
                <a:lnTo>
                  <a:pt x="17673" y="21600"/>
                </a:lnTo>
                <a:lnTo>
                  <a:pt x="17673" y="20618"/>
                </a:lnTo>
                <a:lnTo>
                  <a:pt x="15709" y="20618"/>
                </a:lnTo>
                <a:cubicBezTo>
                  <a:pt x="15709" y="20618"/>
                  <a:pt x="15709" y="21600"/>
                  <a:pt x="15709" y="21600"/>
                </a:cubicBezTo>
                <a:close/>
                <a:moveTo>
                  <a:pt x="11782" y="21600"/>
                </a:moveTo>
                <a:lnTo>
                  <a:pt x="13745" y="21600"/>
                </a:lnTo>
                <a:lnTo>
                  <a:pt x="13745" y="20618"/>
                </a:lnTo>
                <a:lnTo>
                  <a:pt x="11782" y="20618"/>
                </a:lnTo>
                <a:cubicBezTo>
                  <a:pt x="11782" y="20618"/>
                  <a:pt x="11782" y="21600"/>
                  <a:pt x="11782" y="21600"/>
                </a:cubicBezTo>
                <a:close/>
                <a:moveTo>
                  <a:pt x="7855" y="982"/>
                </a:moveTo>
                <a:lnTo>
                  <a:pt x="9818" y="982"/>
                </a:lnTo>
                <a:lnTo>
                  <a:pt x="9818" y="0"/>
                </a:lnTo>
                <a:lnTo>
                  <a:pt x="7855" y="0"/>
                </a:lnTo>
                <a:cubicBezTo>
                  <a:pt x="7855" y="0"/>
                  <a:pt x="7855" y="982"/>
                  <a:pt x="7855" y="982"/>
                </a:cubicBezTo>
                <a:close/>
                <a:moveTo>
                  <a:pt x="11782" y="982"/>
                </a:moveTo>
                <a:lnTo>
                  <a:pt x="13745" y="982"/>
                </a:lnTo>
                <a:lnTo>
                  <a:pt x="13745" y="0"/>
                </a:lnTo>
                <a:lnTo>
                  <a:pt x="11782" y="0"/>
                </a:lnTo>
                <a:cubicBezTo>
                  <a:pt x="11782" y="0"/>
                  <a:pt x="11782" y="982"/>
                  <a:pt x="11782" y="982"/>
                </a:cubicBezTo>
                <a:close/>
                <a:moveTo>
                  <a:pt x="15709" y="982"/>
                </a:moveTo>
                <a:lnTo>
                  <a:pt x="17673" y="982"/>
                </a:lnTo>
                <a:lnTo>
                  <a:pt x="17673" y="0"/>
                </a:lnTo>
                <a:lnTo>
                  <a:pt x="15709" y="0"/>
                </a:lnTo>
                <a:cubicBezTo>
                  <a:pt x="15709" y="0"/>
                  <a:pt x="15709" y="982"/>
                  <a:pt x="15709" y="982"/>
                </a:cubicBezTo>
                <a:close/>
                <a:moveTo>
                  <a:pt x="19636" y="20346"/>
                </a:moveTo>
                <a:lnTo>
                  <a:pt x="19636" y="21420"/>
                </a:lnTo>
                <a:cubicBezTo>
                  <a:pt x="20470" y="21123"/>
                  <a:pt x="21128" y="20467"/>
                  <a:pt x="21426" y="19636"/>
                </a:cubicBezTo>
                <a:lnTo>
                  <a:pt x="20350" y="19636"/>
                </a:lnTo>
                <a:cubicBezTo>
                  <a:pt x="20177" y="19929"/>
                  <a:pt x="19931" y="20174"/>
                  <a:pt x="19636" y="20346"/>
                </a:cubicBezTo>
                <a:moveTo>
                  <a:pt x="20618" y="5891"/>
                </a:moveTo>
                <a:lnTo>
                  <a:pt x="21600" y="5891"/>
                </a:lnTo>
                <a:lnTo>
                  <a:pt x="21600" y="3927"/>
                </a:lnTo>
                <a:lnTo>
                  <a:pt x="20618" y="3927"/>
                </a:lnTo>
                <a:cubicBezTo>
                  <a:pt x="20618" y="3927"/>
                  <a:pt x="20618" y="5891"/>
                  <a:pt x="20618" y="5891"/>
                </a:cubicBezTo>
                <a:close/>
                <a:moveTo>
                  <a:pt x="20618" y="9818"/>
                </a:moveTo>
                <a:lnTo>
                  <a:pt x="21600" y="9818"/>
                </a:lnTo>
                <a:lnTo>
                  <a:pt x="21600" y="7855"/>
                </a:lnTo>
                <a:lnTo>
                  <a:pt x="20618" y="7855"/>
                </a:lnTo>
                <a:cubicBezTo>
                  <a:pt x="20618" y="7855"/>
                  <a:pt x="20618" y="9818"/>
                  <a:pt x="20618" y="9818"/>
                </a:cubicBezTo>
                <a:close/>
                <a:moveTo>
                  <a:pt x="20618" y="13745"/>
                </a:moveTo>
                <a:lnTo>
                  <a:pt x="21600" y="13745"/>
                </a:lnTo>
                <a:lnTo>
                  <a:pt x="21600" y="11782"/>
                </a:lnTo>
                <a:lnTo>
                  <a:pt x="20618" y="11782"/>
                </a:lnTo>
                <a:cubicBezTo>
                  <a:pt x="20618" y="11782"/>
                  <a:pt x="20618" y="13745"/>
                  <a:pt x="20618" y="13745"/>
                </a:cubicBezTo>
                <a:close/>
                <a:moveTo>
                  <a:pt x="20618" y="17673"/>
                </a:moveTo>
                <a:lnTo>
                  <a:pt x="21600" y="17673"/>
                </a:lnTo>
                <a:lnTo>
                  <a:pt x="21600" y="15709"/>
                </a:lnTo>
                <a:lnTo>
                  <a:pt x="20618" y="15709"/>
                </a:ln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1250" y="19636"/>
                </a:moveTo>
                <a:lnTo>
                  <a:pt x="175" y="19636"/>
                </a:lnTo>
                <a:cubicBezTo>
                  <a:pt x="472" y="20467"/>
                  <a:pt x="1130" y="21123"/>
                  <a:pt x="1964" y="21420"/>
                </a:cubicBezTo>
                <a:lnTo>
                  <a:pt x="1964" y="20346"/>
                </a:lnTo>
                <a:cubicBezTo>
                  <a:pt x="1669" y="20174"/>
                  <a:pt x="1423" y="19929"/>
                  <a:pt x="1250" y="19636"/>
                </a:cubicBezTo>
                <a:moveTo>
                  <a:pt x="20350" y="1964"/>
                </a:moveTo>
                <a:lnTo>
                  <a:pt x="21426" y="1964"/>
                </a:lnTo>
                <a:cubicBezTo>
                  <a:pt x="21128" y="1133"/>
                  <a:pt x="20470" y="477"/>
                  <a:pt x="19636" y="180"/>
                </a:cubicBezTo>
                <a:lnTo>
                  <a:pt x="19636" y="1254"/>
                </a:lnTo>
                <a:cubicBezTo>
                  <a:pt x="19931" y="1426"/>
                  <a:pt x="20177" y="1670"/>
                  <a:pt x="20350" y="1964"/>
                </a:cubicBezTo>
                <a:moveTo>
                  <a:pt x="982" y="15709"/>
                </a:moveTo>
                <a:lnTo>
                  <a:pt x="0" y="15709"/>
                </a:lnTo>
                <a:lnTo>
                  <a:pt x="0" y="17673"/>
                </a:lnTo>
                <a:lnTo>
                  <a:pt x="982" y="17673"/>
                </a:lnTo>
                <a:cubicBezTo>
                  <a:pt x="982" y="17673"/>
                  <a:pt x="982" y="15709"/>
                  <a:pt x="982" y="15709"/>
                </a:cubicBezTo>
                <a:close/>
                <a:moveTo>
                  <a:pt x="982" y="7855"/>
                </a:moveTo>
                <a:lnTo>
                  <a:pt x="0" y="7855"/>
                </a:lnTo>
                <a:lnTo>
                  <a:pt x="0" y="9818"/>
                </a:lnTo>
                <a:lnTo>
                  <a:pt x="982" y="9818"/>
                </a:lnTo>
                <a:cubicBezTo>
                  <a:pt x="982" y="9818"/>
                  <a:pt x="982" y="7855"/>
                  <a:pt x="982" y="7855"/>
                </a:cubicBezTo>
                <a:close/>
                <a:moveTo>
                  <a:pt x="982" y="3927"/>
                </a:moveTo>
                <a:lnTo>
                  <a:pt x="0" y="3927"/>
                </a:lnTo>
                <a:lnTo>
                  <a:pt x="0" y="5891"/>
                </a:lnTo>
                <a:lnTo>
                  <a:pt x="982" y="5891"/>
                </a:lnTo>
                <a:cubicBezTo>
                  <a:pt x="982" y="5891"/>
                  <a:pt x="982" y="3927"/>
                  <a:pt x="982" y="3927"/>
                </a:cubicBezTo>
                <a:close/>
                <a:moveTo>
                  <a:pt x="982" y="11782"/>
                </a:moveTo>
                <a:lnTo>
                  <a:pt x="0" y="11782"/>
                </a:lnTo>
                <a:lnTo>
                  <a:pt x="0" y="13745"/>
                </a:lnTo>
                <a:lnTo>
                  <a:pt x="982" y="13745"/>
                </a:lnTo>
                <a:cubicBezTo>
                  <a:pt x="982" y="13745"/>
                  <a:pt x="982" y="11782"/>
                  <a:pt x="982" y="11782"/>
                </a:cubicBezTo>
                <a:close/>
                <a:moveTo>
                  <a:pt x="3927" y="982"/>
                </a:moveTo>
                <a:lnTo>
                  <a:pt x="5891" y="982"/>
                </a:lnTo>
                <a:lnTo>
                  <a:pt x="5891" y="0"/>
                </a:lnTo>
                <a:lnTo>
                  <a:pt x="3927" y="0"/>
                </a:lnTo>
                <a:cubicBezTo>
                  <a:pt x="3927" y="0"/>
                  <a:pt x="3927" y="982"/>
                  <a:pt x="3927" y="982"/>
                </a:cubicBezTo>
                <a:close/>
                <a:moveTo>
                  <a:pt x="7855" y="21600"/>
                </a:moveTo>
                <a:lnTo>
                  <a:pt x="9818" y="21600"/>
                </a:lnTo>
                <a:lnTo>
                  <a:pt x="9818" y="20618"/>
                </a:lnTo>
                <a:lnTo>
                  <a:pt x="7855" y="20618"/>
                </a:lnTo>
                <a:cubicBezTo>
                  <a:pt x="7855" y="20618"/>
                  <a:pt x="7855" y="21600"/>
                  <a:pt x="7855" y="21600"/>
                </a:cubicBezTo>
                <a:close/>
                <a:moveTo>
                  <a:pt x="3927" y="21600"/>
                </a:moveTo>
                <a:lnTo>
                  <a:pt x="5891" y="21600"/>
                </a:lnTo>
                <a:lnTo>
                  <a:pt x="5891" y="20618"/>
                </a:lnTo>
                <a:lnTo>
                  <a:pt x="3927" y="20618"/>
                </a:lnTo>
                <a:cubicBezTo>
                  <a:pt x="3927" y="20618"/>
                  <a:pt x="3927" y="21600"/>
                  <a:pt x="3927" y="21600"/>
                </a:cubicBezTo>
                <a:close/>
                <a:moveTo>
                  <a:pt x="175" y="1964"/>
                </a:moveTo>
                <a:lnTo>
                  <a:pt x="1250" y="1964"/>
                </a:lnTo>
                <a:cubicBezTo>
                  <a:pt x="1423" y="1670"/>
                  <a:pt x="1669" y="1426"/>
                  <a:pt x="1964" y="1254"/>
                </a:cubicBezTo>
                <a:lnTo>
                  <a:pt x="1964" y="180"/>
                </a:lnTo>
                <a:cubicBezTo>
                  <a:pt x="1130" y="477"/>
                  <a:pt x="472" y="1133"/>
                  <a:pt x="175" y="1964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16" name="Shape 2716"/>
          <p:cNvSpPr/>
          <p:nvPr/>
        </p:nvSpPr>
        <p:spPr>
          <a:xfrm>
            <a:off x="5146947" y="410596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745" y="13745"/>
                </a:moveTo>
                <a:lnTo>
                  <a:pt x="7855" y="13745"/>
                </a:lnTo>
                <a:lnTo>
                  <a:pt x="7855" y="7855"/>
                </a:lnTo>
                <a:lnTo>
                  <a:pt x="13745" y="7855"/>
                </a:lnTo>
                <a:cubicBezTo>
                  <a:pt x="13745" y="7855"/>
                  <a:pt x="13745" y="13745"/>
                  <a:pt x="13745" y="13745"/>
                </a:cubicBezTo>
                <a:close/>
                <a:moveTo>
                  <a:pt x="14236" y="6873"/>
                </a:moveTo>
                <a:lnTo>
                  <a:pt x="7364" y="6873"/>
                </a:lnTo>
                <a:cubicBezTo>
                  <a:pt x="7092" y="6873"/>
                  <a:pt x="6873" y="7092"/>
                  <a:pt x="6873" y="7364"/>
                </a:cubicBezTo>
                <a:lnTo>
                  <a:pt x="6873" y="14236"/>
                </a:lnTo>
                <a:cubicBezTo>
                  <a:pt x="6873" y="14508"/>
                  <a:pt x="7092" y="14727"/>
                  <a:pt x="7364" y="14727"/>
                </a:cubicBezTo>
                <a:lnTo>
                  <a:pt x="14236" y="14727"/>
                </a:lnTo>
                <a:cubicBezTo>
                  <a:pt x="14508" y="14727"/>
                  <a:pt x="14727" y="14508"/>
                  <a:pt x="14727" y="14236"/>
                </a:cubicBezTo>
                <a:lnTo>
                  <a:pt x="14727" y="7364"/>
                </a:lnTo>
                <a:cubicBezTo>
                  <a:pt x="14727" y="7092"/>
                  <a:pt x="14508" y="6873"/>
                  <a:pt x="14236" y="6873"/>
                </a:cubicBezTo>
                <a:moveTo>
                  <a:pt x="7855" y="21600"/>
                </a:moveTo>
                <a:lnTo>
                  <a:pt x="9818" y="21600"/>
                </a:lnTo>
                <a:lnTo>
                  <a:pt x="9818" y="20618"/>
                </a:lnTo>
                <a:lnTo>
                  <a:pt x="7855" y="20618"/>
                </a:lnTo>
                <a:cubicBezTo>
                  <a:pt x="7855" y="20618"/>
                  <a:pt x="7855" y="21600"/>
                  <a:pt x="7855" y="21600"/>
                </a:cubicBezTo>
                <a:close/>
                <a:moveTo>
                  <a:pt x="15709" y="21600"/>
                </a:moveTo>
                <a:lnTo>
                  <a:pt x="17673" y="21600"/>
                </a:lnTo>
                <a:lnTo>
                  <a:pt x="17673" y="20618"/>
                </a:lnTo>
                <a:lnTo>
                  <a:pt x="15709" y="20618"/>
                </a:lnTo>
                <a:cubicBezTo>
                  <a:pt x="15709" y="20618"/>
                  <a:pt x="15709" y="21600"/>
                  <a:pt x="15709" y="21600"/>
                </a:cubicBezTo>
                <a:close/>
                <a:moveTo>
                  <a:pt x="11782" y="21600"/>
                </a:moveTo>
                <a:lnTo>
                  <a:pt x="13745" y="21600"/>
                </a:lnTo>
                <a:lnTo>
                  <a:pt x="13745" y="20618"/>
                </a:lnTo>
                <a:lnTo>
                  <a:pt x="11782" y="20618"/>
                </a:lnTo>
                <a:cubicBezTo>
                  <a:pt x="11782" y="20618"/>
                  <a:pt x="11782" y="21600"/>
                  <a:pt x="11782" y="21600"/>
                </a:cubicBezTo>
                <a:close/>
                <a:moveTo>
                  <a:pt x="19636" y="20346"/>
                </a:moveTo>
                <a:lnTo>
                  <a:pt x="19636" y="21420"/>
                </a:lnTo>
                <a:cubicBezTo>
                  <a:pt x="20470" y="21123"/>
                  <a:pt x="21128" y="20467"/>
                  <a:pt x="21426" y="19636"/>
                </a:cubicBezTo>
                <a:lnTo>
                  <a:pt x="20350" y="19636"/>
                </a:lnTo>
                <a:cubicBezTo>
                  <a:pt x="20177" y="19929"/>
                  <a:pt x="19931" y="20174"/>
                  <a:pt x="19636" y="20346"/>
                </a:cubicBezTo>
                <a:moveTo>
                  <a:pt x="20618" y="5891"/>
                </a:moveTo>
                <a:lnTo>
                  <a:pt x="21600" y="5891"/>
                </a:lnTo>
                <a:lnTo>
                  <a:pt x="21600" y="3927"/>
                </a:lnTo>
                <a:lnTo>
                  <a:pt x="20618" y="3927"/>
                </a:lnTo>
                <a:cubicBezTo>
                  <a:pt x="20618" y="3927"/>
                  <a:pt x="20618" y="5891"/>
                  <a:pt x="20618" y="5891"/>
                </a:cubicBezTo>
                <a:close/>
                <a:moveTo>
                  <a:pt x="20618" y="9818"/>
                </a:moveTo>
                <a:lnTo>
                  <a:pt x="21600" y="9818"/>
                </a:lnTo>
                <a:lnTo>
                  <a:pt x="21600" y="7855"/>
                </a:lnTo>
                <a:lnTo>
                  <a:pt x="20618" y="7855"/>
                </a:lnTo>
                <a:cubicBezTo>
                  <a:pt x="20618" y="7855"/>
                  <a:pt x="20618" y="9818"/>
                  <a:pt x="20618" y="9818"/>
                </a:cubicBezTo>
                <a:close/>
                <a:moveTo>
                  <a:pt x="20618" y="17673"/>
                </a:moveTo>
                <a:lnTo>
                  <a:pt x="21600" y="17673"/>
                </a:lnTo>
                <a:lnTo>
                  <a:pt x="21600" y="15709"/>
                </a:lnTo>
                <a:lnTo>
                  <a:pt x="20618" y="15709"/>
                </a:ln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15709" y="982"/>
                </a:moveTo>
                <a:lnTo>
                  <a:pt x="17673" y="982"/>
                </a:lnTo>
                <a:lnTo>
                  <a:pt x="17673" y="0"/>
                </a:lnTo>
                <a:lnTo>
                  <a:pt x="15709" y="0"/>
                </a:lnTo>
                <a:cubicBezTo>
                  <a:pt x="15709" y="0"/>
                  <a:pt x="15709" y="982"/>
                  <a:pt x="15709" y="982"/>
                </a:cubicBezTo>
                <a:close/>
                <a:moveTo>
                  <a:pt x="3927" y="982"/>
                </a:moveTo>
                <a:lnTo>
                  <a:pt x="5891" y="982"/>
                </a:lnTo>
                <a:lnTo>
                  <a:pt x="5891" y="0"/>
                </a:lnTo>
                <a:lnTo>
                  <a:pt x="3927" y="0"/>
                </a:lnTo>
                <a:cubicBezTo>
                  <a:pt x="3927" y="0"/>
                  <a:pt x="3927" y="982"/>
                  <a:pt x="3927" y="982"/>
                </a:cubicBezTo>
                <a:close/>
                <a:moveTo>
                  <a:pt x="20618" y="13745"/>
                </a:moveTo>
                <a:lnTo>
                  <a:pt x="21600" y="13745"/>
                </a:lnTo>
                <a:lnTo>
                  <a:pt x="21600" y="11782"/>
                </a:lnTo>
                <a:lnTo>
                  <a:pt x="20618" y="11782"/>
                </a:lnTo>
                <a:cubicBezTo>
                  <a:pt x="20618" y="11782"/>
                  <a:pt x="20618" y="13745"/>
                  <a:pt x="20618" y="13745"/>
                </a:cubicBezTo>
                <a:close/>
                <a:moveTo>
                  <a:pt x="982" y="7855"/>
                </a:moveTo>
                <a:lnTo>
                  <a:pt x="0" y="7855"/>
                </a:lnTo>
                <a:lnTo>
                  <a:pt x="0" y="9818"/>
                </a:lnTo>
                <a:lnTo>
                  <a:pt x="982" y="9818"/>
                </a:lnTo>
                <a:cubicBezTo>
                  <a:pt x="982" y="9818"/>
                  <a:pt x="982" y="7855"/>
                  <a:pt x="982" y="7855"/>
                </a:cubicBezTo>
                <a:close/>
                <a:moveTo>
                  <a:pt x="9818" y="0"/>
                </a:moveTo>
                <a:lnTo>
                  <a:pt x="7855" y="0"/>
                </a:lnTo>
                <a:lnTo>
                  <a:pt x="7855" y="982"/>
                </a:lnTo>
                <a:lnTo>
                  <a:pt x="9818" y="982"/>
                </a:lnTo>
                <a:cubicBezTo>
                  <a:pt x="9818" y="982"/>
                  <a:pt x="9818" y="0"/>
                  <a:pt x="9818" y="0"/>
                </a:cubicBezTo>
                <a:close/>
                <a:moveTo>
                  <a:pt x="982" y="3927"/>
                </a:moveTo>
                <a:lnTo>
                  <a:pt x="0" y="3927"/>
                </a:lnTo>
                <a:lnTo>
                  <a:pt x="0" y="5891"/>
                </a:lnTo>
                <a:lnTo>
                  <a:pt x="982" y="5891"/>
                </a:lnTo>
                <a:cubicBezTo>
                  <a:pt x="982" y="5891"/>
                  <a:pt x="982" y="3927"/>
                  <a:pt x="982" y="3927"/>
                </a:cubicBezTo>
                <a:close/>
                <a:moveTo>
                  <a:pt x="20350" y="1964"/>
                </a:moveTo>
                <a:lnTo>
                  <a:pt x="21426" y="1964"/>
                </a:lnTo>
                <a:cubicBezTo>
                  <a:pt x="21128" y="1133"/>
                  <a:pt x="20470" y="477"/>
                  <a:pt x="19636" y="180"/>
                </a:cubicBezTo>
                <a:lnTo>
                  <a:pt x="19636" y="1254"/>
                </a:lnTo>
                <a:cubicBezTo>
                  <a:pt x="19931" y="1426"/>
                  <a:pt x="20177" y="1670"/>
                  <a:pt x="20350" y="1964"/>
                </a:cubicBezTo>
                <a:moveTo>
                  <a:pt x="13745" y="0"/>
                </a:moveTo>
                <a:lnTo>
                  <a:pt x="11782" y="0"/>
                </a:lnTo>
                <a:lnTo>
                  <a:pt x="11782" y="982"/>
                </a:lnTo>
                <a:lnTo>
                  <a:pt x="13745" y="982"/>
                </a:lnTo>
                <a:cubicBezTo>
                  <a:pt x="13745" y="982"/>
                  <a:pt x="13745" y="0"/>
                  <a:pt x="13745" y="0"/>
                </a:cubicBezTo>
                <a:close/>
                <a:moveTo>
                  <a:pt x="3927" y="21600"/>
                </a:moveTo>
                <a:lnTo>
                  <a:pt x="5891" y="21600"/>
                </a:lnTo>
                <a:lnTo>
                  <a:pt x="5891" y="20618"/>
                </a:lnTo>
                <a:lnTo>
                  <a:pt x="3927" y="20618"/>
                </a:lnTo>
                <a:cubicBezTo>
                  <a:pt x="3927" y="20618"/>
                  <a:pt x="3927" y="21600"/>
                  <a:pt x="3927" y="21600"/>
                </a:cubicBezTo>
                <a:close/>
                <a:moveTo>
                  <a:pt x="1250" y="19636"/>
                </a:moveTo>
                <a:lnTo>
                  <a:pt x="175" y="19636"/>
                </a:lnTo>
                <a:cubicBezTo>
                  <a:pt x="472" y="20467"/>
                  <a:pt x="1130" y="21123"/>
                  <a:pt x="1964" y="21420"/>
                </a:cubicBezTo>
                <a:lnTo>
                  <a:pt x="1964" y="20346"/>
                </a:lnTo>
                <a:cubicBezTo>
                  <a:pt x="1669" y="20174"/>
                  <a:pt x="1423" y="19929"/>
                  <a:pt x="1250" y="19636"/>
                </a:cubicBezTo>
                <a:moveTo>
                  <a:pt x="175" y="1964"/>
                </a:moveTo>
                <a:lnTo>
                  <a:pt x="1250" y="1964"/>
                </a:lnTo>
                <a:cubicBezTo>
                  <a:pt x="1423" y="1670"/>
                  <a:pt x="1669" y="1426"/>
                  <a:pt x="1964" y="1254"/>
                </a:cubicBezTo>
                <a:lnTo>
                  <a:pt x="1964" y="180"/>
                </a:lnTo>
                <a:cubicBezTo>
                  <a:pt x="1130" y="477"/>
                  <a:pt x="472" y="1133"/>
                  <a:pt x="175" y="1964"/>
                </a:cubicBezTo>
                <a:moveTo>
                  <a:pt x="982" y="15709"/>
                </a:moveTo>
                <a:lnTo>
                  <a:pt x="0" y="15709"/>
                </a:lnTo>
                <a:lnTo>
                  <a:pt x="0" y="17673"/>
                </a:lnTo>
                <a:lnTo>
                  <a:pt x="982" y="17673"/>
                </a:lnTo>
                <a:cubicBezTo>
                  <a:pt x="982" y="17673"/>
                  <a:pt x="982" y="15709"/>
                  <a:pt x="982" y="15709"/>
                </a:cubicBezTo>
                <a:close/>
                <a:moveTo>
                  <a:pt x="982" y="11782"/>
                </a:moveTo>
                <a:lnTo>
                  <a:pt x="0" y="11782"/>
                </a:lnTo>
                <a:lnTo>
                  <a:pt x="0" y="13745"/>
                </a:lnTo>
                <a:lnTo>
                  <a:pt x="982" y="13745"/>
                </a:lnTo>
                <a:cubicBezTo>
                  <a:pt x="982" y="13745"/>
                  <a:pt x="982" y="11782"/>
                  <a:pt x="982" y="11782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17" name="Shape 2717"/>
          <p:cNvSpPr/>
          <p:nvPr/>
        </p:nvSpPr>
        <p:spPr>
          <a:xfrm>
            <a:off x="5680208" y="410596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1782"/>
                </a:moveTo>
                <a:cubicBezTo>
                  <a:pt x="14592" y="11782"/>
                  <a:pt x="14469" y="11837"/>
                  <a:pt x="14380" y="11926"/>
                </a:cubicBezTo>
                <a:lnTo>
                  <a:pt x="11291" y="15015"/>
                </a:ln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15015"/>
                </a:lnTo>
                <a:lnTo>
                  <a:pt x="7220" y="11926"/>
                </a:lnTo>
                <a:cubicBezTo>
                  <a:pt x="7131" y="11837"/>
                  <a:pt x="7008" y="11782"/>
                  <a:pt x="6873" y="11782"/>
                </a:cubicBezTo>
                <a:cubicBezTo>
                  <a:pt x="6601" y="11782"/>
                  <a:pt x="6382" y="12001"/>
                  <a:pt x="6382" y="12273"/>
                </a:cubicBezTo>
                <a:cubicBezTo>
                  <a:pt x="6382" y="12408"/>
                  <a:pt x="6437" y="12531"/>
                  <a:pt x="6526" y="12620"/>
                </a:cubicBezTo>
                <a:lnTo>
                  <a:pt x="10453" y="16547"/>
                </a:lnTo>
                <a:cubicBezTo>
                  <a:pt x="10542" y="16636"/>
                  <a:pt x="10664" y="16691"/>
                  <a:pt x="10800" y="16691"/>
                </a:cubicBezTo>
                <a:cubicBezTo>
                  <a:pt x="10936" y="16691"/>
                  <a:pt x="11058" y="16636"/>
                  <a:pt x="11147" y="16547"/>
                </a:cubicBezTo>
                <a:lnTo>
                  <a:pt x="15074" y="12620"/>
                </a:lnTo>
                <a:cubicBezTo>
                  <a:pt x="15163" y="12531"/>
                  <a:pt x="15218" y="12408"/>
                  <a:pt x="15218" y="12273"/>
                </a:cubicBezTo>
                <a:cubicBezTo>
                  <a:pt x="15218" y="12001"/>
                  <a:pt x="14999" y="11782"/>
                  <a:pt x="14727" y="11782"/>
                </a:cubicBezTo>
                <a:moveTo>
                  <a:pt x="11782" y="21600"/>
                </a:moveTo>
                <a:lnTo>
                  <a:pt x="13745" y="21600"/>
                </a:lnTo>
                <a:lnTo>
                  <a:pt x="13745" y="20618"/>
                </a:lnTo>
                <a:lnTo>
                  <a:pt x="11782" y="20618"/>
                </a:lnTo>
                <a:cubicBezTo>
                  <a:pt x="11782" y="20618"/>
                  <a:pt x="11782" y="21600"/>
                  <a:pt x="11782" y="21600"/>
                </a:cubicBezTo>
                <a:close/>
                <a:moveTo>
                  <a:pt x="7855" y="21600"/>
                </a:moveTo>
                <a:lnTo>
                  <a:pt x="9818" y="21600"/>
                </a:lnTo>
                <a:lnTo>
                  <a:pt x="9818" y="20618"/>
                </a:lnTo>
                <a:lnTo>
                  <a:pt x="7855" y="20618"/>
                </a:lnTo>
                <a:cubicBezTo>
                  <a:pt x="7855" y="20618"/>
                  <a:pt x="7855" y="21600"/>
                  <a:pt x="7855" y="21600"/>
                </a:cubicBezTo>
                <a:close/>
                <a:moveTo>
                  <a:pt x="15709" y="21600"/>
                </a:moveTo>
                <a:lnTo>
                  <a:pt x="17673" y="21600"/>
                </a:lnTo>
                <a:lnTo>
                  <a:pt x="17673" y="20618"/>
                </a:lnTo>
                <a:lnTo>
                  <a:pt x="15709" y="20618"/>
                </a:lnTo>
                <a:cubicBezTo>
                  <a:pt x="15709" y="20618"/>
                  <a:pt x="15709" y="21600"/>
                  <a:pt x="15709" y="21600"/>
                </a:cubicBezTo>
                <a:close/>
                <a:moveTo>
                  <a:pt x="20618" y="9818"/>
                </a:moveTo>
                <a:lnTo>
                  <a:pt x="21600" y="9818"/>
                </a:lnTo>
                <a:lnTo>
                  <a:pt x="21600" y="7855"/>
                </a:lnTo>
                <a:lnTo>
                  <a:pt x="20618" y="7855"/>
                </a:lnTo>
                <a:cubicBezTo>
                  <a:pt x="20618" y="7855"/>
                  <a:pt x="20618" y="9818"/>
                  <a:pt x="20618" y="9818"/>
                </a:cubicBezTo>
                <a:close/>
                <a:moveTo>
                  <a:pt x="3927" y="982"/>
                </a:moveTo>
                <a:lnTo>
                  <a:pt x="5891" y="982"/>
                </a:lnTo>
                <a:lnTo>
                  <a:pt x="5891" y="0"/>
                </a:lnTo>
                <a:lnTo>
                  <a:pt x="3927" y="0"/>
                </a:lnTo>
                <a:cubicBezTo>
                  <a:pt x="3927" y="0"/>
                  <a:pt x="3927" y="982"/>
                  <a:pt x="3927" y="982"/>
                </a:cubicBezTo>
                <a:close/>
                <a:moveTo>
                  <a:pt x="19636" y="20346"/>
                </a:moveTo>
                <a:lnTo>
                  <a:pt x="19636" y="21420"/>
                </a:lnTo>
                <a:cubicBezTo>
                  <a:pt x="20470" y="21123"/>
                  <a:pt x="21128" y="20467"/>
                  <a:pt x="21426" y="19636"/>
                </a:cubicBezTo>
                <a:lnTo>
                  <a:pt x="20350" y="19636"/>
                </a:lnTo>
                <a:cubicBezTo>
                  <a:pt x="20177" y="19929"/>
                  <a:pt x="19931" y="20174"/>
                  <a:pt x="19636" y="20346"/>
                </a:cubicBezTo>
                <a:moveTo>
                  <a:pt x="20618" y="5891"/>
                </a:moveTo>
                <a:lnTo>
                  <a:pt x="21600" y="5891"/>
                </a:lnTo>
                <a:lnTo>
                  <a:pt x="21600" y="3927"/>
                </a:lnTo>
                <a:lnTo>
                  <a:pt x="20618" y="3927"/>
                </a:lnTo>
                <a:cubicBezTo>
                  <a:pt x="20618" y="3927"/>
                  <a:pt x="20618" y="5891"/>
                  <a:pt x="20618" y="5891"/>
                </a:cubicBezTo>
                <a:close/>
                <a:moveTo>
                  <a:pt x="20618" y="17673"/>
                </a:moveTo>
                <a:lnTo>
                  <a:pt x="21600" y="17673"/>
                </a:lnTo>
                <a:lnTo>
                  <a:pt x="21600" y="15709"/>
                </a:lnTo>
                <a:lnTo>
                  <a:pt x="20618" y="15709"/>
                </a:ln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20618" y="13745"/>
                </a:moveTo>
                <a:lnTo>
                  <a:pt x="21600" y="13745"/>
                </a:lnTo>
                <a:lnTo>
                  <a:pt x="21600" y="11782"/>
                </a:lnTo>
                <a:lnTo>
                  <a:pt x="20618" y="11782"/>
                </a:lnTo>
                <a:cubicBezTo>
                  <a:pt x="20618" y="11782"/>
                  <a:pt x="20618" y="13745"/>
                  <a:pt x="20618" y="13745"/>
                </a:cubicBezTo>
                <a:close/>
                <a:moveTo>
                  <a:pt x="15709" y="982"/>
                </a:moveTo>
                <a:lnTo>
                  <a:pt x="17673" y="982"/>
                </a:lnTo>
                <a:lnTo>
                  <a:pt x="17673" y="0"/>
                </a:lnTo>
                <a:lnTo>
                  <a:pt x="15709" y="0"/>
                </a:lnTo>
                <a:cubicBezTo>
                  <a:pt x="15709" y="0"/>
                  <a:pt x="15709" y="982"/>
                  <a:pt x="15709" y="982"/>
                </a:cubicBezTo>
                <a:close/>
                <a:moveTo>
                  <a:pt x="982" y="3927"/>
                </a:moveTo>
                <a:lnTo>
                  <a:pt x="0" y="3927"/>
                </a:lnTo>
                <a:lnTo>
                  <a:pt x="0" y="5891"/>
                </a:lnTo>
                <a:lnTo>
                  <a:pt x="982" y="5891"/>
                </a:lnTo>
                <a:cubicBezTo>
                  <a:pt x="982" y="5891"/>
                  <a:pt x="982" y="3927"/>
                  <a:pt x="982" y="3927"/>
                </a:cubicBezTo>
                <a:close/>
                <a:moveTo>
                  <a:pt x="9818" y="0"/>
                </a:moveTo>
                <a:lnTo>
                  <a:pt x="7855" y="0"/>
                </a:lnTo>
                <a:lnTo>
                  <a:pt x="7855" y="982"/>
                </a:lnTo>
                <a:lnTo>
                  <a:pt x="9818" y="982"/>
                </a:lnTo>
                <a:cubicBezTo>
                  <a:pt x="9818" y="982"/>
                  <a:pt x="9818" y="0"/>
                  <a:pt x="9818" y="0"/>
                </a:cubicBezTo>
                <a:close/>
                <a:moveTo>
                  <a:pt x="20350" y="1964"/>
                </a:moveTo>
                <a:lnTo>
                  <a:pt x="21426" y="1964"/>
                </a:lnTo>
                <a:cubicBezTo>
                  <a:pt x="21128" y="1133"/>
                  <a:pt x="20470" y="477"/>
                  <a:pt x="19636" y="180"/>
                </a:cubicBezTo>
                <a:lnTo>
                  <a:pt x="19636" y="1254"/>
                </a:lnTo>
                <a:cubicBezTo>
                  <a:pt x="19931" y="1426"/>
                  <a:pt x="20177" y="1670"/>
                  <a:pt x="20350" y="1964"/>
                </a:cubicBezTo>
                <a:moveTo>
                  <a:pt x="982" y="7855"/>
                </a:moveTo>
                <a:lnTo>
                  <a:pt x="0" y="7855"/>
                </a:lnTo>
                <a:lnTo>
                  <a:pt x="0" y="9818"/>
                </a:lnTo>
                <a:lnTo>
                  <a:pt x="982" y="9818"/>
                </a:lnTo>
                <a:cubicBezTo>
                  <a:pt x="982" y="9818"/>
                  <a:pt x="982" y="7855"/>
                  <a:pt x="982" y="7855"/>
                </a:cubicBezTo>
                <a:close/>
                <a:moveTo>
                  <a:pt x="13745" y="0"/>
                </a:moveTo>
                <a:lnTo>
                  <a:pt x="11782" y="0"/>
                </a:lnTo>
                <a:lnTo>
                  <a:pt x="11782" y="982"/>
                </a:lnTo>
                <a:lnTo>
                  <a:pt x="13745" y="982"/>
                </a:lnTo>
                <a:cubicBezTo>
                  <a:pt x="13745" y="982"/>
                  <a:pt x="13745" y="0"/>
                  <a:pt x="13745" y="0"/>
                </a:cubicBezTo>
                <a:close/>
                <a:moveTo>
                  <a:pt x="982" y="11782"/>
                </a:moveTo>
                <a:lnTo>
                  <a:pt x="0" y="11782"/>
                </a:lnTo>
                <a:lnTo>
                  <a:pt x="0" y="13745"/>
                </a:lnTo>
                <a:lnTo>
                  <a:pt x="982" y="13745"/>
                </a:lnTo>
                <a:cubicBezTo>
                  <a:pt x="982" y="13745"/>
                  <a:pt x="982" y="11782"/>
                  <a:pt x="982" y="11782"/>
                </a:cubicBezTo>
                <a:close/>
                <a:moveTo>
                  <a:pt x="175" y="1964"/>
                </a:moveTo>
                <a:lnTo>
                  <a:pt x="1250" y="1964"/>
                </a:lnTo>
                <a:cubicBezTo>
                  <a:pt x="1423" y="1670"/>
                  <a:pt x="1669" y="1426"/>
                  <a:pt x="1964" y="1254"/>
                </a:cubicBezTo>
                <a:lnTo>
                  <a:pt x="1964" y="180"/>
                </a:lnTo>
                <a:cubicBezTo>
                  <a:pt x="1130" y="477"/>
                  <a:pt x="472" y="1133"/>
                  <a:pt x="175" y="1964"/>
                </a:cubicBezTo>
                <a:moveTo>
                  <a:pt x="1250" y="19636"/>
                </a:moveTo>
                <a:lnTo>
                  <a:pt x="175" y="19636"/>
                </a:lnTo>
                <a:cubicBezTo>
                  <a:pt x="472" y="20467"/>
                  <a:pt x="1130" y="21123"/>
                  <a:pt x="1964" y="21420"/>
                </a:cubicBezTo>
                <a:lnTo>
                  <a:pt x="1964" y="20346"/>
                </a:lnTo>
                <a:cubicBezTo>
                  <a:pt x="1669" y="20174"/>
                  <a:pt x="1423" y="19929"/>
                  <a:pt x="1250" y="19636"/>
                </a:cubicBezTo>
                <a:moveTo>
                  <a:pt x="3927" y="21600"/>
                </a:moveTo>
                <a:lnTo>
                  <a:pt x="5891" y="21600"/>
                </a:lnTo>
                <a:lnTo>
                  <a:pt x="5891" y="20618"/>
                </a:lnTo>
                <a:lnTo>
                  <a:pt x="3927" y="20618"/>
                </a:lnTo>
                <a:cubicBezTo>
                  <a:pt x="3927" y="20618"/>
                  <a:pt x="3927" y="21600"/>
                  <a:pt x="3927" y="21600"/>
                </a:cubicBezTo>
                <a:close/>
                <a:moveTo>
                  <a:pt x="982" y="15709"/>
                </a:moveTo>
                <a:lnTo>
                  <a:pt x="0" y="15709"/>
                </a:lnTo>
                <a:lnTo>
                  <a:pt x="0" y="17673"/>
                </a:lnTo>
                <a:lnTo>
                  <a:pt x="982" y="17673"/>
                </a:lnTo>
                <a:cubicBezTo>
                  <a:pt x="982" y="17673"/>
                  <a:pt x="982" y="15709"/>
                  <a:pt x="982" y="15709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18" name="Shape 2718"/>
          <p:cNvSpPr/>
          <p:nvPr/>
        </p:nvSpPr>
        <p:spPr>
          <a:xfrm>
            <a:off x="880859" y="463922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927" y="982"/>
                </a:moveTo>
                <a:lnTo>
                  <a:pt x="5891" y="982"/>
                </a:lnTo>
                <a:lnTo>
                  <a:pt x="5891" y="0"/>
                </a:lnTo>
                <a:lnTo>
                  <a:pt x="3927" y="0"/>
                </a:lnTo>
                <a:cubicBezTo>
                  <a:pt x="3927" y="0"/>
                  <a:pt x="3927" y="982"/>
                  <a:pt x="3927" y="982"/>
                </a:cubicBezTo>
                <a:close/>
                <a:moveTo>
                  <a:pt x="11782" y="21600"/>
                </a:moveTo>
                <a:lnTo>
                  <a:pt x="13745" y="21600"/>
                </a:lnTo>
                <a:lnTo>
                  <a:pt x="13745" y="20618"/>
                </a:lnTo>
                <a:lnTo>
                  <a:pt x="11782" y="20618"/>
                </a:lnTo>
                <a:cubicBezTo>
                  <a:pt x="11782" y="20618"/>
                  <a:pt x="11782" y="21600"/>
                  <a:pt x="11782" y="21600"/>
                </a:cubicBezTo>
                <a:close/>
                <a:moveTo>
                  <a:pt x="15709" y="21600"/>
                </a:moveTo>
                <a:lnTo>
                  <a:pt x="17673" y="21600"/>
                </a:lnTo>
                <a:lnTo>
                  <a:pt x="17673" y="20618"/>
                </a:lnTo>
                <a:lnTo>
                  <a:pt x="15709" y="20618"/>
                </a:lnTo>
                <a:cubicBezTo>
                  <a:pt x="15709" y="20618"/>
                  <a:pt x="15709" y="21600"/>
                  <a:pt x="15709" y="21600"/>
                </a:cubicBezTo>
                <a:close/>
                <a:moveTo>
                  <a:pt x="20618" y="5891"/>
                </a:moveTo>
                <a:lnTo>
                  <a:pt x="21600" y="5891"/>
                </a:lnTo>
                <a:lnTo>
                  <a:pt x="21600" y="3927"/>
                </a:lnTo>
                <a:lnTo>
                  <a:pt x="20618" y="3927"/>
                </a:lnTo>
                <a:cubicBezTo>
                  <a:pt x="20618" y="3927"/>
                  <a:pt x="20618" y="5891"/>
                  <a:pt x="20618" y="5891"/>
                </a:cubicBezTo>
                <a:close/>
                <a:moveTo>
                  <a:pt x="11147" y="5053"/>
                </a:moveTo>
                <a:cubicBezTo>
                  <a:pt x="11058" y="4964"/>
                  <a:pt x="10935" y="4909"/>
                  <a:pt x="10800" y="4909"/>
                </a:cubicBezTo>
                <a:cubicBezTo>
                  <a:pt x="10665" y="4909"/>
                  <a:pt x="10542" y="4964"/>
                  <a:pt x="10453" y="5053"/>
                </a:cubicBezTo>
                <a:lnTo>
                  <a:pt x="6526" y="8980"/>
                </a:lnTo>
                <a:cubicBezTo>
                  <a:pt x="6437" y="9069"/>
                  <a:pt x="6382" y="9192"/>
                  <a:pt x="6382" y="9327"/>
                </a:cubicBezTo>
                <a:cubicBezTo>
                  <a:pt x="6382" y="9599"/>
                  <a:pt x="6602" y="9818"/>
                  <a:pt x="6873" y="9818"/>
                </a:cubicBezTo>
                <a:cubicBezTo>
                  <a:pt x="7008" y="9818"/>
                  <a:pt x="7131" y="9764"/>
                  <a:pt x="7220" y="9674"/>
                </a:cubicBezTo>
                <a:lnTo>
                  <a:pt x="10309" y="6585"/>
                </a:lnTo>
                <a:lnTo>
                  <a:pt x="10309" y="16200"/>
                </a:lnTo>
                <a:cubicBezTo>
                  <a:pt x="10309" y="16471"/>
                  <a:pt x="10529" y="16691"/>
                  <a:pt x="10800" y="16691"/>
                </a:cubicBezTo>
                <a:cubicBezTo>
                  <a:pt x="11071" y="16691"/>
                  <a:pt x="11291" y="16471"/>
                  <a:pt x="11291" y="16200"/>
                </a:cubicBezTo>
                <a:lnTo>
                  <a:pt x="11291" y="6585"/>
                </a:lnTo>
                <a:lnTo>
                  <a:pt x="14380" y="9674"/>
                </a:lnTo>
                <a:cubicBezTo>
                  <a:pt x="14469" y="9764"/>
                  <a:pt x="14592" y="9818"/>
                  <a:pt x="14727" y="9818"/>
                </a:cubicBezTo>
                <a:cubicBezTo>
                  <a:pt x="14998" y="9818"/>
                  <a:pt x="15218" y="9599"/>
                  <a:pt x="15218" y="9327"/>
                </a:cubicBezTo>
                <a:cubicBezTo>
                  <a:pt x="15218" y="9192"/>
                  <a:pt x="15163" y="9069"/>
                  <a:pt x="15074" y="8980"/>
                </a:cubicBezTo>
                <a:cubicBezTo>
                  <a:pt x="15074" y="8980"/>
                  <a:pt x="11147" y="5053"/>
                  <a:pt x="11147" y="5053"/>
                </a:cubicBezTo>
                <a:close/>
                <a:moveTo>
                  <a:pt x="20618" y="13745"/>
                </a:moveTo>
                <a:lnTo>
                  <a:pt x="21600" y="13745"/>
                </a:lnTo>
                <a:lnTo>
                  <a:pt x="21600" y="11782"/>
                </a:lnTo>
                <a:lnTo>
                  <a:pt x="20618" y="11782"/>
                </a:lnTo>
                <a:cubicBezTo>
                  <a:pt x="20618" y="11782"/>
                  <a:pt x="20618" y="13745"/>
                  <a:pt x="20618" y="13745"/>
                </a:cubicBezTo>
                <a:close/>
                <a:moveTo>
                  <a:pt x="15709" y="982"/>
                </a:moveTo>
                <a:lnTo>
                  <a:pt x="17673" y="982"/>
                </a:lnTo>
                <a:lnTo>
                  <a:pt x="17673" y="0"/>
                </a:lnTo>
                <a:lnTo>
                  <a:pt x="15709" y="0"/>
                </a:lnTo>
                <a:cubicBezTo>
                  <a:pt x="15709" y="0"/>
                  <a:pt x="15709" y="982"/>
                  <a:pt x="15709" y="982"/>
                </a:cubicBezTo>
                <a:close/>
                <a:moveTo>
                  <a:pt x="20618" y="9818"/>
                </a:moveTo>
                <a:lnTo>
                  <a:pt x="21600" y="9818"/>
                </a:lnTo>
                <a:lnTo>
                  <a:pt x="21600" y="7855"/>
                </a:lnTo>
                <a:lnTo>
                  <a:pt x="20618" y="7855"/>
                </a:lnTo>
                <a:cubicBezTo>
                  <a:pt x="20618" y="7855"/>
                  <a:pt x="20618" y="9818"/>
                  <a:pt x="20618" y="9818"/>
                </a:cubicBezTo>
                <a:close/>
                <a:moveTo>
                  <a:pt x="19636" y="20346"/>
                </a:moveTo>
                <a:lnTo>
                  <a:pt x="19636" y="21420"/>
                </a:lnTo>
                <a:cubicBezTo>
                  <a:pt x="20469" y="21123"/>
                  <a:pt x="21129" y="20467"/>
                  <a:pt x="21426" y="19636"/>
                </a:cubicBezTo>
                <a:lnTo>
                  <a:pt x="20350" y="19636"/>
                </a:lnTo>
                <a:cubicBezTo>
                  <a:pt x="20177" y="19929"/>
                  <a:pt x="19931" y="20174"/>
                  <a:pt x="19636" y="20346"/>
                </a:cubicBezTo>
                <a:moveTo>
                  <a:pt x="20618" y="17673"/>
                </a:moveTo>
                <a:lnTo>
                  <a:pt x="21600" y="17673"/>
                </a:lnTo>
                <a:lnTo>
                  <a:pt x="21600" y="15709"/>
                </a:lnTo>
                <a:lnTo>
                  <a:pt x="20618" y="15709"/>
                </a:ln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7855" y="21600"/>
                </a:moveTo>
                <a:lnTo>
                  <a:pt x="9818" y="21600"/>
                </a:lnTo>
                <a:lnTo>
                  <a:pt x="9818" y="20618"/>
                </a:lnTo>
                <a:lnTo>
                  <a:pt x="7855" y="20618"/>
                </a:lnTo>
                <a:cubicBezTo>
                  <a:pt x="7855" y="20618"/>
                  <a:pt x="7855" y="21600"/>
                  <a:pt x="7855" y="21600"/>
                </a:cubicBezTo>
                <a:close/>
                <a:moveTo>
                  <a:pt x="9818" y="0"/>
                </a:moveTo>
                <a:lnTo>
                  <a:pt x="7855" y="0"/>
                </a:lnTo>
                <a:lnTo>
                  <a:pt x="7855" y="982"/>
                </a:lnTo>
                <a:lnTo>
                  <a:pt x="9818" y="982"/>
                </a:lnTo>
                <a:cubicBezTo>
                  <a:pt x="9818" y="982"/>
                  <a:pt x="9818" y="0"/>
                  <a:pt x="9818" y="0"/>
                </a:cubicBezTo>
                <a:close/>
                <a:moveTo>
                  <a:pt x="20350" y="1964"/>
                </a:moveTo>
                <a:lnTo>
                  <a:pt x="21426" y="1964"/>
                </a:lnTo>
                <a:cubicBezTo>
                  <a:pt x="21129" y="1133"/>
                  <a:pt x="20469" y="477"/>
                  <a:pt x="19636" y="180"/>
                </a:cubicBezTo>
                <a:lnTo>
                  <a:pt x="19636" y="1254"/>
                </a:lnTo>
                <a:cubicBezTo>
                  <a:pt x="19931" y="1426"/>
                  <a:pt x="20177" y="1670"/>
                  <a:pt x="20350" y="1964"/>
                </a:cubicBezTo>
                <a:moveTo>
                  <a:pt x="982" y="3927"/>
                </a:moveTo>
                <a:lnTo>
                  <a:pt x="0" y="3927"/>
                </a:lnTo>
                <a:lnTo>
                  <a:pt x="0" y="5891"/>
                </a:lnTo>
                <a:lnTo>
                  <a:pt x="982" y="5891"/>
                </a:lnTo>
                <a:cubicBezTo>
                  <a:pt x="982" y="5891"/>
                  <a:pt x="982" y="3927"/>
                  <a:pt x="982" y="3927"/>
                </a:cubicBezTo>
                <a:close/>
                <a:moveTo>
                  <a:pt x="3927" y="21600"/>
                </a:moveTo>
                <a:lnTo>
                  <a:pt x="5891" y="21600"/>
                </a:lnTo>
                <a:lnTo>
                  <a:pt x="5891" y="20618"/>
                </a:lnTo>
                <a:lnTo>
                  <a:pt x="3927" y="20618"/>
                </a:lnTo>
                <a:cubicBezTo>
                  <a:pt x="3927" y="20618"/>
                  <a:pt x="3927" y="21600"/>
                  <a:pt x="3927" y="21600"/>
                </a:cubicBezTo>
                <a:close/>
                <a:moveTo>
                  <a:pt x="13745" y="0"/>
                </a:moveTo>
                <a:lnTo>
                  <a:pt x="11782" y="0"/>
                </a:lnTo>
                <a:lnTo>
                  <a:pt x="11782" y="982"/>
                </a:lnTo>
                <a:lnTo>
                  <a:pt x="13745" y="982"/>
                </a:lnTo>
                <a:cubicBezTo>
                  <a:pt x="13745" y="982"/>
                  <a:pt x="13745" y="0"/>
                  <a:pt x="13745" y="0"/>
                </a:cubicBezTo>
                <a:close/>
                <a:moveTo>
                  <a:pt x="174" y="1964"/>
                </a:moveTo>
                <a:lnTo>
                  <a:pt x="1250" y="1964"/>
                </a:lnTo>
                <a:cubicBezTo>
                  <a:pt x="1423" y="1670"/>
                  <a:pt x="1669" y="1426"/>
                  <a:pt x="1964" y="1254"/>
                </a:cubicBezTo>
                <a:lnTo>
                  <a:pt x="1964" y="180"/>
                </a:lnTo>
                <a:cubicBezTo>
                  <a:pt x="1131" y="477"/>
                  <a:pt x="472" y="1133"/>
                  <a:pt x="174" y="1964"/>
                </a:cubicBezTo>
                <a:moveTo>
                  <a:pt x="1250" y="19636"/>
                </a:moveTo>
                <a:lnTo>
                  <a:pt x="174" y="19636"/>
                </a:lnTo>
                <a:cubicBezTo>
                  <a:pt x="472" y="20467"/>
                  <a:pt x="1131" y="21123"/>
                  <a:pt x="1964" y="21420"/>
                </a:cubicBezTo>
                <a:lnTo>
                  <a:pt x="1964" y="20346"/>
                </a:lnTo>
                <a:cubicBezTo>
                  <a:pt x="1669" y="20174"/>
                  <a:pt x="1423" y="19929"/>
                  <a:pt x="1250" y="19636"/>
                </a:cubicBezTo>
                <a:moveTo>
                  <a:pt x="982" y="11782"/>
                </a:moveTo>
                <a:lnTo>
                  <a:pt x="0" y="11782"/>
                </a:lnTo>
                <a:lnTo>
                  <a:pt x="0" y="13745"/>
                </a:lnTo>
                <a:lnTo>
                  <a:pt x="982" y="13745"/>
                </a:lnTo>
                <a:cubicBezTo>
                  <a:pt x="982" y="13745"/>
                  <a:pt x="982" y="11782"/>
                  <a:pt x="982" y="11782"/>
                </a:cubicBezTo>
                <a:close/>
                <a:moveTo>
                  <a:pt x="982" y="7855"/>
                </a:moveTo>
                <a:lnTo>
                  <a:pt x="0" y="7855"/>
                </a:lnTo>
                <a:lnTo>
                  <a:pt x="0" y="9818"/>
                </a:lnTo>
                <a:lnTo>
                  <a:pt x="982" y="9818"/>
                </a:lnTo>
                <a:cubicBezTo>
                  <a:pt x="982" y="9818"/>
                  <a:pt x="982" y="7855"/>
                  <a:pt x="982" y="7855"/>
                </a:cubicBezTo>
                <a:close/>
                <a:moveTo>
                  <a:pt x="982" y="15709"/>
                </a:moveTo>
                <a:lnTo>
                  <a:pt x="0" y="15709"/>
                </a:lnTo>
                <a:lnTo>
                  <a:pt x="0" y="17673"/>
                </a:lnTo>
                <a:lnTo>
                  <a:pt x="982" y="17673"/>
                </a:lnTo>
                <a:cubicBezTo>
                  <a:pt x="982" y="17673"/>
                  <a:pt x="982" y="15709"/>
                  <a:pt x="982" y="15709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19" name="Shape 2719"/>
          <p:cNvSpPr/>
          <p:nvPr/>
        </p:nvSpPr>
        <p:spPr>
          <a:xfrm>
            <a:off x="1414119" y="4639224"/>
            <a:ext cx="278212" cy="278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65" y="19991"/>
                </a:moveTo>
                <a:lnTo>
                  <a:pt x="14707" y="20866"/>
                </a:lnTo>
                <a:cubicBezTo>
                  <a:pt x="15328" y="20625"/>
                  <a:pt x="15928" y="20324"/>
                  <a:pt x="16492" y="19973"/>
                </a:cubicBezTo>
                <a:lnTo>
                  <a:pt x="15994" y="19176"/>
                </a:lnTo>
                <a:cubicBezTo>
                  <a:pt x="15479" y="19497"/>
                  <a:pt x="14931" y="19771"/>
                  <a:pt x="14365" y="19991"/>
                </a:cubicBezTo>
                <a:moveTo>
                  <a:pt x="10800" y="20661"/>
                </a:moveTo>
                <a:lnTo>
                  <a:pt x="10801" y="21600"/>
                </a:lnTo>
                <a:cubicBezTo>
                  <a:pt x="11469" y="21598"/>
                  <a:pt x="12137" y="21536"/>
                  <a:pt x="12788" y="21415"/>
                </a:cubicBezTo>
                <a:lnTo>
                  <a:pt x="12614" y="20491"/>
                </a:lnTo>
                <a:cubicBezTo>
                  <a:pt x="12020" y="20603"/>
                  <a:pt x="11409" y="20660"/>
                  <a:pt x="10800" y="20661"/>
                </a:cubicBezTo>
                <a:moveTo>
                  <a:pt x="18660" y="4854"/>
                </a:moveTo>
                <a:lnTo>
                  <a:pt x="19411" y="4287"/>
                </a:lnTo>
                <a:cubicBezTo>
                  <a:pt x="19011" y="3759"/>
                  <a:pt x="18558" y="3264"/>
                  <a:pt x="18065" y="2816"/>
                </a:cubicBezTo>
                <a:lnTo>
                  <a:pt x="17432" y="3510"/>
                </a:lnTo>
                <a:cubicBezTo>
                  <a:pt x="17882" y="3919"/>
                  <a:pt x="18295" y="4371"/>
                  <a:pt x="18660" y="4854"/>
                </a:cubicBezTo>
                <a:moveTo>
                  <a:pt x="16473" y="1615"/>
                </a:moveTo>
                <a:cubicBezTo>
                  <a:pt x="15908" y="1264"/>
                  <a:pt x="15306" y="966"/>
                  <a:pt x="14686" y="726"/>
                </a:cubicBezTo>
                <a:lnTo>
                  <a:pt x="14347" y="1602"/>
                </a:lnTo>
                <a:cubicBezTo>
                  <a:pt x="14912" y="1821"/>
                  <a:pt x="15462" y="2094"/>
                  <a:pt x="15978" y="2413"/>
                </a:cubicBezTo>
                <a:cubicBezTo>
                  <a:pt x="15978" y="2413"/>
                  <a:pt x="16473" y="1615"/>
                  <a:pt x="16473" y="1615"/>
                </a:cubicBezTo>
                <a:close/>
                <a:moveTo>
                  <a:pt x="21553" y="9794"/>
                </a:moveTo>
                <a:lnTo>
                  <a:pt x="20617" y="9880"/>
                </a:lnTo>
                <a:cubicBezTo>
                  <a:pt x="20644" y="10182"/>
                  <a:pt x="20659" y="10492"/>
                  <a:pt x="20659" y="10800"/>
                </a:cubicBezTo>
                <a:cubicBezTo>
                  <a:pt x="20659" y="11099"/>
                  <a:pt x="20645" y="11401"/>
                  <a:pt x="20619" y="11699"/>
                </a:cubicBezTo>
                <a:lnTo>
                  <a:pt x="21556" y="11784"/>
                </a:lnTo>
                <a:cubicBezTo>
                  <a:pt x="21585" y="11458"/>
                  <a:pt x="21600" y="11127"/>
                  <a:pt x="21600" y="10800"/>
                </a:cubicBezTo>
                <a:cubicBezTo>
                  <a:pt x="21600" y="10462"/>
                  <a:pt x="21584" y="10124"/>
                  <a:pt x="21553" y="9794"/>
                </a:cubicBezTo>
                <a:moveTo>
                  <a:pt x="21187" y="7835"/>
                </a:moveTo>
                <a:cubicBezTo>
                  <a:pt x="21005" y="7197"/>
                  <a:pt x="20761" y="6573"/>
                  <a:pt x="20463" y="5978"/>
                </a:cubicBezTo>
                <a:lnTo>
                  <a:pt x="19622" y="6399"/>
                </a:lnTo>
                <a:cubicBezTo>
                  <a:pt x="19893" y="6941"/>
                  <a:pt x="20115" y="7510"/>
                  <a:pt x="20282" y="8094"/>
                </a:cubicBezTo>
                <a:cubicBezTo>
                  <a:pt x="20282" y="8094"/>
                  <a:pt x="21187" y="7835"/>
                  <a:pt x="21187" y="7835"/>
                </a:cubicBezTo>
                <a:close/>
                <a:moveTo>
                  <a:pt x="17446" y="18078"/>
                </a:moveTo>
                <a:lnTo>
                  <a:pt x="18081" y="18771"/>
                </a:lnTo>
                <a:cubicBezTo>
                  <a:pt x="18572" y="18323"/>
                  <a:pt x="19024" y="17827"/>
                  <a:pt x="19424" y="17297"/>
                </a:cubicBezTo>
                <a:lnTo>
                  <a:pt x="18672" y="16732"/>
                </a:lnTo>
                <a:cubicBezTo>
                  <a:pt x="18307" y="17216"/>
                  <a:pt x="17894" y="17669"/>
                  <a:pt x="17446" y="18078"/>
                </a:cubicBezTo>
                <a:moveTo>
                  <a:pt x="19632" y="15184"/>
                </a:moveTo>
                <a:lnTo>
                  <a:pt x="20474" y="15602"/>
                </a:lnTo>
                <a:cubicBezTo>
                  <a:pt x="20770" y="15008"/>
                  <a:pt x="21012" y="14383"/>
                  <a:pt x="21194" y="13743"/>
                </a:cubicBezTo>
                <a:lnTo>
                  <a:pt x="20288" y="13487"/>
                </a:lnTo>
                <a:cubicBezTo>
                  <a:pt x="20123" y="14071"/>
                  <a:pt x="19901" y="14642"/>
                  <a:pt x="19632" y="15184"/>
                </a:cubicBezTo>
                <a:moveTo>
                  <a:pt x="2873" y="4886"/>
                </a:moveTo>
                <a:lnTo>
                  <a:pt x="2120" y="4322"/>
                </a:lnTo>
                <a:cubicBezTo>
                  <a:pt x="1721" y="4854"/>
                  <a:pt x="1369" y="5424"/>
                  <a:pt x="1074" y="6018"/>
                </a:cubicBezTo>
                <a:lnTo>
                  <a:pt x="1917" y="6435"/>
                </a:lnTo>
                <a:cubicBezTo>
                  <a:pt x="2186" y="5892"/>
                  <a:pt x="2508" y="5371"/>
                  <a:pt x="2873" y="4886"/>
                </a:cubicBezTo>
                <a:moveTo>
                  <a:pt x="943" y="11741"/>
                </a:moveTo>
                <a:lnTo>
                  <a:pt x="6" y="11829"/>
                </a:lnTo>
                <a:cubicBezTo>
                  <a:pt x="69" y="12492"/>
                  <a:pt x="194" y="13151"/>
                  <a:pt x="377" y="13786"/>
                </a:cubicBezTo>
                <a:lnTo>
                  <a:pt x="1281" y="13527"/>
                </a:lnTo>
                <a:cubicBezTo>
                  <a:pt x="1114" y="12946"/>
                  <a:pt x="1000" y="12346"/>
                  <a:pt x="943" y="11741"/>
                </a:cubicBezTo>
                <a:moveTo>
                  <a:pt x="1265" y="8133"/>
                </a:moveTo>
                <a:lnTo>
                  <a:pt x="359" y="7879"/>
                </a:lnTo>
                <a:cubicBezTo>
                  <a:pt x="179" y="8516"/>
                  <a:pt x="59" y="9176"/>
                  <a:pt x="0" y="9838"/>
                </a:cubicBezTo>
                <a:lnTo>
                  <a:pt x="938" y="9921"/>
                </a:lnTo>
                <a:cubicBezTo>
                  <a:pt x="991" y="9316"/>
                  <a:pt x="1101" y="8714"/>
                  <a:pt x="1265" y="8133"/>
                </a:cubicBezTo>
                <a:moveTo>
                  <a:pt x="1105" y="15642"/>
                </a:moveTo>
                <a:cubicBezTo>
                  <a:pt x="1403" y="16235"/>
                  <a:pt x="1759" y="16804"/>
                  <a:pt x="2161" y="17332"/>
                </a:cubicBezTo>
                <a:lnTo>
                  <a:pt x="2910" y="16763"/>
                </a:lnTo>
                <a:cubicBezTo>
                  <a:pt x="2542" y="16281"/>
                  <a:pt x="2218" y="15762"/>
                  <a:pt x="1945" y="15220"/>
                </a:cubicBezTo>
                <a:cubicBezTo>
                  <a:pt x="1945" y="15220"/>
                  <a:pt x="1105" y="15642"/>
                  <a:pt x="1105" y="15642"/>
                </a:cubicBezTo>
                <a:close/>
                <a:moveTo>
                  <a:pt x="12765" y="182"/>
                </a:moveTo>
                <a:cubicBezTo>
                  <a:pt x="12115" y="61"/>
                  <a:pt x="11448" y="0"/>
                  <a:pt x="10788" y="0"/>
                </a:cubicBezTo>
                <a:lnTo>
                  <a:pt x="10787" y="0"/>
                </a:lnTo>
                <a:lnTo>
                  <a:pt x="10736" y="0"/>
                </a:lnTo>
                <a:lnTo>
                  <a:pt x="10779" y="940"/>
                </a:lnTo>
                <a:cubicBezTo>
                  <a:pt x="11389" y="940"/>
                  <a:pt x="12000" y="995"/>
                  <a:pt x="12594" y="1105"/>
                </a:cubicBezTo>
                <a:cubicBezTo>
                  <a:pt x="12594" y="1105"/>
                  <a:pt x="12765" y="182"/>
                  <a:pt x="12765" y="182"/>
                </a:cubicBezTo>
                <a:close/>
                <a:moveTo>
                  <a:pt x="6893" y="20882"/>
                </a:moveTo>
                <a:cubicBezTo>
                  <a:pt x="7514" y="21121"/>
                  <a:pt x="8160" y="21302"/>
                  <a:pt x="8814" y="21422"/>
                </a:cubicBezTo>
                <a:lnTo>
                  <a:pt x="8985" y="20499"/>
                </a:lnTo>
                <a:cubicBezTo>
                  <a:pt x="8387" y="20389"/>
                  <a:pt x="7797" y="20223"/>
                  <a:pt x="7231" y="20006"/>
                </a:cubicBezTo>
                <a:cubicBezTo>
                  <a:pt x="7231" y="20006"/>
                  <a:pt x="6893" y="20882"/>
                  <a:pt x="6893" y="20882"/>
                </a:cubicBezTo>
                <a:close/>
                <a:moveTo>
                  <a:pt x="3510" y="18800"/>
                </a:moveTo>
                <a:cubicBezTo>
                  <a:pt x="4003" y="19247"/>
                  <a:pt x="4539" y="19650"/>
                  <a:pt x="5105" y="19997"/>
                </a:cubicBezTo>
                <a:lnTo>
                  <a:pt x="5599" y="19198"/>
                </a:lnTo>
                <a:cubicBezTo>
                  <a:pt x="5083" y="18881"/>
                  <a:pt x="4592" y="18513"/>
                  <a:pt x="4142" y="18105"/>
                </a:cubicBezTo>
                <a:cubicBezTo>
                  <a:pt x="4142" y="18105"/>
                  <a:pt x="3510" y="18800"/>
                  <a:pt x="3510" y="18800"/>
                </a:cubicBezTo>
                <a:close/>
                <a:moveTo>
                  <a:pt x="5546" y="2435"/>
                </a:moveTo>
                <a:lnTo>
                  <a:pt x="5048" y="1639"/>
                </a:lnTo>
                <a:cubicBezTo>
                  <a:pt x="4484" y="1991"/>
                  <a:pt x="3950" y="2397"/>
                  <a:pt x="3460" y="2846"/>
                </a:cubicBezTo>
                <a:lnTo>
                  <a:pt x="4096" y="3538"/>
                </a:lnTo>
                <a:cubicBezTo>
                  <a:pt x="4544" y="3127"/>
                  <a:pt x="5032" y="2756"/>
                  <a:pt x="5546" y="2435"/>
                </a:cubicBezTo>
                <a:moveTo>
                  <a:pt x="8924" y="1113"/>
                </a:moveTo>
                <a:lnTo>
                  <a:pt x="8748" y="190"/>
                </a:lnTo>
                <a:cubicBezTo>
                  <a:pt x="8093" y="315"/>
                  <a:pt x="7448" y="501"/>
                  <a:pt x="6830" y="743"/>
                </a:cubicBezTo>
                <a:lnTo>
                  <a:pt x="7173" y="1617"/>
                </a:lnTo>
                <a:cubicBezTo>
                  <a:pt x="7738" y="1396"/>
                  <a:pt x="8327" y="1226"/>
                  <a:pt x="8924" y="1113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20" name="Shape 2720"/>
          <p:cNvSpPr/>
          <p:nvPr/>
        </p:nvSpPr>
        <p:spPr>
          <a:xfrm>
            <a:off x="1947380" y="4639224"/>
            <a:ext cx="278212" cy="278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65" y="19991"/>
                </a:moveTo>
                <a:lnTo>
                  <a:pt x="14707" y="20866"/>
                </a:lnTo>
                <a:cubicBezTo>
                  <a:pt x="15328" y="20625"/>
                  <a:pt x="15928" y="20324"/>
                  <a:pt x="16492" y="19973"/>
                </a:cubicBezTo>
                <a:lnTo>
                  <a:pt x="15994" y="19176"/>
                </a:lnTo>
                <a:cubicBezTo>
                  <a:pt x="15479" y="19497"/>
                  <a:pt x="14931" y="19771"/>
                  <a:pt x="14365" y="19991"/>
                </a:cubicBezTo>
                <a:moveTo>
                  <a:pt x="10800" y="14735"/>
                </a:moveTo>
                <a:cubicBezTo>
                  <a:pt x="8622" y="14735"/>
                  <a:pt x="6857" y="12973"/>
                  <a:pt x="6857" y="10800"/>
                </a:cubicBezTo>
                <a:cubicBezTo>
                  <a:pt x="6857" y="8627"/>
                  <a:pt x="8622" y="6865"/>
                  <a:pt x="10800" y="6865"/>
                </a:cubicBezTo>
                <a:cubicBezTo>
                  <a:pt x="12978" y="6865"/>
                  <a:pt x="14743" y="8627"/>
                  <a:pt x="14743" y="10800"/>
                </a:cubicBezTo>
                <a:cubicBezTo>
                  <a:pt x="14743" y="12973"/>
                  <a:pt x="12978" y="14735"/>
                  <a:pt x="10800" y="14735"/>
                </a:cubicBezTo>
                <a:moveTo>
                  <a:pt x="10800" y="5881"/>
                </a:moveTo>
                <a:cubicBezTo>
                  <a:pt x="8078" y="5881"/>
                  <a:pt x="5871" y="8083"/>
                  <a:pt x="5871" y="10800"/>
                </a:cubicBezTo>
                <a:cubicBezTo>
                  <a:pt x="5871" y="13517"/>
                  <a:pt x="8078" y="15719"/>
                  <a:pt x="10800" y="15719"/>
                </a:cubicBezTo>
                <a:cubicBezTo>
                  <a:pt x="13522" y="15719"/>
                  <a:pt x="15729" y="13517"/>
                  <a:pt x="15729" y="10800"/>
                </a:cubicBezTo>
                <a:cubicBezTo>
                  <a:pt x="15729" y="8083"/>
                  <a:pt x="13522" y="5881"/>
                  <a:pt x="10800" y="5881"/>
                </a:cubicBezTo>
                <a:moveTo>
                  <a:pt x="10800" y="20661"/>
                </a:moveTo>
                <a:lnTo>
                  <a:pt x="10801" y="21600"/>
                </a:lnTo>
                <a:cubicBezTo>
                  <a:pt x="11469" y="21598"/>
                  <a:pt x="12137" y="21536"/>
                  <a:pt x="12788" y="21415"/>
                </a:cubicBezTo>
                <a:lnTo>
                  <a:pt x="12614" y="20491"/>
                </a:lnTo>
                <a:cubicBezTo>
                  <a:pt x="12020" y="20603"/>
                  <a:pt x="11409" y="20660"/>
                  <a:pt x="10800" y="20661"/>
                </a:cubicBezTo>
                <a:moveTo>
                  <a:pt x="18660" y="4854"/>
                </a:moveTo>
                <a:lnTo>
                  <a:pt x="19411" y="4287"/>
                </a:lnTo>
                <a:cubicBezTo>
                  <a:pt x="19011" y="3759"/>
                  <a:pt x="18558" y="3264"/>
                  <a:pt x="18065" y="2816"/>
                </a:cubicBezTo>
                <a:lnTo>
                  <a:pt x="17432" y="3510"/>
                </a:lnTo>
                <a:cubicBezTo>
                  <a:pt x="17882" y="3919"/>
                  <a:pt x="18295" y="4371"/>
                  <a:pt x="18660" y="4854"/>
                </a:cubicBezTo>
                <a:moveTo>
                  <a:pt x="21187" y="7835"/>
                </a:moveTo>
                <a:cubicBezTo>
                  <a:pt x="21005" y="7197"/>
                  <a:pt x="20761" y="6573"/>
                  <a:pt x="20463" y="5978"/>
                </a:cubicBezTo>
                <a:lnTo>
                  <a:pt x="19622" y="6399"/>
                </a:lnTo>
                <a:cubicBezTo>
                  <a:pt x="19893" y="6941"/>
                  <a:pt x="20115" y="7510"/>
                  <a:pt x="20282" y="8094"/>
                </a:cubicBezTo>
                <a:cubicBezTo>
                  <a:pt x="20282" y="8094"/>
                  <a:pt x="21187" y="7835"/>
                  <a:pt x="21187" y="7835"/>
                </a:cubicBezTo>
                <a:close/>
                <a:moveTo>
                  <a:pt x="21553" y="9794"/>
                </a:moveTo>
                <a:lnTo>
                  <a:pt x="20617" y="9880"/>
                </a:lnTo>
                <a:cubicBezTo>
                  <a:pt x="20644" y="10182"/>
                  <a:pt x="20659" y="10492"/>
                  <a:pt x="20659" y="10800"/>
                </a:cubicBezTo>
                <a:cubicBezTo>
                  <a:pt x="20659" y="11099"/>
                  <a:pt x="20645" y="11401"/>
                  <a:pt x="20619" y="11699"/>
                </a:cubicBezTo>
                <a:lnTo>
                  <a:pt x="21556" y="11784"/>
                </a:lnTo>
                <a:cubicBezTo>
                  <a:pt x="21585" y="11458"/>
                  <a:pt x="21600" y="11127"/>
                  <a:pt x="21600" y="10800"/>
                </a:cubicBezTo>
                <a:cubicBezTo>
                  <a:pt x="21599" y="10462"/>
                  <a:pt x="21584" y="10124"/>
                  <a:pt x="21553" y="9794"/>
                </a:cubicBezTo>
                <a:moveTo>
                  <a:pt x="6893" y="20882"/>
                </a:moveTo>
                <a:cubicBezTo>
                  <a:pt x="7514" y="21121"/>
                  <a:pt x="8160" y="21302"/>
                  <a:pt x="8814" y="21422"/>
                </a:cubicBezTo>
                <a:lnTo>
                  <a:pt x="8985" y="20499"/>
                </a:lnTo>
                <a:cubicBezTo>
                  <a:pt x="8387" y="20389"/>
                  <a:pt x="7797" y="20223"/>
                  <a:pt x="7231" y="20006"/>
                </a:cubicBezTo>
                <a:cubicBezTo>
                  <a:pt x="7231" y="20006"/>
                  <a:pt x="6893" y="20882"/>
                  <a:pt x="6893" y="20882"/>
                </a:cubicBezTo>
                <a:close/>
                <a:moveTo>
                  <a:pt x="19632" y="15184"/>
                </a:moveTo>
                <a:lnTo>
                  <a:pt x="20474" y="15602"/>
                </a:lnTo>
                <a:cubicBezTo>
                  <a:pt x="20770" y="15008"/>
                  <a:pt x="21012" y="14383"/>
                  <a:pt x="21194" y="13743"/>
                </a:cubicBezTo>
                <a:lnTo>
                  <a:pt x="20288" y="13487"/>
                </a:lnTo>
                <a:cubicBezTo>
                  <a:pt x="20123" y="14071"/>
                  <a:pt x="19901" y="14642"/>
                  <a:pt x="19632" y="15184"/>
                </a:cubicBezTo>
                <a:moveTo>
                  <a:pt x="17446" y="18078"/>
                </a:moveTo>
                <a:lnTo>
                  <a:pt x="18081" y="18771"/>
                </a:lnTo>
                <a:cubicBezTo>
                  <a:pt x="18572" y="18323"/>
                  <a:pt x="19024" y="17827"/>
                  <a:pt x="19424" y="17297"/>
                </a:cubicBezTo>
                <a:lnTo>
                  <a:pt x="18672" y="16732"/>
                </a:lnTo>
                <a:cubicBezTo>
                  <a:pt x="18307" y="17216"/>
                  <a:pt x="17894" y="17669"/>
                  <a:pt x="17446" y="18078"/>
                </a:cubicBezTo>
                <a:moveTo>
                  <a:pt x="5546" y="2435"/>
                </a:moveTo>
                <a:lnTo>
                  <a:pt x="5048" y="1639"/>
                </a:lnTo>
                <a:cubicBezTo>
                  <a:pt x="4484" y="1991"/>
                  <a:pt x="3950" y="2397"/>
                  <a:pt x="3460" y="2846"/>
                </a:cubicBezTo>
                <a:lnTo>
                  <a:pt x="4096" y="3538"/>
                </a:lnTo>
                <a:cubicBezTo>
                  <a:pt x="4544" y="3127"/>
                  <a:pt x="5032" y="2756"/>
                  <a:pt x="5546" y="2435"/>
                </a:cubicBezTo>
                <a:moveTo>
                  <a:pt x="8924" y="1113"/>
                </a:moveTo>
                <a:lnTo>
                  <a:pt x="8748" y="190"/>
                </a:lnTo>
                <a:cubicBezTo>
                  <a:pt x="8093" y="315"/>
                  <a:pt x="7448" y="501"/>
                  <a:pt x="6830" y="743"/>
                </a:cubicBezTo>
                <a:lnTo>
                  <a:pt x="7173" y="1617"/>
                </a:lnTo>
                <a:cubicBezTo>
                  <a:pt x="7738" y="1396"/>
                  <a:pt x="8327" y="1226"/>
                  <a:pt x="8924" y="1113"/>
                </a:cubicBezTo>
                <a:moveTo>
                  <a:pt x="16473" y="1615"/>
                </a:moveTo>
                <a:cubicBezTo>
                  <a:pt x="15908" y="1264"/>
                  <a:pt x="15306" y="966"/>
                  <a:pt x="14686" y="726"/>
                </a:cubicBezTo>
                <a:lnTo>
                  <a:pt x="14347" y="1602"/>
                </a:lnTo>
                <a:cubicBezTo>
                  <a:pt x="14912" y="1821"/>
                  <a:pt x="15462" y="2094"/>
                  <a:pt x="15978" y="2413"/>
                </a:cubicBezTo>
                <a:cubicBezTo>
                  <a:pt x="15978" y="2413"/>
                  <a:pt x="16473" y="1615"/>
                  <a:pt x="16473" y="1615"/>
                </a:cubicBezTo>
                <a:close/>
                <a:moveTo>
                  <a:pt x="2873" y="4886"/>
                </a:moveTo>
                <a:lnTo>
                  <a:pt x="2120" y="4322"/>
                </a:lnTo>
                <a:cubicBezTo>
                  <a:pt x="1721" y="4854"/>
                  <a:pt x="1369" y="5424"/>
                  <a:pt x="1074" y="6018"/>
                </a:cubicBezTo>
                <a:lnTo>
                  <a:pt x="1917" y="6435"/>
                </a:lnTo>
                <a:cubicBezTo>
                  <a:pt x="2186" y="5892"/>
                  <a:pt x="2508" y="5371"/>
                  <a:pt x="2873" y="4886"/>
                </a:cubicBezTo>
                <a:moveTo>
                  <a:pt x="3510" y="18800"/>
                </a:moveTo>
                <a:cubicBezTo>
                  <a:pt x="4003" y="19247"/>
                  <a:pt x="4539" y="19650"/>
                  <a:pt x="5105" y="19997"/>
                </a:cubicBezTo>
                <a:lnTo>
                  <a:pt x="5599" y="19198"/>
                </a:lnTo>
                <a:cubicBezTo>
                  <a:pt x="5083" y="18881"/>
                  <a:pt x="4592" y="18513"/>
                  <a:pt x="4142" y="18105"/>
                </a:cubicBezTo>
                <a:cubicBezTo>
                  <a:pt x="4142" y="18105"/>
                  <a:pt x="3510" y="18800"/>
                  <a:pt x="3510" y="18800"/>
                </a:cubicBezTo>
                <a:close/>
                <a:moveTo>
                  <a:pt x="12594" y="1105"/>
                </a:moveTo>
                <a:lnTo>
                  <a:pt x="12765" y="182"/>
                </a:lnTo>
                <a:cubicBezTo>
                  <a:pt x="12115" y="61"/>
                  <a:pt x="11448" y="0"/>
                  <a:pt x="10788" y="0"/>
                </a:cubicBezTo>
                <a:lnTo>
                  <a:pt x="10787" y="0"/>
                </a:lnTo>
                <a:lnTo>
                  <a:pt x="10736" y="0"/>
                </a:lnTo>
                <a:lnTo>
                  <a:pt x="10779" y="940"/>
                </a:lnTo>
                <a:cubicBezTo>
                  <a:pt x="11389" y="940"/>
                  <a:pt x="12000" y="995"/>
                  <a:pt x="12594" y="1105"/>
                </a:cubicBezTo>
                <a:moveTo>
                  <a:pt x="1105" y="15642"/>
                </a:moveTo>
                <a:cubicBezTo>
                  <a:pt x="1403" y="16235"/>
                  <a:pt x="1759" y="16804"/>
                  <a:pt x="2161" y="17332"/>
                </a:cubicBezTo>
                <a:lnTo>
                  <a:pt x="2910" y="16763"/>
                </a:lnTo>
                <a:cubicBezTo>
                  <a:pt x="2542" y="16281"/>
                  <a:pt x="2218" y="15762"/>
                  <a:pt x="1945" y="15220"/>
                </a:cubicBezTo>
                <a:cubicBezTo>
                  <a:pt x="1945" y="15220"/>
                  <a:pt x="1105" y="15642"/>
                  <a:pt x="1105" y="15642"/>
                </a:cubicBezTo>
                <a:close/>
                <a:moveTo>
                  <a:pt x="1265" y="8133"/>
                </a:moveTo>
                <a:lnTo>
                  <a:pt x="359" y="7879"/>
                </a:lnTo>
                <a:cubicBezTo>
                  <a:pt x="179" y="8516"/>
                  <a:pt x="59" y="9176"/>
                  <a:pt x="0" y="9838"/>
                </a:cubicBezTo>
                <a:lnTo>
                  <a:pt x="938" y="9921"/>
                </a:lnTo>
                <a:cubicBezTo>
                  <a:pt x="991" y="9316"/>
                  <a:pt x="1101" y="8714"/>
                  <a:pt x="1265" y="8133"/>
                </a:cubicBezTo>
                <a:moveTo>
                  <a:pt x="943" y="11741"/>
                </a:moveTo>
                <a:lnTo>
                  <a:pt x="6" y="11829"/>
                </a:lnTo>
                <a:cubicBezTo>
                  <a:pt x="69" y="12492"/>
                  <a:pt x="194" y="13151"/>
                  <a:pt x="377" y="13786"/>
                </a:cubicBezTo>
                <a:lnTo>
                  <a:pt x="1281" y="13527"/>
                </a:lnTo>
                <a:cubicBezTo>
                  <a:pt x="1114" y="12946"/>
                  <a:pt x="1000" y="12346"/>
                  <a:pt x="943" y="11741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21" name="Shape 2721"/>
          <p:cNvSpPr/>
          <p:nvPr/>
        </p:nvSpPr>
        <p:spPr>
          <a:xfrm>
            <a:off x="2480642" y="4639224"/>
            <a:ext cx="278212" cy="278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65" y="19991"/>
                </a:moveTo>
                <a:lnTo>
                  <a:pt x="14707" y="20866"/>
                </a:lnTo>
                <a:cubicBezTo>
                  <a:pt x="15328" y="20625"/>
                  <a:pt x="15928" y="20324"/>
                  <a:pt x="16492" y="19973"/>
                </a:cubicBezTo>
                <a:lnTo>
                  <a:pt x="15994" y="19176"/>
                </a:lnTo>
                <a:cubicBezTo>
                  <a:pt x="15479" y="19497"/>
                  <a:pt x="14931" y="19771"/>
                  <a:pt x="14365" y="19991"/>
                </a:cubicBezTo>
                <a:moveTo>
                  <a:pt x="10800" y="20661"/>
                </a:moveTo>
                <a:lnTo>
                  <a:pt x="10801" y="21600"/>
                </a:lnTo>
                <a:cubicBezTo>
                  <a:pt x="11469" y="21598"/>
                  <a:pt x="12137" y="21536"/>
                  <a:pt x="12788" y="21415"/>
                </a:cubicBezTo>
                <a:lnTo>
                  <a:pt x="12614" y="20491"/>
                </a:lnTo>
                <a:cubicBezTo>
                  <a:pt x="12020" y="20603"/>
                  <a:pt x="11409" y="20660"/>
                  <a:pt x="10800" y="20661"/>
                </a:cubicBezTo>
                <a:moveTo>
                  <a:pt x="11148" y="16559"/>
                </a:moveTo>
                <a:lnTo>
                  <a:pt x="15092" y="12624"/>
                </a:lnTo>
                <a:cubicBezTo>
                  <a:pt x="15181" y="12535"/>
                  <a:pt x="15236" y="12412"/>
                  <a:pt x="15236" y="12276"/>
                </a:cubicBezTo>
                <a:cubicBezTo>
                  <a:pt x="15236" y="12004"/>
                  <a:pt x="15015" y="11784"/>
                  <a:pt x="14743" y="11784"/>
                </a:cubicBezTo>
                <a:cubicBezTo>
                  <a:pt x="14607" y="11784"/>
                  <a:pt x="14483" y="11839"/>
                  <a:pt x="14395" y="11928"/>
                </a:cubicBezTo>
                <a:lnTo>
                  <a:pt x="11293" y="15024"/>
                </a:lnTo>
                <a:lnTo>
                  <a:pt x="11293" y="5389"/>
                </a:lnTo>
                <a:cubicBezTo>
                  <a:pt x="11293" y="5117"/>
                  <a:pt x="11072" y="4897"/>
                  <a:pt x="10800" y="4897"/>
                </a:cubicBezTo>
                <a:cubicBezTo>
                  <a:pt x="10528" y="4897"/>
                  <a:pt x="10307" y="5117"/>
                  <a:pt x="10307" y="5389"/>
                </a:cubicBezTo>
                <a:lnTo>
                  <a:pt x="10307" y="15024"/>
                </a:lnTo>
                <a:lnTo>
                  <a:pt x="7206" y="11928"/>
                </a:lnTo>
                <a:cubicBezTo>
                  <a:pt x="7117" y="11839"/>
                  <a:pt x="6993" y="11784"/>
                  <a:pt x="6857" y="11784"/>
                </a:cubicBezTo>
                <a:cubicBezTo>
                  <a:pt x="6585" y="11784"/>
                  <a:pt x="6364" y="12004"/>
                  <a:pt x="6364" y="12276"/>
                </a:cubicBezTo>
                <a:cubicBezTo>
                  <a:pt x="6364" y="12412"/>
                  <a:pt x="6419" y="12535"/>
                  <a:pt x="6508" y="12624"/>
                </a:cubicBezTo>
                <a:lnTo>
                  <a:pt x="10452" y="16559"/>
                </a:lnTo>
                <a:cubicBezTo>
                  <a:pt x="10541" y="16648"/>
                  <a:pt x="10664" y="16703"/>
                  <a:pt x="10800" y="16703"/>
                </a:cubicBezTo>
                <a:cubicBezTo>
                  <a:pt x="10936" y="16703"/>
                  <a:pt x="11059" y="16648"/>
                  <a:pt x="11148" y="16559"/>
                </a:cubicBezTo>
                <a:moveTo>
                  <a:pt x="18660" y="4854"/>
                </a:moveTo>
                <a:lnTo>
                  <a:pt x="19411" y="4287"/>
                </a:lnTo>
                <a:cubicBezTo>
                  <a:pt x="19011" y="3759"/>
                  <a:pt x="18558" y="3264"/>
                  <a:pt x="18065" y="2816"/>
                </a:cubicBezTo>
                <a:lnTo>
                  <a:pt x="17432" y="3510"/>
                </a:lnTo>
                <a:cubicBezTo>
                  <a:pt x="17882" y="3919"/>
                  <a:pt x="18295" y="4371"/>
                  <a:pt x="18660" y="4854"/>
                </a:cubicBezTo>
                <a:moveTo>
                  <a:pt x="6893" y="20882"/>
                </a:moveTo>
                <a:cubicBezTo>
                  <a:pt x="7514" y="21121"/>
                  <a:pt x="8160" y="21302"/>
                  <a:pt x="8814" y="21422"/>
                </a:cubicBezTo>
                <a:lnTo>
                  <a:pt x="8985" y="20499"/>
                </a:lnTo>
                <a:cubicBezTo>
                  <a:pt x="8387" y="20389"/>
                  <a:pt x="7797" y="20223"/>
                  <a:pt x="7231" y="20006"/>
                </a:cubicBezTo>
                <a:cubicBezTo>
                  <a:pt x="7231" y="20006"/>
                  <a:pt x="6893" y="20882"/>
                  <a:pt x="6893" y="20882"/>
                </a:cubicBezTo>
                <a:close/>
                <a:moveTo>
                  <a:pt x="21553" y="9794"/>
                </a:moveTo>
                <a:lnTo>
                  <a:pt x="20617" y="9880"/>
                </a:lnTo>
                <a:cubicBezTo>
                  <a:pt x="20644" y="10182"/>
                  <a:pt x="20659" y="10492"/>
                  <a:pt x="20659" y="10800"/>
                </a:cubicBezTo>
                <a:cubicBezTo>
                  <a:pt x="20659" y="11099"/>
                  <a:pt x="20645" y="11401"/>
                  <a:pt x="20619" y="11699"/>
                </a:cubicBezTo>
                <a:lnTo>
                  <a:pt x="21556" y="11784"/>
                </a:lnTo>
                <a:cubicBezTo>
                  <a:pt x="21585" y="11458"/>
                  <a:pt x="21600" y="11127"/>
                  <a:pt x="21600" y="10800"/>
                </a:cubicBezTo>
                <a:cubicBezTo>
                  <a:pt x="21599" y="10462"/>
                  <a:pt x="21584" y="10124"/>
                  <a:pt x="21553" y="9794"/>
                </a:cubicBezTo>
                <a:moveTo>
                  <a:pt x="21187" y="7835"/>
                </a:moveTo>
                <a:cubicBezTo>
                  <a:pt x="21005" y="7197"/>
                  <a:pt x="20761" y="6573"/>
                  <a:pt x="20463" y="5978"/>
                </a:cubicBezTo>
                <a:lnTo>
                  <a:pt x="19622" y="6399"/>
                </a:lnTo>
                <a:cubicBezTo>
                  <a:pt x="19893" y="6941"/>
                  <a:pt x="20115" y="7510"/>
                  <a:pt x="20282" y="8094"/>
                </a:cubicBezTo>
                <a:cubicBezTo>
                  <a:pt x="20282" y="8094"/>
                  <a:pt x="21187" y="7835"/>
                  <a:pt x="21187" y="7835"/>
                </a:cubicBezTo>
                <a:close/>
                <a:moveTo>
                  <a:pt x="19632" y="15184"/>
                </a:moveTo>
                <a:lnTo>
                  <a:pt x="20474" y="15602"/>
                </a:lnTo>
                <a:cubicBezTo>
                  <a:pt x="20770" y="15008"/>
                  <a:pt x="21012" y="14383"/>
                  <a:pt x="21194" y="13743"/>
                </a:cubicBezTo>
                <a:lnTo>
                  <a:pt x="20288" y="13487"/>
                </a:lnTo>
                <a:cubicBezTo>
                  <a:pt x="20123" y="14071"/>
                  <a:pt x="19901" y="14642"/>
                  <a:pt x="19632" y="15184"/>
                </a:cubicBezTo>
                <a:moveTo>
                  <a:pt x="17446" y="18078"/>
                </a:moveTo>
                <a:lnTo>
                  <a:pt x="18081" y="18771"/>
                </a:lnTo>
                <a:cubicBezTo>
                  <a:pt x="18572" y="18323"/>
                  <a:pt x="19024" y="17827"/>
                  <a:pt x="19424" y="17297"/>
                </a:cubicBezTo>
                <a:lnTo>
                  <a:pt x="18672" y="16732"/>
                </a:lnTo>
                <a:cubicBezTo>
                  <a:pt x="18307" y="17216"/>
                  <a:pt x="17894" y="17669"/>
                  <a:pt x="17446" y="18078"/>
                </a:cubicBezTo>
                <a:moveTo>
                  <a:pt x="8924" y="1113"/>
                </a:moveTo>
                <a:lnTo>
                  <a:pt x="8748" y="190"/>
                </a:lnTo>
                <a:cubicBezTo>
                  <a:pt x="8093" y="315"/>
                  <a:pt x="7448" y="501"/>
                  <a:pt x="6830" y="743"/>
                </a:cubicBezTo>
                <a:lnTo>
                  <a:pt x="7173" y="1617"/>
                </a:lnTo>
                <a:cubicBezTo>
                  <a:pt x="7738" y="1396"/>
                  <a:pt x="8327" y="1226"/>
                  <a:pt x="8924" y="1113"/>
                </a:cubicBezTo>
                <a:moveTo>
                  <a:pt x="12594" y="1105"/>
                </a:moveTo>
                <a:lnTo>
                  <a:pt x="12765" y="182"/>
                </a:lnTo>
                <a:cubicBezTo>
                  <a:pt x="12115" y="61"/>
                  <a:pt x="11448" y="0"/>
                  <a:pt x="10788" y="0"/>
                </a:cubicBezTo>
                <a:lnTo>
                  <a:pt x="10787" y="0"/>
                </a:lnTo>
                <a:lnTo>
                  <a:pt x="10736" y="0"/>
                </a:lnTo>
                <a:lnTo>
                  <a:pt x="10779" y="940"/>
                </a:lnTo>
                <a:cubicBezTo>
                  <a:pt x="11389" y="940"/>
                  <a:pt x="12000" y="995"/>
                  <a:pt x="12594" y="1105"/>
                </a:cubicBezTo>
                <a:moveTo>
                  <a:pt x="16473" y="1615"/>
                </a:moveTo>
                <a:cubicBezTo>
                  <a:pt x="15908" y="1264"/>
                  <a:pt x="15306" y="966"/>
                  <a:pt x="14686" y="726"/>
                </a:cubicBezTo>
                <a:lnTo>
                  <a:pt x="14347" y="1602"/>
                </a:lnTo>
                <a:cubicBezTo>
                  <a:pt x="14912" y="1821"/>
                  <a:pt x="15462" y="2094"/>
                  <a:pt x="15978" y="2413"/>
                </a:cubicBezTo>
                <a:cubicBezTo>
                  <a:pt x="15978" y="2413"/>
                  <a:pt x="16473" y="1615"/>
                  <a:pt x="16473" y="1615"/>
                </a:cubicBezTo>
                <a:close/>
                <a:moveTo>
                  <a:pt x="3510" y="18800"/>
                </a:moveTo>
                <a:cubicBezTo>
                  <a:pt x="4003" y="19247"/>
                  <a:pt x="4539" y="19650"/>
                  <a:pt x="5105" y="19997"/>
                </a:cubicBezTo>
                <a:lnTo>
                  <a:pt x="5599" y="19198"/>
                </a:lnTo>
                <a:cubicBezTo>
                  <a:pt x="5083" y="18881"/>
                  <a:pt x="4592" y="18513"/>
                  <a:pt x="4142" y="18105"/>
                </a:cubicBezTo>
                <a:cubicBezTo>
                  <a:pt x="4142" y="18105"/>
                  <a:pt x="3510" y="18800"/>
                  <a:pt x="3510" y="18800"/>
                </a:cubicBezTo>
                <a:close/>
                <a:moveTo>
                  <a:pt x="2873" y="4886"/>
                </a:moveTo>
                <a:lnTo>
                  <a:pt x="2120" y="4322"/>
                </a:lnTo>
                <a:cubicBezTo>
                  <a:pt x="1721" y="4854"/>
                  <a:pt x="1369" y="5424"/>
                  <a:pt x="1074" y="6018"/>
                </a:cubicBezTo>
                <a:lnTo>
                  <a:pt x="1917" y="6435"/>
                </a:lnTo>
                <a:cubicBezTo>
                  <a:pt x="2186" y="5892"/>
                  <a:pt x="2508" y="5371"/>
                  <a:pt x="2873" y="4886"/>
                </a:cubicBezTo>
                <a:moveTo>
                  <a:pt x="5546" y="2435"/>
                </a:moveTo>
                <a:lnTo>
                  <a:pt x="5048" y="1639"/>
                </a:lnTo>
                <a:cubicBezTo>
                  <a:pt x="4484" y="1991"/>
                  <a:pt x="3950" y="2397"/>
                  <a:pt x="3460" y="2846"/>
                </a:cubicBezTo>
                <a:lnTo>
                  <a:pt x="4096" y="3538"/>
                </a:lnTo>
                <a:cubicBezTo>
                  <a:pt x="4544" y="3127"/>
                  <a:pt x="5032" y="2756"/>
                  <a:pt x="5546" y="2435"/>
                </a:cubicBezTo>
                <a:moveTo>
                  <a:pt x="1105" y="15642"/>
                </a:moveTo>
                <a:cubicBezTo>
                  <a:pt x="1403" y="16235"/>
                  <a:pt x="1759" y="16804"/>
                  <a:pt x="2161" y="17332"/>
                </a:cubicBezTo>
                <a:lnTo>
                  <a:pt x="2910" y="16763"/>
                </a:lnTo>
                <a:cubicBezTo>
                  <a:pt x="2542" y="16281"/>
                  <a:pt x="2218" y="15762"/>
                  <a:pt x="1945" y="15220"/>
                </a:cubicBezTo>
                <a:cubicBezTo>
                  <a:pt x="1945" y="15220"/>
                  <a:pt x="1105" y="15642"/>
                  <a:pt x="1105" y="15642"/>
                </a:cubicBezTo>
                <a:close/>
                <a:moveTo>
                  <a:pt x="1265" y="8133"/>
                </a:moveTo>
                <a:lnTo>
                  <a:pt x="359" y="7879"/>
                </a:lnTo>
                <a:cubicBezTo>
                  <a:pt x="179" y="8516"/>
                  <a:pt x="59" y="9176"/>
                  <a:pt x="0" y="9838"/>
                </a:cubicBezTo>
                <a:lnTo>
                  <a:pt x="938" y="9921"/>
                </a:lnTo>
                <a:cubicBezTo>
                  <a:pt x="991" y="9316"/>
                  <a:pt x="1101" y="8714"/>
                  <a:pt x="1265" y="8133"/>
                </a:cubicBezTo>
                <a:moveTo>
                  <a:pt x="943" y="11741"/>
                </a:moveTo>
                <a:lnTo>
                  <a:pt x="6" y="11829"/>
                </a:lnTo>
                <a:cubicBezTo>
                  <a:pt x="69" y="12492"/>
                  <a:pt x="194" y="13151"/>
                  <a:pt x="377" y="13786"/>
                </a:cubicBezTo>
                <a:lnTo>
                  <a:pt x="1281" y="13527"/>
                </a:lnTo>
                <a:cubicBezTo>
                  <a:pt x="1114" y="12946"/>
                  <a:pt x="1000" y="12346"/>
                  <a:pt x="943" y="11741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22" name="Shape 2722"/>
          <p:cNvSpPr/>
          <p:nvPr/>
        </p:nvSpPr>
        <p:spPr>
          <a:xfrm>
            <a:off x="3013903" y="4639224"/>
            <a:ext cx="278206" cy="278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61"/>
                </a:moveTo>
                <a:lnTo>
                  <a:pt x="10802" y="21600"/>
                </a:lnTo>
                <a:cubicBezTo>
                  <a:pt x="11469" y="21598"/>
                  <a:pt x="12137" y="21536"/>
                  <a:pt x="12788" y="21415"/>
                </a:cubicBezTo>
                <a:lnTo>
                  <a:pt x="12615" y="20491"/>
                </a:lnTo>
                <a:cubicBezTo>
                  <a:pt x="12020" y="20603"/>
                  <a:pt x="11409" y="20660"/>
                  <a:pt x="10800" y="20661"/>
                </a:cubicBezTo>
                <a:moveTo>
                  <a:pt x="14365" y="19991"/>
                </a:moveTo>
                <a:lnTo>
                  <a:pt x="14707" y="20866"/>
                </a:lnTo>
                <a:cubicBezTo>
                  <a:pt x="15328" y="20625"/>
                  <a:pt x="15928" y="20324"/>
                  <a:pt x="16492" y="19973"/>
                </a:cubicBezTo>
                <a:lnTo>
                  <a:pt x="15994" y="19176"/>
                </a:lnTo>
                <a:cubicBezTo>
                  <a:pt x="15479" y="19497"/>
                  <a:pt x="14932" y="19771"/>
                  <a:pt x="14365" y="19991"/>
                </a:cubicBezTo>
                <a:moveTo>
                  <a:pt x="11293" y="16211"/>
                </a:moveTo>
                <a:lnTo>
                  <a:pt x="11293" y="6576"/>
                </a:lnTo>
                <a:lnTo>
                  <a:pt x="14395" y="9672"/>
                </a:lnTo>
                <a:cubicBezTo>
                  <a:pt x="14484" y="9761"/>
                  <a:pt x="14607" y="9816"/>
                  <a:pt x="14743" y="9816"/>
                </a:cubicBezTo>
                <a:cubicBezTo>
                  <a:pt x="15016" y="9816"/>
                  <a:pt x="15236" y="9596"/>
                  <a:pt x="15236" y="9324"/>
                </a:cubicBezTo>
                <a:cubicBezTo>
                  <a:pt x="15236" y="9189"/>
                  <a:pt x="15181" y="9065"/>
                  <a:pt x="15092" y="8976"/>
                </a:cubicBezTo>
                <a:lnTo>
                  <a:pt x="11149" y="5041"/>
                </a:lnTo>
                <a:cubicBezTo>
                  <a:pt x="11059" y="4952"/>
                  <a:pt x="10936" y="4897"/>
                  <a:pt x="10800" y="4897"/>
                </a:cubicBezTo>
                <a:cubicBezTo>
                  <a:pt x="10664" y="4897"/>
                  <a:pt x="10541" y="4952"/>
                  <a:pt x="10452" y="5041"/>
                </a:cubicBezTo>
                <a:lnTo>
                  <a:pt x="6509" y="8976"/>
                </a:lnTo>
                <a:cubicBezTo>
                  <a:pt x="6419" y="9065"/>
                  <a:pt x="6364" y="9189"/>
                  <a:pt x="6364" y="9324"/>
                </a:cubicBezTo>
                <a:cubicBezTo>
                  <a:pt x="6364" y="9596"/>
                  <a:pt x="6584" y="9816"/>
                  <a:pt x="6857" y="9816"/>
                </a:cubicBezTo>
                <a:cubicBezTo>
                  <a:pt x="6993" y="9816"/>
                  <a:pt x="7116" y="9761"/>
                  <a:pt x="7206" y="9672"/>
                </a:cubicBezTo>
                <a:lnTo>
                  <a:pt x="10307" y="6576"/>
                </a:lnTo>
                <a:lnTo>
                  <a:pt x="10307" y="16211"/>
                </a:lnTo>
                <a:cubicBezTo>
                  <a:pt x="10307" y="16483"/>
                  <a:pt x="10528" y="16703"/>
                  <a:pt x="10800" y="16703"/>
                </a:cubicBezTo>
                <a:cubicBezTo>
                  <a:pt x="11072" y="16703"/>
                  <a:pt x="11293" y="16483"/>
                  <a:pt x="11293" y="16211"/>
                </a:cubicBezTo>
                <a:moveTo>
                  <a:pt x="17446" y="18078"/>
                </a:moveTo>
                <a:lnTo>
                  <a:pt x="18081" y="18770"/>
                </a:lnTo>
                <a:cubicBezTo>
                  <a:pt x="18572" y="18323"/>
                  <a:pt x="19024" y="17827"/>
                  <a:pt x="19424" y="17297"/>
                </a:cubicBezTo>
                <a:lnTo>
                  <a:pt x="18673" y="16732"/>
                </a:lnTo>
                <a:cubicBezTo>
                  <a:pt x="18307" y="17216"/>
                  <a:pt x="17894" y="17669"/>
                  <a:pt x="17446" y="18078"/>
                </a:cubicBezTo>
                <a:moveTo>
                  <a:pt x="21553" y="9794"/>
                </a:moveTo>
                <a:lnTo>
                  <a:pt x="20617" y="9880"/>
                </a:lnTo>
                <a:cubicBezTo>
                  <a:pt x="20645" y="10182"/>
                  <a:pt x="20659" y="10492"/>
                  <a:pt x="20659" y="10800"/>
                </a:cubicBezTo>
                <a:cubicBezTo>
                  <a:pt x="20659" y="11099"/>
                  <a:pt x="20646" y="11401"/>
                  <a:pt x="20619" y="11699"/>
                </a:cubicBezTo>
                <a:lnTo>
                  <a:pt x="21556" y="11784"/>
                </a:lnTo>
                <a:cubicBezTo>
                  <a:pt x="21586" y="11458"/>
                  <a:pt x="21600" y="11127"/>
                  <a:pt x="21600" y="10800"/>
                </a:cubicBezTo>
                <a:cubicBezTo>
                  <a:pt x="21600" y="10462"/>
                  <a:pt x="21584" y="10124"/>
                  <a:pt x="21553" y="9794"/>
                </a:cubicBezTo>
                <a:moveTo>
                  <a:pt x="18660" y="4853"/>
                </a:moveTo>
                <a:lnTo>
                  <a:pt x="19412" y="4287"/>
                </a:lnTo>
                <a:cubicBezTo>
                  <a:pt x="19011" y="3759"/>
                  <a:pt x="18558" y="3264"/>
                  <a:pt x="18066" y="2816"/>
                </a:cubicBezTo>
                <a:lnTo>
                  <a:pt x="17432" y="3510"/>
                </a:lnTo>
                <a:cubicBezTo>
                  <a:pt x="17882" y="3919"/>
                  <a:pt x="18295" y="4371"/>
                  <a:pt x="18660" y="4853"/>
                </a:cubicBezTo>
                <a:moveTo>
                  <a:pt x="6893" y="20882"/>
                </a:moveTo>
                <a:cubicBezTo>
                  <a:pt x="7513" y="21121"/>
                  <a:pt x="8160" y="21302"/>
                  <a:pt x="8814" y="21422"/>
                </a:cubicBezTo>
                <a:lnTo>
                  <a:pt x="8984" y="20499"/>
                </a:lnTo>
                <a:cubicBezTo>
                  <a:pt x="8387" y="20389"/>
                  <a:pt x="7797" y="20223"/>
                  <a:pt x="7231" y="20006"/>
                </a:cubicBezTo>
                <a:cubicBezTo>
                  <a:pt x="7231" y="20006"/>
                  <a:pt x="6893" y="20882"/>
                  <a:pt x="6893" y="20882"/>
                </a:cubicBezTo>
                <a:close/>
                <a:moveTo>
                  <a:pt x="19632" y="15184"/>
                </a:moveTo>
                <a:lnTo>
                  <a:pt x="20474" y="15602"/>
                </a:lnTo>
                <a:cubicBezTo>
                  <a:pt x="20770" y="15008"/>
                  <a:pt x="21013" y="14383"/>
                  <a:pt x="21194" y="13743"/>
                </a:cubicBezTo>
                <a:lnTo>
                  <a:pt x="20288" y="13487"/>
                </a:lnTo>
                <a:cubicBezTo>
                  <a:pt x="20123" y="14071"/>
                  <a:pt x="19902" y="14642"/>
                  <a:pt x="19632" y="15184"/>
                </a:cubicBezTo>
                <a:moveTo>
                  <a:pt x="21187" y="7835"/>
                </a:moveTo>
                <a:cubicBezTo>
                  <a:pt x="21005" y="7197"/>
                  <a:pt x="20761" y="6573"/>
                  <a:pt x="20464" y="5978"/>
                </a:cubicBezTo>
                <a:lnTo>
                  <a:pt x="19622" y="6399"/>
                </a:lnTo>
                <a:cubicBezTo>
                  <a:pt x="19893" y="6941"/>
                  <a:pt x="20115" y="7510"/>
                  <a:pt x="20282" y="8094"/>
                </a:cubicBezTo>
                <a:cubicBezTo>
                  <a:pt x="20282" y="8094"/>
                  <a:pt x="21187" y="7835"/>
                  <a:pt x="21187" y="7835"/>
                </a:cubicBezTo>
                <a:close/>
                <a:moveTo>
                  <a:pt x="8923" y="1113"/>
                </a:moveTo>
                <a:lnTo>
                  <a:pt x="8747" y="190"/>
                </a:lnTo>
                <a:cubicBezTo>
                  <a:pt x="8093" y="315"/>
                  <a:pt x="7448" y="501"/>
                  <a:pt x="6829" y="743"/>
                </a:cubicBezTo>
                <a:lnTo>
                  <a:pt x="7174" y="1617"/>
                </a:lnTo>
                <a:cubicBezTo>
                  <a:pt x="7737" y="1396"/>
                  <a:pt x="8326" y="1226"/>
                  <a:pt x="8923" y="1113"/>
                </a:cubicBezTo>
                <a:moveTo>
                  <a:pt x="16474" y="1615"/>
                </a:moveTo>
                <a:cubicBezTo>
                  <a:pt x="15907" y="1264"/>
                  <a:pt x="15307" y="966"/>
                  <a:pt x="14687" y="726"/>
                </a:cubicBezTo>
                <a:lnTo>
                  <a:pt x="14346" y="1602"/>
                </a:lnTo>
                <a:cubicBezTo>
                  <a:pt x="14913" y="1821"/>
                  <a:pt x="15462" y="2094"/>
                  <a:pt x="15978" y="2413"/>
                </a:cubicBezTo>
                <a:cubicBezTo>
                  <a:pt x="15978" y="2413"/>
                  <a:pt x="16474" y="1615"/>
                  <a:pt x="16474" y="1615"/>
                </a:cubicBezTo>
                <a:close/>
                <a:moveTo>
                  <a:pt x="2873" y="4886"/>
                </a:moveTo>
                <a:lnTo>
                  <a:pt x="2120" y="4322"/>
                </a:lnTo>
                <a:cubicBezTo>
                  <a:pt x="1720" y="4853"/>
                  <a:pt x="1368" y="5424"/>
                  <a:pt x="1074" y="6018"/>
                </a:cubicBezTo>
                <a:lnTo>
                  <a:pt x="1917" y="6435"/>
                </a:lnTo>
                <a:cubicBezTo>
                  <a:pt x="2186" y="5892"/>
                  <a:pt x="2508" y="5371"/>
                  <a:pt x="2873" y="4886"/>
                </a:cubicBezTo>
                <a:moveTo>
                  <a:pt x="3509" y="18800"/>
                </a:moveTo>
                <a:cubicBezTo>
                  <a:pt x="4003" y="19247"/>
                  <a:pt x="4539" y="19650"/>
                  <a:pt x="5104" y="19997"/>
                </a:cubicBezTo>
                <a:lnTo>
                  <a:pt x="5598" y="19198"/>
                </a:lnTo>
                <a:cubicBezTo>
                  <a:pt x="5082" y="18881"/>
                  <a:pt x="4592" y="18513"/>
                  <a:pt x="4142" y="18105"/>
                </a:cubicBezTo>
                <a:cubicBezTo>
                  <a:pt x="4142" y="18105"/>
                  <a:pt x="3509" y="18800"/>
                  <a:pt x="3509" y="18800"/>
                </a:cubicBezTo>
                <a:close/>
                <a:moveTo>
                  <a:pt x="12594" y="1105"/>
                </a:moveTo>
                <a:lnTo>
                  <a:pt x="12765" y="182"/>
                </a:lnTo>
                <a:cubicBezTo>
                  <a:pt x="12116" y="61"/>
                  <a:pt x="11448" y="0"/>
                  <a:pt x="10788" y="0"/>
                </a:cubicBezTo>
                <a:lnTo>
                  <a:pt x="10787" y="0"/>
                </a:lnTo>
                <a:lnTo>
                  <a:pt x="10736" y="0"/>
                </a:lnTo>
                <a:lnTo>
                  <a:pt x="10779" y="940"/>
                </a:lnTo>
                <a:cubicBezTo>
                  <a:pt x="11389" y="940"/>
                  <a:pt x="12000" y="995"/>
                  <a:pt x="12594" y="1105"/>
                </a:cubicBezTo>
                <a:moveTo>
                  <a:pt x="1104" y="15642"/>
                </a:moveTo>
                <a:cubicBezTo>
                  <a:pt x="1403" y="16235"/>
                  <a:pt x="1758" y="16804"/>
                  <a:pt x="2161" y="17332"/>
                </a:cubicBezTo>
                <a:lnTo>
                  <a:pt x="2910" y="16763"/>
                </a:lnTo>
                <a:cubicBezTo>
                  <a:pt x="2542" y="16281"/>
                  <a:pt x="2218" y="15762"/>
                  <a:pt x="1945" y="15220"/>
                </a:cubicBezTo>
                <a:cubicBezTo>
                  <a:pt x="1945" y="15220"/>
                  <a:pt x="1104" y="15642"/>
                  <a:pt x="1104" y="15642"/>
                </a:cubicBezTo>
                <a:close/>
                <a:moveTo>
                  <a:pt x="5546" y="2435"/>
                </a:moveTo>
                <a:lnTo>
                  <a:pt x="5047" y="1639"/>
                </a:lnTo>
                <a:cubicBezTo>
                  <a:pt x="4484" y="1991"/>
                  <a:pt x="3950" y="2397"/>
                  <a:pt x="3460" y="2846"/>
                </a:cubicBezTo>
                <a:lnTo>
                  <a:pt x="4096" y="3538"/>
                </a:lnTo>
                <a:cubicBezTo>
                  <a:pt x="4544" y="3127"/>
                  <a:pt x="5031" y="2756"/>
                  <a:pt x="5546" y="2435"/>
                </a:cubicBezTo>
                <a:moveTo>
                  <a:pt x="1264" y="8133"/>
                </a:moveTo>
                <a:lnTo>
                  <a:pt x="358" y="7879"/>
                </a:lnTo>
                <a:cubicBezTo>
                  <a:pt x="179" y="8516"/>
                  <a:pt x="59" y="9176"/>
                  <a:pt x="0" y="9838"/>
                </a:cubicBezTo>
                <a:lnTo>
                  <a:pt x="938" y="9921"/>
                </a:lnTo>
                <a:cubicBezTo>
                  <a:pt x="991" y="9317"/>
                  <a:pt x="1101" y="8714"/>
                  <a:pt x="1264" y="8133"/>
                </a:cubicBezTo>
                <a:moveTo>
                  <a:pt x="942" y="11741"/>
                </a:moveTo>
                <a:lnTo>
                  <a:pt x="6" y="11829"/>
                </a:lnTo>
                <a:cubicBezTo>
                  <a:pt x="69" y="12492"/>
                  <a:pt x="194" y="13151"/>
                  <a:pt x="377" y="13786"/>
                </a:cubicBezTo>
                <a:lnTo>
                  <a:pt x="1281" y="13527"/>
                </a:lnTo>
                <a:cubicBezTo>
                  <a:pt x="1114" y="12946"/>
                  <a:pt x="1000" y="12346"/>
                  <a:pt x="942" y="11741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23" name="Shape 2723"/>
          <p:cNvSpPr/>
          <p:nvPr/>
        </p:nvSpPr>
        <p:spPr>
          <a:xfrm>
            <a:off x="3547164" y="463922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8345" y="10309"/>
                </a:moveTo>
                <a:lnTo>
                  <a:pt x="7899" y="10309"/>
                </a:lnTo>
                <a:cubicBezTo>
                  <a:pt x="7974" y="9863"/>
                  <a:pt x="8153" y="9453"/>
                  <a:pt x="8405" y="9099"/>
                </a:cubicBezTo>
                <a:lnTo>
                  <a:pt x="8717" y="9412"/>
                </a:lnTo>
                <a:cubicBezTo>
                  <a:pt x="8909" y="9604"/>
                  <a:pt x="9220" y="9604"/>
                  <a:pt x="9412" y="9412"/>
                </a:cubicBezTo>
                <a:cubicBezTo>
                  <a:pt x="9603" y="9220"/>
                  <a:pt x="9603" y="8909"/>
                  <a:pt x="9412" y="8717"/>
                </a:cubicBezTo>
                <a:lnTo>
                  <a:pt x="9101" y="8407"/>
                </a:lnTo>
                <a:cubicBezTo>
                  <a:pt x="9454" y="8157"/>
                  <a:pt x="9864" y="7979"/>
                  <a:pt x="10309" y="7904"/>
                </a:cubicBezTo>
                <a:lnTo>
                  <a:pt x="10309" y="8345"/>
                </a:lnTo>
                <a:cubicBezTo>
                  <a:pt x="10309" y="8617"/>
                  <a:pt x="10529" y="8836"/>
                  <a:pt x="10800" y="8836"/>
                </a:cubicBezTo>
                <a:cubicBezTo>
                  <a:pt x="11071" y="8836"/>
                  <a:pt x="11291" y="8617"/>
                  <a:pt x="11291" y="8345"/>
                </a:cubicBezTo>
                <a:lnTo>
                  <a:pt x="11291" y="7904"/>
                </a:lnTo>
                <a:cubicBezTo>
                  <a:pt x="11737" y="7979"/>
                  <a:pt x="12146" y="8157"/>
                  <a:pt x="12499" y="8407"/>
                </a:cubicBezTo>
                <a:lnTo>
                  <a:pt x="12188" y="8717"/>
                </a:lnTo>
                <a:cubicBezTo>
                  <a:pt x="11997" y="8909"/>
                  <a:pt x="11997" y="9220"/>
                  <a:pt x="12188" y="9412"/>
                </a:cubicBezTo>
                <a:cubicBezTo>
                  <a:pt x="12380" y="9604"/>
                  <a:pt x="12691" y="9604"/>
                  <a:pt x="12883" y="9412"/>
                </a:cubicBezTo>
                <a:lnTo>
                  <a:pt x="13195" y="9099"/>
                </a:lnTo>
                <a:cubicBezTo>
                  <a:pt x="13447" y="9453"/>
                  <a:pt x="13626" y="9863"/>
                  <a:pt x="13701" y="10309"/>
                </a:cubicBezTo>
                <a:lnTo>
                  <a:pt x="13255" y="10309"/>
                </a:lnTo>
                <a:cubicBezTo>
                  <a:pt x="12983" y="10309"/>
                  <a:pt x="12764" y="10529"/>
                  <a:pt x="12764" y="10800"/>
                </a:cubicBezTo>
                <a:cubicBezTo>
                  <a:pt x="12764" y="11071"/>
                  <a:pt x="12983" y="11291"/>
                  <a:pt x="13255" y="11291"/>
                </a:cubicBezTo>
                <a:lnTo>
                  <a:pt x="13701" y="11291"/>
                </a:lnTo>
                <a:cubicBezTo>
                  <a:pt x="13626" y="11738"/>
                  <a:pt x="13447" y="12147"/>
                  <a:pt x="13195" y="12501"/>
                </a:cubicBezTo>
                <a:lnTo>
                  <a:pt x="12883" y="12188"/>
                </a:lnTo>
                <a:cubicBezTo>
                  <a:pt x="12691" y="11997"/>
                  <a:pt x="12380" y="11997"/>
                  <a:pt x="12188" y="12188"/>
                </a:cubicBezTo>
                <a:cubicBezTo>
                  <a:pt x="11997" y="12380"/>
                  <a:pt x="11997" y="12691"/>
                  <a:pt x="12188" y="12883"/>
                </a:cubicBezTo>
                <a:lnTo>
                  <a:pt x="12499" y="13193"/>
                </a:lnTo>
                <a:cubicBezTo>
                  <a:pt x="12146" y="13444"/>
                  <a:pt x="11737" y="13621"/>
                  <a:pt x="11291" y="13696"/>
                </a:cubicBezTo>
                <a:lnTo>
                  <a:pt x="11291" y="13255"/>
                </a:lnTo>
                <a:cubicBezTo>
                  <a:pt x="11291" y="12983"/>
                  <a:pt x="11071" y="12764"/>
                  <a:pt x="10800" y="12764"/>
                </a:cubicBezTo>
                <a:cubicBezTo>
                  <a:pt x="10529" y="12764"/>
                  <a:pt x="10309" y="12983"/>
                  <a:pt x="10309" y="13255"/>
                </a:cubicBezTo>
                <a:lnTo>
                  <a:pt x="10309" y="13696"/>
                </a:lnTo>
                <a:cubicBezTo>
                  <a:pt x="9864" y="13621"/>
                  <a:pt x="9454" y="13444"/>
                  <a:pt x="9101" y="13193"/>
                </a:cubicBezTo>
                <a:lnTo>
                  <a:pt x="9412" y="12883"/>
                </a:lnTo>
                <a:cubicBezTo>
                  <a:pt x="9603" y="12691"/>
                  <a:pt x="9603" y="12380"/>
                  <a:pt x="9412" y="12188"/>
                </a:cubicBezTo>
                <a:cubicBezTo>
                  <a:pt x="9220" y="11997"/>
                  <a:pt x="8909" y="11997"/>
                  <a:pt x="8717" y="12188"/>
                </a:cubicBezTo>
                <a:lnTo>
                  <a:pt x="8405" y="12501"/>
                </a:lnTo>
                <a:cubicBezTo>
                  <a:pt x="8153" y="12147"/>
                  <a:pt x="7974" y="11738"/>
                  <a:pt x="7899" y="11291"/>
                </a:cubicBezTo>
                <a:lnTo>
                  <a:pt x="8345" y="11291"/>
                </a:lnTo>
                <a:cubicBezTo>
                  <a:pt x="8617" y="11291"/>
                  <a:pt x="8836" y="11071"/>
                  <a:pt x="8836" y="10800"/>
                </a:cubicBezTo>
                <a:cubicBezTo>
                  <a:pt x="8836" y="10529"/>
                  <a:pt x="8617" y="10309"/>
                  <a:pt x="8345" y="10309"/>
                </a:cubicBezTo>
                <a:moveTo>
                  <a:pt x="8023" y="13577"/>
                </a:moveTo>
                <a:lnTo>
                  <a:pt x="8023" y="13578"/>
                </a:lnTo>
                <a:cubicBezTo>
                  <a:pt x="8734" y="14288"/>
                  <a:pt x="9716" y="14727"/>
                  <a:pt x="10800" y="14727"/>
                </a:cubicBezTo>
                <a:cubicBezTo>
                  <a:pt x="11884" y="14727"/>
                  <a:pt x="12866" y="14288"/>
                  <a:pt x="13577" y="13578"/>
                </a:cubicBezTo>
                <a:lnTo>
                  <a:pt x="13577" y="13577"/>
                </a:lnTo>
                <a:lnTo>
                  <a:pt x="13577" y="13577"/>
                </a:lnTo>
                <a:cubicBezTo>
                  <a:pt x="14288" y="12866"/>
                  <a:pt x="14727" y="11884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  <a:cubicBezTo>
                  <a:pt x="8631" y="6873"/>
                  <a:pt x="6873" y="8631"/>
                  <a:pt x="6873" y="10800"/>
                </a:cubicBezTo>
                <a:cubicBezTo>
                  <a:pt x="6873" y="11884"/>
                  <a:pt x="7311" y="12866"/>
                  <a:pt x="8023" y="13577"/>
                </a:cubicBezTo>
                <a:cubicBezTo>
                  <a:pt x="8023" y="13577"/>
                  <a:pt x="8023" y="13577"/>
                  <a:pt x="8023" y="13577"/>
                </a:cubicBezTo>
                <a:close/>
                <a:moveTo>
                  <a:pt x="10800" y="11782"/>
                </a:moveTo>
                <a:cubicBezTo>
                  <a:pt x="11342" y="11782"/>
                  <a:pt x="11782" y="11342"/>
                  <a:pt x="11782" y="10800"/>
                </a:cubicBezTo>
                <a:cubicBezTo>
                  <a:pt x="11782" y="10258"/>
                  <a:pt x="11342" y="9818"/>
                  <a:pt x="10800" y="9818"/>
                </a:cubicBezTo>
                <a:cubicBezTo>
                  <a:pt x="10258" y="9818"/>
                  <a:pt x="9818" y="10258"/>
                  <a:pt x="9818" y="10800"/>
                </a:cubicBezTo>
                <a:cubicBezTo>
                  <a:pt x="9818" y="11342"/>
                  <a:pt x="10258" y="11782"/>
                  <a:pt x="10800" y="11782"/>
                </a:cubicBezTo>
                <a:moveTo>
                  <a:pt x="17673" y="5891"/>
                </a:moveTo>
                <a:cubicBezTo>
                  <a:pt x="17131" y="5891"/>
                  <a:pt x="16691" y="6331"/>
                  <a:pt x="16691" y="6873"/>
                </a:cubicBezTo>
                <a:lnTo>
                  <a:pt x="16691" y="7855"/>
                </a:lnTo>
                <a:cubicBezTo>
                  <a:pt x="16691" y="8396"/>
                  <a:pt x="17131" y="8836"/>
                  <a:pt x="17673" y="8836"/>
                </a:cubicBezTo>
                <a:lnTo>
                  <a:pt x="17673" y="12764"/>
                </a:lnTo>
                <a:cubicBezTo>
                  <a:pt x="17131" y="12764"/>
                  <a:pt x="16691" y="13204"/>
                  <a:pt x="16691" y="13745"/>
                </a:cubicBezTo>
                <a:lnTo>
                  <a:pt x="16691" y="14727"/>
                </a:lnTo>
                <a:cubicBezTo>
                  <a:pt x="16691" y="15270"/>
                  <a:pt x="17131" y="15709"/>
                  <a:pt x="17673" y="15709"/>
                </a:cubicBezTo>
                <a:lnTo>
                  <a:pt x="17673" y="17673"/>
                </a:lnTo>
                <a:lnTo>
                  <a:pt x="3927" y="17673"/>
                </a:lnTo>
                <a:lnTo>
                  <a:pt x="3927" y="3927"/>
                </a:lnTo>
                <a:lnTo>
                  <a:pt x="17673" y="3927"/>
                </a:lnTo>
                <a:cubicBezTo>
                  <a:pt x="17673" y="3927"/>
                  <a:pt x="17673" y="5891"/>
                  <a:pt x="17673" y="5891"/>
                </a:cubicBezTo>
                <a:close/>
                <a:moveTo>
                  <a:pt x="18655" y="5891"/>
                </a:moveTo>
                <a:lnTo>
                  <a:pt x="18655" y="2945"/>
                </a:lnTo>
                <a:lnTo>
                  <a:pt x="2945" y="2945"/>
                </a:lnTo>
                <a:lnTo>
                  <a:pt x="2945" y="18655"/>
                </a:lnTo>
                <a:lnTo>
                  <a:pt x="18655" y="18655"/>
                </a:lnTo>
                <a:lnTo>
                  <a:pt x="18655" y="15709"/>
                </a:lnTo>
                <a:cubicBezTo>
                  <a:pt x="19196" y="15709"/>
                  <a:pt x="19636" y="15270"/>
                  <a:pt x="19636" y="14727"/>
                </a:cubicBezTo>
                <a:lnTo>
                  <a:pt x="19636" y="13745"/>
                </a:lnTo>
                <a:cubicBezTo>
                  <a:pt x="19636" y="13204"/>
                  <a:pt x="19196" y="12764"/>
                  <a:pt x="18655" y="12764"/>
                </a:cubicBezTo>
                <a:lnTo>
                  <a:pt x="18655" y="8836"/>
                </a:lnTo>
                <a:cubicBezTo>
                  <a:pt x="19196" y="8836"/>
                  <a:pt x="19636" y="8396"/>
                  <a:pt x="19636" y="7855"/>
                </a:cubicBezTo>
                <a:lnTo>
                  <a:pt x="19636" y="6873"/>
                </a:lnTo>
                <a:cubicBezTo>
                  <a:pt x="19636" y="6331"/>
                  <a:pt x="19196" y="5891"/>
                  <a:pt x="18655" y="5891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24" name="Shape 2724"/>
          <p:cNvSpPr/>
          <p:nvPr/>
        </p:nvSpPr>
        <p:spPr>
          <a:xfrm>
            <a:off x="4080425" y="463922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5709"/>
                </a:moveTo>
                <a:lnTo>
                  <a:pt x="5891" y="15709"/>
                </a:lnTo>
                <a:lnTo>
                  <a:pt x="5891" y="11782"/>
                </a:lnTo>
                <a:lnTo>
                  <a:pt x="15709" y="11782"/>
                </a:lnTo>
                <a:cubicBezTo>
                  <a:pt x="15709" y="11782"/>
                  <a:pt x="15709" y="15709"/>
                  <a:pt x="15709" y="15709"/>
                </a:cubicBezTo>
                <a:close/>
                <a:moveTo>
                  <a:pt x="16691" y="10800"/>
                </a:moveTo>
                <a:lnTo>
                  <a:pt x="4909" y="10800"/>
                </a:lnTo>
                <a:lnTo>
                  <a:pt x="4909" y="16691"/>
                </a:lnTo>
                <a:lnTo>
                  <a:pt x="16691" y="16691"/>
                </a:lnTo>
                <a:cubicBezTo>
                  <a:pt x="16691" y="16691"/>
                  <a:pt x="16691" y="10800"/>
                  <a:pt x="16691" y="10800"/>
                </a:cubicBezTo>
                <a:close/>
                <a:moveTo>
                  <a:pt x="11782" y="13745"/>
                </a:moveTo>
                <a:lnTo>
                  <a:pt x="9818" y="13745"/>
                </a:lnTo>
                <a:lnTo>
                  <a:pt x="9818" y="14727"/>
                </a:lnTo>
                <a:lnTo>
                  <a:pt x="11782" y="14727"/>
                </a:lnTo>
                <a:cubicBezTo>
                  <a:pt x="11782" y="14727"/>
                  <a:pt x="11782" y="13745"/>
                  <a:pt x="11782" y="13745"/>
                </a:cubicBezTo>
                <a:close/>
                <a:moveTo>
                  <a:pt x="18655" y="17673"/>
                </a:moveTo>
                <a:cubicBezTo>
                  <a:pt x="18655" y="18214"/>
                  <a:pt x="18214" y="18655"/>
                  <a:pt x="17673" y="18655"/>
                </a:cubicBezTo>
                <a:lnTo>
                  <a:pt x="3927" y="18655"/>
                </a:lnTo>
                <a:cubicBezTo>
                  <a:pt x="3385" y="18655"/>
                  <a:pt x="2945" y="18214"/>
                  <a:pt x="2945" y="17673"/>
                </a:cubicBezTo>
                <a:lnTo>
                  <a:pt x="2945" y="982"/>
                </a:lnTo>
                <a:lnTo>
                  <a:pt x="18655" y="982"/>
                </a:lnTo>
                <a:cubicBezTo>
                  <a:pt x="18655" y="982"/>
                  <a:pt x="18655" y="17673"/>
                  <a:pt x="18655" y="17673"/>
                </a:cubicBezTo>
                <a:close/>
                <a:moveTo>
                  <a:pt x="21109" y="0"/>
                </a:moveTo>
                <a:lnTo>
                  <a:pt x="491" y="0"/>
                </a:ln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lnTo>
                  <a:pt x="1964" y="982"/>
                </a:lnTo>
                <a:lnTo>
                  <a:pt x="1964" y="17673"/>
                </a:lnTo>
                <a:cubicBezTo>
                  <a:pt x="1964" y="18757"/>
                  <a:pt x="2843" y="19636"/>
                  <a:pt x="3927" y="19636"/>
                </a:cubicBezTo>
                <a:lnTo>
                  <a:pt x="4909" y="19636"/>
                </a:lnTo>
                <a:lnTo>
                  <a:pt x="4909" y="21109"/>
                </a:lnTo>
                <a:cubicBezTo>
                  <a:pt x="4909" y="21380"/>
                  <a:pt x="5129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9636"/>
                </a:lnTo>
                <a:lnTo>
                  <a:pt x="15709" y="19636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lnTo>
                  <a:pt x="16691" y="19636"/>
                </a:lnTo>
                <a:lnTo>
                  <a:pt x="17673" y="19636"/>
                </a:lnTo>
                <a:cubicBezTo>
                  <a:pt x="18757" y="19636"/>
                  <a:pt x="19636" y="18757"/>
                  <a:pt x="19636" y="17673"/>
                </a:cubicBezTo>
                <a:lnTo>
                  <a:pt x="19636" y="982"/>
                </a:lnTo>
                <a:lnTo>
                  <a:pt x="21109" y="982"/>
                </a:lnTo>
                <a:cubicBezTo>
                  <a:pt x="21380" y="982"/>
                  <a:pt x="21600" y="762"/>
                  <a:pt x="21600" y="491"/>
                </a:cubicBezTo>
                <a:cubicBezTo>
                  <a:pt x="21600" y="220"/>
                  <a:pt x="21380" y="0"/>
                  <a:pt x="21109" y="0"/>
                </a:cubicBezTo>
                <a:moveTo>
                  <a:pt x="11782" y="5891"/>
                </a:moveTo>
                <a:lnTo>
                  <a:pt x="9818" y="5891"/>
                </a:lnTo>
                <a:lnTo>
                  <a:pt x="9818" y="6873"/>
                </a:lnTo>
                <a:lnTo>
                  <a:pt x="11782" y="6873"/>
                </a:lnTo>
                <a:cubicBezTo>
                  <a:pt x="11782" y="6873"/>
                  <a:pt x="11782" y="5891"/>
                  <a:pt x="11782" y="5891"/>
                </a:cubicBezTo>
                <a:close/>
                <a:moveTo>
                  <a:pt x="15709" y="7855"/>
                </a:moveTo>
                <a:lnTo>
                  <a:pt x="5891" y="7855"/>
                </a:lnTo>
                <a:lnTo>
                  <a:pt x="5891" y="3927"/>
                </a:lnTo>
                <a:lnTo>
                  <a:pt x="15709" y="3927"/>
                </a:lnTo>
                <a:cubicBezTo>
                  <a:pt x="15709" y="3927"/>
                  <a:pt x="15709" y="7855"/>
                  <a:pt x="15709" y="7855"/>
                </a:cubicBezTo>
                <a:close/>
                <a:moveTo>
                  <a:pt x="16691" y="2945"/>
                </a:moveTo>
                <a:lnTo>
                  <a:pt x="4909" y="2945"/>
                </a:lnTo>
                <a:lnTo>
                  <a:pt x="4909" y="8836"/>
                </a:lnTo>
                <a:lnTo>
                  <a:pt x="16691" y="8836"/>
                </a:lnTo>
                <a:cubicBezTo>
                  <a:pt x="16691" y="8836"/>
                  <a:pt x="16691" y="2945"/>
                  <a:pt x="16691" y="2945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25" name="Shape 2725"/>
          <p:cNvSpPr/>
          <p:nvPr/>
        </p:nvSpPr>
        <p:spPr>
          <a:xfrm>
            <a:off x="4613686" y="463922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7673"/>
                </a:moveTo>
                <a:cubicBezTo>
                  <a:pt x="18655" y="18214"/>
                  <a:pt x="18214" y="18655"/>
                  <a:pt x="17673" y="18655"/>
                </a:cubicBezTo>
                <a:lnTo>
                  <a:pt x="3927" y="18655"/>
                </a:lnTo>
                <a:cubicBezTo>
                  <a:pt x="3385" y="18655"/>
                  <a:pt x="2945" y="18214"/>
                  <a:pt x="2945" y="17673"/>
                </a:cubicBezTo>
                <a:lnTo>
                  <a:pt x="2945" y="982"/>
                </a:lnTo>
                <a:lnTo>
                  <a:pt x="18655" y="982"/>
                </a:lnTo>
                <a:cubicBezTo>
                  <a:pt x="18655" y="982"/>
                  <a:pt x="18655" y="17673"/>
                  <a:pt x="18655" y="17673"/>
                </a:cubicBezTo>
                <a:close/>
                <a:moveTo>
                  <a:pt x="21109" y="0"/>
                </a:moveTo>
                <a:lnTo>
                  <a:pt x="491" y="0"/>
                </a:ln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lnTo>
                  <a:pt x="1964" y="982"/>
                </a:lnTo>
                <a:lnTo>
                  <a:pt x="1964" y="17673"/>
                </a:lnTo>
                <a:cubicBezTo>
                  <a:pt x="1964" y="18757"/>
                  <a:pt x="2843" y="19636"/>
                  <a:pt x="3927" y="19636"/>
                </a:cubicBezTo>
                <a:lnTo>
                  <a:pt x="4909" y="19636"/>
                </a:lnTo>
                <a:lnTo>
                  <a:pt x="4909" y="21109"/>
                </a:lnTo>
                <a:cubicBezTo>
                  <a:pt x="4909" y="21380"/>
                  <a:pt x="5129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9636"/>
                </a:lnTo>
                <a:lnTo>
                  <a:pt x="15709" y="19636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lnTo>
                  <a:pt x="16691" y="19636"/>
                </a:lnTo>
                <a:lnTo>
                  <a:pt x="17673" y="19636"/>
                </a:lnTo>
                <a:cubicBezTo>
                  <a:pt x="18757" y="19636"/>
                  <a:pt x="19636" y="18757"/>
                  <a:pt x="19636" y="17673"/>
                </a:cubicBezTo>
                <a:lnTo>
                  <a:pt x="19636" y="982"/>
                </a:lnTo>
                <a:lnTo>
                  <a:pt x="21109" y="982"/>
                </a:lnTo>
                <a:cubicBezTo>
                  <a:pt x="21380" y="982"/>
                  <a:pt x="21600" y="762"/>
                  <a:pt x="21600" y="491"/>
                </a:cubicBezTo>
                <a:cubicBezTo>
                  <a:pt x="21600" y="220"/>
                  <a:pt x="21380" y="0"/>
                  <a:pt x="21109" y="0"/>
                </a:cubicBezTo>
                <a:moveTo>
                  <a:pt x="15709" y="10800"/>
                </a:moveTo>
                <a:lnTo>
                  <a:pt x="11782" y="10800"/>
                </a:lnTo>
                <a:lnTo>
                  <a:pt x="11782" y="9818"/>
                </a:lnTo>
                <a:lnTo>
                  <a:pt x="9818" y="9818"/>
                </a:lnTo>
                <a:lnTo>
                  <a:pt x="9818" y="10800"/>
                </a:lnTo>
                <a:lnTo>
                  <a:pt x="5891" y="10800"/>
                </a:lnTo>
                <a:lnTo>
                  <a:pt x="5891" y="8836"/>
                </a:lnTo>
                <a:lnTo>
                  <a:pt x="15709" y="8836"/>
                </a:lnTo>
                <a:cubicBezTo>
                  <a:pt x="15709" y="8836"/>
                  <a:pt x="15709" y="10800"/>
                  <a:pt x="15709" y="10800"/>
                </a:cubicBezTo>
                <a:close/>
                <a:moveTo>
                  <a:pt x="16691" y="7855"/>
                </a:moveTo>
                <a:lnTo>
                  <a:pt x="4909" y="7855"/>
                </a:lnTo>
                <a:lnTo>
                  <a:pt x="4909" y="11782"/>
                </a:lnTo>
                <a:lnTo>
                  <a:pt x="16691" y="11782"/>
                </a:lnTo>
                <a:cubicBezTo>
                  <a:pt x="16691" y="11782"/>
                  <a:pt x="16691" y="7855"/>
                  <a:pt x="16691" y="7855"/>
                </a:cubicBezTo>
                <a:close/>
                <a:moveTo>
                  <a:pt x="15709" y="15709"/>
                </a:moveTo>
                <a:lnTo>
                  <a:pt x="11782" y="15709"/>
                </a:lnTo>
                <a:lnTo>
                  <a:pt x="11782" y="14727"/>
                </a:lnTo>
                <a:lnTo>
                  <a:pt x="9818" y="14727"/>
                </a:lnTo>
                <a:lnTo>
                  <a:pt x="9818" y="15709"/>
                </a:lnTo>
                <a:lnTo>
                  <a:pt x="5891" y="15709"/>
                </a:lnTo>
                <a:lnTo>
                  <a:pt x="5891" y="13745"/>
                </a:lnTo>
                <a:lnTo>
                  <a:pt x="15709" y="13745"/>
                </a:lnTo>
                <a:cubicBezTo>
                  <a:pt x="15709" y="13745"/>
                  <a:pt x="15709" y="15709"/>
                  <a:pt x="15709" y="15709"/>
                </a:cubicBezTo>
                <a:close/>
                <a:moveTo>
                  <a:pt x="16691" y="12764"/>
                </a:moveTo>
                <a:lnTo>
                  <a:pt x="4909" y="12764"/>
                </a:lnTo>
                <a:lnTo>
                  <a:pt x="4909" y="16691"/>
                </a:lnTo>
                <a:lnTo>
                  <a:pt x="16691" y="16691"/>
                </a:lnTo>
                <a:cubicBezTo>
                  <a:pt x="16691" y="16691"/>
                  <a:pt x="16691" y="12764"/>
                  <a:pt x="16691" y="12764"/>
                </a:cubicBezTo>
                <a:close/>
                <a:moveTo>
                  <a:pt x="15709" y="5891"/>
                </a:moveTo>
                <a:lnTo>
                  <a:pt x="11782" y="5891"/>
                </a:lnTo>
                <a:lnTo>
                  <a:pt x="11782" y="4909"/>
                </a:lnTo>
                <a:lnTo>
                  <a:pt x="9818" y="4909"/>
                </a:lnTo>
                <a:lnTo>
                  <a:pt x="9818" y="5891"/>
                </a:lnTo>
                <a:lnTo>
                  <a:pt x="5891" y="5891"/>
                </a:lnTo>
                <a:lnTo>
                  <a:pt x="5891" y="3927"/>
                </a:lnTo>
                <a:lnTo>
                  <a:pt x="15709" y="3927"/>
                </a:lnTo>
                <a:cubicBezTo>
                  <a:pt x="15709" y="3927"/>
                  <a:pt x="15709" y="5891"/>
                  <a:pt x="15709" y="5891"/>
                </a:cubicBezTo>
                <a:close/>
                <a:moveTo>
                  <a:pt x="16691" y="2945"/>
                </a:moveTo>
                <a:lnTo>
                  <a:pt x="4909" y="2945"/>
                </a:lnTo>
                <a:lnTo>
                  <a:pt x="4909" y="6873"/>
                </a:lnTo>
                <a:lnTo>
                  <a:pt x="16691" y="6873"/>
                </a:lnTo>
                <a:cubicBezTo>
                  <a:pt x="16691" y="6873"/>
                  <a:pt x="16691" y="2945"/>
                  <a:pt x="16691" y="2945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26" name="Shape 2726"/>
          <p:cNvSpPr/>
          <p:nvPr/>
        </p:nvSpPr>
        <p:spPr>
          <a:xfrm>
            <a:off x="5172341" y="4639224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800" y="13745"/>
                </a:moveTo>
                <a:lnTo>
                  <a:pt x="16800" y="13745"/>
                </a:lnTo>
                <a:lnTo>
                  <a:pt x="16800" y="17673"/>
                </a:lnTo>
                <a:lnTo>
                  <a:pt x="4800" y="17673"/>
                </a:lnTo>
                <a:cubicBezTo>
                  <a:pt x="4800" y="17673"/>
                  <a:pt x="4800" y="13745"/>
                  <a:pt x="4800" y="13745"/>
                </a:cubicBezTo>
                <a:close/>
                <a:moveTo>
                  <a:pt x="4800" y="8836"/>
                </a:moveTo>
                <a:lnTo>
                  <a:pt x="16800" y="8836"/>
                </a:lnTo>
                <a:lnTo>
                  <a:pt x="16800" y="12764"/>
                </a:lnTo>
                <a:lnTo>
                  <a:pt x="4800" y="12764"/>
                </a:lnTo>
                <a:cubicBezTo>
                  <a:pt x="4800" y="12764"/>
                  <a:pt x="4800" y="8836"/>
                  <a:pt x="4800" y="8836"/>
                </a:cubicBezTo>
                <a:close/>
                <a:moveTo>
                  <a:pt x="4800" y="3927"/>
                </a:moveTo>
                <a:lnTo>
                  <a:pt x="16800" y="3927"/>
                </a:lnTo>
                <a:lnTo>
                  <a:pt x="16800" y="7855"/>
                </a:lnTo>
                <a:lnTo>
                  <a:pt x="4800" y="7855"/>
                </a:lnTo>
                <a:cubicBezTo>
                  <a:pt x="4800" y="7855"/>
                  <a:pt x="4800" y="3927"/>
                  <a:pt x="4800" y="3927"/>
                </a:cubicBezTo>
                <a:close/>
                <a:moveTo>
                  <a:pt x="3600" y="18655"/>
                </a:moveTo>
                <a:lnTo>
                  <a:pt x="18000" y="18655"/>
                </a:lnTo>
                <a:lnTo>
                  <a:pt x="18000" y="2945"/>
                </a:lnTo>
                <a:lnTo>
                  <a:pt x="3600" y="2945"/>
                </a:lnTo>
                <a:cubicBezTo>
                  <a:pt x="3600" y="2945"/>
                  <a:pt x="3600" y="18655"/>
                  <a:pt x="3600" y="18655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9600" y="16691"/>
                </a:moveTo>
                <a:lnTo>
                  <a:pt x="12000" y="16691"/>
                </a:lnTo>
                <a:lnTo>
                  <a:pt x="12000" y="15709"/>
                </a:lnTo>
                <a:lnTo>
                  <a:pt x="9600" y="15709"/>
                </a:lnTo>
                <a:cubicBezTo>
                  <a:pt x="9600" y="15709"/>
                  <a:pt x="9600" y="16691"/>
                  <a:pt x="9600" y="16691"/>
                </a:cubicBezTo>
                <a:close/>
                <a:moveTo>
                  <a:pt x="9600" y="6873"/>
                </a:moveTo>
                <a:lnTo>
                  <a:pt x="12000" y="6873"/>
                </a:lnTo>
                <a:lnTo>
                  <a:pt x="12000" y="5891"/>
                </a:lnTo>
                <a:lnTo>
                  <a:pt x="9600" y="5891"/>
                </a:lnTo>
                <a:cubicBezTo>
                  <a:pt x="9600" y="5891"/>
                  <a:pt x="9600" y="6873"/>
                  <a:pt x="9600" y="6873"/>
                </a:cubicBezTo>
                <a:close/>
                <a:moveTo>
                  <a:pt x="9600" y="11782"/>
                </a:moveTo>
                <a:lnTo>
                  <a:pt x="12000" y="11782"/>
                </a:lnTo>
                <a:lnTo>
                  <a:pt x="12000" y="10800"/>
                </a:lnTo>
                <a:lnTo>
                  <a:pt x="9600" y="10800"/>
                </a:lnTo>
                <a:cubicBezTo>
                  <a:pt x="9600" y="10800"/>
                  <a:pt x="9600" y="11782"/>
                  <a:pt x="9600" y="11782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27" name="Shape 2727"/>
          <p:cNvSpPr/>
          <p:nvPr/>
        </p:nvSpPr>
        <p:spPr>
          <a:xfrm>
            <a:off x="5680208" y="463922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4727" y="7318"/>
                </a:moveTo>
                <a:lnTo>
                  <a:pt x="11782" y="6949"/>
                </a:lnTo>
                <a:lnTo>
                  <a:pt x="11782" y="4956"/>
                </a:lnTo>
                <a:lnTo>
                  <a:pt x="14727" y="5324"/>
                </a:lnTo>
                <a:cubicBezTo>
                  <a:pt x="14727" y="5324"/>
                  <a:pt x="14727" y="7318"/>
                  <a:pt x="14727" y="7318"/>
                </a:cubicBezTo>
                <a:close/>
                <a:moveTo>
                  <a:pt x="9327" y="16691"/>
                </a:moveTo>
                <a:lnTo>
                  <a:pt x="8345" y="16691"/>
                </a:lnTo>
                <a:cubicBezTo>
                  <a:pt x="7532" y="16691"/>
                  <a:pt x="6873" y="16031"/>
                  <a:pt x="6873" y="15218"/>
                </a:cubicBezTo>
                <a:cubicBezTo>
                  <a:pt x="6873" y="14405"/>
                  <a:pt x="7532" y="13745"/>
                  <a:pt x="8345" y="13745"/>
                </a:cubicBezTo>
                <a:lnTo>
                  <a:pt x="9327" y="13745"/>
                </a:lnTo>
                <a:cubicBezTo>
                  <a:pt x="10140" y="13745"/>
                  <a:pt x="10800" y="14405"/>
                  <a:pt x="10800" y="15218"/>
                </a:cubicBezTo>
                <a:cubicBezTo>
                  <a:pt x="10800" y="16031"/>
                  <a:pt x="10140" y="16691"/>
                  <a:pt x="9327" y="16691"/>
                </a:cubicBezTo>
                <a:moveTo>
                  <a:pt x="15218" y="4418"/>
                </a:moveTo>
                <a:cubicBezTo>
                  <a:pt x="15192" y="4418"/>
                  <a:pt x="15170" y="4429"/>
                  <a:pt x="15145" y="4433"/>
                </a:cubicBezTo>
                <a:lnTo>
                  <a:pt x="15143" y="4424"/>
                </a:lnTo>
                <a:lnTo>
                  <a:pt x="11483" y="3967"/>
                </a:lnTo>
                <a:cubicBezTo>
                  <a:pt x="11424" y="3942"/>
                  <a:pt x="11359" y="3927"/>
                  <a:pt x="11291" y="3927"/>
                </a:cubicBezTo>
                <a:cubicBezTo>
                  <a:pt x="11275" y="3927"/>
                  <a:pt x="11261" y="3935"/>
                  <a:pt x="11245" y="3937"/>
                </a:cubicBezTo>
                <a:lnTo>
                  <a:pt x="11216" y="3933"/>
                </a:lnTo>
                <a:lnTo>
                  <a:pt x="11218" y="3942"/>
                </a:lnTo>
                <a:cubicBezTo>
                  <a:pt x="10983" y="3979"/>
                  <a:pt x="10800" y="4173"/>
                  <a:pt x="10800" y="4418"/>
                </a:cubicBezTo>
                <a:lnTo>
                  <a:pt x="10800" y="13266"/>
                </a:lnTo>
                <a:cubicBezTo>
                  <a:pt x="10389" y="12955"/>
                  <a:pt x="9882" y="12764"/>
                  <a:pt x="9327" y="12764"/>
                </a:cubicBezTo>
                <a:lnTo>
                  <a:pt x="8345" y="12764"/>
                </a:lnTo>
                <a:cubicBezTo>
                  <a:pt x="6990" y="12764"/>
                  <a:pt x="5891" y="13862"/>
                  <a:pt x="5891" y="15218"/>
                </a:cubicBezTo>
                <a:cubicBezTo>
                  <a:pt x="5891" y="16574"/>
                  <a:pt x="6990" y="17673"/>
                  <a:pt x="8345" y="17673"/>
                </a:cubicBezTo>
                <a:lnTo>
                  <a:pt x="9327" y="17673"/>
                </a:lnTo>
                <a:cubicBezTo>
                  <a:pt x="10683" y="17673"/>
                  <a:pt x="11782" y="16574"/>
                  <a:pt x="11782" y="15218"/>
                </a:cubicBezTo>
                <a:lnTo>
                  <a:pt x="11782" y="7901"/>
                </a:lnTo>
                <a:lnTo>
                  <a:pt x="15026" y="8306"/>
                </a:lnTo>
                <a:cubicBezTo>
                  <a:pt x="15085" y="8332"/>
                  <a:pt x="15150" y="8345"/>
                  <a:pt x="15218" y="8345"/>
                </a:cubicBezTo>
                <a:cubicBezTo>
                  <a:pt x="15234" y="8345"/>
                  <a:pt x="15248" y="8338"/>
                  <a:pt x="15264" y="8336"/>
                </a:cubicBezTo>
                <a:lnTo>
                  <a:pt x="15293" y="8340"/>
                </a:lnTo>
                <a:lnTo>
                  <a:pt x="15292" y="8331"/>
                </a:lnTo>
                <a:cubicBezTo>
                  <a:pt x="15526" y="8294"/>
                  <a:pt x="15709" y="8100"/>
                  <a:pt x="15709" y="7855"/>
                </a:cubicBezTo>
                <a:lnTo>
                  <a:pt x="15709" y="4909"/>
                </a:lnTo>
                <a:cubicBezTo>
                  <a:pt x="15709" y="4638"/>
                  <a:pt x="15490" y="4418"/>
                  <a:pt x="15218" y="4418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28" name="Shape 2728"/>
          <p:cNvSpPr/>
          <p:nvPr/>
        </p:nvSpPr>
        <p:spPr>
          <a:xfrm>
            <a:off x="880859" y="5172485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7318"/>
                </a:moveTo>
                <a:lnTo>
                  <a:pt x="11782" y="6949"/>
                </a:lnTo>
                <a:lnTo>
                  <a:pt x="11782" y="4956"/>
                </a:lnTo>
                <a:lnTo>
                  <a:pt x="14727" y="5324"/>
                </a:lnTo>
                <a:cubicBezTo>
                  <a:pt x="14727" y="5324"/>
                  <a:pt x="14727" y="7318"/>
                  <a:pt x="14727" y="7318"/>
                </a:cubicBezTo>
                <a:close/>
                <a:moveTo>
                  <a:pt x="9327" y="16691"/>
                </a:moveTo>
                <a:lnTo>
                  <a:pt x="8345" y="16691"/>
                </a:lnTo>
                <a:cubicBezTo>
                  <a:pt x="7532" y="16691"/>
                  <a:pt x="6873" y="16031"/>
                  <a:pt x="6873" y="15218"/>
                </a:cubicBezTo>
                <a:cubicBezTo>
                  <a:pt x="6873" y="14406"/>
                  <a:pt x="7532" y="13745"/>
                  <a:pt x="8345" y="13745"/>
                </a:cubicBezTo>
                <a:lnTo>
                  <a:pt x="9327" y="13745"/>
                </a:lnTo>
                <a:cubicBezTo>
                  <a:pt x="10141" y="13745"/>
                  <a:pt x="10800" y="14406"/>
                  <a:pt x="10800" y="15218"/>
                </a:cubicBezTo>
                <a:cubicBezTo>
                  <a:pt x="10800" y="16031"/>
                  <a:pt x="10141" y="16691"/>
                  <a:pt x="9327" y="16691"/>
                </a:cubicBezTo>
                <a:moveTo>
                  <a:pt x="15218" y="4418"/>
                </a:moveTo>
                <a:cubicBezTo>
                  <a:pt x="15192" y="4418"/>
                  <a:pt x="15170" y="4429"/>
                  <a:pt x="15145" y="4433"/>
                </a:cubicBezTo>
                <a:lnTo>
                  <a:pt x="15144" y="4424"/>
                </a:lnTo>
                <a:lnTo>
                  <a:pt x="11483" y="3967"/>
                </a:lnTo>
                <a:cubicBezTo>
                  <a:pt x="11424" y="3941"/>
                  <a:pt x="11359" y="3927"/>
                  <a:pt x="11291" y="3927"/>
                </a:cubicBezTo>
                <a:cubicBezTo>
                  <a:pt x="11275" y="3927"/>
                  <a:pt x="11261" y="3935"/>
                  <a:pt x="11245" y="3937"/>
                </a:cubicBezTo>
                <a:lnTo>
                  <a:pt x="11216" y="3933"/>
                </a:lnTo>
                <a:lnTo>
                  <a:pt x="11218" y="3942"/>
                </a:lnTo>
                <a:cubicBezTo>
                  <a:pt x="10983" y="3979"/>
                  <a:pt x="10800" y="4173"/>
                  <a:pt x="10800" y="4418"/>
                </a:cubicBezTo>
                <a:lnTo>
                  <a:pt x="10800" y="13266"/>
                </a:lnTo>
                <a:cubicBezTo>
                  <a:pt x="10389" y="12955"/>
                  <a:pt x="9882" y="12764"/>
                  <a:pt x="9327" y="12764"/>
                </a:cubicBezTo>
                <a:lnTo>
                  <a:pt x="8345" y="12764"/>
                </a:lnTo>
                <a:cubicBezTo>
                  <a:pt x="6990" y="12764"/>
                  <a:pt x="5891" y="13862"/>
                  <a:pt x="5891" y="15218"/>
                </a:cubicBezTo>
                <a:cubicBezTo>
                  <a:pt x="5891" y="16574"/>
                  <a:pt x="6990" y="17673"/>
                  <a:pt x="8345" y="17673"/>
                </a:cubicBezTo>
                <a:lnTo>
                  <a:pt x="9327" y="17673"/>
                </a:lnTo>
                <a:cubicBezTo>
                  <a:pt x="10683" y="17673"/>
                  <a:pt x="11782" y="16574"/>
                  <a:pt x="11782" y="15218"/>
                </a:cubicBezTo>
                <a:lnTo>
                  <a:pt x="11782" y="7901"/>
                </a:lnTo>
                <a:lnTo>
                  <a:pt x="15027" y="8307"/>
                </a:lnTo>
                <a:cubicBezTo>
                  <a:pt x="15085" y="8332"/>
                  <a:pt x="15150" y="8345"/>
                  <a:pt x="15218" y="8345"/>
                </a:cubicBezTo>
                <a:cubicBezTo>
                  <a:pt x="15234" y="8345"/>
                  <a:pt x="15248" y="8338"/>
                  <a:pt x="15264" y="8336"/>
                </a:cubicBezTo>
                <a:lnTo>
                  <a:pt x="15293" y="8340"/>
                </a:lnTo>
                <a:lnTo>
                  <a:pt x="15291" y="8331"/>
                </a:lnTo>
                <a:cubicBezTo>
                  <a:pt x="15526" y="8294"/>
                  <a:pt x="15709" y="8100"/>
                  <a:pt x="15709" y="7855"/>
                </a:cubicBezTo>
                <a:lnTo>
                  <a:pt x="15709" y="4909"/>
                </a:lnTo>
                <a:cubicBezTo>
                  <a:pt x="15709" y="4638"/>
                  <a:pt x="15489" y="4418"/>
                  <a:pt x="15218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29" name="Shape 2729"/>
          <p:cNvSpPr/>
          <p:nvPr/>
        </p:nvSpPr>
        <p:spPr>
          <a:xfrm>
            <a:off x="1414120" y="5172485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7318"/>
                </a:moveTo>
                <a:lnTo>
                  <a:pt x="14727" y="6949"/>
                </a:lnTo>
                <a:lnTo>
                  <a:pt x="14727" y="4956"/>
                </a:lnTo>
                <a:lnTo>
                  <a:pt x="17673" y="5324"/>
                </a:lnTo>
                <a:cubicBezTo>
                  <a:pt x="17673" y="5324"/>
                  <a:pt x="17673" y="7318"/>
                  <a:pt x="17673" y="7318"/>
                </a:cubicBezTo>
                <a:close/>
                <a:moveTo>
                  <a:pt x="12273" y="16691"/>
                </a:moveTo>
                <a:lnTo>
                  <a:pt x="11291" y="16691"/>
                </a:lnTo>
                <a:cubicBezTo>
                  <a:pt x="10477" y="16691"/>
                  <a:pt x="9818" y="16031"/>
                  <a:pt x="9818" y="15218"/>
                </a:cubicBezTo>
                <a:cubicBezTo>
                  <a:pt x="9818" y="14406"/>
                  <a:pt x="10477" y="13745"/>
                  <a:pt x="11291" y="13745"/>
                </a:cubicBezTo>
                <a:lnTo>
                  <a:pt x="12273" y="13745"/>
                </a:lnTo>
                <a:cubicBezTo>
                  <a:pt x="13086" y="13745"/>
                  <a:pt x="13745" y="14406"/>
                  <a:pt x="13745" y="15218"/>
                </a:cubicBezTo>
                <a:cubicBezTo>
                  <a:pt x="13745" y="16031"/>
                  <a:pt x="13086" y="16691"/>
                  <a:pt x="12273" y="16691"/>
                </a:cubicBezTo>
                <a:moveTo>
                  <a:pt x="18164" y="4418"/>
                </a:moveTo>
                <a:cubicBezTo>
                  <a:pt x="18138" y="4418"/>
                  <a:pt x="18115" y="4429"/>
                  <a:pt x="18091" y="4433"/>
                </a:cubicBezTo>
                <a:lnTo>
                  <a:pt x="18089" y="4424"/>
                </a:lnTo>
                <a:lnTo>
                  <a:pt x="14428" y="3967"/>
                </a:lnTo>
                <a:cubicBezTo>
                  <a:pt x="14369" y="3941"/>
                  <a:pt x="14305" y="3927"/>
                  <a:pt x="14236" y="3927"/>
                </a:cubicBezTo>
                <a:cubicBezTo>
                  <a:pt x="14220" y="3927"/>
                  <a:pt x="14206" y="3935"/>
                  <a:pt x="14191" y="3937"/>
                </a:cubicBezTo>
                <a:lnTo>
                  <a:pt x="14162" y="3933"/>
                </a:lnTo>
                <a:lnTo>
                  <a:pt x="14163" y="3942"/>
                </a:lnTo>
                <a:cubicBezTo>
                  <a:pt x="13929" y="3979"/>
                  <a:pt x="13745" y="4173"/>
                  <a:pt x="13745" y="4418"/>
                </a:cubicBezTo>
                <a:lnTo>
                  <a:pt x="13745" y="13266"/>
                </a:lnTo>
                <a:cubicBezTo>
                  <a:pt x="13335" y="12955"/>
                  <a:pt x="12828" y="12764"/>
                  <a:pt x="12273" y="12764"/>
                </a:cubicBezTo>
                <a:lnTo>
                  <a:pt x="11291" y="12764"/>
                </a:lnTo>
                <a:cubicBezTo>
                  <a:pt x="9935" y="12764"/>
                  <a:pt x="8836" y="13862"/>
                  <a:pt x="8836" y="15218"/>
                </a:cubicBezTo>
                <a:cubicBezTo>
                  <a:pt x="8836" y="16574"/>
                  <a:pt x="9935" y="17673"/>
                  <a:pt x="11291" y="17673"/>
                </a:cubicBezTo>
                <a:lnTo>
                  <a:pt x="12273" y="17673"/>
                </a:lnTo>
                <a:cubicBezTo>
                  <a:pt x="13629" y="17673"/>
                  <a:pt x="14727" y="16574"/>
                  <a:pt x="14727" y="15218"/>
                </a:cubicBezTo>
                <a:lnTo>
                  <a:pt x="14727" y="7901"/>
                </a:lnTo>
                <a:lnTo>
                  <a:pt x="17972" y="8307"/>
                </a:lnTo>
                <a:cubicBezTo>
                  <a:pt x="18031" y="8332"/>
                  <a:pt x="18095" y="8345"/>
                  <a:pt x="18164" y="8345"/>
                </a:cubicBezTo>
                <a:cubicBezTo>
                  <a:pt x="18180" y="8345"/>
                  <a:pt x="18194" y="8338"/>
                  <a:pt x="18210" y="8336"/>
                </a:cubicBezTo>
                <a:lnTo>
                  <a:pt x="18238" y="8340"/>
                </a:lnTo>
                <a:lnTo>
                  <a:pt x="18237" y="8331"/>
                </a:lnTo>
                <a:cubicBezTo>
                  <a:pt x="18471" y="8294"/>
                  <a:pt x="18655" y="8100"/>
                  <a:pt x="18655" y="7855"/>
                </a:cubicBezTo>
                <a:lnTo>
                  <a:pt x="18655" y="4909"/>
                </a:lnTo>
                <a:cubicBezTo>
                  <a:pt x="18655" y="4638"/>
                  <a:pt x="18434" y="4418"/>
                  <a:pt x="18164" y="4418"/>
                </a:cubicBezTo>
                <a:moveTo>
                  <a:pt x="10800" y="10309"/>
                </a:moveTo>
                <a:cubicBezTo>
                  <a:pt x="10800" y="10038"/>
                  <a:pt x="10580" y="9818"/>
                  <a:pt x="10309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cubicBezTo>
                  <a:pt x="3927" y="10580"/>
                  <a:pt x="4147" y="10800"/>
                  <a:pt x="4418" y="10800"/>
                </a:cubicBezTo>
                <a:lnTo>
                  <a:pt x="10309" y="10800"/>
                </a:lnTo>
                <a:cubicBezTo>
                  <a:pt x="10580" y="10800"/>
                  <a:pt x="10800" y="10580"/>
                  <a:pt x="10800" y="10309"/>
                </a:cubicBezTo>
                <a:moveTo>
                  <a:pt x="4418" y="6873"/>
                </a:moveTo>
                <a:lnTo>
                  <a:pt x="10309" y="6873"/>
                </a:lnTo>
                <a:cubicBezTo>
                  <a:pt x="10580" y="6873"/>
                  <a:pt x="10800" y="6653"/>
                  <a:pt x="10800" y="6382"/>
                </a:cubicBezTo>
                <a:cubicBezTo>
                  <a:pt x="10800" y="6110"/>
                  <a:pt x="10580" y="5891"/>
                  <a:pt x="10309" y="5891"/>
                </a:cubicBezTo>
                <a:lnTo>
                  <a:pt x="4418" y="5891"/>
                </a:lnTo>
                <a:cubicBezTo>
                  <a:pt x="4147" y="5891"/>
                  <a:pt x="3927" y="6110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moveTo>
                  <a:pt x="4418" y="8836"/>
                </a:moveTo>
                <a:lnTo>
                  <a:pt x="10309" y="8836"/>
                </a:lnTo>
                <a:cubicBezTo>
                  <a:pt x="10580" y="8836"/>
                  <a:pt x="10800" y="8617"/>
                  <a:pt x="10800" y="8345"/>
                </a:cubicBezTo>
                <a:cubicBezTo>
                  <a:pt x="10800" y="8074"/>
                  <a:pt x="10580" y="7855"/>
                  <a:pt x="10309" y="7855"/>
                </a:cubicBezTo>
                <a:lnTo>
                  <a:pt x="4418" y="7855"/>
                </a:lnTo>
                <a:cubicBezTo>
                  <a:pt x="4147" y="7855"/>
                  <a:pt x="3927" y="8074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30" name="Shape 2730"/>
          <p:cNvSpPr/>
          <p:nvPr/>
        </p:nvSpPr>
        <p:spPr>
          <a:xfrm>
            <a:off x="1947381" y="5172485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6691" y="5988"/>
                </a:moveTo>
                <a:lnTo>
                  <a:pt x="8836" y="7734"/>
                </a:lnTo>
                <a:lnTo>
                  <a:pt x="8836" y="5794"/>
                </a:lnTo>
                <a:lnTo>
                  <a:pt x="16691" y="4048"/>
                </a:lnTo>
                <a:cubicBezTo>
                  <a:pt x="16691" y="4048"/>
                  <a:pt x="16691" y="5988"/>
                  <a:pt x="16691" y="5988"/>
                </a:cubicBezTo>
                <a:close/>
                <a:moveTo>
                  <a:pt x="15218" y="15709"/>
                </a:moveTo>
                <a:lnTo>
                  <a:pt x="14236" y="15709"/>
                </a:lnTo>
                <a:cubicBezTo>
                  <a:pt x="13423" y="15709"/>
                  <a:pt x="12764" y="15050"/>
                  <a:pt x="12764" y="14236"/>
                </a:cubicBezTo>
                <a:cubicBezTo>
                  <a:pt x="12764" y="13423"/>
                  <a:pt x="13423" y="12764"/>
                  <a:pt x="14236" y="12764"/>
                </a:cubicBezTo>
                <a:lnTo>
                  <a:pt x="15218" y="12764"/>
                </a:lnTo>
                <a:cubicBezTo>
                  <a:pt x="16032" y="12764"/>
                  <a:pt x="16691" y="13423"/>
                  <a:pt x="16691" y="14236"/>
                </a:cubicBezTo>
                <a:cubicBezTo>
                  <a:pt x="16691" y="15050"/>
                  <a:pt x="16032" y="15709"/>
                  <a:pt x="15218" y="15709"/>
                </a:cubicBezTo>
                <a:moveTo>
                  <a:pt x="6382" y="17673"/>
                </a:moveTo>
                <a:lnTo>
                  <a:pt x="5400" y="17673"/>
                </a:lnTo>
                <a:cubicBezTo>
                  <a:pt x="4586" y="17673"/>
                  <a:pt x="3927" y="17014"/>
                  <a:pt x="3927" y="16200"/>
                </a:cubicBezTo>
                <a:cubicBezTo>
                  <a:pt x="3927" y="15387"/>
                  <a:pt x="4586" y="14727"/>
                  <a:pt x="5400" y="14727"/>
                </a:cubicBezTo>
                <a:lnTo>
                  <a:pt x="6382" y="14727"/>
                </a:lnTo>
                <a:cubicBezTo>
                  <a:pt x="7195" y="14727"/>
                  <a:pt x="7855" y="15387"/>
                  <a:pt x="7855" y="16200"/>
                </a:cubicBezTo>
                <a:cubicBezTo>
                  <a:pt x="7855" y="17014"/>
                  <a:pt x="7195" y="17673"/>
                  <a:pt x="6382" y="17673"/>
                </a:cubicBezTo>
                <a:moveTo>
                  <a:pt x="17182" y="2945"/>
                </a:moveTo>
                <a:cubicBezTo>
                  <a:pt x="17148" y="2945"/>
                  <a:pt x="17119" y="2958"/>
                  <a:pt x="17088" y="2965"/>
                </a:cubicBezTo>
                <a:lnTo>
                  <a:pt x="17086" y="2955"/>
                </a:lnTo>
                <a:lnTo>
                  <a:pt x="8249" y="4919"/>
                </a:lnTo>
                <a:lnTo>
                  <a:pt x="8251" y="4928"/>
                </a:lnTo>
                <a:cubicBezTo>
                  <a:pt x="8027" y="4973"/>
                  <a:pt x="7855" y="5162"/>
                  <a:pt x="7855" y="5400"/>
                </a:cubicBezTo>
                <a:lnTo>
                  <a:pt x="7855" y="14248"/>
                </a:lnTo>
                <a:cubicBezTo>
                  <a:pt x="7444" y="13937"/>
                  <a:pt x="6937" y="13745"/>
                  <a:pt x="6382" y="13745"/>
                </a:cubicBezTo>
                <a:lnTo>
                  <a:pt x="5400" y="13745"/>
                </a:lnTo>
                <a:cubicBezTo>
                  <a:pt x="4044" y="13745"/>
                  <a:pt x="2945" y="14844"/>
                  <a:pt x="2945" y="16200"/>
                </a:cubicBezTo>
                <a:cubicBezTo>
                  <a:pt x="2945" y="17556"/>
                  <a:pt x="4044" y="18655"/>
                  <a:pt x="5400" y="18655"/>
                </a:cubicBezTo>
                <a:lnTo>
                  <a:pt x="6382" y="18655"/>
                </a:lnTo>
                <a:cubicBezTo>
                  <a:pt x="7737" y="18655"/>
                  <a:pt x="8836" y="17556"/>
                  <a:pt x="8836" y="16200"/>
                </a:cubicBezTo>
                <a:lnTo>
                  <a:pt x="8836" y="8739"/>
                </a:lnTo>
                <a:lnTo>
                  <a:pt x="16691" y="6994"/>
                </a:lnTo>
                <a:lnTo>
                  <a:pt x="16691" y="12284"/>
                </a:lnTo>
                <a:cubicBezTo>
                  <a:pt x="16280" y="11974"/>
                  <a:pt x="15773" y="11782"/>
                  <a:pt x="15218" y="11782"/>
                </a:cubicBezTo>
                <a:lnTo>
                  <a:pt x="14236" y="11782"/>
                </a:lnTo>
                <a:cubicBezTo>
                  <a:pt x="12881" y="11782"/>
                  <a:pt x="11782" y="12881"/>
                  <a:pt x="11782" y="14236"/>
                </a:cubicBezTo>
                <a:cubicBezTo>
                  <a:pt x="11782" y="15592"/>
                  <a:pt x="12881" y="16691"/>
                  <a:pt x="14236" y="16691"/>
                </a:cubicBezTo>
                <a:lnTo>
                  <a:pt x="15218" y="16691"/>
                </a:lnTo>
                <a:cubicBezTo>
                  <a:pt x="16573" y="16691"/>
                  <a:pt x="17673" y="15592"/>
                  <a:pt x="17673" y="14236"/>
                </a:cubicBezTo>
                <a:lnTo>
                  <a:pt x="17673" y="3436"/>
                </a:lnTo>
                <a:cubicBezTo>
                  <a:pt x="17673" y="3165"/>
                  <a:pt x="17453" y="2945"/>
                  <a:pt x="17182" y="2945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31" name="Shape 2731"/>
          <p:cNvSpPr/>
          <p:nvPr/>
        </p:nvSpPr>
        <p:spPr>
          <a:xfrm>
            <a:off x="2480642" y="5185181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74" y="6862"/>
                </a:moveTo>
                <a:lnTo>
                  <a:pt x="18121" y="9450"/>
                </a:lnTo>
                <a:lnTo>
                  <a:pt x="17427" y="8686"/>
                </a:lnTo>
                <a:lnTo>
                  <a:pt x="19780" y="6098"/>
                </a:lnTo>
                <a:cubicBezTo>
                  <a:pt x="19869" y="6000"/>
                  <a:pt x="19992" y="5940"/>
                  <a:pt x="20127" y="5940"/>
                </a:cubicBezTo>
                <a:cubicBezTo>
                  <a:pt x="20398" y="5940"/>
                  <a:pt x="20618" y="6182"/>
                  <a:pt x="20618" y="6480"/>
                </a:cubicBezTo>
                <a:cubicBezTo>
                  <a:pt x="20618" y="6629"/>
                  <a:pt x="20563" y="6764"/>
                  <a:pt x="20474" y="6862"/>
                </a:cubicBezTo>
                <a:moveTo>
                  <a:pt x="21600" y="6480"/>
                </a:moveTo>
                <a:cubicBezTo>
                  <a:pt x="21600" y="5586"/>
                  <a:pt x="20941" y="4860"/>
                  <a:pt x="20127" y="4860"/>
                </a:cubicBezTo>
                <a:cubicBezTo>
                  <a:pt x="19720" y="4860"/>
                  <a:pt x="19352" y="5041"/>
                  <a:pt x="19086" y="5335"/>
                </a:cubicBezTo>
                <a:lnTo>
                  <a:pt x="6813" y="18835"/>
                </a:lnTo>
                <a:cubicBezTo>
                  <a:pt x="6547" y="19128"/>
                  <a:pt x="6382" y="19533"/>
                  <a:pt x="6382" y="19980"/>
                </a:cubicBezTo>
                <a:cubicBezTo>
                  <a:pt x="6382" y="20874"/>
                  <a:pt x="7041" y="21600"/>
                  <a:pt x="7855" y="21600"/>
                </a:cubicBezTo>
                <a:cubicBezTo>
                  <a:pt x="8262" y="21600"/>
                  <a:pt x="8630" y="21419"/>
                  <a:pt x="8896" y="21125"/>
                </a:cubicBezTo>
                <a:lnTo>
                  <a:pt x="21169" y="7625"/>
                </a:lnTo>
                <a:cubicBezTo>
                  <a:pt x="21435" y="7332"/>
                  <a:pt x="21600" y="6927"/>
                  <a:pt x="21600" y="6480"/>
                </a:cubicBezTo>
                <a:moveTo>
                  <a:pt x="20127" y="14040"/>
                </a:moveTo>
                <a:lnTo>
                  <a:pt x="18655" y="14040"/>
                </a:lnTo>
                <a:lnTo>
                  <a:pt x="18655" y="11918"/>
                </a:lnTo>
                <a:lnTo>
                  <a:pt x="15744" y="15120"/>
                </a:lnTo>
                <a:lnTo>
                  <a:pt x="20127" y="15120"/>
                </a:lnTo>
                <a:cubicBezTo>
                  <a:pt x="20398" y="15120"/>
                  <a:pt x="20618" y="15362"/>
                  <a:pt x="20618" y="15660"/>
                </a:cubicBezTo>
                <a:cubicBezTo>
                  <a:pt x="20618" y="15958"/>
                  <a:pt x="20398" y="16200"/>
                  <a:pt x="20127" y="16200"/>
                </a:cubicBezTo>
                <a:lnTo>
                  <a:pt x="14762" y="16200"/>
                </a:lnTo>
                <a:lnTo>
                  <a:pt x="13780" y="17280"/>
                </a:lnTo>
                <a:lnTo>
                  <a:pt x="20127" y="17280"/>
                </a:lnTo>
                <a:cubicBezTo>
                  <a:pt x="20941" y="17280"/>
                  <a:pt x="21600" y="16554"/>
                  <a:pt x="21600" y="15660"/>
                </a:cubicBezTo>
                <a:cubicBezTo>
                  <a:pt x="21600" y="14766"/>
                  <a:pt x="20941" y="14040"/>
                  <a:pt x="20127" y="14040"/>
                </a:cubicBezTo>
                <a:moveTo>
                  <a:pt x="7820" y="16200"/>
                </a:moveTo>
                <a:lnTo>
                  <a:pt x="1473" y="16200"/>
                </a:lnTo>
                <a:cubicBezTo>
                  <a:pt x="1202" y="16200"/>
                  <a:pt x="982" y="15958"/>
                  <a:pt x="982" y="15660"/>
                </a:cubicBezTo>
                <a:cubicBezTo>
                  <a:pt x="982" y="15362"/>
                  <a:pt x="1202" y="15120"/>
                  <a:pt x="1473" y="15120"/>
                </a:cubicBezTo>
                <a:lnTo>
                  <a:pt x="8802" y="15120"/>
                </a:lnTo>
                <a:lnTo>
                  <a:pt x="12729" y="10800"/>
                </a:lnTo>
                <a:lnTo>
                  <a:pt x="3927" y="10800"/>
                </a:lnTo>
                <a:lnTo>
                  <a:pt x="3927" y="1080"/>
                </a:lnTo>
                <a:lnTo>
                  <a:pt x="17673" y="1080"/>
                </a:lnTo>
                <a:lnTo>
                  <a:pt x="17673" y="5362"/>
                </a:lnTo>
                <a:lnTo>
                  <a:pt x="18655" y="4282"/>
                </a:lnTo>
                <a:lnTo>
                  <a:pt x="18655" y="540"/>
                </a:lnTo>
                <a:cubicBezTo>
                  <a:pt x="18655" y="242"/>
                  <a:pt x="18434" y="0"/>
                  <a:pt x="18164" y="0"/>
                </a:cubicBezTo>
                <a:lnTo>
                  <a:pt x="3436" y="0"/>
                </a:lnTo>
                <a:cubicBezTo>
                  <a:pt x="3166" y="0"/>
                  <a:pt x="2945" y="242"/>
                  <a:pt x="2945" y="540"/>
                </a:cubicBezTo>
                <a:lnTo>
                  <a:pt x="2945" y="14040"/>
                </a:lnTo>
                <a:lnTo>
                  <a:pt x="1473" y="14040"/>
                </a:lnTo>
                <a:cubicBezTo>
                  <a:pt x="659" y="14040"/>
                  <a:pt x="0" y="14766"/>
                  <a:pt x="0" y="15660"/>
                </a:cubicBezTo>
                <a:cubicBezTo>
                  <a:pt x="0" y="16554"/>
                  <a:pt x="659" y="17280"/>
                  <a:pt x="1473" y="17280"/>
                </a:cubicBezTo>
                <a:lnTo>
                  <a:pt x="6838" y="17280"/>
                </a:lnTo>
                <a:cubicBezTo>
                  <a:pt x="6838" y="17280"/>
                  <a:pt x="7820" y="16200"/>
                  <a:pt x="7820" y="16200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32" name="Shape 2732"/>
          <p:cNvSpPr/>
          <p:nvPr/>
        </p:nvSpPr>
        <p:spPr>
          <a:xfrm>
            <a:off x="3013903" y="5248665"/>
            <a:ext cx="279328" cy="1269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236" y="19413"/>
                </a:moveTo>
                <a:lnTo>
                  <a:pt x="13945" y="13593"/>
                </a:lnTo>
                <a:cubicBezTo>
                  <a:pt x="14130" y="12747"/>
                  <a:pt x="14236" y="11802"/>
                  <a:pt x="14236" y="10800"/>
                </a:cubicBezTo>
                <a:cubicBezTo>
                  <a:pt x="14236" y="9799"/>
                  <a:pt x="14130" y="8854"/>
                  <a:pt x="13945" y="8007"/>
                </a:cubicBezTo>
                <a:lnTo>
                  <a:pt x="19236" y="2187"/>
                </a:lnTo>
                <a:cubicBezTo>
                  <a:pt x="20007" y="2465"/>
                  <a:pt x="20618" y="6209"/>
                  <a:pt x="20618" y="10800"/>
                </a:cubicBezTo>
                <a:cubicBezTo>
                  <a:pt x="20618" y="15392"/>
                  <a:pt x="20007" y="19136"/>
                  <a:pt x="19236" y="19413"/>
                </a:cubicBezTo>
                <a:moveTo>
                  <a:pt x="11291" y="15120"/>
                </a:moveTo>
                <a:lnTo>
                  <a:pt x="10309" y="15120"/>
                </a:lnTo>
                <a:cubicBezTo>
                  <a:pt x="9225" y="15120"/>
                  <a:pt x="8345" y="13186"/>
                  <a:pt x="8345" y="10800"/>
                </a:cubicBezTo>
                <a:cubicBezTo>
                  <a:pt x="8345" y="8414"/>
                  <a:pt x="9225" y="6480"/>
                  <a:pt x="10309" y="6480"/>
                </a:cubicBezTo>
                <a:lnTo>
                  <a:pt x="11291" y="6480"/>
                </a:lnTo>
                <a:cubicBezTo>
                  <a:pt x="12375" y="6480"/>
                  <a:pt x="13255" y="8414"/>
                  <a:pt x="13255" y="10800"/>
                </a:cubicBezTo>
                <a:cubicBezTo>
                  <a:pt x="13255" y="13186"/>
                  <a:pt x="12375" y="15120"/>
                  <a:pt x="11291" y="15120"/>
                </a:cubicBezTo>
                <a:moveTo>
                  <a:pt x="7654" y="13593"/>
                </a:moveTo>
                <a:lnTo>
                  <a:pt x="2363" y="19413"/>
                </a:lnTo>
                <a:cubicBezTo>
                  <a:pt x="1593" y="19135"/>
                  <a:pt x="982" y="15391"/>
                  <a:pt x="982" y="10800"/>
                </a:cubicBezTo>
                <a:cubicBezTo>
                  <a:pt x="982" y="6209"/>
                  <a:pt x="1593" y="2465"/>
                  <a:pt x="2363" y="2187"/>
                </a:cubicBezTo>
                <a:lnTo>
                  <a:pt x="7654" y="8007"/>
                </a:lnTo>
                <a:cubicBezTo>
                  <a:pt x="7470" y="8854"/>
                  <a:pt x="7364" y="9799"/>
                  <a:pt x="7364" y="10800"/>
                </a:cubicBezTo>
                <a:cubicBezTo>
                  <a:pt x="7364" y="11802"/>
                  <a:pt x="7470" y="12747"/>
                  <a:pt x="7654" y="13593"/>
                </a:cubicBezTo>
                <a:moveTo>
                  <a:pt x="19145" y="0"/>
                </a:moveTo>
                <a:cubicBezTo>
                  <a:pt x="19066" y="0"/>
                  <a:pt x="18994" y="51"/>
                  <a:pt x="18928" y="124"/>
                </a:cubicBezTo>
                <a:lnTo>
                  <a:pt x="18925" y="114"/>
                </a:lnTo>
                <a:lnTo>
                  <a:pt x="13374" y="6221"/>
                </a:lnTo>
                <a:cubicBezTo>
                  <a:pt x="12841" y="5047"/>
                  <a:pt x="12105" y="4320"/>
                  <a:pt x="11291" y="4320"/>
                </a:cubicBezTo>
                <a:lnTo>
                  <a:pt x="10309" y="4320"/>
                </a:lnTo>
                <a:cubicBezTo>
                  <a:pt x="9495" y="4320"/>
                  <a:pt x="8758" y="5047"/>
                  <a:pt x="8225" y="6221"/>
                </a:cubicBezTo>
                <a:lnTo>
                  <a:pt x="2674" y="114"/>
                </a:lnTo>
                <a:lnTo>
                  <a:pt x="2671" y="124"/>
                </a:lnTo>
                <a:cubicBezTo>
                  <a:pt x="2606" y="51"/>
                  <a:pt x="2534" y="0"/>
                  <a:pt x="2455" y="0"/>
                </a:cubicBezTo>
                <a:cubicBezTo>
                  <a:pt x="1099" y="0"/>
                  <a:pt x="0" y="4835"/>
                  <a:pt x="0" y="10800"/>
                </a:cubicBezTo>
                <a:cubicBezTo>
                  <a:pt x="0" y="16765"/>
                  <a:pt x="1099" y="21600"/>
                  <a:pt x="2455" y="21600"/>
                </a:cubicBezTo>
                <a:cubicBezTo>
                  <a:pt x="2534" y="21600"/>
                  <a:pt x="2605" y="21549"/>
                  <a:pt x="2671" y="21477"/>
                </a:cubicBezTo>
                <a:lnTo>
                  <a:pt x="2674" y="21486"/>
                </a:lnTo>
                <a:lnTo>
                  <a:pt x="8225" y="15379"/>
                </a:lnTo>
                <a:cubicBezTo>
                  <a:pt x="8758" y="16554"/>
                  <a:pt x="9495" y="17280"/>
                  <a:pt x="10309" y="17280"/>
                </a:cubicBezTo>
                <a:lnTo>
                  <a:pt x="11291" y="17280"/>
                </a:lnTo>
                <a:cubicBezTo>
                  <a:pt x="12105" y="17280"/>
                  <a:pt x="12842" y="16554"/>
                  <a:pt x="13375" y="15379"/>
                </a:cubicBezTo>
                <a:lnTo>
                  <a:pt x="18940" y="21501"/>
                </a:lnTo>
                <a:lnTo>
                  <a:pt x="18941" y="21496"/>
                </a:lnTo>
                <a:cubicBezTo>
                  <a:pt x="19003" y="21560"/>
                  <a:pt x="19072" y="21600"/>
                  <a:pt x="19145" y="21600"/>
                </a:cubicBezTo>
                <a:cubicBezTo>
                  <a:pt x="20501" y="21600"/>
                  <a:pt x="21600" y="16765"/>
                  <a:pt x="21600" y="10800"/>
                </a:cubicBezTo>
                <a:cubicBezTo>
                  <a:pt x="21600" y="4835"/>
                  <a:pt x="20501" y="0"/>
                  <a:pt x="19145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33" name="Shape 2733"/>
          <p:cNvSpPr/>
          <p:nvPr/>
        </p:nvSpPr>
        <p:spPr>
          <a:xfrm>
            <a:off x="3636041" y="5172485"/>
            <a:ext cx="101574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364"/>
                </a:moveTo>
                <a:lnTo>
                  <a:pt x="2804" y="17041"/>
                </a:lnTo>
                <a:lnTo>
                  <a:pt x="9142" y="5518"/>
                </a:lnTo>
                <a:lnTo>
                  <a:pt x="9803" y="5724"/>
                </a:lnTo>
                <a:cubicBezTo>
                  <a:pt x="9859" y="5747"/>
                  <a:pt x="9925" y="5764"/>
                  <a:pt x="9991" y="5783"/>
                </a:cubicBezTo>
                <a:lnTo>
                  <a:pt x="10130" y="5826"/>
                </a:lnTo>
                <a:lnTo>
                  <a:pt x="10141" y="5820"/>
                </a:lnTo>
                <a:cubicBezTo>
                  <a:pt x="10339" y="5861"/>
                  <a:pt x="10555" y="5891"/>
                  <a:pt x="10800" y="5891"/>
                </a:cubicBezTo>
                <a:cubicBezTo>
                  <a:pt x="11045" y="5891"/>
                  <a:pt x="11261" y="5861"/>
                  <a:pt x="11459" y="5820"/>
                </a:cubicBezTo>
                <a:lnTo>
                  <a:pt x="11470" y="5826"/>
                </a:lnTo>
                <a:lnTo>
                  <a:pt x="11609" y="5783"/>
                </a:lnTo>
                <a:cubicBezTo>
                  <a:pt x="11675" y="5764"/>
                  <a:pt x="11741" y="5747"/>
                  <a:pt x="11797" y="5724"/>
                </a:cubicBezTo>
                <a:lnTo>
                  <a:pt x="12457" y="5518"/>
                </a:lnTo>
                <a:lnTo>
                  <a:pt x="14283" y="8836"/>
                </a:lnTo>
                <a:lnTo>
                  <a:pt x="10800" y="8836"/>
                </a:lnTo>
                <a:cubicBezTo>
                  <a:pt x="10054" y="8836"/>
                  <a:pt x="9450" y="9056"/>
                  <a:pt x="9450" y="9327"/>
                </a:cubicBezTo>
                <a:cubicBezTo>
                  <a:pt x="9450" y="9599"/>
                  <a:pt x="10054" y="9818"/>
                  <a:pt x="10800" y="9818"/>
                </a:cubicBezTo>
                <a:lnTo>
                  <a:pt x="14824" y="9818"/>
                </a:lnTo>
                <a:lnTo>
                  <a:pt x="18796" y="17041"/>
                </a:lnTo>
                <a:cubicBezTo>
                  <a:pt x="18796" y="17041"/>
                  <a:pt x="10800" y="20364"/>
                  <a:pt x="10800" y="20364"/>
                </a:cubicBezTo>
                <a:close/>
                <a:moveTo>
                  <a:pt x="2776" y="2264"/>
                </a:moveTo>
                <a:cubicBezTo>
                  <a:pt x="3291" y="1541"/>
                  <a:pt x="6683" y="982"/>
                  <a:pt x="10800" y="982"/>
                </a:cubicBezTo>
                <a:cubicBezTo>
                  <a:pt x="14917" y="982"/>
                  <a:pt x="18308" y="1541"/>
                  <a:pt x="18825" y="2264"/>
                </a:cubicBezTo>
                <a:lnTo>
                  <a:pt x="10800" y="4765"/>
                </a:lnTo>
                <a:cubicBezTo>
                  <a:pt x="10800" y="4765"/>
                  <a:pt x="2776" y="2264"/>
                  <a:pt x="2776" y="2264"/>
                </a:cubicBezTo>
                <a:close/>
                <a:moveTo>
                  <a:pt x="21551" y="17094"/>
                </a:moveTo>
                <a:lnTo>
                  <a:pt x="21578" y="17093"/>
                </a:lnTo>
                <a:lnTo>
                  <a:pt x="17575" y="9818"/>
                </a:lnTo>
                <a:lnTo>
                  <a:pt x="18900" y="9818"/>
                </a:lnTo>
                <a:cubicBezTo>
                  <a:pt x="19646" y="9818"/>
                  <a:pt x="20250" y="9599"/>
                  <a:pt x="20250" y="9327"/>
                </a:cubicBezTo>
                <a:cubicBezTo>
                  <a:pt x="20250" y="9056"/>
                  <a:pt x="19646" y="8836"/>
                  <a:pt x="18900" y="8836"/>
                </a:cubicBezTo>
                <a:lnTo>
                  <a:pt x="17036" y="8836"/>
                </a:lnTo>
                <a:lnTo>
                  <a:pt x="14828" y="4820"/>
                </a:lnTo>
                <a:lnTo>
                  <a:pt x="14801" y="4822"/>
                </a:lnTo>
                <a:cubicBezTo>
                  <a:pt x="14795" y="4812"/>
                  <a:pt x="14792" y="4803"/>
                  <a:pt x="14785" y="4793"/>
                </a:cubicBezTo>
                <a:lnTo>
                  <a:pt x="20920" y="2881"/>
                </a:lnTo>
                <a:lnTo>
                  <a:pt x="20909" y="2874"/>
                </a:lnTo>
                <a:cubicBezTo>
                  <a:pt x="21315" y="2789"/>
                  <a:pt x="21600" y="2637"/>
                  <a:pt x="21600" y="2455"/>
                </a:cubicBezTo>
                <a:cubicBezTo>
                  <a:pt x="21600" y="1099"/>
                  <a:pt x="16764" y="0"/>
                  <a:pt x="10800" y="0"/>
                </a:cubicBezTo>
                <a:cubicBezTo>
                  <a:pt x="4836" y="0"/>
                  <a:pt x="0" y="1099"/>
                  <a:pt x="0" y="2455"/>
                </a:cubicBezTo>
                <a:cubicBezTo>
                  <a:pt x="0" y="2637"/>
                  <a:pt x="285" y="2789"/>
                  <a:pt x="691" y="2874"/>
                </a:cubicBezTo>
                <a:lnTo>
                  <a:pt x="680" y="2881"/>
                </a:lnTo>
                <a:lnTo>
                  <a:pt x="6815" y="4793"/>
                </a:lnTo>
                <a:cubicBezTo>
                  <a:pt x="6808" y="4802"/>
                  <a:pt x="6805" y="4812"/>
                  <a:pt x="6799" y="4822"/>
                </a:cubicBezTo>
                <a:lnTo>
                  <a:pt x="6772" y="4820"/>
                </a:lnTo>
                <a:lnTo>
                  <a:pt x="22" y="17093"/>
                </a:lnTo>
                <a:lnTo>
                  <a:pt x="49" y="17094"/>
                </a:lnTo>
                <a:cubicBezTo>
                  <a:pt x="34" y="17123"/>
                  <a:pt x="0" y="17151"/>
                  <a:pt x="0" y="17182"/>
                </a:cubicBezTo>
                <a:cubicBezTo>
                  <a:pt x="0" y="17306"/>
                  <a:pt x="137" y="17416"/>
                  <a:pt x="345" y="17502"/>
                </a:cubicBezTo>
                <a:lnTo>
                  <a:pt x="335" y="17505"/>
                </a:lnTo>
                <a:lnTo>
                  <a:pt x="9785" y="21432"/>
                </a:lnTo>
                <a:lnTo>
                  <a:pt x="9795" y="21429"/>
                </a:lnTo>
                <a:cubicBezTo>
                  <a:pt x="10041" y="21532"/>
                  <a:pt x="10394" y="21600"/>
                  <a:pt x="10800" y="21600"/>
                </a:cubicBezTo>
                <a:cubicBezTo>
                  <a:pt x="11206" y="21600"/>
                  <a:pt x="11557" y="21532"/>
                  <a:pt x="11805" y="21429"/>
                </a:cubicBezTo>
                <a:lnTo>
                  <a:pt x="11815" y="21432"/>
                </a:lnTo>
                <a:lnTo>
                  <a:pt x="21265" y="17505"/>
                </a:lnTo>
                <a:lnTo>
                  <a:pt x="21255" y="17502"/>
                </a:lnTo>
                <a:cubicBezTo>
                  <a:pt x="21463" y="17416"/>
                  <a:pt x="21600" y="17306"/>
                  <a:pt x="21600" y="17182"/>
                </a:cubicBezTo>
                <a:cubicBezTo>
                  <a:pt x="21600" y="17151"/>
                  <a:pt x="21566" y="17123"/>
                  <a:pt x="21551" y="17094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34" name="Shape 2734"/>
          <p:cNvSpPr/>
          <p:nvPr/>
        </p:nvSpPr>
        <p:spPr>
          <a:xfrm>
            <a:off x="4080425" y="5210575"/>
            <a:ext cx="279328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9450"/>
                </a:moveTo>
                <a:lnTo>
                  <a:pt x="9140" y="9450"/>
                </a:lnTo>
                <a:lnTo>
                  <a:pt x="8293" y="7123"/>
                </a:lnTo>
                <a:lnTo>
                  <a:pt x="8289" y="7126"/>
                </a:lnTo>
                <a:cubicBezTo>
                  <a:pt x="8208" y="6906"/>
                  <a:pt x="8046" y="6750"/>
                  <a:pt x="7855" y="6750"/>
                </a:cubicBezTo>
                <a:cubicBezTo>
                  <a:pt x="7663" y="6750"/>
                  <a:pt x="7501" y="6906"/>
                  <a:pt x="7420" y="7126"/>
                </a:cubicBezTo>
                <a:lnTo>
                  <a:pt x="7415" y="7123"/>
                </a:lnTo>
                <a:lnTo>
                  <a:pt x="6569" y="9450"/>
                </a:lnTo>
                <a:lnTo>
                  <a:pt x="5400" y="9450"/>
                </a:lnTo>
                <a:cubicBezTo>
                  <a:pt x="5129" y="9450"/>
                  <a:pt x="4909" y="9752"/>
                  <a:pt x="4909" y="10125"/>
                </a:cubicBezTo>
                <a:cubicBezTo>
                  <a:pt x="4909" y="10571"/>
                  <a:pt x="5128" y="10687"/>
                  <a:pt x="5128" y="10687"/>
                </a:cubicBezTo>
                <a:lnTo>
                  <a:pt x="6405" y="11857"/>
                </a:lnTo>
                <a:lnTo>
                  <a:pt x="5914" y="14014"/>
                </a:lnTo>
                <a:cubicBezTo>
                  <a:pt x="5905" y="14067"/>
                  <a:pt x="5891" y="14118"/>
                  <a:pt x="5891" y="14175"/>
                </a:cubicBezTo>
                <a:cubicBezTo>
                  <a:pt x="5891" y="14548"/>
                  <a:pt x="6110" y="14850"/>
                  <a:pt x="6382" y="14850"/>
                </a:cubicBezTo>
                <a:cubicBezTo>
                  <a:pt x="6483" y="14850"/>
                  <a:pt x="6574" y="14801"/>
                  <a:pt x="6650" y="14727"/>
                </a:cubicBezTo>
                <a:lnTo>
                  <a:pt x="7855" y="13636"/>
                </a:lnTo>
                <a:lnTo>
                  <a:pt x="9055" y="14737"/>
                </a:lnTo>
                <a:cubicBezTo>
                  <a:pt x="9055" y="14737"/>
                  <a:pt x="9127" y="14850"/>
                  <a:pt x="9327" y="14850"/>
                </a:cubicBezTo>
                <a:cubicBezTo>
                  <a:pt x="9599" y="14850"/>
                  <a:pt x="9818" y="14548"/>
                  <a:pt x="9818" y="14175"/>
                </a:cubicBezTo>
                <a:cubicBezTo>
                  <a:pt x="9818" y="14117"/>
                  <a:pt x="9798" y="14070"/>
                  <a:pt x="9787" y="14017"/>
                </a:cubicBezTo>
                <a:lnTo>
                  <a:pt x="9304" y="11857"/>
                </a:lnTo>
                <a:lnTo>
                  <a:pt x="10581" y="10687"/>
                </a:lnTo>
                <a:cubicBezTo>
                  <a:pt x="10581" y="10687"/>
                  <a:pt x="10800" y="10571"/>
                  <a:pt x="10800" y="10125"/>
                </a:cubicBezTo>
                <a:cubicBezTo>
                  <a:pt x="10800" y="9752"/>
                  <a:pt x="10580" y="9450"/>
                  <a:pt x="10309" y="9450"/>
                </a:cubicBezTo>
                <a:moveTo>
                  <a:pt x="13255" y="11475"/>
                </a:moveTo>
                <a:lnTo>
                  <a:pt x="15218" y="11475"/>
                </a:lnTo>
                <a:cubicBezTo>
                  <a:pt x="15490" y="11475"/>
                  <a:pt x="15709" y="11173"/>
                  <a:pt x="15709" y="10800"/>
                </a:cubicBezTo>
                <a:cubicBezTo>
                  <a:pt x="15709" y="10427"/>
                  <a:pt x="15490" y="10125"/>
                  <a:pt x="15218" y="10125"/>
                </a:cubicBezTo>
                <a:lnTo>
                  <a:pt x="13255" y="10125"/>
                </a:lnTo>
                <a:cubicBezTo>
                  <a:pt x="12983" y="10125"/>
                  <a:pt x="12764" y="10427"/>
                  <a:pt x="12764" y="10800"/>
                </a:cubicBezTo>
                <a:cubicBezTo>
                  <a:pt x="12764" y="11173"/>
                  <a:pt x="12983" y="11475"/>
                  <a:pt x="13255" y="11475"/>
                </a:cubicBezTo>
                <a:moveTo>
                  <a:pt x="16200" y="12150"/>
                </a:moveTo>
                <a:lnTo>
                  <a:pt x="13255" y="12150"/>
                </a:lnTo>
                <a:cubicBezTo>
                  <a:pt x="12983" y="12150"/>
                  <a:pt x="12764" y="12452"/>
                  <a:pt x="12764" y="12825"/>
                </a:cubicBezTo>
                <a:cubicBezTo>
                  <a:pt x="12764" y="13198"/>
                  <a:pt x="12983" y="13500"/>
                  <a:pt x="13255" y="13500"/>
                </a:cubicBezTo>
                <a:lnTo>
                  <a:pt x="16200" y="13500"/>
                </a:lnTo>
                <a:cubicBezTo>
                  <a:pt x="16471" y="13500"/>
                  <a:pt x="16691" y="13198"/>
                  <a:pt x="16691" y="12825"/>
                </a:cubicBezTo>
                <a:cubicBezTo>
                  <a:pt x="16691" y="12452"/>
                  <a:pt x="16471" y="12150"/>
                  <a:pt x="16200" y="12150"/>
                </a:cubicBezTo>
                <a:moveTo>
                  <a:pt x="20618" y="14768"/>
                </a:moveTo>
                <a:lnTo>
                  <a:pt x="20618" y="17550"/>
                </a:lnTo>
                <a:lnTo>
                  <a:pt x="982" y="17550"/>
                </a:lnTo>
                <a:lnTo>
                  <a:pt x="982" y="14768"/>
                </a:lnTo>
                <a:cubicBezTo>
                  <a:pt x="2102" y="14393"/>
                  <a:pt x="2945" y="12759"/>
                  <a:pt x="2945" y="10800"/>
                </a:cubicBezTo>
                <a:cubicBezTo>
                  <a:pt x="2945" y="8841"/>
                  <a:pt x="2102" y="7207"/>
                  <a:pt x="982" y="6832"/>
                </a:cubicBezTo>
                <a:lnTo>
                  <a:pt x="982" y="4050"/>
                </a:lnTo>
                <a:lnTo>
                  <a:pt x="20618" y="4050"/>
                </a:lnTo>
                <a:lnTo>
                  <a:pt x="20618" y="6832"/>
                </a:lnTo>
                <a:cubicBezTo>
                  <a:pt x="19498" y="7207"/>
                  <a:pt x="18655" y="8841"/>
                  <a:pt x="18655" y="10800"/>
                </a:cubicBezTo>
                <a:cubicBezTo>
                  <a:pt x="18655" y="12759"/>
                  <a:pt x="19498" y="14393"/>
                  <a:pt x="20618" y="14768"/>
                </a:cubicBezTo>
                <a:moveTo>
                  <a:pt x="20618" y="20250"/>
                </a:moveTo>
                <a:lnTo>
                  <a:pt x="18655" y="20250"/>
                </a:lnTo>
                <a:lnTo>
                  <a:pt x="18655" y="18900"/>
                </a:lnTo>
                <a:lnTo>
                  <a:pt x="20618" y="18900"/>
                </a:lnTo>
                <a:cubicBezTo>
                  <a:pt x="20618" y="18900"/>
                  <a:pt x="20618" y="20250"/>
                  <a:pt x="20618" y="20250"/>
                </a:cubicBezTo>
                <a:close/>
                <a:moveTo>
                  <a:pt x="17673" y="20250"/>
                </a:moveTo>
                <a:lnTo>
                  <a:pt x="982" y="20250"/>
                </a:lnTo>
                <a:lnTo>
                  <a:pt x="982" y="18900"/>
                </a:lnTo>
                <a:lnTo>
                  <a:pt x="17673" y="18900"/>
                </a:lnTo>
                <a:cubicBezTo>
                  <a:pt x="17673" y="18900"/>
                  <a:pt x="17673" y="20250"/>
                  <a:pt x="17673" y="20250"/>
                </a:cubicBezTo>
                <a:close/>
                <a:moveTo>
                  <a:pt x="982" y="1350"/>
                </a:moveTo>
                <a:lnTo>
                  <a:pt x="17673" y="1350"/>
                </a:lnTo>
                <a:lnTo>
                  <a:pt x="17673" y="2700"/>
                </a:lnTo>
                <a:lnTo>
                  <a:pt x="982" y="2700"/>
                </a:lnTo>
                <a:cubicBezTo>
                  <a:pt x="982" y="2700"/>
                  <a:pt x="982" y="1350"/>
                  <a:pt x="982" y="1350"/>
                </a:cubicBezTo>
                <a:close/>
                <a:moveTo>
                  <a:pt x="18655" y="1350"/>
                </a:moveTo>
                <a:lnTo>
                  <a:pt x="20618" y="1350"/>
                </a:lnTo>
                <a:lnTo>
                  <a:pt x="20618" y="2700"/>
                </a:lnTo>
                <a:lnTo>
                  <a:pt x="18655" y="2700"/>
                </a:lnTo>
                <a:cubicBezTo>
                  <a:pt x="18655" y="2700"/>
                  <a:pt x="18655" y="1350"/>
                  <a:pt x="18655" y="1350"/>
                </a:cubicBezTo>
                <a:close/>
                <a:moveTo>
                  <a:pt x="21109" y="8100"/>
                </a:moveTo>
                <a:cubicBezTo>
                  <a:pt x="21380" y="8100"/>
                  <a:pt x="21600" y="7798"/>
                  <a:pt x="21600" y="7425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lnTo>
                  <a:pt x="982" y="0"/>
                </a:lnTo>
                <a:cubicBezTo>
                  <a:pt x="439" y="0"/>
                  <a:pt x="0" y="605"/>
                  <a:pt x="0" y="1350"/>
                </a:cubicBezTo>
                <a:lnTo>
                  <a:pt x="0" y="7425"/>
                </a:lnTo>
                <a:cubicBezTo>
                  <a:pt x="0" y="7798"/>
                  <a:pt x="220" y="8100"/>
                  <a:pt x="491" y="8100"/>
                </a:cubicBezTo>
                <a:cubicBezTo>
                  <a:pt x="1304" y="8100"/>
                  <a:pt x="1964" y="9309"/>
                  <a:pt x="1964" y="10800"/>
                </a:cubicBezTo>
                <a:cubicBezTo>
                  <a:pt x="1964" y="12291"/>
                  <a:pt x="1304" y="13500"/>
                  <a:pt x="491" y="13500"/>
                </a:cubicBezTo>
                <a:cubicBezTo>
                  <a:pt x="220" y="13500"/>
                  <a:pt x="0" y="13802"/>
                  <a:pt x="0" y="14175"/>
                </a:cubicBezTo>
                <a:lnTo>
                  <a:pt x="0" y="20250"/>
                </a:lnTo>
                <a:cubicBezTo>
                  <a:pt x="0" y="20995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4175"/>
                </a:lnTo>
                <a:cubicBezTo>
                  <a:pt x="21600" y="13802"/>
                  <a:pt x="21380" y="13500"/>
                  <a:pt x="21109" y="13500"/>
                </a:cubicBezTo>
                <a:cubicBezTo>
                  <a:pt x="20296" y="13500"/>
                  <a:pt x="19636" y="12291"/>
                  <a:pt x="19636" y="10800"/>
                </a:cubicBezTo>
                <a:cubicBezTo>
                  <a:pt x="19636" y="9309"/>
                  <a:pt x="20296" y="8100"/>
                  <a:pt x="21109" y="8100"/>
                </a:cubicBezTo>
                <a:moveTo>
                  <a:pt x="16200" y="8100"/>
                </a:moveTo>
                <a:lnTo>
                  <a:pt x="13255" y="8100"/>
                </a:lnTo>
                <a:cubicBezTo>
                  <a:pt x="12983" y="8100"/>
                  <a:pt x="12764" y="8402"/>
                  <a:pt x="12764" y="8775"/>
                </a:cubicBezTo>
                <a:cubicBezTo>
                  <a:pt x="12764" y="9148"/>
                  <a:pt x="12983" y="9450"/>
                  <a:pt x="13255" y="9450"/>
                </a:cubicBezTo>
                <a:lnTo>
                  <a:pt x="16200" y="9450"/>
                </a:lnTo>
                <a:cubicBezTo>
                  <a:pt x="16471" y="9450"/>
                  <a:pt x="16691" y="9148"/>
                  <a:pt x="16691" y="8775"/>
                </a:cubicBezTo>
                <a:cubicBezTo>
                  <a:pt x="16691" y="8402"/>
                  <a:pt x="16471" y="8100"/>
                  <a:pt x="16200" y="810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35" name="Shape 2735"/>
          <p:cNvSpPr/>
          <p:nvPr/>
        </p:nvSpPr>
        <p:spPr>
          <a:xfrm>
            <a:off x="4613686" y="5197878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2000"/>
                </a:moveTo>
                <a:lnTo>
                  <a:pt x="13255" y="12000"/>
                </a:lnTo>
                <a:cubicBezTo>
                  <a:pt x="13526" y="12000"/>
                  <a:pt x="13745" y="11732"/>
                  <a:pt x="13745" y="11400"/>
                </a:cubicBezTo>
                <a:cubicBezTo>
                  <a:pt x="13745" y="11068"/>
                  <a:pt x="13526" y="10800"/>
                  <a:pt x="13255" y="10800"/>
                </a:cubicBezTo>
                <a:lnTo>
                  <a:pt x="11291" y="10800"/>
                </a:lnTo>
                <a:cubicBezTo>
                  <a:pt x="11020" y="10800"/>
                  <a:pt x="10800" y="11068"/>
                  <a:pt x="10800" y="11400"/>
                </a:cubicBezTo>
                <a:cubicBezTo>
                  <a:pt x="10800" y="11732"/>
                  <a:pt x="11020" y="12000"/>
                  <a:pt x="11291" y="12000"/>
                </a:cubicBezTo>
                <a:moveTo>
                  <a:pt x="11291" y="13800"/>
                </a:moveTo>
                <a:lnTo>
                  <a:pt x="12273" y="13800"/>
                </a:lnTo>
                <a:cubicBezTo>
                  <a:pt x="12544" y="13800"/>
                  <a:pt x="12764" y="13532"/>
                  <a:pt x="12764" y="13200"/>
                </a:cubicBezTo>
                <a:cubicBezTo>
                  <a:pt x="12764" y="12868"/>
                  <a:pt x="12544" y="12600"/>
                  <a:pt x="12273" y="12600"/>
                </a:cubicBezTo>
                <a:lnTo>
                  <a:pt x="11291" y="12600"/>
                </a:lnTo>
                <a:cubicBezTo>
                  <a:pt x="11020" y="12600"/>
                  <a:pt x="10800" y="12868"/>
                  <a:pt x="10800" y="13200"/>
                </a:cubicBezTo>
                <a:cubicBezTo>
                  <a:pt x="10800" y="13532"/>
                  <a:pt x="11020" y="13800"/>
                  <a:pt x="11291" y="13800"/>
                </a:cubicBezTo>
                <a:moveTo>
                  <a:pt x="11291" y="15600"/>
                </a:moveTo>
                <a:lnTo>
                  <a:pt x="13255" y="15600"/>
                </a:lnTo>
                <a:cubicBezTo>
                  <a:pt x="13526" y="15600"/>
                  <a:pt x="13745" y="15332"/>
                  <a:pt x="13745" y="15000"/>
                </a:cubicBezTo>
                <a:cubicBezTo>
                  <a:pt x="13745" y="14668"/>
                  <a:pt x="13526" y="14400"/>
                  <a:pt x="13255" y="14400"/>
                </a:cubicBezTo>
                <a:lnTo>
                  <a:pt x="11291" y="14400"/>
                </a:lnTo>
                <a:cubicBezTo>
                  <a:pt x="11020" y="14400"/>
                  <a:pt x="10800" y="14668"/>
                  <a:pt x="10800" y="15000"/>
                </a:cubicBezTo>
                <a:cubicBezTo>
                  <a:pt x="10800" y="15332"/>
                  <a:pt x="11020" y="15600"/>
                  <a:pt x="11291" y="15600"/>
                </a:cubicBezTo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000"/>
                </a:lnTo>
                <a:cubicBezTo>
                  <a:pt x="2945" y="3332"/>
                  <a:pt x="3165" y="3600"/>
                  <a:pt x="3436" y="3600"/>
                </a:cubicBezTo>
                <a:cubicBezTo>
                  <a:pt x="3708" y="3600"/>
                  <a:pt x="3927" y="3332"/>
                  <a:pt x="3927" y="3000"/>
                </a:cubicBezTo>
                <a:lnTo>
                  <a:pt x="3927" y="1200"/>
                </a:lnTo>
                <a:lnTo>
                  <a:pt x="20618" y="1200"/>
                </a:lnTo>
                <a:lnTo>
                  <a:pt x="20618" y="15600"/>
                </a:lnTo>
                <a:lnTo>
                  <a:pt x="20127" y="15600"/>
                </a:lnTo>
                <a:cubicBezTo>
                  <a:pt x="19856" y="15600"/>
                  <a:pt x="19636" y="15868"/>
                  <a:pt x="19636" y="16200"/>
                </a:cubicBezTo>
                <a:cubicBezTo>
                  <a:pt x="19636" y="16532"/>
                  <a:pt x="19856" y="16800"/>
                  <a:pt x="20127" y="16800"/>
                </a:cubicBezTo>
                <a:lnTo>
                  <a:pt x="20618" y="16800"/>
                </a:lnTo>
                <a:cubicBezTo>
                  <a:pt x="21160" y="16800"/>
                  <a:pt x="21600" y="16263"/>
                  <a:pt x="21600" y="15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091" y="13116"/>
                </a:moveTo>
                <a:lnTo>
                  <a:pt x="6156" y="13983"/>
                </a:lnTo>
                <a:lnTo>
                  <a:pt x="5747" y="15581"/>
                </a:lnTo>
                <a:cubicBezTo>
                  <a:pt x="5738" y="15620"/>
                  <a:pt x="5727" y="15657"/>
                  <a:pt x="5727" y="15700"/>
                </a:cubicBezTo>
                <a:cubicBezTo>
                  <a:pt x="5727" y="15976"/>
                  <a:pt x="5911" y="16200"/>
                  <a:pt x="6136" y="16200"/>
                </a:cubicBezTo>
                <a:cubicBezTo>
                  <a:pt x="6221" y="16200"/>
                  <a:pt x="6296" y="16164"/>
                  <a:pt x="6360" y="16110"/>
                </a:cubicBezTo>
                <a:lnTo>
                  <a:pt x="7364" y="15301"/>
                </a:lnTo>
                <a:lnTo>
                  <a:pt x="8364" y="16116"/>
                </a:lnTo>
                <a:cubicBezTo>
                  <a:pt x="8364" y="16116"/>
                  <a:pt x="8424" y="16200"/>
                  <a:pt x="8591" y="16200"/>
                </a:cubicBezTo>
                <a:cubicBezTo>
                  <a:pt x="8817" y="16200"/>
                  <a:pt x="9000" y="15976"/>
                  <a:pt x="9000" y="15700"/>
                </a:cubicBezTo>
                <a:cubicBezTo>
                  <a:pt x="9000" y="15657"/>
                  <a:pt x="8983" y="15622"/>
                  <a:pt x="8974" y="15583"/>
                </a:cubicBezTo>
                <a:lnTo>
                  <a:pt x="8572" y="13983"/>
                </a:lnTo>
                <a:lnTo>
                  <a:pt x="9636" y="13116"/>
                </a:lnTo>
                <a:cubicBezTo>
                  <a:pt x="9636" y="13116"/>
                  <a:pt x="9818" y="13030"/>
                  <a:pt x="9818" y="12700"/>
                </a:cubicBezTo>
                <a:cubicBezTo>
                  <a:pt x="9818" y="12424"/>
                  <a:pt x="9635" y="12200"/>
                  <a:pt x="9409" y="12200"/>
                </a:cubicBezTo>
                <a:lnTo>
                  <a:pt x="8435" y="12200"/>
                </a:lnTo>
                <a:lnTo>
                  <a:pt x="7730" y="10477"/>
                </a:lnTo>
                <a:lnTo>
                  <a:pt x="7726" y="10479"/>
                </a:lnTo>
                <a:cubicBezTo>
                  <a:pt x="7658" y="10315"/>
                  <a:pt x="7524" y="10200"/>
                  <a:pt x="7364" y="10200"/>
                </a:cubicBezTo>
                <a:cubicBezTo>
                  <a:pt x="7204" y="10200"/>
                  <a:pt x="7069" y="10315"/>
                  <a:pt x="7001" y="10479"/>
                </a:cubicBezTo>
                <a:lnTo>
                  <a:pt x="6998" y="10477"/>
                </a:lnTo>
                <a:lnTo>
                  <a:pt x="6293" y="12200"/>
                </a:lnTo>
                <a:lnTo>
                  <a:pt x="5319" y="12200"/>
                </a:lnTo>
                <a:cubicBezTo>
                  <a:pt x="5092" y="12200"/>
                  <a:pt x="4909" y="12424"/>
                  <a:pt x="4909" y="12700"/>
                </a:cubicBezTo>
                <a:cubicBezTo>
                  <a:pt x="4909" y="13030"/>
                  <a:pt x="5091" y="13116"/>
                  <a:pt x="5091" y="13116"/>
                </a:cubicBezTo>
                <a:moveTo>
                  <a:pt x="17673" y="7200"/>
                </a:moveTo>
                <a:lnTo>
                  <a:pt x="16691" y="7200"/>
                </a:lnTo>
                <a:lnTo>
                  <a:pt x="16691" y="6000"/>
                </a:lnTo>
                <a:lnTo>
                  <a:pt x="17673" y="6000"/>
                </a:lnTo>
                <a:cubicBezTo>
                  <a:pt x="17673" y="6000"/>
                  <a:pt x="17673" y="7200"/>
                  <a:pt x="17673" y="7200"/>
                </a:cubicBezTo>
                <a:close/>
                <a:moveTo>
                  <a:pt x="17673" y="10947"/>
                </a:moveTo>
                <a:cubicBezTo>
                  <a:pt x="17102" y="11278"/>
                  <a:pt x="16691" y="12157"/>
                  <a:pt x="16691" y="13200"/>
                </a:cubicBezTo>
                <a:cubicBezTo>
                  <a:pt x="16691" y="14244"/>
                  <a:pt x="17102" y="15122"/>
                  <a:pt x="17673" y="15453"/>
                </a:cubicBezTo>
                <a:lnTo>
                  <a:pt x="17673" y="18000"/>
                </a:lnTo>
                <a:lnTo>
                  <a:pt x="982" y="18000"/>
                </a:lnTo>
                <a:lnTo>
                  <a:pt x="982" y="15453"/>
                </a:lnTo>
                <a:cubicBezTo>
                  <a:pt x="1552" y="15122"/>
                  <a:pt x="1964" y="14244"/>
                  <a:pt x="1964" y="13200"/>
                </a:cubicBezTo>
                <a:cubicBezTo>
                  <a:pt x="1964" y="12157"/>
                  <a:pt x="1552" y="11278"/>
                  <a:pt x="982" y="10947"/>
                </a:cubicBezTo>
                <a:lnTo>
                  <a:pt x="982" y="8400"/>
                </a:lnTo>
                <a:lnTo>
                  <a:pt x="17673" y="8400"/>
                </a:lnTo>
                <a:cubicBezTo>
                  <a:pt x="17673" y="8400"/>
                  <a:pt x="17673" y="10947"/>
                  <a:pt x="17673" y="10947"/>
                </a:cubicBezTo>
                <a:close/>
                <a:moveTo>
                  <a:pt x="17673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673" y="19200"/>
                </a:lnTo>
                <a:cubicBezTo>
                  <a:pt x="17673" y="19200"/>
                  <a:pt x="17673" y="20400"/>
                  <a:pt x="17673" y="20400"/>
                </a:cubicBezTo>
                <a:close/>
                <a:moveTo>
                  <a:pt x="15709" y="20400"/>
                </a:moveTo>
                <a:lnTo>
                  <a:pt x="982" y="20400"/>
                </a:lnTo>
                <a:lnTo>
                  <a:pt x="982" y="19200"/>
                </a:lnTo>
                <a:lnTo>
                  <a:pt x="15709" y="19200"/>
                </a:lnTo>
                <a:cubicBezTo>
                  <a:pt x="15709" y="19200"/>
                  <a:pt x="15709" y="20400"/>
                  <a:pt x="15709" y="20400"/>
                </a:cubicBezTo>
                <a:close/>
                <a:moveTo>
                  <a:pt x="982" y="6000"/>
                </a:moveTo>
                <a:lnTo>
                  <a:pt x="15709" y="6000"/>
                </a:lnTo>
                <a:lnTo>
                  <a:pt x="15709" y="7200"/>
                </a:lnTo>
                <a:lnTo>
                  <a:pt x="982" y="7200"/>
                </a:lnTo>
                <a:cubicBezTo>
                  <a:pt x="982" y="7200"/>
                  <a:pt x="982" y="6000"/>
                  <a:pt x="982" y="6000"/>
                </a:cubicBezTo>
                <a:close/>
                <a:moveTo>
                  <a:pt x="17673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11400"/>
                </a:lnTo>
                <a:cubicBezTo>
                  <a:pt x="0" y="11732"/>
                  <a:pt x="220" y="12000"/>
                  <a:pt x="491" y="12000"/>
                </a:cubicBezTo>
                <a:cubicBezTo>
                  <a:pt x="762" y="12000"/>
                  <a:pt x="982" y="12538"/>
                  <a:pt x="982" y="13200"/>
                </a:cubicBezTo>
                <a:cubicBezTo>
                  <a:pt x="982" y="13862"/>
                  <a:pt x="762" y="14400"/>
                  <a:pt x="491" y="14400"/>
                </a:cubicBezTo>
                <a:cubicBezTo>
                  <a:pt x="220" y="14400"/>
                  <a:pt x="0" y="14668"/>
                  <a:pt x="0" y="15000"/>
                </a:cubicBezTo>
                <a:lnTo>
                  <a:pt x="0" y="20400"/>
                </a:lnTo>
                <a:cubicBezTo>
                  <a:pt x="0" y="21063"/>
                  <a:pt x="439" y="21600"/>
                  <a:pt x="982" y="21600"/>
                </a:cubicBezTo>
                <a:lnTo>
                  <a:pt x="17673" y="21600"/>
                </a:lnTo>
                <a:cubicBezTo>
                  <a:pt x="18214" y="21600"/>
                  <a:pt x="18655" y="21063"/>
                  <a:pt x="18655" y="20400"/>
                </a:cubicBezTo>
                <a:lnTo>
                  <a:pt x="18655" y="15000"/>
                </a:lnTo>
                <a:cubicBezTo>
                  <a:pt x="18655" y="14668"/>
                  <a:pt x="18435" y="14400"/>
                  <a:pt x="18164" y="14400"/>
                </a:cubicBezTo>
                <a:cubicBezTo>
                  <a:pt x="17892" y="14400"/>
                  <a:pt x="17673" y="13862"/>
                  <a:pt x="17673" y="13200"/>
                </a:cubicBezTo>
                <a:cubicBezTo>
                  <a:pt x="17673" y="12538"/>
                  <a:pt x="17892" y="12000"/>
                  <a:pt x="18164" y="12000"/>
                </a:cubicBezTo>
                <a:cubicBezTo>
                  <a:pt x="18435" y="12000"/>
                  <a:pt x="18655" y="11732"/>
                  <a:pt x="18655" y="11400"/>
                </a:cubicBezTo>
                <a:lnTo>
                  <a:pt x="18655" y="6000"/>
                </a:lnTo>
                <a:cubicBezTo>
                  <a:pt x="18655" y="5338"/>
                  <a:pt x="18214" y="4800"/>
                  <a:pt x="17673" y="480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36" name="Shape 2736"/>
          <p:cNvSpPr/>
          <p:nvPr/>
        </p:nvSpPr>
        <p:spPr>
          <a:xfrm>
            <a:off x="5146947" y="5172485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45" y="2945"/>
                </a:moveTo>
                <a:lnTo>
                  <a:pt x="18655" y="2945"/>
                </a:lnTo>
                <a:lnTo>
                  <a:pt x="18655" y="18655"/>
                </a:lnTo>
                <a:lnTo>
                  <a:pt x="2945" y="18655"/>
                </a:lnTo>
                <a:cubicBezTo>
                  <a:pt x="2945" y="18655"/>
                  <a:pt x="2945" y="2945"/>
                  <a:pt x="2945" y="2945"/>
                </a:cubicBezTo>
                <a:close/>
                <a:moveTo>
                  <a:pt x="1964" y="19636"/>
                </a:moveTo>
                <a:lnTo>
                  <a:pt x="19636" y="19636"/>
                </a:lnTo>
                <a:lnTo>
                  <a:pt x="19636" y="1964"/>
                </a:lnTo>
                <a:lnTo>
                  <a:pt x="1964" y="1964"/>
                </a:lnTo>
                <a:cubicBezTo>
                  <a:pt x="1964" y="1964"/>
                  <a:pt x="1964" y="19636"/>
                  <a:pt x="1964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37" name="Shape 2737"/>
          <p:cNvSpPr/>
          <p:nvPr/>
        </p:nvSpPr>
        <p:spPr>
          <a:xfrm>
            <a:off x="5680208" y="5172485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12273"/>
                  <a:pt x="12273" y="12273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1291" y="11291"/>
                </a:lnTo>
                <a:cubicBezTo>
                  <a:pt x="11291" y="11291"/>
                  <a:pt x="11291" y="19636"/>
                  <a:pt x="11291" y="19636"/>
                </a:cubicBezTo>
                <a:close/>
                <a:moveTo>
                  <a:pt x="12273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12273" y="9327"/>
                </a:lnTo>
                <a:cubicBezTo>
                  <a:pt x="12273" y="9327"/>
                  <a:pt x="12273" y="2945"/>
                  <a:pt x="12273" y="2945"/>
                </a:cubicBezTo>
                <a:close/>
                <a:moveTo>
                  <a:pt x="11291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0309"/>
                  <a:pt x="11291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945" y="2945"/>
                </a:moveTo>
                <a:lnTo>
                  <a:pt x="9327" y="2945"/>
                </a:lnTo>
                <a:lnTo>
                  <a:pt x="9327" y="9327"/>
                </a:lnTo>
                <a:lnTo>
                  <a:pt x="2945" y="9327"/>
                </a:lnTo>
                <a:cubicBezTo>
                  <a:pt x="2945" y="9327"/>
                  <a:pt x="2945" y="2945"/>
                  <a:pt x="2945" y="2945"/>
                </a:cubicBezTo>
                <a:close/>
                <a:moveTo>
                  <a:pt x="1964" y="10309"/>
                </a:moveTo>
                <a:lnTo>
                  <a:pt x="10309" y="10309"/>
                </a:lnTo>
                <a:lnTo>
                  <a:pt x="10309" y="1964"/>
                </a:lnTo>
                <a:lnTo>
                  <a:pt x="1964" y="1964"/>
                </a:lnTo>
                <a:cubicBezTo>
                  <a:pt x="1964" y="1964"/>
                  <a:pt x="1964" y="10309"/>
                  <a:pt x="1964" y="10309"/>
                </a:cubicBezTo>
                <a:close/>
                <a:moveTo>
                  <a:pt x="2945" y="12273"/>
                </a:moveTo>
                <a:lnTo>
                  <a:pt x="9327" y="12273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38" name="Shape 2738"/>
          <p:cNvSpPr/>
          <p:nvPr/>
        </p:nvSpPr>
        <p:spPr>
          <a:xfrm>
            <a:off x="880859" y="57057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45" y="2945"/>
                </a:moveTo>
                <a:lnTo>
                  <a:pt x="9327" y="2945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2945"/>
                  <a:pt x="2945" y="2945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964"/>
                </a:lnTo>
                <a:lnTo>
                  <a:pt x="1964" y="1964"/>
                </a:lnTo>
                <a:cubicBezTo>
                  <a:pt x="1964" y="1964"/>
                  <a:pt x="1964" y="19636"/>
                  <a:pt x="1964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273" y="2945"/>
                </a:moveTo>
                <a:lnTo>
                  <a:pt x="18655" y="2945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2945"/>
                  <a:pt x="12273" y="2945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9636"/>
                  <a:pt x="11291" y="19636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39" name="Shape 2739"/>
          <p:cNvSpPr/>
          <p:nvPr/>
        </p:nvSpPr>
        <p:spPr>
          <a:xfrm>
            <a:off x="1414120" y="57057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45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2945" y="9327"/>
                </a:lnTo>
                <a:cubicBezTo>
                  <a:pt x="2945" y="9327"/>
                  <a:pt x="2945" y="2945"/>
                  <a:pt x="2945" y="2945"/>
                </a:cubicBezTo>
                <a:close/>
                <a:moveTo>
                  <a:pt x="1964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964" y="1964"/>
                </a:lnTo>
                <a:cubicBezTo>
                  <a:pt x="1964" y="1964"/>
                  <a:pt x="1964" y="10309"/>
                  <a:pt x="1964" y="10309"/>
                </a:cubicBezTo>
                <a:close/>
                <a:moveTo>
                  <a:pt x="2945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40" name="Shape 2740"/>
          <p:cNvSpPr/>
          <p:nvPr/>
        </p:nvSpPr>
        <p:spPr>
          <a:xfrm>
            <a:off x="1947381" y="57057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2945"/>
                </a:moveTo>
                <a:lnTo>
                  <a:pt x="18655" y="2945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2945"/>
                  <a:pt x="12273" y="2945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9636"/>
                  <a:pt x="11291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945" y="2945"/>
                </a:moveTo>
                <a:lnTo>
                  <a:pt x="9327" y="2945"/>
                </a:lnTo>
                <a:lnTo>
                  <a:pt x="9327" y="9327"/>
                </a:lnTo>
                <a:lnTo>
                  <a:pt x="2945" y="9327"/>
                </a:lnTo>
                <a:cubicBezTo>
                  <a:pt x="2945" y="9327"/>
                  <a:pt x="2945" y="2945"/>
                  <a:pt x="2945" y="2945"/>
                </a:cubicBezTo>
                <a:close/>
                <a:moveTo>
                  <a:pt x="1964" y="10309"/>
                </a:moveTo>
                <a:lnTo>
                  <a:pt x="10309" y="10309"/>
                </a:lnTo>
                <a:lnTo>
                  <a:pt x="10309" y="1964"/>
                </a:lnTo>
                <a:lnTo>
                  <a:pt x="1964" y="1964"/>
                </a:lnTo>
                <a:cubicBezTo>
                  <a:pt x="1964" y="1964"/>
                  <a:pt x="1964" y="10309"/>
                  <a:pt x="1964" y="10309"/>
                </a:cubicBezTo>
                <a:close/>
                <a:moveTo>
                  <a:pt x="2945" y="12273"/>
                </a:moveTo>
                <a:lnTo>
                  <a:pt x="9327" y="12273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41" name="Shape 2741"/>
          <p:cNvSpPr/>
          <p:nvPr/>
        </p:nvSpPr>
        <p:spPr>
          <a:xfrm>
            <a:off x="2480642" y="57057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273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12273" y="9327"/>
                </a:lnTo>
                <a:cubicBezTo>
                  <a:pt x="12273" y="9327"/>
                  <a:pt x="12273" y="2945"/>
                  <a:pt x="12273" y="2945"/>
                </a:cubicBezTo>
                <a:close/>
                <a:moveTo>
                  <a:pt x="11291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0309"/>
                  <a:pt x="11291" y="10309"/>
                </a:cubicBezTo>
                <a:close/>
                <a:moveTo>
                  <a:pt x="2945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  <a:moveTo>
                  <a:pt x="9327" y="9327"/>
                </a:moveTo>
                <a:lnTo>
                  <a:pt x="2945" y="9327"/>
                </a:lnTo>
                <a:lnTo>
                  <a:pt x="2945" y="2945"/>
                </a:lnTo>
                <a:lnTo>
                  <a:pt x="9327" y="2945"/>
                </a:lnTo>
                <a:cubicBezTo>
                  <a:pt x="9327" y="2945"/>
                  <a:pt x="9327" y="9327"/>
                  <a:pt x="9327" y="9327"/>
                </a:cubicBezTo>
                <a:close/>
                <a:moveTo>
                  <a:pt x="10309" y="1964"/>
                </a:moveTo>
                <a:lnTo>
                  <a:pt x="1964" y="1964"/>
                </a:lnTo>
                <a:lnTo>
                  <a:pt x="1964" y="10309"/>
                </a:lnTo>
                <a:lnTo>
                  <a:pt x="10309" y="10309"/>
                </a:lnTo>
                <a:cubicBezTo>
                  <a:pt x="10309" y="10309"/>
                  <a:pt x="10309" y="1964"/>
                  <a:pt x="10309" y="1964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42" name="Shape 2742"/>
          <p:cNvSpPr/>
          <p:nvPr/>
        </p:nvSpPr>
        <p:spPr>
          <a:xfrm>
            <a:off x="3013903" y="57057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12273"/>
                  <a:pt x="12273" y="12273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1291" y="11291"/>
                </a:lnTo>
                <a:cubicBezTo>
                  <a:pt x="11291" y="11291"/>
                  <a:pt x="11291" y="19636"/>
                  <a:pt x="11291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273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12273" y="9327"/>
                </a:lnTo>
                <a:cubicBezTo>
                  <a:pt x="12273" y="9327"/>
                  <a:pt x="12273" y="2945"/>
                  <a:pt x="12273" y="2945"/>
                </a:cubicBezTo>
                <a:close/>
                <a:moveTo>
                  <a:pt x="11291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0309"/>
                  <a:pt x="11291" y="10309"/>
                </a:cubicBezTo>
                <a:close/>
                <a:moveTo>
                  <a:pt x="2945" y="2945"/>
                </a:moveTo>
                <a:lnTo>
                  <a:pt x="9327" y="2945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2945"/>
                  <a:pt x="2945" y="2945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964"/>
                </a:lnTo>
                <a:lnTo>
                  <a:pt x="1964" y="1964"/>
                </a:lnTo>
                <a:cubicBezTo>
                  <a:pt x="1964" y="1964"/>
                  <a:pt x="1964" y="19636"/>
                  <a:pt x="1964" y="19636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43" name="Shape 2743"/>
          <p:cNvSpPr/>
          <p:nvPr/>
        </p:nvSpPr>
        <p:spPr>
          <a:xfrm>
            <a:off x="3547164" y="57057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12273"/>
                  <a:pt x="12273" y="12273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1291" y="11291"/>
                </a:lnTo>
                <a:cubicBezTo>
                  <a:pt x="11291" y="11291"/>
                  <a:pt x="11291" y="19636"/>
                  <a:pt x="11291" y="19636"/>
                </a:cubicBezTo>
                <a:close/>
                <a:moveTo>
                  <a:pt x="2945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2945" y="9327"/>
                </a:lnTo>
                <a:cubicBezTo>
                  <a:pt x="2945" y="9327"/>
                  <a:pt x="2945" y="2945"/>
                  <a:pt x="2945" y="2945"/>
                </a:cubicBezTo>
                <a:close/>
                <a:moveTo>
                  <a:pt x="1964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964" y="1964"/>
                </a:lnTo>
                <a:cubicBezTo>
                  <a:pt x="1964" y="1964"/>
                  <a:pt x="1964" y="10309"/>
                  <a:pt x="1964" y="10309"/>
                </a:cubicBezTo>
                <a:close/>
                <a:moveTo>
                  <a:pt x="2945" y="12273"/>
                </a:moveTo>
                <a:lnTo>
                  <a:pt x="9327" y="12273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44" name="Shape 2744"/>
          <p:cNvSpPr/>
          <p:nvPr/>
        </p:nvSpPr>
        <p:spPr>
          <a:xfrm>
            <a:off x="4080425" y="57057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9327"/>
                </a:moveTo>
                <a:lnTo>
                  <a:pt x="12273" y="9327"/>
                </a:lnTo>
                <a:lnTo>
                  <a:pt x="12273" y="12273"/>
                </a:lnTo>
                <a:lnTo>
                  <a:pt x="9327" y="12273"/>
                </a:lnTo>
                <a:cubicBezTo>
                  <a:pt x="9327" y="12273"/>
                  <a:pt x="9327" y="9327"/>
                  <a:pt x="9327" y="9327"/>
                </a:cubicBezTo>
                <a:close/>
                <a:moveTo>
                  <a:pt x="8345" y="13255"/>
                </a:moveTo>
                <a:lnTo>
                  <a:pt x="13255" y="13255"/>
                </a:lnTo>
                <a:lnTo>
                  <a:pt x="13255" y="8345"/>
                </a:lnTo>
                <a:lnTo>
                  <a:pt x="8345" y="8345"/>
                </a:lnTo>
                <a:cubicBezTo>
                  <a:pt x="8345" y="8345"/>
                  <a:pt x="8345" y="13255"/>
                  <a:pt x="8345" y="13255"/>
                </a:cubicBezTo>
                <a:close/>
                <a:moveTo>
                  <a:pt x="9327" y="15709"/>
                </a:moveTo>
                <a:lnTo>
                  <a:pt x="12273" y="15709"/>
                </a:lnTo>
                <a:lnTo>
                  <a:pt x="12273" y="18655"/>
                </a:lnTo>
                <a:lnTo>
                  <a:pt x="9327" y="18655"/>
                </a:lnTo>
                <a:cubicBezTo>
                  <a:pt x="9327" y="18655"/>
                  <a:pt x="9327" y="15709"/>
                  <a:pt x="9327" y="15709"/>
                </a:cubicBezTo>
                <a:close/>
                <a:moveTo>
                  <a:pt x="8345" y="19636"/>
                </a:moveTo>
                <a:lnTo>
                  <a:pt x="13255" y="19636"/>
                </a:lnTo>
                <a:lnTo>
                  <a:pt x="13255" y="14727"/>
                </a:lnTo>
                <a:lnTo>
                  <a:pt x="8345" y="14727"/>
                </a:lnTo>
                <a:cubicBezTo>
                  <a:pt x="8345" y="14727"/>
                  <a:pt x="8345" y="19636"/>
                  <a:pt x="8345" y="19636"/>
                </a:cubicBezTo>
                <a:close/>
                <a:moveTo>
                  <a:pt x="15709" y="2945"/>
                </a:moveTo>
                <a:lnTo>
                  <a:pt x="18655" y="2945"/>
                </a:lnTo>
                <a:lnTo>
                  <a:pt x="18655" y="5891"/>
                </a:lnTo>
                <a:lnTo>
                  <a:pt x="15709" y="5891"/>
                </a:lnTo>
                <a:cubicBezTo>
                  <a:pt x="15709" y="5891"/>
                  <a:pt x="15709" y="2945"/>
                  <a:pt x="15709" y="2945"/>
                </a:cubicBezTo>
                <a:close/>
                <a:moveTo>
                  <a:pt x="14727" y="6873"/>
                </a:moveTo>
                <a:lnTo>
                  <a:pt x="19636" y="6873"/>
                </a:lnTo>
                <a:lnTo>
                  <a:pt x="19636" y="1964"/>
                </a:lnTo>
                <a:lnTo>
                  <a:pt x="14727" y="1964"/>
                </a:lnTo>
                <a:cubicBezTo>
                  <a:pt x="14727" y="1964"/>
                  <a:pt x="14727" y="6873"/>
                  <a:pt x="14727" y="6873"/>
                </a:cubicBezTo>
                <a:close/>
                <a:moveTo>
                  <a:pt x="15709" y="9327"/>
                </a:moveTo>
                <a:lnTo>
                  <a:pt x="18655" y="9327"/>
                </a:lnTo>
                <a:lnTo>
                  <a:pt x="18655" y="12273"/>
                </a:lnTo>
                <a:lnTo>
                  <a:pt x="15709" y="12273"/>
                </a:lnTo>
                <a:cubicBezTo>
                  <a:pt x="15709" y="12273"/>
                  <a:pt x="15709" y="9327"/>
                  <a:pt x="15709" y="9327"/>
                </a:cubicBezTo>
                <a:close/>
                <a:moveTo>
                  <a:pt x="14727" y="13255"/>
                </a:moveTo>
                <a:lnTo>
                  <a:pt x="19636" y="13255"/>
                </a:lnTo>
                <a:lnTo>
                  <a:pt x="19636" y="8345"/>
                </a:lnTo>
                <a:lnTo>
                  <a:pt x="14727" y="8345"/>
                </a:lnTo>
                <a:cubicBezTo>
                  <a:pt x="14727" y="8345"/>
                  <a:pt x="14727" y="13255"/>
                  <a:pt x="14727" y="13255"/>
                </a:cubicBezTo>
                <a:close/>
                <a:moveTo>
                  <a:pt x="9327" y="2945"/>
                </a:moveTo>
                <a:lnTo>
                  <a:pt x="12273" y="2945"/>
                </a:lnTo>
                <a:lnTo>
                  <a:pt x="12273" y="5891"/>
                </a:lnTo>
                <a:lnTo>
                  <a:pt x="9327" y="5891"/>
                </a:lnTo>
                <a:cubicBezTo>
                  <a:pt x="9327" y="5891"/>
                  <a:pt x="9327" y="2945"/>
                  <a:pt x="9327" y="2945"/>
                </a:cubicBezTo>
                <a:close/>
                <a:moveTo>
                  <a:pt x="8345" y="6873"/>
                </a:moveTo>
                <a:lnTo>
                  <a:pt x="13255" y="6873"/>
                </a:lnTo>
                <a:lnTo>
                  <a:pt x="13255" y="1964"/>
                </a:lnTo>
                <a:lnTo>
                  <a:pt x="8345" y="1964"/>
                </a:lnTo>
                <a:cubicBezTo>
                  <a:pt x="8345" y="1964"/>
                  <a:pt x="8345" y="6873"/>
                  <a:pt x="8345" y="6873"/>
                </a:cubicBezTo>
                <a:close/>
                <a:moveTo>
                  <a:pt x="2945" y="9327"/>
                </a:moveTo>
                <a:lnTo>
                  <a:pt x="5891" y="9327"/>
                </a:lnTo>
                <a:lnTo>
                  <a:pt x="5891" y="12273"/>
                </a:lnTo>
                <a:lnTo>
                  <a:pt x="2945" y="12273"/>
                </a:lnTo>
                <a:cubicBezTo>
                  <a:pt x="2945" y="12273"/>
                  <a:pt x="2945" y="9327"/>
                  <a:pt x="2945" y="9327"/>
                </a:cubicBezTo>
                <a:close/>
                <a:moveTo>
                  <a:pt x="1964" y="13255"/>
                </a:moveTo>
                <a:lnTo>
                  <a:pt x="6873" y="13255"/>
                </a:lnTo>
                <a:lnTo>
                  <a:pt x="6873" y="8345"/>
                </a:lnTo>
                <a:lnTo>
                  <a:pt x="1964" y="8345"/>
                </a:lnTo>
                <a:cubicBezTo>
                  <a:pt x="1964" y="8345"/>
                  <a:pt x="1964" y="13255"/>
                  <a:pt x="1964" y="13255"/>
                </a:cubicBezTo>
                <a:close/>
                <a:moveTo>
                  <a:pt x="2945" y="2945"/>
                </a:moveTo>
                <a:lnTo>
                  <a:pt x="5891" y="2945"/>
                </a:lnTo>
                <a:lnTo>
                  <a:pt x="5891" y="5891"/>
                </a:lnTo>
                <a:lnTo>
                  <a:pt x="2945" y="5891"/>
                </a:lnTo>
                <a:cubicBezTo>
                  <a:pt x="2945" y="5891"/>
                  <a:pt x="2945" y="2945"/>
                  <a:pt x="2945" y="2945"/>
                </a:cubicBezTo>
                <a:close/>
                <a:moveTo>
                  <a:pt x="1964" y="6873"/>
                </a:moveTo>
                <a:lnTo>
                  <a:pt x="6873" y="6873"/>
                </a:lnTo>
                <a:lnTo>
                  <a:pt x="6873" y="1964"/>
                </a:lnTo>
                <a:lnTo>
                  <a:pt x="1964" y="1964"/>
                </a:lnTo>
                <a:cubicBezTo>
                  <a:pt x="1964" y="1964"/>
                  <a:pt x="1964" y="6873"/>
                  <a:pt x="1964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945" y="15709"/>
                </a:moveTo>
                <a:lnTo>
                  <a:pt x="5891" y="15709"/>
                </a:lnTo>
                <a:lnTo>
                  <a:pt x="5891" y="18655"/>
                </a:lnTo>
                <a:lnTo>
                  <a:pt x="2945" y="18655"/>
                </a:lnTo>
                <a:cubicBezTo>
                  <a:pt x="2945" y="18655"/>
                  <a:pt x="2945" y="15709"/>
                  <a:pt x="2945" y="15709"/>
                </a:cubicBezTo>
                <a:close/>
                <a:moveTo>
                  <a:pt x="1964" y="19636"/>
                </a:moveTo>
                <a:lnTo>
                  <a:pt x="6873" y="19636"/>
                </a:lnTo>
                <a:lnTo>
                  <a:pt x="6873" y="14727"/>
                </a:lnTo>
                <a:lnTo>
                  <a:pt x="1964" y="14727"/>
                </a:lnTo>
                <a:cubicBezTo>
                  <a:pt x="1964" y="14727"/>
                  <a:pt x="1964" y="19636"/>
                  <a:pt x="1964" y="19636"/>
                </a:cubicBezTo>
                <a:close/>
                <a:moveTo>
                  <a:pt x="15709" y="15709"/>
                </a:moveTo>
                <a:lnTo>
                  <a:pt x="18655" y="15709"/>
                </a:lnTo>
                <a:lnTo>
                  <a:pt x="18655" y="18655"/>
                </a:lnTo>
                <a:lnTo>
                  <a:pt x="15709" y="18655"/>
                </a:lnTo>
                <a:cubicBezTo>
                  <a:pt x="15709" y="18655"/>
                  <a:pt x="15709" y="15709"/>
                  <a:pt x="15709" y="15709"/>
                </a:cubicBezTo>
                <a:close/>
                <a:moveTo>
                  <a:pt x="14727" y="19636"/>
                </a:moveTo>
                <a:lnTo>
                  <a:pt x="19636" y="19636"/>
                </a:lnTo>
                <a:lnTo>
                  <a:pt x="19636" y="14727"/>
                </a:lnTo>
                <a:lnTo>
                  <a:pt x="14727" y="14727"/>
                </a:lnTo>
                <a:cubicBezTo>
                  <a:pt x="14727" y="14727"/>
                  <a:pt x="14727" y="19636"/>
                  <a:pt x="14727" y="19636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45" name="Shape 2745"/>
          <p:cNvSpPr/>
          <p:nvPr/>
        </p:nvSpPr>
        <p:spPr>
          <a:xfrm>
            <a:off x="4613686" y="57057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3745" y="20618"/>
                </a:lnTo>
                <a:cubicBezTo>
                  <a:pt x="13204" y="20618"/>
                  <a:pt x="12764" y="20178"/>
                  <a:pt x="12764" y="19636"/>
                </a:cubicBezTo>
                <a:lnTo>
                  <a:pt x="12764" y="13745"/>
                </a:lnTo>
                <a:cubicBezTo>
                  <a:pt x="12764" y="13204"/>
                  <a:pt x="13204" y="12764"/>
                  <a:pt x="13745" y="12764"/>
                </a:cubicBezTo>
                <a:lnTo>
                  <a:pt x="19636" y="12764"/>
                </a:lnTo>
                <a:cubicBezTo>
                  <a:pt x="20178" y="12764"/>
                  <a:pt x="20618" y="13204"/>
                  <a:pt x="20618" y="13745"/>
                </a:cubicBezTo>
                <a:cubicBezTo>
                  <a:pt x="20618" y="13745"/>
                  <a:pt x="20618" y="19636"/>
                  <a:pt x="20618" y="19636"/>
                </a:cubicBezTo>
                <a:close/>
                <a:moveTo>
                  <a:pt x="19636" y="11782"/>
                </a:moveTo>
                <a:lnTo>
                  <a:pt x="13745" y="11782"/>
                </a:lnTo>
                <a:cubicBezTo>
                  <a:pt x="12661" y="11782"/>
                  <a:pt x="11782" y="12661"/>
                  <a:pt x="11782" y="13745"/>
                </a:cubicBezTo>
                <a:lnTo>
                  <a:pt x="11782" y="19636"/>
                </a:lnTo>
                <a:cubicBezTo>
                  <a:pt x="11782" y="20721"/>
                  <a:pt x="12661" y="21600"/>
                  <a:pt x="13745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3745"/>
                </a:lnTo>
                <a:cubicBezTo>
                  <a:pt x="21600" y="12661"/>
                  <a:pt x="20721" y="11782"/>
                  <a:pt x="19636" y="11782"/>
                </a:cubicBezTo>
                <a:moveTo>
                  <a:pt x="20618" y="7855"/>
                </a:moveTo>
                <a:cubicBezTo>
                  <a:pt x="20618" y="8396"/>
                  <a:pt x="20178" y="8836"/>
                  <a:pt x="19636" y="8836"/>
                </a:cubicBezTo>
                <a:lnTo>
                  <a:pt x="13745" y="8836"/>
                </a:lnTo>
                <a:cubicBezTo>
                  <a:pt x="13204" y="8836"/>
                  <a:pt x="12764" y="8396"/>
                  <a:pt x="12764" y="7855"/>
                </a:cubicBezTo>
                <a:lnTo>
                  <a:pt x="12764" y="1964"/>
                </a:lnTo>
                <a:cubicBezTo>
                  <a:pt x="12764" y="1422"/>
                  <a:pt x="13204" y="982"/>
                  <a:pt x="13745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7855"/>
                  <a:pt x="20618" y="7855"/>
                </a:cubicBezTo>
                <a:close/>
                <a:moveTo>
                  <a:pt x="19636" y="0"/>
                </a:moveTo>
                <a:lnTo>
                  <a:pt x="13745" y="0"/>
                </a:lnTo>
                <a:cubicBezTo>
                  <a:pt x="12661" y="0"/>
                  <a:pt x="11782" y="879"/>
                  <a:pt x="11782" y="1964"/>
                </a:cubicBezTo>
                <a:lnTo>
                  <a:pt x="11782" y="7855"/>
                </a:lnTo>
                <a:cubicBezTo>
                  <a:pt x="11782" y="8939"/>
                  <a:pt x="12661" y="9818"/>
                  <a:pt x="13745" y="9818"/>
                </a:cubicBezTo>
                <a:lnTo>
                  <a:pt x="19636" y="9818"/>
                </a:lnTo>
                <a:cubicBezTo>
                  <a:pt x="20721" y="9818"/>
                  <a:pt x="21600" y="8939"/>
                  <a:pt x="21600" y="7855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8836" y="7855"/>
                </a:moveTo>
                <a:cubicBezTo>
                  <a:pt x="8836" y="8396"/>
                  <a:pt x="8396" y="8836"/>
                  <a:pt x="7855" y="8836"/>
                </a:cubicBezTo>
                <a:lnTo>
                  <a:pt x="1964" y="8836"/>
                </a:lnTo>
                <a:cubicBezTo>
                  <a:pt x="1421" y="8836"/>
                  <a:pt x="982" y="8396"/>
                  <a:pt x="982" y="7855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7855" y="982"/>
                </a:lnTo>
                <a:cubicBezTo>
                  <a:pt x="8396" y="982"/>
                  <a:pt x="8836" y="1422"/>
                  <a:pt x="8836" y="1964"/>
                </a:cubicBezTo>
                <a:cubicBezTo>
                  <a:pt x="8836" y="1964"/>
                  <a:pt x="8836" y="7855"/>
                  <a:pt x="8836" y="7855"/>
                </a:cubicBezTo>
                <a:close/>
                <a:moveTo>
                  <a:pt x="7855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7855"/>
                </a:lnTo>
                <a:cubicBezTo>
                  <a:pt x="0" y="8939"/>
                  <a:pt x="879" y="9818"/>
                  <a:pt x="1964" y="9818"/>
                </a:cubicBezTo>
                <a:lnTo>
                  <a:pt x="7855" y="9818"/>
                </a:lnTo>
                <a:cubicBezTo>
                  <a:pt x="8939" y="9818"/>
                  <a:pt x="9818" y="8939"/>
                  <a:pt x="9818" y="7855"/>
                </a:cubicBezTo>
                <a:lnTo>
                  <a:pt x="9818" y="1964"/>
                </a:lnTo>
                <a:cubicBezTo>
                  <a:pt x="9818" y="879"/>
                  <a:pt x="8939" y="0"/>
                  <a:pt x="7855" y="0"/>
                </a:cubicBezTo>
                <a:moveTo>
                  <a:pt x="8836" y="19636"/>
                </a:moveTo>
                <a:cubicBezTo>
                  <a:pt x="8836" y="20178"/>
                  <a:pt x="8396" y="20618"/>
                  <a:pt x="7855" y="20618"/>
                </a:cubicBez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3745"/>
                </a:lnTo>
                <a:cubicBezTo>
                  <a:pt x="982" y="13204"/>
                  <a:pt x="1421" y="12764"/>
                  <a:pt x="1964" y="12764"/>
                </a:cubicBezTo>
                <a:lnTo>
                  <a:pt x="7855" y="12764"/>
                </a:lnTo>
                <a:cubicBezTo>
                  <a:pt x="8396" y="12764"/>
                  <a:pt x="8836" y="13204"/>
                  <a:pt x="8836" y="13745"/>
                </a:cubicBezTo>
                <a:cubicBezTo>
                  <a:pt x="8836" y="13745"/>
                  <a:pt x="8836" y="19636"/>
                  <a:pt x="8836" y="19636"/>
                </a:cubicBezTo>
                <a:close/>
                <a:moveTo>
                  <a:pt x="7855" y="11782"/>
                </a:moveTo>
                <a:lnTo>
                  <a:pt x="1964" y="11782"/>
                </a:lnTo>
                <a:cubicBezTo>
                  <a:pt x="879" y="11782"/>
                  <a:pt x="0" y="12661"/>
                  <a:pt x="0" y="13745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7855" y="21600"/>
                </a:lnTo>
                <a:cubicBezTo>
                  <a:pt x="8939" y="21600"/>
                  <a:pt x="9818" y="20721"/>
                  <a:pt x="9818" y="19636"/>
                </a:cubicBezTo>
                <a:lnTo>
                  <a:pt x="9818" y="13745"/>
                </a:lnTo>
                <a:cubicBezTo>
                  <a:pt x="9818" y="12661"/>
                  <a:pt x="8939" y="11782"/>
                  <a:pt x="7855" y="11782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46" name="Shape 2746"/>
          <p:cNvSpPr/>
          <p:nvPr/>
        </p:nvSpPr>
        <p:spPr>
          <a:xfrm>
            <a:off x="5146947" y="57057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764"/>
                </a:moveTo>
                <a:lnTo>
                  <a:pt x="16691" y="12764"/>
                </a:lnTo>
                <a:lnTo>
                  <a:pt x="16691" y="8836"/>
                </a:lnTo>
                <a:lnTo>
                  <a:pt x="20618" y="8836"/>
                </a:lnTo>
                <a:cubicBezTo>
                  <a:pt x="20618" y="8836"/>
                  <a:pt x="20618" y="12764"/>
                  <a:pt x="20618" y="12764"/>
                </a:cubicBezTo>
                <a:close/>
                <a:moveTo>
                  <a:pt x="20618" y="7855"/>
                </a:moveTo>
                <a:lnTo>
                  <a:pt x="16691" y="7855"/>
                </a:lnTo>
                <a:cubicBezTo>
                  <a:pt x="16149" y="7855"/>
                  <a:pt x="15709" y="8295"/>
                  <a:pt x="15709" y="8836"/>
                </a:cubicBezTo>
                <a:lnTo>
                  <a:pt x="15709" y="12764"/>
                </a:lnTo>
                <a:cubicBezTo>
                  <a:pt x="15709" y="13305"/>
                  <a:pt x="16149" y="13745"/>
                  <a:pt x="16691" y="13745"/>
                </a:cubicBezTo>
                <a:lnTo>
                  <a:pt x="20618" y="13745"/>
                </a:lnTo>
                <a:cubicBezTo>
                  <a:pt x="21160" y="13745"/>
                  <a:pt x="21600" y="13305"/>
                  <a:pt x="21600" y="12764"/>
                </a:cubicBezTo>
                <a:lnTo>
                  <a:pt x="21600" y="8836"/>
                </a:lnTo>
                <a:cubicBezTo>
                  <a:pt x="21600" y="8295"/>
                  <a:pt x="21160" y="7855"/>
                  <a:pt x="20618" y="7855"/>
                </a:cubicBezTo>
                <a:moveTo>
                  <a:pt x="12764" y="20618"/>
                </a:moveTo>
                <a:lnTo>
                  <a:pt x="8836" y="20618"/>
                </a:lnTo>
                <a:lnTo>
                  <a:pt x="8836" y="16691"/>
                </a:lnTo>
                <a:lnTo>
                  <a:pt x="12764" y="16691"/>
                </a:lnTo>
                <a:cubicBezTo>
                  <a:pt x="12764" y="16691"/>
                  <a:pt x="12764" y="20618"/>
                  <a:pt x="12764" y="20618"/>
                </a:cubicBezTo>
                <a:close/>
                <a:moveTo>
                  <a:pt x="12764" y="15709"/>
                </a:moveTo>
                <a:lnTo>
                  <a:pt x="8836" y="15709"/>
                </a:lnTo>
                <a:cubicBezTo>
                  <a:pt x="8295" y="15709"/>
                  <a:pt x="7855" y="16149"/>
                  <a:pt x="7855" y="16691"/>
                </a:cubicBezTo>
                <a:lnTo>
                  <a:pt x="7855" y="20618"/>
                </a:lnTo>
                <a:cubicBezTo>
                  <a:pt x="7855" y="21160"/>
                  <a:pt x="8295" y="21600"/>
                  <a:pt x="8836" y="21600"/>
                </a:cubicBezTo>
                <a:lnTo>
                  <a:pt x="12764" y="21600"/>
                </a:lnTo>
                <a:cubicBezTo>
                  <a:pt x="13305" y="21600"/>
                  <a:pt x="13745" y="21160"/>
                  <a:pt x="13745" y="20618"/>
                </a:cubicBezTo>
                <a:lnTo>
                  <a:pt x="13745" y="16691"/>
                </a:lnTo>
                <a:cubicBezTo>
                  <a:pt x="13745" y="16149"/>
                  <a:pt x="13305" y="15709"/>
                  <a:pt x="12764" y="15709"/>
                </a:cubicBezTo>
                <a:moveTo>
                  <a:pt x="12764" y="12764"/>
                </a:moveTo>
                <a:lnTo>
                  <a:pt x="8836" y="12764"/>
                </a:lnTo>
                <a:lnTo>
                  <a:pt x="8836" y="8836"/>
                </a:lnTo>
                <a:lnTo>
                  <a:pt x="12764" y="8836"/>
                </a:lnTo>
                <a:cubicBezTo>
                  <a:pt x="12764" y="8836"/>
                  <a:pt x="12764" y="12764"/>
                  <a:pt x="12764" y="12764"/>
                </a:cubicBezTo>
                <a:close/>
                <a:moveTo>
                  <a:pt x="12764" y="7855"/>
                </a:moveTo>
                <a:lnTo>
                  <a:pt x="8836" y="7855"/>
                </a:lnTo>
                <a:cubicBezTo>
                  <a:pt x="8295" y="7855"/>
                  <a:pt x="7855" y="8295"/>
                  <a:pt x="7855" y="8836"/>
                </a:cubicBezTo>
                <a:lnTo>
                  <a:pt x="7855" y="12764"/>
                </a:lnTo>
                <a:cubicBezTo>
                  <a:pt x="7855" y="13305"/>
                  <a:pt x="8295" y="13745"/>
                  <a:pt x="8836" y="13745"/>
                </a:cubicBezTo>
                <a:lnTo>
                  <a:pt x="12764" y="13745"/>
                </a:lnTo>
                <a:cubicBezTo>
                  <a:pt x="13305" y="13745"/>
                  <a:pt x="13745" y="13305"/>
                  <a:pt x="13745" y="12764"/>
                </a:cubicBezTo>
                <a:lnTo>
                  <a:pt x="13745" y="8836"/>
                </a:lnTo>
                <a:cubicBezTo>
                  <a:pt x="13745" y="8295"/>
                  <a:pt x="13305" y="7855"/>
                  <a:pt x="12764" y="7855"/>
                </a:cubicBezTo>
                <a:moveTo>
                  <a:pt x="4909" y="4909"/>
                </a:moveTo>
                <a:lnTo>
                  <a:pt x="982" y="4909"/>
                </a:lnTo>
                <a:lnTo>
                  <a:pt x="982" y="982"/>
                </a:lnTo>
                <a:lnTo>
                  <a:pt x="4909" y="982"/>
                </a:lnTo>
                <a:cubicBezTo>
                  <a:pt x="4909" y="982"/>
                  <a:pt x="4909" y="4909"/>
                  <a:pt x="4909" y="4909"/>
                </a:cubicBezTo>
                <a:close/>
                <a:moveTo>
                  <a:pt x="4909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4909"/>
                </a:lnTo>
                <a:cubicBezTo>
                  <a:pt x="0" y="5451"/>
                  <a:pt x="440" y="5891"/>
                  <a:pt x="982" y="5891"/>
                </a:cubicBezTo>
                <a:lnTo>
                  <a:pt x="4909" y="5891"/>
                </a:lnTo>
                <a:cubicBezTo>
                  <a:pt x="5451" y="5891"/>
                  <a:pt x="5891" y="5451"/>
                  <a:pt x="5891" y="4909"/>
                </a:cubicBezTo>
                <a:lnTo>
                  <a:pt x="5891" y="982"/>
                </a:lnTo>
                <a:cubicBezTo>
                  <a:pt x="5891" y="440"/>
                  <a:pt x="5451" y="0"/>
                  <a:pt x="4909" y="0"/>
                </a:cubicBezTo>
                <a:moveTo>
                  <a:pt x="20618" y="20618"/>
                </a:moveTo>
                <a:lnTo>
                  <a:pt x="16691" y="20618"/>
                </a:lnTo>
                <a:lnTo>
                  <a:pt x="16691" y="16691"/>
                </a:lnTo>
                <a:lnTo>
                  <a:pt x="20618" y="16691"/>
                </a:lnTo>
                <a:cubicBezTo>
                  <a:pt x="20618" y="16691"/>
                  <a:pt x="20618" y="20618"/>
                  <a:pt x="20618" y="20618"/>
                </a:cubicBezTo>
                <a:close/>
                <a:moveTo>
                  <a:pt x="20618" y="15709"/>
                </a:moveTo>
                <a:lnTo>
                  <a:pt x="16691" y="15709"/>
                </a:lnTo>
                <a:cubicBezTo>
                  <a:pt x="16149" y="15709"/>
                  <a:pt x="15709" y="16149"/>
                  <a:pt x="15709" y="16691"/>
                </a:cubicBezTo>
                <a:lnTo>
                  <a:pt x="15709" y="20618"/>
                </a:lnTo>
                <a:cubicBezTo>
                  <a:pt x="15709" y="21160"/>
                  <a:pt x="16149" y="21600"/>
                  <a:pt x="16691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16691"/>
                </a:lnTo>
                <a:cubicBezTo>
                  <a:pt x="21600" y="16149"/>
                  <a:pt x="21160" y="15709"/>
                  <a:pt x="20618" y="15709"/>
                </a:cubicBezTo>
                <a:moveTo>
                  <a:pt x="20618" y="4909"/>
                </a:moveTo>
                <a:lnTo>
                  <a:pt x="16691" y="4909"/>
                </a:lnTo>
                <a:lnTo>
                  <a:pt x="16691" y="982"/>
                </a:lnTo>
                <a:lnTo>
                  <a:pt x="20618" y="982"/>
                </a:lnTo>
                <a:cubicBezTo>
                  <a:pt x="20618" y="982"/>
                  <a:pt x="20618" y="4909"/>
                  <a:pt x="20618" y="4909"/>
                </a:cubicBezTo>
                <a:close/>
                <a:moveTo>
                  <a:pt x="20618" y="0"/>
                </a:moveTo>
                <a:lnTo>
                  <a:pt x="16691" y="0"/>
                </a:lnTo>
                <a:cubicBezTo>
                  <a:pt x="16149" y="0"/>
                  <a:pt x="15709" y="440"/>
                  <a:pt x="15709" y="982"/>
                </a:cubicBezTo>
                <a:lnTo>
                  <a:pt x="15709" y="4909"/>
                </a:lnTo>
                <a:cubicBezTo>
                  <a:pt x="15709" y="5451"/>
                  <a:pt x="16149" y="5891"/>
                  <a:pt x="16691" y="5891"/>
                </a:cubicBezTo>
                <a:lnTo>
                  <a:pt x="20618" y="5891"/>
                </a:lnTo>
                <a:cubicBezTo>
                  <a:pt x="21160" y="5891"/>
                  <a:pt x="21600" y="5451"/>
                  <a:pt x="21600" y="4909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909" y="20618"/>
                </a:moveTo>
                <a:lnTo>
                  <a:pt x="982" y="20618"/>
                </a:lnTo>
                <a:lnTo>
                  <a:pt x="982" y="16691"/>
                </a:lnTo>
                <a:lnTo>
                  <a:pt x="4909" y="16691"/>
                </a:lnTo>
                <a:cubicBezTo>
                  <a:pt x="4909" y="16691"/>
                  <a:pt x="4909" y="20618"/>
                  <a:pt x="4909" y="20618"/>
                </a:cubicBezTo>
                <a:close/>
                <a:moveTo>
                  <a:pt x="4909" y="15709"/>
                </a:moveTo>
                <a:lnTo>
                  <a:pt x="982" y="15709"/>
                </a:lnTo>
                <a:cubicBezTo>
                  <a:pt x="440" y="15709"/>
                  <a:pt x="0" y="16149"/>
                  <a:pt x="0" y="16691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4909" y="21600"/>
                </a:lnTo>
                <a:cubicBezTo>
                  <a:pt x="5451" y="21600"/>
                  <a:pt x="5891" y="21160"/>
                  <a:pt x="5891" y="20618"/>
                </a:cubicBezTo>
                <a:lnTo>
                  <a:pt x="5891" y="16691"/>
                </a:lnTo>
                <a:cubicBezTo>
                  <a:pt x="5891" y="16149"/>
                  <a:pt x="5451" y="15709"/>
                  <a:pt x="4909" y="15709"/>
                </a:cubicBezTo>
                <a:moveTo>
                  <a:pt x="12764" y="4909"/>
                </a:moveTo>
                <a:lnTo>
                  <a:pt x="8836" y="4909"/>
                </a:lnTo>
                <a:lnTo>
                  <a:pt x="8836" y="982"/>
                </a:lnTo>
                <a:lnTo>
                  <a:pt x="12764" y="982"/>
                </a:lnTo>
                <a:cubicBezTo>
                  <a:pt x="12764" y="982"/>
                  <a:pt x="12764" y="4909"/>
                  <a:pt x="12764" y="4909"/>
                </a:cubicBezTo>
                <a:close/>
                <a:moveTo>
                  <a:pt x="12764" y="0"/>
                </a:moveTo>
                <a:lnTo>
                  <a:pt x="8836" y="0"/>
                </a:lnTo>
                <a:cubicBezTo>
                  <a:pt x="8295" y="0"/>
                  <a:pt x="7855" y="440"/>
                  <a:pt x="7855" y="982"/>
                </a:cubicBezTo>
                <a:lnTo>
                  <a:pt x="7855" y="4909"/>
                </a:lnTo>
                <a:cubicBezTo>
                  <a:pt x="7855" y="5451"/>
                  <a:pt x="8295" y="5891"/>
                  <a:pt x="8836" y="5891"/>
                </a:cubicBezTo>
                <a:lnTo>
                  <a:pt x="12764" y="5891"/>
                </a:lnTo>
                <a:cubicBezTo>
                  <a:pt x="13305" y="5891"/>
                  <a:pt x="13745" y="5451"/>
                  <a:pt x="13745" y="4909"/>
                </a:cubicBezTo>
                <a:lnTo>
                  <a:pt x="13745" y="982"/>
                </a:lnTo>
                <a:cubicBezTo>
                  <a:pt x="13745" y="440"/>
                  <a:pt x="13305" y="0"/>
                  <a:pt x="12764" y="0"/>
                </a:cubicBezTo>
                <a:moveTo>
                  <a:pt x="4909" y="12764"/>
                </a:moveTo>
                <a:lnTo>
                  <a:pt x="982" y="12764"/>
                </a:lnTo>
                <a:lnTo>
                  <a:pt x="982" y="8836"/>
                </a:lnTo>
                <a:lnTo>
                  <a:pt x="4909" y="8836"/>
                </a:lnTo>
                <a:cubicBezTo>
                  <a:pt x="4909" y="8836"/>
                  <a:pt x="4909" y="12764"/>
                  <a:pt x="4909" y="12764"/>
                </a:cubicBezTo>
                <a:close/>
                <a:moveTo>
                  <a:pt x="4909" y="7855"/>
                </a:moveTo>
                <a:lnTo>
                  <a:pt x="982" y="7855"/>
                </a:lnTo>
                <a:cubicBezTo>
                  <a:pt x="440" y="7855"/>
                  <a:pt x="0" y="8295"/>
                  <a:pt x="0" y="8836"/>
                </a:cubicBezTo>
                <a:lnTo>
                  <a:pt x="0" y="12764"/>
                </a:lnTo>
                <a:cubicBezTo>
                  <a:pt x="0" y="13305"/>
                  <a:pt x="440" y="13745"/>
                  <a:pt x="982" y="13745"/>
                </a:cubicBezTo>
                <a:lnTo>
                  <a:pt x="4909" y="13745"/>
                </a:lnTo>
                <a:cubicBezTo>
                  <a:pt x="5451" y="13745"/>
                  <a:pt x="5891" y="13305"/>
                  <a:pt x="5891" y="12764"/>
                </a:cubicBezTo>
                <a:lnTo>
                  <a:pt x="5891" y="8836"/>
                </a:lnTo>
                <a:cubicBezTo>
                  <a:pt x="5891" y="8295"/>
                  <a:pt x="5451" y="7855"/>
                  <a:pt x="4909" y="7855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47" name="Shape 2747"/>
          <p:cNvSpPr/>
          <p:nvPr/>
        </p:nvSpPr>
        <p:spPr>
          <a:xfrm>
            <a:off x="5680208" y="57057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618"/>
                </a:moveTo>
                <a:lnTo>
                  <a:pt x="8836" y="20618"/>
                </a:lnTo>
                <a:lnTo>
                  <a:pt x="8836" y="8836"/>
                </a:lnTo>
                <a:lnTo>
                  <a:pt x="20618" y="8836"/>
                </a:lnTo>
                <a:cubicBezTo>
                  <a:pt x="20618" y="8836"/>
                  <a:pt x="20618" y="20618"/>
                  <a:pt x="20618" y="20618"/>
                </a:cubicBezTo>
                <a:close/>
                <a:moveTo>
                  <a:pt x="20618" y="7855"/>
                </a:moveTo>
                <a:lnTo>
                  <a:pt x="8836" y="7855"/>
                </a:lnTo>
                <a:cubicBezTo>
                  <a:pt x="8295" y="7855"/>
                  <a:pt x="7855" y="8295"/>
                  <a:pt x="7855" y="8836"/>
                </a:cubicBezTo>
                <a:lnTo>
                  <a:pt x="7855" y="20618"/>
                </a:lnTo>
                <a:cubicBezTo>
                  <a:pt x="7855" y="21160"/>
                  <a:pt x="8295" y="21600"/>
                  <a:pt x="8836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8836"/>
                </a:lnTo>
                <a:cubicBezTo>
                  <a:pt x="21600" y="8295"/>
                  <a:pt x="21160" y="7855"/>
                  <a:pt x="20618" y="7855"/>
                </a:cubicBezTo>
                <a:moveTo>
                  <a:pt x="20618" y="4909"/>
                </a:moveTo>
                <a:lnTo>
                  <a:pt x="982" y="49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4909"/>
                  <a:pt x="20618" y="490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4909"/>
                </a:lnTo>
                <a:cubicBezTo>
                  <a:pt x="0" y="5451"/>
                  <a:pt x="440" y="5891"/>
                  <a:pt x="982" y="5891"/>
                </a:cubicBezTo>
                <a:lnTo>
                  <a:pt x="20618" y="5891"/>
                </a:lnTo>
                <a:cubicBezTo>
                  <a:pt x="21160" y="5891"/>
                  <a:pt x="21600" y="5451"/>
                  <a:pt x="21600" y="4909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909" y="20618"/>
                </a:moveTo>
                <a:lnTo>
                  <a:pt x="982" y="20618"/>
                </a:lnTo>
                <a:lnTo>
                  <a:pt x="982" y="8836"/>
                </a:lnTo>
                <a:lnTo>
                  <a:pt x="4909" y="8836"/>
                </a:lnTo>
                <a:cubicBezTo>
                  <a:pt x="4909" y="8836"/>
                  <a:pt x="4909" y="20618"/>
                  <a:pt x="4909" y="20618"/>
                </a:cubicBezTo>
                <a:close/>
                <a:moveTo>
                  <a:pt x="4909" y="7855"/>
                </a:moveTo>
                <a:lnTo>
                  <a:pt x="982" y="7855"/>
                </a:lnTo>
                <a:cubicBezTo>
                  <a:pt x="440" y="7855"/>
                  <a:pt x="0" y="8295"/>
                  <a:pt x="0" y="8836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4909" y="21600"/>
                </a:lnTo>
                <a:cubicBezTo>
                  <a:pt x="5451" y="21600"/>
                  <a:pt x="5891" y="21160"/>
                  <a:pt x="5891" y="20618"/>
                </a:cubicBezTo>
                <a:lnTo>
                  <a:pt x="5891" y="8836"/>
                </a:lnTo>
                <a:cubicBezTo>
                  <a:pt x="5891" y="8295"/>
                  <a:pt x="5451" y="7855"/>
                  <a:pt x="4909" y="7855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48" name="Shape 2748"/>
          <p:cNvSpPr/>
          <p:nvPr/>
        </p:nvSpPr>
        <p:spPr>
          <a:xfrm>
            <a:off x="6238863" y="4105950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8280" y="18579"/>
                </a:moveTo>
                <a:cubicBezTo>
                  <a:pt x="20323" y="16614"/>
                  <a:pt x="21600" y="13859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ubicBezTo>
                  <a:pt x="4836" y="0"/>
                  <a:pt x="0" y="4835"/>
                  <a:pt x="0" y="10800"/>
                </a:cubicBezTo>
                <a:cubicBezTo>
                  <a:pt x="0" y="13859"/>
                  <a:pt x="1277" y="16614"/>
                  <a:pt x="3320" y="18579"/>
                </a:cubicBezTo>
                <a:lnTo>
                  <a:pt x="2107" y="20762"/>
                </a:lnTo>
                <a:cubicBezTo>
                  <a:pt x="2019" y="20851"/>
                  <a:pt x="1964" y="20974"/>
                  <a:pt x="1964" y="21109"/>
                </a:cubicBezTo>
                <a:cubicBezTo>
                  <a:pt x="1964" y="21380"/>
                  <a:pt x="2184" y="21600"/>
                  <a:pt x="2455" y="21600"/>
                </a:cubicBezTo>
                <a:cubicBezTo>
                  <a:pt x="2590" y="21600"/>
                  <a:pt x="2713" y="21545"/>
                  <a:pt x="2802" y="21456"/>
                </a:cubicBezTo>
                <a:cubicBezTo>
                  <a:pt x="2858" y="21400"/>
                  <a:pt x="2894" y="21327"/>
                  <a:pt x="2917" y="21248"/>
                </a:cubicBezTo>
                <a:lnTo>
                  <a:pt x="4044" y="19219"/>
                </a:lnTo>
                <a:cubicBezTo>
                  <a:pt x="5895" y="20706"/>
                  <a:pt x="8242" y="21600"/>
                  <a:pt x="10800" y="21600"/>
                </a:cubicBezTo>
                <a:cubicBezTo>
                  <a:pt x="13358" y="21600"/>
                  <a:pt x="15705" y="20706"/>
                  <a:pt x="17555" y="19219"/>
                </a:cubicBezTo>
                <a:lnTo>
                  <a:pt x="18683" y="21248"/>
                </a:lnTo>
                <a:cubicBezTo>
                  <a:pt x="18743" y="21450"/>
                  <a:pt x="18923" y="21600"/>
                  <a:pt x="19145" y="21600"/>
                </a:cubicBezTo>
                <a:cubicBezTo>
                  <a:pt x="19416" y="21600"/>
                  <a:pt x="19636" y="21380"/>
                  <a:pt x="19636" y="21109"/>
                </a:cubicBezTo>
                <a:cubicBezTo>
                  <a:pt x="19636" y="20974"/>
                  <a:pt x="19581" y="20851"/>
                  <a:pt x="19493" y="20762"/>
                </a:cubicBezTo>
                <a:cubicBezTo>
                  <a:pt x="19493" y="20762"/>
                  <a:pt x="18280" y="18579"/>
                  <a:pt x="18280" y="18579"/>
                </a:cubicBezTo>
                <a:close/>
                <a:moveTo>
                  <a:pt x="10800" y="16691"/>
                </a:moveTo>
                <a:cubicBezTo>
                  <a:pt x="7547" y="16691"/>
                  <a:pt x="4909" y="14053"/>
                  <a:pt x="4909" y="10800"/>
                </a:cubicBezTo>
                <a:cubicBezTo>
                  <a:pt x="4909" y="7547"/>
                  <a:pt x="7547" y="4909"/>
                  <a:pt x="10800" y="4909"/>
                </a:cubicBezTo>
                <a:cubicBezTo>
                  <a:pt x="14053" y="4909"/>
                  <a:pt x="16691" y="7547"/>
                  <a:pt x="16691" y="10800"/>
                </a:cubicBezTo>
                <a:cubicBezTo>
                  <a:pt x="16691" y="14053"/>
                  <a:pt x="14053" y="16691"/>
                  <a:pt x="10800" y="16691"/>
                </a:cubicBezTo>
                <a:moveTo>
                  <a:pt x="10800" y="3927"/>
                </a:moveTo>
                <a:cubicBezTo>
                  <a:pt x="7004" y="3927"/>
                  <a:pt x="3927" y="7004"/>
                  <a:pt x="3927" y="10800"/>
                </a:cubicBezTo>
                <a:cubicBezTo>
                  <a:pt x="3927" y="14596"/>
                  <a:pt x="7004" y="17673"/>
                  <a:pt x="10800" y="17673"/>
                </a:cubicBezTo>
                <a:cubicBezTo>
                  <a:pt x="14596" y="17673"/>
                  <a:pt x="17673" y="14596"/>
                  <a:pt x="17673" y="10800"/>
                </a:cubicBezTo>
                <a:cubicBezTo>
                  <a:pt x="17673" y="7004"/>
                  <a:pt x="14596" y="3927"/>
                  <a:pt x="10800" y="3927"/>
                </a:cubicBezTo>
                <a:moveTo>
                  <a:pt x="10800" y="12764"/>
                </a:move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moveTo>
                  <a:pt x="10800" y="7855"/>
                </a:moveTo>
                <a:cubicBezTo>
                  <a:pt x="9173" y="7855"/>
                  <a:pt x="7855" y="9173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9173"/>
                  <a:pt x="12427" y="7855"/>
                  <a:pt x="10800" y="7855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49" name="Shape 2749"/>
          <p:cNvSpPr/>
          <p:nvPr/>
        </p:nvSpPr>
        <p:spPr>
          <a:xfrm>
            <a:off x="6822911" y="4105950"/>
            <a:ext cx="177754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2884"/>
                </a:moveTo>
                <a:cubicBezTo>
                  <a:pt x="19862" y="3005"/>
                  <a:pt x="15661" y="5580"/>
                  <a:pt x="11606" y="4718"/>
                </a:cubicBezTo>
                <a:cubicBezTo>
                  <a:pt x="9681" y="4310"/>
                  <a:pt x="8390" y="3899"/>
                  <a:pt x="7251" y="3535"/>
                </a:cubicBezTo>
                <a:cubicBezTo>
                  <a:pt x="5426" y="2953"/>
                  <a:pt x="4042" y="2513"/>
                  <a:pt x="1543" y="2647"/>
                </a:cubicBezTo>
                <a:lnTo>
                  <a:pt x="1543" y="982"/>
                </a:lnTo>
                <a:lnTo>
                  <a:pt x="20057" y="982"/>
                </a:lnTo>
                <a:cubicBezTo>
                  <a:pt x="20057" y="982"/>
                  <a:pt x="20057" y="2884"/>
                  <a:pt x="20057" y="2884"/>
                </a:cubicBezTo>
                <a:close/>
                <a:moveTo>
                  <a:pt x="20057" y="5891"/>
                </a:moveTo>
                <a:cubicBezTo>
                  <a:pt x="20057" y="9144"/>
                  <a:pt x="15912" y="11782"/>
                  <a:pt x="10800" y="11782"/>
                </a:cubicBezTo>
                <a:cubicBezTo>
                  <a:pt x="5688" y="11782"/>
                  <a:pt x="1543" y="9144"/>
                  <a:pt x="1543" y="5891"/>
                </a:cubicBezTo>
                <a:lnTo>
                  <a:pt x="1543" y="3634"/>
                </a:lnTo>
                <a:cubicBezTo>
                  <a:pt x="3681" y="3500"/>
                  <a:pt x="4767" y="3841"/>
                  <a:pt x="6560" y="4413"/>
                </a:cubicBezTo>
                <a:cubicBezTo>
                  <a:pt x="7686" y="4772"/>
                  <a:pt x="9088" y="5219"/>
                  <a:pt x="11118" y="5650"/>
                </a:cubicBezTo>
                <a:cubicBezTo>
                  <a:pt x="11869" y="5809"/>
                  <a:pt x="12616" y="5877"/>
                  <a:pt x="13343" y="5877"/>
                </a:cubicBezTo>
                <a:cubicBezTo>
                  <a:pt x="16154" y="5877"/>
                  <a:pt x="18675" y="4862"/>
                  <a:pt x="20057" y="4176"/>
                </a:cubicBezTo>
                <a:cubicBezTo>
                  <a:pt x="20057" y="4176"/>
                  <a:pt x="20057" y="5891"/>
                  <a:pt x="20057" y="5891"/>
                </a:cubicBezTo>
                <a:close/>
                <a:moveTo>
                  <a:pt x="20829" y="0"/>
                </a:moveTo>
                <a:lnTo>
                  <a:pt x="771" y="0"/>
                </a:lnTo>
                <a:cubicBezTo>
                  <a:pt x="346" y="0"/>
                  <a:pt x="0" y="220"/>
                  <a:pt x="0" y="491"/>
                </a:cubicBezTo>
                <a:lnTo>
                  <a:pt x="0" y="5891"/>
                </a:lnTo>
                <a:cubicBezTo>
                  <a:pt x="0" y="9521"/>
                  <a:pt x="4426" y="12486"/>
                  <a:pt x="10029" y="12739"/>
                </a:cubicBezTo>
                <a:lnTo>
                  <a:pt x="10029" y="20618"/>
                </a:lnTo>
                <a:lnTo>
                  <a:pt x="3857" y="20618"/>
                </a:lnTo>
                <a:cubicBezTo>
                  <a:pt x="3432" y="20618"/>
                  <a:pt x="3086" y="20838"/>
                  <a:pt x="3086" y="21109"/>
                </a:cubicBezTo>
                <a:cubicBezTo>
                  <a:pt x="3086" y="21380"/>
                  <a:pt x="3432" y="21600"/>
                  <a:pt x="3857" y="21600"/>
                </a:cubicBezTo>
                <a:lnTo>
                  <a:pt x="17743" y="21600"/>
                </a:lnTo>
                <a:cubicBezTo>
                  <a:pt x="18168" y="21600"/>
                  <a:pt x="18514" y="21380"/>
                  <a:pt x="18514" y="21109"/>
                </a:cubicBezTo>
                <a:cubicBezTo>
                  <a:pt x="18514" y="20838"/>
                  <a:pt x="18168" y="20618"/>
                  <a:pt x="17743" y="20618"/>
                </a:cubicBezTo>
                <a:lnTo>
                  <a:pt x="11571" y="20618"/>
                </a:lnTo>
                <a:lnTo>
                  <a:pt x="11571" y="12739"/>
                </a:lnTo>
                <a:cubicBezTo>
                  <a:pt x="17174" y="12486"/>
                  <a:pt x="21600" y="9521"/>
                  <a:pt x="21600" y="5891"/>
                </a:cubicBezTo>
                <a:lnTo>
                  <a:pt x="21600" y="491"/>
                </a:lnTo>
                <a:cubicBezTo>
                  <a:pt x="21600" y="220"/>
                  <a:pt x="21254" y="0"/>
                  <a:pt x="20829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50" name="Shape 2750"/>
          <p:cNvSpPr/>
          <p:nvPr/>
        </p:nvSpPr>
        <p:spPr>
          <a:xfrm>
            <a:off x="7381565" y="4105950"/>
            <a:ext cx="12696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40" y="10800"/>
                </a:moveTo>
                <a:lnTo>
                  <a:pt x="2160" y="10800"/>
                </a:lnTo>
                <a:lnTo>
                  <a:pt x="2160" y="8836"/>
                </a:lnTo>
                <a:cubicBezTo>
                  <a:pt x="2160" y="7752"/>
                  <a:pt x="4094" y="6873"/>
                  <a:pt x="6480" y="6873"/>
                </a:cubicBezTo>
                <a:lnTo>
                  <a:pt x="15120" y="6873"/>
                </a:lnTo>
                <a:cubicBezTo>
                  <a:pt x="17506" y="6873"/>
                  <a:pt x="19440" y="7752"/>
                  <a:pt x="19440" y="8836"/>
                </a:cubicBezTo>
                <a:cubicBezTo>
                  <a:pt x="19440" y="8836"/>
                  <a:pt x="19440" y="10800"/>
                  <a:pt x="19440" y="10800"/>
                </a:cubicBezTo>
                <a:close/>
                <a:moveTo>
                  <a:pt x="19440" y="15709"/>
                </a:moveTo>
                <a:lnTo>
                  <a:pt x="2160" y="15709"/>
                </a:lnTo>
                <a:lnTo>
                  <a:pt x="2160" y="11782"/>
                </a:lnTo>
                <a:lnTo>
                  <a:pt x="19440" y="11782"/>
                </a:lnTo>
                <a:cubicBezTo>
                  <a:pt x="19440" y="11782"/>
                  <a:pt x="19440" y="15709"/>
                  <a:pt x="19440" y="15709"/>
                </a:cubicBezTo>
                <a:close/>
                <a:moveTo>
                  <a:pt x="19440" y="18655"/>
                </a:moveTo>
                <a:cubicBezTo>
                  <a:pt x="19440" y="19739"/>
                  <a:pt x="17506" y="20618"/>
                  <a:pt x="15120" y="20618"/>
                </a:cubicBezTo>
                <a:lnTo>
                  <a:pt x="6480" y="20618"/>
                </a:lnTo>
                <a:cubicBezTo>
                  <a:pt x="4094" y="20618"/>
                  <a:pt x="2160" y="19739"/>
                  <a:pt x="2160" y="18655"/>
                </a:cubicBezTo>
                <a:lnTo>
                  <a:pt x="2160" y="16691"/>
                </a:lnTo>
                <a:lnTo>
                  <a:pt x="19440" y="16691"/>
                </a:lnTo>
                <a:cubicBezTo>
                  <a:pt x="19440" y="16691"/>
                  <a:pt x="19440" y="18655"/>
                  <a:pt x="19440" y="18655"/>
                </a:cubicBezTo>
                <a:close/>
                <a:moveTo>
                  <a:pt x="8640" y="2945"/>
                </a:moveTo>
                <a:lnTo>
                  <a:pt x="12960" y="2945"/>
                </a:lnTo>
                <a:lnTo>
                  <a:pt x="12960" y="5891"/>
                </a:lnTo>
                <a:lnTo>
                  <a:pt x="8640" y="5891"/>
                </a:lnTo>
                <a:cubicBezTo>
                  <a:pt x="8640" y="5891"/>
                  <a:pt x="8640" y="2945"/>
                  <a:pt x="8640" y="2945"/>
                </a:cubicBezTo>
                <a:close/>
                <a:moveTo>
                  <a:pt x="8640" y="982"/>
                </a:moveTo>
                <a:lnTo>
                  <a:pt x="12960" y="982"/>
                </a:lnTo>
                <a:lnTo>
                  <a:pt x="12960" y="1964"/>
                </a:lnTo>
                <a:lnTo>
                  <a:pt x="8640" y="1964"/>
                </a:lnTo>
                <a:cubicBezTo>
                  <a:pt x="8640" y="1964"/>
                  <a:pt x="8640" y="982"/>
                  <a:pt x="8640" y="982"/>
                </a:cubicBezTo>
                <a:close/>
                <a:moveTo>
                  <a:pt x="15120" y="5891"/>
                </a:moveTo>
                <a:lnTo>
                  <a:pt x="15120" y="982"/>
                </a:lnTo>
                <a:cubicBezTo>
                  <a:pt x="15120" y="440"/>
                  <a:pt x="14152" y="0"/>
                  <a:pt x="12960" y="0"/>
                </a:cubicBezTo>
                <a:lnTo>
                  <a:pt x="8640" y="0"/>
                </a:lnTo>
                <a:cubicBezTo>
                  <a:pt x="7448" y="0"/>
                  <a:pt x="6480" y="440"/>
                  <a:pt x="6480" y="982"/>
                </a:cubicBezTo>
                <a:lnTo>
                  <a:pt x="6480" y="5891"/>
                </a:lnTo>
                <a:cubicBezTo>
                  <a:pt x="2901" y="5891"/>
                  <a:pt x="0" y="7209"/>
                  <a:pt x="0" y="8836"/>
                </a:cubicBezTo>
                <a:lnTo>
                  <a:pt x="0" y="18655"/>
                </a:lnTo>
                <a:cubicBezTo>
                  <a:pt x="0" y="20281"/>
                  <a:pt x="2901" y="21600"/>
                  <a:pt x="6480" y="21600"/>
                </a:cubicBezTo>
                <a:lnTo>
                  <a:pt x="15120" y="21600"/>
                </a:lnTo>
                <a:cubicBezTo>
                  <a:pt x="18698" y="21600"/>
                  <a:pt x="21600" y="20281"/>
                  <a:pt x="21600" y="18655"/>
                </a:cubicBezTo>
                <a:lnTo>
                  <a:pt x="21600" y="8836"/>
                </a:lnTo>
                <a:cubicBezTo>
                  <a:pt x="21600" y="7209"/>
                  <a:pt x="18698" y="5891"/>
                  <a:pt x="15120" y="5891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51" name="Shape 2751"/>
          <p:cNvSpPr/>
          <p:nvPr/>
        </p:nvSpPr>
        <p:spPr>
          <a:xfrm>
            <a:off x="7889433" y="4105950"/>
            <a:ext cx="177754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114" y="15709"/>
                </a:moveTo>
                <a:cubicBezTo>
                  <a:pt x="12689" y="15709"/>
                  <a:pt x="12343" y="15929"/>
                  <a:pt x="12343" y="16200"/>
                </a:cubicBezTo>
                <a:cubicBezTo>
                  <a:pt x="12343" y="16471"/>
                  <a:pt x="12689" y="16691"/>
                  <a:pt x="13114" y="16691"/>
                </a:cubicBezTo>
                <a:cubicBezTo>
                  <a:pt x="13540" y="16691"/>
                  <a:pt x="13886" y="16471"/>
                  <a:pt x="13886" y="16200"/>
                </a:cubicBezTo>
                <a:cubicBezTo>
                  <a:pt x="13886" y="15929"/>
                  <a:pt x="13540" y="15709"/>
                  <a:pt x="13114" y="15709"/>
                </a:cubicBezTo>
                <a:moveTo>
                  <a:pt x="13886" y="7855"/>
                </a:moveTo>
                <a:cubicBezTo>
                  <a:pt x="13034" y="7855"/>
                  <a:pt x="12343" y="8295"/>
                  <a:pt x="12343" y="8836"/>
                </a:cubicBezTo>
                <a:cubicBezTo>
                  <a:pt x="12343" y="9379"/>
                  <a:pt x="13034" y="9818"/>
                  <a:pt x="13886" y="9818"/>
                </a:cubicBezTo>
                <a:cubicBezTo>
                  <a:pt x="14737" y="9818"/>
                  <a:pt x="15429" y="9379"/>
                  <a:pt x="15429" y="8836"/>
                </a:cubicBezTo>
                <a:cubicBezTo>
                  <a:pt x="15429" y="8295"/>
                  <a:pt x="14737" y="7855"/>
                  <a:pt x="13886" y="7855"/>
                </a:cubicBezTo>
                <a:moveTo>
                  <a:pt x="8486" y="17673"/>
                </a:moveTo>
                <a:cubicBezTo>
                  <a:pt x="8060" y="17673"/>
                  <a:pt x="7714" y="17892"/>
                  <a:pt x="7714" y="18164"/>
                </a:cubicBezTo>
                <a:cubicBezTo>
                  <a:pt x="7714" y="18435"/>
                  <a:pt x="8060" y="18655"/>
                  <a:pt x="8486" y="18655"/>
                </a:cubicBezTo>
                <a:cubicBezTo>
                  <a:pt x="8911" y="18655"/>
                  <a:pt x="9257" y="18435"/>
                  <a:pt x="9257" y="18164"/>
                </a:cubicBezTo>
                <a:cubicBezTo>
                  <a:pt x="9257" y="17892"/>
                  <a:pt x="8911" y="17673"/>
                  <a:pt x="8486" y="17673"/>
                </a:cubicBezTo>
                <a:moveTo>
                  <a:pt x="9257" y="10800"/>
                </a:moveTo>
                <a:cubicBezTo>
                  <a:pt x="9257" y="10258"/>
                  <a:pt x="8566" y="9818"/>
                  <a:pt x="7714" y="9818"/>
                </a:cubicBezTo>
                <a:cubicBezTo>
                  <a:pt x="6863" y="9818"/>
                  <a:pt x="6171" y="10258"/>
                  <a:pt x="6171" y="10800"/>
                </a:cubicBezTo>
                <a:cubicBezTo>
                  <a:pt x="6171" y="11343"/>
                  <a:pt x="6863" y="11782"/>
                  <a:pt x="7714" y="11782"/>
                </a:cubicBezTo>
                <a:cubicBezTo>
                  <a:pt x="8566" y="11782"/>
                  <a:pt x="9257" y="11343"/>
                  <a:pt x="9257" y="10800"/>
                </a:cubicBezTo>
                <a:moveTo>
                  <a:pt x="10029" y="13745"/>
                </a:moveTo>
                <a:cubicBezTo>
                  <a:pt x="9603" y="13745"/>
                  <a:pt x="9257" y="13965"/>
                  <a:pt x="9257" y="14236"/>
                </a:cubicBezTo>
                <a:cubicBezTo>
                  <a:pt x="9257" y="14508"/>
                  <a:pt x="9603" y="14727"/>
                  <a:pt x="10029" y="14727"/>
                </a:cubicBezTo>
                <a:cubicBezTo>
                  <a:pt x="10454" y="14727"/>
                  <a:pt x="10800" y="14508"/>
                  <a:pt x="10800" y="14236"/>
                </a:cubicBezTo>
                <a:cubicBezTo>
                  <a:pt x="10800" y="13965"/>
                  <a:pt x="10454" y="13745"/>
                  <a:pt x="10029" y="13745"/>
                </a:cubicBezTo>
                <a:moveTo>
                  <a:pt x="20057" y="1964"/>
                </a:moveTo>
                <a:lnTo>
                  <a:pt x="1543" y="1964"/>
                </a:lnTo>
                <a:lnTo>
                  <a:pt x="1543" y="982"/>
                </a:lnTo>
                <a:lnTo>
                  <a:pt x="20057" y="982"/>
                </a:lnTo>
                <a:cubicBezTo>
                  <a:pt x="20057" y="982"/>
                  <a:pt x="20057" y="1964"/>
                  <a:pt x="20057" y="1964"/>
                </a:cubicBezTo>
                <a:close/>
                <a:moveTo>
                  <a:pt x="16971" y="4033"/>
                </a:moveTo>
                <a:cubicBezTo>
                  <a:pt x="16079" y="4186"/>
                  <a:pt x="15266" y="4419"/>
                  <a:pt x="14349" y="4691"/>
                </a:cubicBezTo>
                <a:cubicBezTo>
                  <a:pt x="13209" y="5030"/>
                  <a:pt x="11919" y="5413"/>
                  <a:pt x="9994" y="5794"/>
                </a:cubicBezTo>
                <a:cubicBezTo>
                  <a:pt x="8093" y="6170"/>
                  <a:pt x="6167" y="5840"/>
                  <a:pt x="4629" y="5373"/>
                </a:cubicBezTo>
                <a:lnTo>
                  <a:pt x="4629" y="2945"/>
                </a:lnTo>
                <a:lnTo>
                  <a:pt x="16971" y="2945"/>
                </a:lnTo>
                <a:cubicBezTo>
                  <a:pt x="16971" y="2945"/>
                  <a:pt x="16971" y="4033"/>
                  <a:pt x="16971" y="4033"/>
                </a:cubicBezTo>
                <a:close/>
                <a:moveTo>
                  <a:pt x="16971" y="16691"/>
                </a:moveTo>
                <a:cubicBezTo>
                  <a:pt x="16971" y="18860"/>
                  <a:pt x="14208" y="20618"/>
                  <a:pt x="10800" y="20618"/>
                </a:cubicBezTo>
                <a:cubicBezTo>
                  <a:pt x="7391" y="20618"/>
                  <a:pt x="4629" y="18860"/>
                  <a:pt x="4629" y="16691"/>
                </a:cubicBezTo>
                <a:lnTo>
                  <a:pt x="4629" y="6384"/>
                </a:lnTo>
                <a:cubicBezTo>
                  <a:pt x="5722" y="6667"/>
                  <a:pt x="6954" y="6874"/>
                  <a:pt x="8257" y="6874"/>
                </a:cubicBezTo>
                <a:cubicBezTo>
                  <a:pt x="8984" y="6874"/>
                  <a:pt x="9731" y="6811"/>
                  <a:pt x="10481" y="6662"/>
                </a:cubicBezTo>
                <a:cubicBezTo>
                  <a:pt x="12512" y="6261"/>
                  <a:pt x="13914" y="5844"/>
                  <a:pt x="15040" y="5510"/>
                </a:cubicBezTo>
                <a:cubicBezTo>
                  <a:pt x="15760" y="5295"/>
                  <a:pt x="16366" y="5119"/>
                  <a:pt x="16971" y="4989"/>
                </a:cubicBezTo>
                <a:cubicBezTo>
                  <a:pt x="16971" y="4989"/>
                  <a:pt x="16971" y="16691"/>
                  <a:pt x="16971" y="16691"/>
                </a:cubicBezTo>
                <a:close/>
                <a:moveTo>
                  <a:pt x="20057" y="0"/>
                </a:moveTo>
                <a:lnTo>
                  <a:pt x="1543" y="0"/>
                </a:lnTo>
                <a:cubicBezTo>
                  <a:pt x="691" y="0"/>
                  <a:pt x="0" y="440"/>
                  <a:pt x="0" y="982"/>
                </a:cubicBezTo>
                <a:lnTo>
                  <a:pt x="0" y="1964"/>
                </a:lnTo>
                <a:cubicBezTo>
                  <a:pt x="0" y="2506"/>
                  <a:pt x="691" y="2945"/>
                  <a:pt x="1543" y="2945"/>
                </a:cubicBezTo>
                <a:lnTo>
                  <a:pt x="3086" y="2945"/>
                </a:lnTo>
                <a:lnTo>
                  <a:pt x="3086" y="16691"/>
                </a:lnTo>
                <a:cubicBezTo>
                  <a:pt x="3086" y="19402"/>
                  <a:pt x="6539" y="21600"/>
                  <a:pt x="10800" y="21600"/>
                </a:cubicBezTo>
                <a:cubicBezTo>
                  <a:pt x="15061" y="21600"/>
                  <a:pt x="18514" y="19402"/>
                  <a:pt x="18514" y="16691"/>
                </a:cubicBezTo>
                <a:lnTo>
                  <a:pt x="18514" y="2945"/>
                </a:lnTo>
                <a:lnTo>
                  <a:pt x="20057" y="2945"/>
                </a:lnTo>
                <a:cubicBezTo>
                  <a:pt x="20909" y="2945"/>
                  <a:pt x="21600" y="2506"/>
                  <a:pt x="21600" y="1964"/>
                </a:cubicBezTo>
                <a:lnTo>
                  <a:pt x="21600" y="982"/>
                </a:lnTo>
                <a:cubicBezTo>
                  <a:pt x="21600" y="440"/>
                  <a:pt x="20909" y="0"/>
                  <a:pt x="20057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52" name="Shape 2752"/>
          <p:cNvSpPr/>
          <p:nvPr/>
        </p:nvSpPr>
        <p:spPr>
          <a:xfrm>
            <a:off x="8397301" y="4105950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00" y="17673"/>
                </a:moveTo>
                <a:cubicBezTo>
                  <a:pt x="12269" y="17673"/>
                  <a:pt x="12000" y="17892"/>
                  <a:pt x="12000" y="18164"/>
                </a:cubicBezTo>
                <a:cubicBezTo>
                  <a:pt x="12000" y="18435"/>
                  <a:pt x="12269" y="18655"/>
                  <a:pt x="12600" y="18655"/>
                </a:cubicBezTo>
                <a:cubicBezTo>
                  <a:pt x="12931" y="18655"/>
                  <a:pt x="13200" y="18435"/>
                  <a:pt x="13200" y="18164"/>
                </a:cubicBezTo>
                <a:cubicBezTo>
                  <a:pt x="13200" y="17892"/>
                  <a:pt x="12931" y="17673"/>
                  <a:pt x="12600" y="17673"/>
                </a:cubicBezTo>
                <a:moveTo>
                  <a:pt x="10800" y="13745"/>
                </a:moveTo>
                <a:cubicBezTo>
                  <a:pt x="10138" y="13745"/>
                  <a:pt x="9600" y="14186"/>
                  <a:pt x="9600" y="14727"/>
                </a:cubicBezTo>
                <a:cubicBezTo>
                  <a:pt x="9600" y="15269"/>
                  <a:pt x="10138" y="15709"/>
                  <a:pt x="10800" y="15709"/>
                </a:cubicBezTo>
                <a:cubicBezTo>
                  <a:pt x="11462" y="15709"/>
                  <a:pt x="12000" y="15269"/>
                  <a:pt x="12000" y="14727"/>
                </a:cubicBezTo>
                <a:cubicBezTo>
                  <a:pt x="12000" y="14186"/>
                  <a:pt x="11462" y="13745"/>
                  <a:pt x="10800" y="13745"/>
                </a:cubicBezTo>
                <a:moveTo>
                  <a:pt x="12600" y="10800"/>
                </a:moveTo>
                <a:cubicBezTo>
                  <a:pt x="12269" y="10800"/>
                  <a:pt x="12000" y="10580"/>
                  <a:pt x="12000" y="10309"/>
                </a:cubicBezTo>
                <a:cubicBezTo>
                  <a:pt x="12000" y="10038"/>
                  <a:pt x="12269" y="9818"/>
                  <a:pt x="12600" y="9818"/>
                </a:cubicBezTo>
                <a:cubicBezTo>
                  <a:pt x="12931" y="9818"/>
                  <a:pt x="13200" y="10038"/>
                  <a:pt x="13200" y="10309"/>
                </a:cubicBezTo>
                <a:cubicBezTo>
                  <a:pt x="13200" y="10580"/>
                  <a:pt x="12931" y="10800"/>
                  <a:pt x="12600" y="10800"/>
                </a:cubicBezTo>
                <a:moveTo>
                  <a:pt x="12600" y="8836"/>
                </a:moveTo>
                <a:cubicBezTo>
                  <a:pt x="11606" y="8836"/>
                  <a:pt x="10800" y="9496"/>
                  <a:pt x="10800" y="10309"/>
                </a:cubicBezTo>
                <a:cubicBezTo>
                  <a:pt x="10800" y="11123"/>
                  <a:pt x="11606" y="11782"/>
                  <a:pt x="12600" y="11782"/>
                </a:cubicBezTo>
                <a:cubicBezTo>
                  <a:pt x="13594" y="11782"/>
                  <a:pt x="14400" y="11123"/>
                  <a:pt x="14400" y="10309"/>
                </a:cubicBezTo>
                <a:cubicBezTo>
                  <a:pt x="14400" y="9496"/>
                  <a:pt x="13594" y="8836"/>
                  <a:pt x="12600" y="8836"/>
                </a:cubicBezTo>
                <a:moveTo>
                  <a:pt x="17760" y="20618"/>
                </a:moveTo>
                <a:lnTo>
                  <a:pt x="3840" y="20618"/>
                </a:lnTo>
                <a:cubicBezTo>
                  <a:pt x="2134" y="19151"/>
                  <a:pt x="1200" y="17248"/>
                  <a:pt x="1200" y="15218"/>
                </a:cubicBezTo>
                <a:cubicBezTo>
                  <a:pt x="1200" y="12593"/>
                  <a:pt x="2796" y="10152"/>
                  <a:pt x="5468" y="8688"/>
                </a:cubicBezTo>
                <a:cubicBezTo>
                  <a:pt x="5800" y="8506"/>
                  <a:pt x="6000" y="8199"/>
                  <a:pt x="6000" y="7872"/>
                </a:cubicBezTo>
                <a:lnTo>
                  <a:pt x="6000" y="6529"/>
                </a:lnTo>
                <a:cubicBezTo>
                  <a:pt x="6729" y="6758"/>
                  <a:pt x="7567" y="6924"/>
                  <a:pt x="8484" y="6924"/>
                </a:cubicBezTo>
                <a:cubicBezTo>
                  <a:pt x="9499" y="6924"/>
                  <a:pt x="10603" y="6723"/>
                  <a:pt x="11748" y="6188"/>
                </a:cubicBezTo>
                <a:cubicBezTo>
                  <a:pt x="13252" y="5485"/>
                  <a:pt x="14575" y="5306"/>
                  <a:pt x="15600" y="5323"/>
                </a:cubicBezTo>
                <a:lnTo>
                  <a:pt x="15600" y="7872"/>
                </a:lnTo>
                <a:cubicBezTo>
                  <a:pt x="15600" y="8199"/>
                  <a:pt x="15800" y="8506"/>
                  <a:pt x="16132" y="8688"/>
                </a:cubicBezTo>
                <a:cubicBezTo>
                  <a:pt x="18804" y="10152"/>
                  <a:pt x="20400" y="12593"/>
                  <a:pt x="20400" y="15218"/>
                </a:cubicBezTo>
                <a:cubicBezTo>
                  <a:pt x="20400" y="17248"/>
                  <a:pt x="19466" y="19151"/>
                  <a:pt x="17760" y="20618"/>
                </a:cubicBezTo>
                <a:moveTo>
                  <a:pt x="15600" y="2945"/>
                </a:moveTo>
                <a:lnTo>
                  <a:pt x="15600" y="4340"/>
                </a:lnTo>
                <a:cubicBezTo>
                  <a:pt x="14391" y="4322"/>
                  <a:pt x="12860" y="4538"/>
                  <a:pt x="11152" y="5336"/>
                </a:cubicBezTo>
                <a:cubicBezTo>
                  <a:pt x="9163" y="6265"/>
                  <a:pt x="7312" y="5965"/>
                  <a:pt x="6000" y="5473"/>
                </a:cubicBezTo>
                <a:lnTo>
                  <a:pt x="6000" y="2945"/>
                </a:lnTo>
                <a:cubicBezTo>
                  <a:pt x="6000" y="2945"/>
                  <a:pt x="15600" y="2945"/>
                  <a:pt x="15600" y="2945"/>
                </a:cubicBezTo>
                <a:close/>
                <a:moveTo>
                  <a:pt x="36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3600" y="1964"/>
                </a:lnTo>
                <a:cubicBezTo>
                  <a:pt x="3600" y="1964"/>
                  <a:pt x="3600" y="982"/>
                  <a:pt x="3600" y="982"/>
                </a:cubicBezTo>
                <a:close/>
                <a:moveTo>
                  <a:pt x="16800" y="7872"/>
                </a:moveTo>
                <a:lnTo>
                  <a:pt x="16800" y="2945"/>
                </a:lnTo>
                <a:lnTo>
                  <a:pt x="18000" y="2945"/>
                </a:lnTo>
                <a:cubicBezTo>
                  <a:pt x="18662" y="2945"/>
                  <a:pt x="19200" y="2505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3600" y="0"/>
                </a:lnTo>
                <a:cubicBezTo>
                  <a:pt x="2938" y="0"/>
                  <a:pt x="2400" y="440"/>
                  <a:pt x="2400" y="982"/>
                </a:cubicBezTo>
                <a:lnTo>
                  <a:pt x="2400" y="1964"/>
                </a:lnTo>
                <a:cubicBezTo>
                  <a:pt x="2400" y="2505"/>
                  <a:pt x="2938" y="2945"/>
                  <a:pt x="3600" y="2945"/>
                </a:cubicBezTo>
                <a:lnTo>
                  <a:pt x="4800" y="2945"/>
                </a:lnTo>
                <a:lnTo>
                  <a:pt x="4800" y="7872"/>
                </a:lnTo>
                <a:cubicBezTo>
                  <a:pt x="1906" y="9457"/>
                  <a:pt x="0" y="12155"/>
                  <a:pt x="0" y="15218"/>
                </a:cubicBezTo>
                <a:cubicBezTo>
                  <a:pt x="0" y="17730"/>
                  <a:pt x="1286" y="19991"/>
                  <a:pt x="3342" y="21600"/>
                </a:cubicBezTo>
                <a:lnTo>
                  <a:pt x="18258" y="21600"/>
                </a:lnTo>
                <a:cubicBezTo>
                  <a:pt x="20313" y="19991"/>
                  <a:pt x="21600" y="17730"/>
                  <a:pt x="21600" y="15218"/>
                </a:cubicBezTo>
                <a:cubicBezTo>
                  <a:pt x="21600" y="12155"/>
                  <a:pt x="19693" y="9457"/>
                  <a:pt x="16800" y="7872"/>
                </a:cubicBezTo>
                <a:moveTo>
                  <a:pt x="16200" y="15709"/>
                </a:moveTo>
                <a:cubicBezTo>
                  <a:pt x="15869" y="15709"/>
                  <a:pt x="15600" y="15929"/>
                  <a:pt x="15600" y="16200"/>
                </a:cubicBezTo>
                <a:cubicBezTo>
                  <a:pt x="15600" y="16471"/>
                  <a:pt x="15869" y="16691"/>
                  <a:pt x="16200" y="16691"/>
                </a:cubicBezTo>
                <a:cubicBezTo>
                  <a:pt x="16531" y="16691"/>
                  <a:pt x="16800" y="16471"/>
                  <a:pt x="16800" y="16200"/>
                </a:cubicBezTo>
                <a:cubicBezTo>
                  <a:pt x="16800" y="15929"/>
                  <a:pt x="16531" y="15709"/>
                  <a:pt x="16200" y="15709"/>
                </a:cubicBezTo>
                <a:moveTo>
                  <a:pt x="7800" y="11782"/>
                </a:moveTo>
                <a:cubicBezTo>
                  <a:pt x="7469" y="11782"/>
                  <a:pt x="7200" y="12001"/>
                  <a:pt x="7200" y="12273"/>
                </a:cubicBezTo>
                <a:cubicBezTo>
                  <a:pt x="7200" y="12544"/>
                  <a:pt x="7469" y="12764"/>
                  <a:pt x="7800" y="12764"/>
                </a:cubicBezTo>
                <a:cubicBezTo>
                  <a:pt x="8131" y="12764"/>
                  <a:pt x="8400" y="12544"/>
                  <a:pt x="8400" y="12273"/>
                </a:cubicBezTo>
                <a:cubicBezTo>
                  <a:pt x="8400" y="12001"/>
                  <a:pt x="8131" y="11782"/>
                  <a:pt x="7800" y="11782"/>
                </a:cubicBezTo>
                <a:moveTo>
                  <a:pt x="6000" y="15709"/>
                </a:moveTo>
                <a:cubicBezTo>
                  <a:pt x="5338" y="15709"/>
                  <a:pt x="4800" y="16149"/>
                  <a:pt x="4800" y="16691"/>
                </a:cubicBezTo>
                <a:cubicBezTo>
                  <a:pt x="4800" y="17233"/>
                  <a:pt x="5338" y="17673"/>
                  <a:pt x="6000" y="17673"/>
                </a:cubicBezTo>
                <a:cubicBezTo>
                  <a:pt x="6662" y="17673"/>
                  <a:pt x="7200" y="17233"/>
                  <a:pt x="7200" y="16691"/>
                </a:cubicBezTo>
                <a:cubicBezTo>
                  <a:pt x="7200" y="16149"/>
                  <a:pt x="6662" y="15709"/>
                  <a:pt x="6000" y="15709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53" name="Shape 2753"/>
          <p:cNvSpPr/>
          <p:nvPr/>
        </p:nvSpPr>
        <p:spPr>
          <a:xfrm>
            <a:off x="8930562" y="4105950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800" y="18655"/>
                </a:moveTo>
                <a:cubicBezTo>
                  <a:pt x="13468" y="18655"/>
                  <a:pt x="13200" y="18874"/>
                  <a:pt x="13200" y="19145"/>
                </a:cubicBezTo>
                <a:cubicBezTo>
                  <a:pt x="13200" y="19417"/>
                  <a:pt x="13468" y="19636"/>
                  <a:pt x="13800" y="19636"/>
                </a:cubicBezTo>
                <a:cubicBezTo>
                  <a:pt x="14132" y="19636"/>
                  <a:pt x="14400" y="19417"/>
                  <a:pt x="14400" y="19145"/>
                </a:cubicBezTo>
                <a:cubicBezTo>
                  <a:pt x="14400" y="18874"/>
                  <a:pt x="14132" y="18655"/>
                  <a:pt x="13800" y="18655"/>
                </a:cubicBezTo>
                <a:moveTo>
                  <a:pt x="10200" y="15709"/>
                </a:moveTo>
                <a:cubicBezTo>
                  <a:pt x="9868" y="15709"/>
                  <a:pt x="9600" y="15490"/>
                  <a:pt x="9600" y="15218"/>
                </a:cubicBezTo>
                <a:cubicBezTo>
                  <a:pt x="9600" y="14947"/>
                  <a:pt x="9868" y="14727"/>
                  <a:pt x="10200" y="14727"/>
                </a:cubicBezTo>
                <a:cubicBezTo>
                  <a:pt x="10532" y="14727"/>
                  <a:pt x="10800" y="14947"/>
                  <a:pt x="10800" y="15218"/>
                </a:cubicBezTo>
                <a:cubicBezTo>
                  <a:pt x="10800" y="15490"/>
                  <a:pt x="10532" y="15709"/>
                  <a:pt x="10200" y="15709"/>
                </a:cubicBezTo>
                <a:moveTo>
                  <a:pt x="10200" y="13745"/>
                </a:moveTo>
                <a:cubicBezTo>
                  <a:pt x="9206" y="13745"/>
                  <a:pt x="8400" y="14405"/>
                  <a:pt x="8400" y="15218"/>
                </a:cubicBezTo>
                <a:cubicBezTo>
                  <a:pt x="8400" y="16031"/>
                  <a:pt x="9206" y="16691"/>
                  <a:pt x="10200" y="16691"/>
                </a:cubicBezTo>
                <a:cubicBezTo>
                  <a:pt x="11194" y="16691"/>
                  <a:pt x="12000" y="16031"/>
                  <a:pt x="12000" y="15218"/>
                </a:cubicBezTo>
                <a:cubicBezTo>
                  <a:pt x="12000" y="14405"/>
                  <a:pt x="11194" y="13745"/>
                  <a:pt x="10200" y="13745"/>
                </a:cubicBezTo>
                <a:moveTo>
                  <a:pt x="15600" y="13745"/>
                </a:moveTo>
                <a:cubicBezTo>
                  <a:pt x="14938" y="13745"/>
                  <a:pt x="14400" y="14186"/>
                  <a:pt x="14400" y="14727"/>
                </a:cubicBezTo>
                <a:cubicBezTo>
                  <a:pt x="14400" y="15269"/>
                  <a:pt x="14938" y="15709"/>
                  <a:pt x="15600" y="15709"/>
                </a:cubicBezTo>
                <a:cubicBezTo>
                  <a:pt x="16262" y="15709"/>
                  <a:pt x="16800" y="15269"/>
                  <a:pt x="16800" y="14727"/>
                </a:cubicBezTo>
                <a:cubicBezTo>
                  <a:pt x="16800" y="14186"/>
                  <a:pt x="16262" y="13745"/>
                  <a:pt x="15600" y="13745"/>
                </a:cubicBezTo>
                <a:moveTo>
                  <a:pt x="14400" y="20618"/>
                </a:moveTo>
                <a:lnTo>
                  <a:pt x="7200" y="20618"/>
                </a:lnTo>
                <a:cubicBezTo>
                  <a:pt x="3892" y="20618"/>
                  <a:pt x="1200" y="18416"/>
                  <a:pt x="1200" y="15709"/>
                </a:cubicBezTo>
                <a:cubicBezTo>
                  <a:pt x="1200" y="13123"/>
                  <a:pt x="2182" y="11620"/>
                  <a:pt x="3320" y="9880"/>
                </a:cubicBezTo>
                <a:cubicBezTo>
                  <a:pt x="3477" y="9639"/>
                  <a:pt x="3636" y="9392"/>
                  <a:pt x="3797" y="9140"/>
                </a:cubicBezTo>
                <a:cubicBezTo>
                  <a:pt x="3905" y="9093"/>
                  <a:pt x="6420" y="8038"/>
                  <a:pt x="9814" y="9625"/>
                </a:cubicBezTo>
                <a:cubicBezTo>
                  <a:pt x="10959" y="10160"/>
                  <a:pt x="12064" y="10360"/>
                  <a:pt x="13079" y="10360"/>
                </a:cubicBezTo>
                <a:cubicBezTo>
                  <a:pt x="15152" y="10360"/>
                  <a:pt x="16846" y="9523"/>
                  <a:pt x="17711" y="8991"/>
                </a:cubicBezTo>
                <a:cubicBezTo>
                  <a:pt x="17902" y="9295"/>
                  <a:pt x="18093" y="9592"/>
                  <a:pt x="18280" y="9880"/>
                </a:cubicBezTo>
                <a:cubicBezTo>
                  <a:pt x="19418" y="11620"/>
                  <a:pt x="20400" y="13123"/>
                  <a:pt x="20400" y="15709"/>
                </a:cubicBezTo>
                <a:cubicBezTo>
                  <a:pt x="20400" y="18416"/>
                  <a:pt x="17708" y="20618"/>
                  <a:pt x="14400" y="20618"/>
                </a:cubicBezTo>
                <a:moveTo>
                  <a:pt x="5967" y="2945"/>
                </a:moveTo>
                <a:lnTo>
                  <a:pt x="15633" y="2945"/>
                </a:lnTo>
                <a:cubicBezTo>
                  <a:pt x="15782" y="5133"/>
                  <a:pt x="16425" y="6735"/>
                  <a:pt x="17180" y="8090"/>
                </a:cubicBezTo>
                <a:cubicBezTo>
                  <a:pt x="16281" y="8690"/>
                  <a:pt x="13509" y="10220"/>
                  <a:pt x="10410" y="8772"/>
                </a:cubicBezTo>
                <a:cubicBezTo>
                  <a:pt x="7921" y="7609"/>
                  <a:pt x="5800" y="7679"/>
                  <a:pt x="4520" y="7912"/>
                </a:cubicBezTo>
                <a:cubicBezTo>
                  <a:pt x="5231" y="6594"/>
                  <a:pt x="5824" y="5037"/>
                  <a:pt x="5967" y="2945"/>
                </a:cubicBezTo>
                <a:moveTo>
                  <a:pt x="36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3600" y="1964"/>
                </a:lnTo>
                <a:cubicBezTo>
                  <a:pt x="3600" y="1964"/>
                  <a:pt x="3600" y="982"/>
                  <a:pt x="3600" y="982"/>
                </a:cubicBezTo>
                <a:close/>
                <a:moveTo>
                  <a:pt x="16843" y="2945"/>
                </a:moveTo>
                <a:lnTo>
                  <a:pt x="18000" y="2945"/>
                </a:lnTo>
                <a:cubicBezTo>
                  <a:pt x="18662" y="2945"/>
                  <a:pt x="19200" y="2505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3600" y="0"/>
                </a:lnTo>
                <a:cubicBezTo>
                  <a:pt x="2938" y="0"/>
                  <a:pt x="2400" y="440"/>
                  <a:pt x="2400" y="982"/>
                </a:cubicBezTo>
                <a:lnTo>
                  <a:pt x="2400" y="1964"/>
                </a:lnTo>
                <a:cubicBezTo>
                  <a:pt x="2400" y="2505"/>
                  <a:pt x="2938" y="2945"/>
                  <a:pt x="3600" y="2945"/>
                </a:cubicBezTo>
                <a:lnTo>
                  <a:pt x="4757" y="2945"/>
                </a:lnTo>
                <a:cubicBezTo>
                  <a:pt x="4322" y="8937"/>
                  <a:pt x="0" y="10114"/>
                  <a:pt x="0" y="15709"/>
                </a:cubicBezTo>
                <a:cubicBezTo>
                  <a:pt x="0" y="18962"/>
                  <a:pt x="3224" y="21600"/>
                  <a:pt x="7200" y="21600"/>
                </a:cubicBezTo>
                <a:lnTo>
                  <a:pt x="14400" y="21600"/>
                </a:lnTo>
                <a:cubicBezTo>
                  <a:pt x="18376" y="21600"/>
                  <a:pt x="21600" y="18962"/>
                  <a:pt x="21600" y="15709"/>
                </a:cubicBezTo>
                <a:cubicBezTo>
                  <a:pt x="21600" y="10114"/>
                  <a:pt x="17278" y="8937"/>
                  <a:pt x="16843" y="2945"/>
                </a:cubicBezTo>
                <a:moveTo>
                  <a:pt x="17400" y="11782"/>
                </a:moveTo>
                <a:cubicBezTo>
                  <a:pt x="17068" y="11782"/>
                  <a:pt x="16800" y="12001"/>
                  <a:pt x="16800" y="12273"/>
                </a:cubicBezTo>
                <a:cubicBezTo>
                  <a:pt x="16800" y="12544"/>
                  <a:pt x="17068" y="12764"/>
                  <a:pt x="17400" y="12764"/>
                </a:cubicBezTo>
                <a:cubicBezTo>
                  <a:pt x="17732" y="12764"/>
                  <a:pt x="18000" y="12544"/>
                  <a:pt x="18000" y="12273"/>
                </a:cubicBezTo>
                <a:cubicBezTo>
                  <a:pt x="18000" y="12001"/>
                  <a:pt x="17732" y="11782"/>
                  <a:pt x="17400" y="11782"/>
                </a:cubicBezTo>
                <a:moveTo>
                  <a:pt x="6000" y="10800"/>
                </a:moveTo>
                <a:cubicBezTo>
                  <a:pt x="5338" y="10800"/>
                  <a:pt x="4800" y="11240"/>
                  <a:pt x="4800" y="11782"/>
                </a:cubicBezTo>
                <a:cubicBezTo>
                  <a:pt x="4800" y="12324"/>
                  <a:pt x="5338" y="12764"/>
                  <a:pt x="6000" y="12764"/>
                </a:cubicBezTo>
                <a:cubicBezTo>
                  <a:pt x="6662" y="12764"/>
                  <a:pt x="7200" y="12324"/>
                  <a:pt x="7200" y="11782"/>
                </a:cubicBezTo>
                <a:cubicBezTo>
                  <a:pt x="7200" y="11240"/>
                  <a:pt x="6662" y="10800"/>
                  <a:pt x="6000" y="10800"/>
                </a:cubicBezTo>
                <a:moveTo>
                  <a:pt x="5400" y="16691"/>
                </a:moveTo>
                <a:cubicBezTo>
                  <a:pt x="5068" y="16691"/>
                  <a:pt x="4800" y="16910"/>
                  <a:pt x="4800" y="17182"/>
                </a:cubicBezTo>
                <a:cubicBezTo>
                  <a:pt x="4800" y="17453"/>
                  <a:pt x="5068" y="17673"/>
                  <a:pt x="5400" y="17673"/>
                </a:cubicBezTo>
                <a:cubicBezTo>
                  <a:pt x="5732" y="17673"/>
                  <a:pt x="6000" y="17453"/>
                  <a:pt x="6000" y="17182"/>
                </a:cubicBezTo>
                <a:cubicBezTo>
                  <a:pt x="6000" y="16910"/>
                  <a:pt x="5732" y="16691"/>
                  <a:pt x="5400" y="16691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54" name="Shape 2754"/>
          <p:cNvSpPr/>
          <p:nvPr/>
        </p:nvSpPr>
        <p:spPr>
          <a:xfrm>
            <a:off x="9451126" y="4105950"/>
            <a:ext cx="253935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709"/>
                </a:moveTo>
                <a:cubicBezTo>
                  <a:pt x="10203" y="15709"/>
                  <a:pt x="9720" y="16149"/>
                  <a:pt x="9720" y="16691"/>
                </a:cubicBezTo>
                <a:cubicBezTo>
                  <a:pt x="9720" y="17233"/>
                  <a:pt x="10203" y="17673"/>
                  <a:pt x="10800" y="17673"/>
                </a:cubicBezTo>
                <a:cubicBezTo>
                  <a:pt x="11396" y="17673"/>
                  <a:pt x="11880" y="17233"/>
                  <a:pt x="11880" y="16691"/>
                </a:cubicBezTo>
                <a:cubicBezTo>
                  <a:pt x="11880" y="16149"/>
                  <a:pt x="11396" y="15709"/>
                  <a:pt x="10800" y="15709"/>
                </a:cubicBezTo>
                <a:moveTo>
                  <a:pt x="12960" y="10800"/>
                </a:moveTo>
                <a:cubicBezTo>
                  <a:pt x="12363" y="10800"/>
                  <a:pt x="11880" y="11240"/>
                  <a:pt x="11880" y="11782"/>
                </a:cubicBezTo>
                <a:cubicBezTo>
                  <a:pt x="11880" y="12324"/>
                  <a:pt x="12363" y="12764"/>
                  <a:pt x="12960" y="12764"/>
                </a:cubicBezTo>
                <a:cubicBezTo>
                  <a:pt x="13556" y="12764"/>
                  <a:pt x="14040" y="12324"/>
                  <a:pt x="14040" y="11782"/>
                </a:cubicBezTo>
                <a:cubicBezTo>
                  <a:pt x="14040" y="11240"/>
                  <a:pt x="13556" y="10800"/>
                  <a:pt x="12960" y="10800"/>
                </a:cubicBezTo>
                <a:moveTo>
                  <a:pt x="15660" y="14727"/>
                </a:moveTo>
                <a:cubicBezTo>
                  <a:pt x="15362" y="14727"/>
                  <a:pt x="15120" y="14947"/>
                  <a:pt x="15120" y="15218"/>
                </a:cubicBezTo>
                <a:cubicBezTo>
                  <a:pt x="15120" y="15490"/>
                  <a:pt x="15362" y="15709"/>
                  <a:pt x="15660" y="15709"/>
                </a:cubicBezTo>
                <a:cubicBezTo>
                  <a:pt x="15958" y="15709"/>
                  <a:pt x="16200" y="15490"/>
                  <a:pt x="16200" y="15218"/>
                </a:cubicBezTo>
                <a:cubicBezTo>
                  <a:pt x="16200" y="14947"/>
                  <a:pt x="15958" y="14727"/>
                  <a:pt x="15660" y="14727"/>
                </a:cubicBezTo>
                <a:moveTo>
                  <a:pt x="16740" y="17673"/>
                </a:moveTo>
                <a:cubicBezTo>
                  <a:pt x="16442" y="17673"/>
                  <a:pt x="16200" y="17892"/>
                  <a:pt x="16200" y="18164"/>
                </a:cubicBezTo>
                <a:cubicBezTo>
                  <a:pt x="16200" y="18435"/>
                  <a:pt x="16442" y="18655"/>
                  <a:pt x="16740" y="18655"/>
                </a:cubicBezTo>
                <a:cubicBezTo>
                  <a:pt x="17038" y="18655"/>
                  <a:pt x="17280" y="18435"/>
                  <a:pt x="17280" y="18164"/>
                </a:cubicBezTo>
                <a:cubicBezTo>
                  <a:pt x="17280" y="17892"/>
                  <a:pt x="17038" y="17673"/>
                  <a:pt x="16740" y="17673"/>
                </a:cubicBezTo>
                <a:moveTo>
                  <a:pt x="7020" y="13745"/>
                </a:moveTo>
                <a:cubicBezTo>
                  <a:pt x="6722" y="13745"/>
                  <a:pt x="6480" y="13525"/>
                  <a:pt x="6480" y="13255"/>
                </a:cubicBezTo>
                <a:cubicBezTo>
                  <a:pt x="6480" y="12983"/>
                  <a:pt x="6722" y="12764"/>
                  <a:pt x="7020" y="12764"/>
                </a:cubicBezTo>
                <a:cubicBezTo>
                  <a:pt x="7318" y="12764"/>
                  <a:pt x="7560" y="12983"/>
                  <a:pt x="7560" y="13255"/>
                </a:cubicBezTo>
                <a:cubicBezTo>
                  <a:pt x="7560" y="13525"/>
                  <a:pt x="7318" y="13745"/>
                  <a:pt x="7020" y="13745"/>
                </a:cubicBezTo>
                <a:moveTo>
                  <a:pt x="7020" y="11782"/>
                </a:moveTo>
                <a:cubicBezTo>
                  <a:pt x="6126" y="11782"/>
                  <a:pt x="5400" y="12441"/>
                  <a:pt x="5400" y="13255"/>
                </a:cubicBezTo>
                <a:cubicBezTo>
                  <a:pt x="5400" y="14068"/>
                  <a:pt x="6126" y="14727"/>
                  <a:pt x="7020" y="14727"/>
                </a:cubicBezTo>
                <a:cubicBezTo>
                  <a:pt x="7914" y="14727"/>
                  <a:pt x="8640" y="14068"/>
                  <a:pt x="8640" y="13255"/>
                </a:cubicBezTo>
                <a:cubicBezTo>
                  <a:pt x="8640" y="12441"/>
                  <a:pt x="7914" y="11782"/>
                  <a:pt x="7020" y="11782"/>
                </a:cubicBezTo>
                <a:moveTo>
                  <a:pt x="16200" y="20618"/>
                </a:moveTo>
                <a:lnTo>
                  <a:pt x="5400" y="20618"/>
                </a:lnTo>
                <a:cubicBezTo>
                  <a:pt x="5224" y="20618"/>
                  <a:pt x="1080" y="20574"/>
                  <a:pt x="1080" y="16691"/>
                </a:cubicBezTo>
                <a:cubicBezTo>
                  <a:pt x="1080" y="12965"/>
                  <a:pt x="3149" y="11214"/>
                  <a:pt x="4975" y="9670"/>
                </a:cubicBezTo>
                <a:cubicBezTo>
                  <a:pt x="6031" y="8777"/>
                  <a:pt x="7028" y="7920"/>
                  <a:pt x="7400" y="6808"/>
                </a:cubicBezTo>
                <a:cubicBezTo>
                  <a:pt x="7683" y="6848"/>
                  <a:pt x="7974" y="6878"/>
                  <a:pt x="8279" y="6878"/>
                </a:cubicBezTo>
                <a:cubicBezTo>
                  <a:pt x="9182" y="6878"/>
                  <a:pt x="10166" y="6687"/>
                  <a:pt x="11184" y="6177"/>
                </a:cubicBezTo>
                <a:cubicBezTo>
                  <a:pt x="12256" y="5642"/>
                  <a:pt x="13226" y="5425"/>
                  <a:pt x="14040" y="5367"/>
                </a:cubicBezTo>
                <a:lnTo>
                  <a:pt x="14040" y="5891"/>
                </a:lnTo>
                <a:cubicBezTo>
                  <a:pt x="14040" y="7483"/>
                  <a:pt x="15296" y="8546"/>
                  <a:pt x="16625" y="9670"/>
                </a:cubicBezTo>
                <a:cubicBezTo>
                  <a:pt x="18451" y="11214"/>
                  <a:pt x="20520" y="12965"/>
                  <a:pt x="20520" y="16691"/>
                </a:cubicBezTo>
                <a:cubicBezTo>
                  <a:pt x="20520" y="20474"/>
                  <a:pt x="16637" y="20614"/>
                  <a:pt x="16200" y="20618"/>
                </a:cubicBezTo>
                <a:moveTo>
                  <a:pt x="14040" y="2945"/>
                </a:moveTo>
                <a:lnTo>
                  <a:pt x="14040" y="4432"/>
                </a:lnTo>
                <a:cubicBezTo>
                  <a:pt x="13069" y="4489"/>
                  <a:pt x="11917" y="4734"/>
                  <a:pt x="10654" y="5365"/>
                </a:cubicBezTo>
                <a:cubicBezTo>
                  <a:pt x="9547" y="5920"/>
                  <a:pt x="8485" y="6015"/>
                  <a:pt x="7560" y="5894"/>
                </a:cubicBezTo>
                <a:lnTo>
                  <a:pt x="7560" y="5891"/>
                </a:lnTo>
                <a:lnTo>
                  <a:pt x="7560" y="2945"/>
                </a:lnTo>
                <a:cubicBezTo>
                  <a:pt x="7560" y="2945"/>
                  <a:pt x="14040" y="2945"/>
                  <a:pt x="14040" y="2945"/>
                </a:cubicBezTo>
                <a:close/>
                <a:moveTo>
                  <a:pt x="5400" y="982"/>
                </a:moveTo>
                <a:lnTo>
                  <a:pt x="16200" y="982"/>
                </a:lnTo>
                <a:lnTo>
                  <a:pt x="16200" y="1964"/>
                </a:lnTo>
                <a:lnTo>
                  <a:pt x="5400" y="1964"/>
                </a:lnTo>
                <a:cubicBezTo>
                  <a:pt x="5400" y="1964"/>
                  <a:pt x="5400" y="982"/>
                  <a:pt x="5400" y="982"/>
                </a:cubicBezTo>
                <a:close/>
                <a:moveTo>
                  <a:pt x="15120" y="5891"/>
                </a:moveTo>
                <a:lnTo>
                  <a:pt x="15120" y="2945"/>
                </a:lnTo>
                <a:lnTo>
                  <a:pt x="16200" y="2945"/>
                </a:lnTo>
                <a:cubicBezTo>
                  <a:pt x="16796" y="2945"/>
                  <a:pt x="17280" y="2505"/>
                  <a:pt x="17280" y="1964"/>
                </a:cubicBezTo>
                <a:lnTo>
                  <a:pt x="17280" y="982"/>
                </a:lnTo>
                <a:cubicBezTo>
                  <a:pt x="17280" y="440"/>
                  <a:pt x="16796" y="0"/>
                  <a:pt x="16200" y="0"/>
                </a:cubicBezTo>
                <a:lnTo>
                  <a:pt x="5400" y="0"/>
                </a:lnTo>
                <a:cubicBezTo>
                  <a:pt x="4803" y="0"/>
                  <a:pt x="4320" y="440"/>
                  <a:pt x="4320" y="982"/>
                </a:cubicBezTo>
                <a:lnTo>
                  <a:pt x="4320" y="1964"/>
                </a:lnTo>
                <a:cubicBezTo>
                  <a:pt x="4320" y="2505"/>
                  <a:pt x="4803" y="2945"/>
                  <a:pt x="5400" y="2945"/>
                </a:cubicBezTo>
                <a:lnTo>
                  <a:pt x="6480" y="2945"/>
                </a:lnTo>
                <a:lnTo>
                  <a:pt x="6480" y="5891"/>
                </a:lnTo>
                <a:cubicBezTo>
                  <a:pt x="6480" y="8836"/>
                  <a:pt x="0" y="9818"/>
                  <a:pt x="0" y="16691"/>
                </a:cubicBezTo>
                <a:cubicBezTo>
                  <a:pt x="0" y="21600"/>
                  <a:pt x="5400" y="21600"/>
                  <a:pt x="5400" y="21600"/>
                </a:cubicBezTo>
                <a:lnTo>
                  <a:pt x="16200" y="21600"/>
                </a:lnTo>
                <a:cubicBezTo>
                  <a:pt x="16200" y="21600"/>
                  <a:pt x="21600" y="21600"/>
                  <a:pt x="21600" y="16691"/>
                </a:cubicBezTo>
                <a:cubicBezTo>
                  <a:pt x="21600" y="9818"/>
                  <a:pt x="15120" y="8836"/>
                  <a:pt x="15120" y="5891"/>
                </a:cubicBezTo>
                <a:moveTo>
                  <a:pt x="5940" y="16691"/>
                </a:moveTo>
                <a:cubicBezTo>
                  <a:pt x="5642" y="16691"/>
                  <a:pt x="5400" y="16910"/>
                  <a:pt x="5400" y="17182"/>
                </a:cubicBezTo>
                <a:cubicBezTo>
                  <a:pt x="5400" y="17453"/>
                  <a:pt x="5642" y="17673"/>
                  <a:pt x="5940" y="17673"/>
                </a:cubicBezTo>
                <a:cubicBezTo>
                  <a:pt x="6238" y="17673"/>
                  <a:pt x="6480" y="17453"/>
                  <a:pt x="6480" y="17182"/>
                </a:cubicBezTo>
                <a:cubicBezTo>
                  <a:pt x="6480" y="16910"/>
                  <a:pt x="6238" y="16691"/>
                  <a:pt x="5940" y="16691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55" name="Shape 2755"/>
          <p:cNvSpPr/>
          <p:nvPr/>
        </p:nvSpPr>
        <p:spPr>
          <a:xfrm>
            <a:off x="9997084" y="4105950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4909"/>
                </a:moveTo>
                <a:lnTo>
                  <a:pt x="19200" y="4909"/>
                </a:lnTo>
                <a:lnTo>
                  <a:pt x="19200" y="2945"/>
                </a:lnTo>
                <a:cubicBezTo>
                  <a:pt x="19200" y="2674"/>
                  <a:pt x="18932" y="2455"/>
                  <a:pt x="18600" y="2455"/>
                </a:cubicBezTo>
                <a:cubicBezTo>
                  <a:pt x="18268" y="2455"/>
                  <a:pt x="18000" y="2674"/>
                  <a:pt x="18000" y="2945"/>
                </a:cubicBezTo>
                <a:lnTo>
                  <a:pt x="18000" y="4909"/>
                </a:lnTo>
                <a:lnTo>
                  <a:pt x="16800" y="4909"/>
                </a:lnTo>
                <a:lnTo>
                  <a:pt x="16800" y="2945"/>
                </a:lnTo>
                <a:cubicBezTo>
                  <a:pt x="16800" y="2674"/>
                  <a:pt x="16532" y="2455"/>
                  <a:pt x="16200" y="2455"/>
                </a:cubicBezTo>
                <a:cubicBezTo>
                  <a:pt x="15868" y="2455"/>
                  <a:pt x="15600" y="2674"/>
                  <a:pt x="15600" y="2945"/>
                </a:cubicBezTo>
                <a:lnTo>
                  <a:pt x="15600" y="4909"/>
                </a:lnTo>
                <a:lnTo>
                  <a:pt x="14400" y="4909"/>
                </a:lnTo>
                <a:lnTo>
                  <a:pt x="14400" y="2455"/>
                </a:lnTo>
                <a:cubicBezTo>
                  <a:pt x="14400" y="2183"/>
                  <a:pt x="14132" y="1964"/>
                  <a:pt x="13800" y="1964"/>
                </a:cubicBezTo>
                <a:cubicBezTo>
                  <a:pt x="13468" y="1964"/>
                  <a:pt x="13200" y="2183"/>
                  <a:pt x="13200" y="2455"/>
                </a:cubicBezTo>
                <a:lnTo>
                  <a:pt x="13200" y="4909"/>
                </a:lnTo>
                <a:lnTo>
                  <a:pt x="12000" y="4909"/>
                </a:lnTo>
                <a:lnTo>
                  <a:pt x="12000" y="2945"/>
                </a:lnTo>
                <a:cubicBezTo>
                  <a:pt x="12000" y="2674"/>
                  <a:pt x="11732" y="2455"/>
                  <a:pt x="11400" y="2455"/>
                </a:cubicBezTo>
                <a:cubicBezTo>
                  <a:pt x="11068" y="2455"/>
                  <a:pt x="10800" y="2674"/>
                  <a:pt x="10800" y="2945"/>
                </a:cubicBezTo>
                <a:lnTo>
                  <a:pt x="10800" y="4909"/>
                </a:lnTo>
                <a:lnTo>
                  <a:pt x="9600" y="4909"/>
                </a:lnTo>
                <a:lnTo>
                  <a:pt x="9600" y="2455"/>
                </a:lnTo>
                <a:cubicBezTo>
                  <a:pt x="9600" y="2183"/>
                  <a:pt x="9332" y="1964"/>
                  <a:pt x="9000" y="1964"/>
                </a:cubicBezTo>
                <a:cubicBezTo>
                  <a:pt x="8668" y="1964"/>
                  <a:pt x="8400" y="2183"/>
                  <a:pt x="8400" y="2455"/>
                </a:cubicBezTo>
                <a:lnTo>
                  <a:pt x="8400" y="4909"/>
                </a:lnTo>
                <a:lnTo>
                  <a:pt x="6000" y="4909"/>
                </a:lnTo>
                <a:lnTo>
                  <a:pt x="6000" y="2945"/>
                </a:lnTo>
                <a:cubicBezTo>
                  <a:pt x="6000" y="2674"/>
                  <a:pt x="5732" y="2455"/>
                  <a:pt x="5400" y="2455"/>
                </a:cubicBezTo>
                <a:cubicBezTo>
                  <a:pt x="5068" y="2455"/>
                  <a:pt x="4800" y="2674"/>
                  <a:pt x="4800" y="2945"/>
                </a:cubicBezTo>
                <a:lnTo>
                  <a:pt x="4800" y="4909"/>
                </a:lnTo>
                <a:lnTo>
                  <a:pt x="3600" y="4909"/>
                </a:lnTo>
                <a:lnTo>
                  <a:pt x="3600" y="2455"/>
                </a:lnTo>
                <a:cubicBezTo>
                  <a:pt x="3600" y="2183"/>
                  <a:pt x="3332" y="1964"/>
                  <a:pt x="3000" y="1964"/>
                </a:cubicBezTo>
                <a:cubicBezTo>
                  <a:pt x="2668" y="1964"/>
                  <a:pt x="2400" y="2183"/>
                  <a:pt x="2400" y="2455"/>
                </a:cubicBezTo>
                <a:lnTo>
                  <a:pt x="2400" y="4909"/>
                </a:lnTo>
                <a:lnTo>
                  <a:pt x="1200" y="4909"/>
                </a:lnTo>
                <a:lnTo>
                  <a:pt x="1200" y="982"/>
                </a:lnTo>
                <a:lnTo>
                  <a:pt x="20400" y="982"/>
                </a:lnTo>
                <a:cubicBezTo>
                  <a:pt x="20400" y="982"/>
                  <a:pt x="20400" y="4909"/>
                  <a:pt x="20400" y="4909"/>
                </a:cubicBezTo>
                <a:close/>
                <a:moveTo>
                  <a:pt x="20400" y="10309"/>
                </a:moveTo>
                <a:lnTo>
                  <a:pt x="19200" y="10309"/>
                </a:lnTo>
                <a:lnTo>
                  <a:pt x="19200" y="7855"/>
                </a:lnTo>
                <a:cubicBezTo>
                  <a:pt x="19200" y="7583"/>
                  <a:pt x="18932" y="7364"/>
                  <a:pt x="18600" y="7364"/>
                </a:cubicBezTo>
                <a:cubicBezTo>
                  <a:pt x="18268" y="7364"/>
                  <a:pt x="18000" y="7583"/>
                  <a:pt x="18000" y="7855"/>
                </a:cubicBezTo>
                <a:lnTo>
                  <a:pt x="18000" y="10309"/>
                </a:lnTo>
                <a:lnTo>
                  <a:pt x="16800" y="10309"/>
                </a:lnTo>
                <a:lnTo>
                  <a:pt x="16800" y="7364"/>
                </a:lnTo>
                <a:cubicBezTo>
                  <a:pt x="16800" y="7092"/>
                  <a:pt x="16532" y="6873"/>
                  <a:pt x="16200" y="6873"/>
                </a:cubicBezTo>
                <a:cubicBezTo>
                  <a:pt x="15868" y="6873"/>
                  <a:pt x="15600" y="7092"/>
                  <a:pt x="15600" y="7364"/>
                </a:cubicBezTo>
                <a:lnTo>
                  <a:pt x="15600" y="10309"/>
                </a:lnTo>
                <a:lnTo>
                  <a:pt x="14400" y="10309"/>
                </a:lnTo>
                <a:lnTo>
                  <a:pt x="14400" y="7855"/>
                </a:lnTo>
                <a:cubicBezTo>
                  <a:pt x="14400" y="7583"/>
                  <a:pt x="14132" y="7364"/>
                  <a:pt x="13800" y="7364"/>
                </a:cubicBezTo>
                <a:cubicBezTo>
                  <a:pt x="13468" y="7364"/>
                  <a:pt x="13200" y="7583"/>
                  <a:pt x="13200" y="7855"/>
                </a:cubicBezTo>
                <a:lnTo>
                  <a:pt x="13200" y="10309"/>
                </a:lnTo>
                <a:lnTo>
                  <a:pt x="12000" y="10309"/>
                </a:lnTo>
                <a:lnTo>
                  <a:pt x="12000" y="7364"/>
                </a:lnTo>
                <a:cubicBezTo>
                  <a:pt x="12000" y="7092"/>
                  <a:pt x="11732" y="6873"/>
                  <a:pt x="11400" y="6873"/>
                </a:cubicBezTo>
                <a:cubicBezTo>
                  <a:pt x="11068" y="6873"/>
                  <a:pt x="10800" y="7092"/>
                  <a:pt x="10800" y="7364"/>
                </a:cubicBezTo>
                <a:lnTo>
                  <a:pt x="10800" y="10309"/>
                </a:lnTo>
                <a:lnTo>
                  <a:pt x="8400" y="10309"/>
                </a:lnTo>
                <a:lnTo>
                  <a:pt x="8400" y="7855"/>
                </a:lnTo>
                <a:cubicBezTo>
                  <a:pt x="8400" y="7583"/>
                  <a:pt x="8132" y="7364"/>
                  <a:pt x="7800" y="7364"/>
                </a:cubicBezTo>
                <a:cubicBezTo>
                  <a:pt x="7468" y="7364"/>
                  <a:pt x="7200" y="7583"/>
                  <a:pt x="7200" y="7855"/>
                </a:cubicBezTo>
                <a:lnTo>
                  <a:pt x="7200" y="10309"/>
                </a:lnTo>
                <a:lnTo>
                  <a:pt x="6000" y="10309"/>
                </a:lnTo>
                <a:lnTo>
                  <a:pt x="6000" y="7855"/>
                </a:lnTo>
                <a:cubicBezTo>
                  <a:pt x="6000" y="7583"/>
                  <a:pt x="5732" y="7364"/>
                  <a:pt x="5400" y="7364"/>
                </a:cubicBezTo>
                <a:cubicBezTo>
                  <a:pt x="5068" y="7364"/>
                  <a:pt x="4800" y="7583"/>
                  <a:pt x="4800" y="7855"/>
                </a:cubicBezTo>
                <a:lnTo>
                  <a:pt x="4800" y="10309"/>
                </a:lnTo>
                <a:lnTo>
                  <a:pt x="3600" y="10309"/>
                </a:lnTo>
                <a:lnTo>
                  <a:pt x="3600" y="7364"/>
                </a:lnTo>
                <a:cubicBezTo>
                  <a:pt x="3600" y="7092"/>
                  <a:pt x="3332" y="6873"/>
                  <a:pt x="3000" y="6873"/>
                </a:cubicBezTo>
                <a:cubicBezTo>
                  <a:pt x="2668" y="6873"/>
                  <a:pt x="2400" y="7092"/>
                  <a:pt x="2400" y="7364"/>
                </a:cubicBezTo>
                <a:lnTo>
                  <a:pt x="2400" y="10309"/>
                </a:lnTo>
                <a:lnTo>
                  <a:pt x="1200" y="10309"/>
                </a:lnTo>
                <a:lnTo>
                  <a:pt x="1200" y="5891"/>
                </a:lnTo>
                <a:lnTo>
                  <a:pt x="20400" y="5891"/>
                </a:lnTo>
                <a:cubicBezTo>
                  <a:pt x="20400" y="5891"/>
                  <a:pt x="20400" y="10309"/>
                  <a:pt x="20400" y="10309"/>
                </a:cubicBezTo>
                <a:close/>
                <a:moveTo>
                  <a:pt x="20400" y="15709"/>
                </a:moveTo>
                <a:lnTo>
                  <a:pt x="19200" y="15709"/>
                </a:lnTo>
                <a:lnTo>
                  <a:pt x="19200" y="13255"/>
                </a:lnTo>
                <a:cubicBezTo>
                  <a:pt x="19200" y="12983"/>
                  <a:pt x="18932" y="12764"/>
                  <a:pt x="18600" y="12764"/>
                </a:cubicBezTo>
                <a:cubicBezTo>
                  <a:pt x="18268" y="12764"/>
                  <a:pt x="18000" y="12983"/>
                  <a:pt x="18000" y="13255"/>
                </a:cubicBezTo>
                <a:lnTo>
                  <a:pt x="18000" y="15709"/>
                </a:lnTo>
                <a:lnTo>
                  <a:pt x="16800" y="15709"/>
                </a:lnTo>
                <a:lnTo>
                  <a:pt x="16800" y="13255"/>
                </a:lnTo>
                <a:cubicBezTo>
                  <a:pt x="16800" y="12983"/>
                  <a:pt x="16532" y="12764"/>
                  <a:pt x="16200" y="12764"/>
                </a:cubicBezTo>
                <a:cubicBezTo>
                  <a:pt x="15868" y="12764"/>
                  <a:pt x="15600" y="12983"/>
                  <a:pt x="15600" y="13255"/>
                </a:cubicBezTo>
                <a:lnTo>
                  <a:pt x="15600" y="15709"/>
                </a:lnTo>
                <a:lnTo>
                  <a:pt x="13200" y="15709"/>
                </a:lnTo>
                <a:lnTo>
                  <a:pt x="13200" y="13745"/>
                </a:lnTo>
                <a:cubicBezTo>
                  <a:pt x="13200" y="13474"/>
                  <a:pt x="12932" y="13255"/>
                  <a:pt x="12600" y="13255"/>
                </a:cubicBezTo>
                <a:cubicBezTo>
                  <a:pt x="12268" y="13255"/>
                  <a:pt x="12000" y="13474"/>
                  <a:pt x="12000" y="13745"/>
                </a:cubicBezTo>
                <a:lnTo>
                  <a:pt x="12000" y="15709"/>
                </a:lnTo>
                <a:lnTo>
                  <a:pt x="10800" y="15709"/>
                </a:lnTo>
                <a:lnTo>
                  <a:pt x="10800" y="13745"/>
                </a:lnTo>
                <a:cubicBezTo>
                  <a:pt x="10800" y="13474"/>
                  <a:pt x="10532" y="13255"/>
                  <a:pt x="10200" y="13255"/>
                </a:cubicBezTo>
                <a:cubicBezTo>
                  <a:pt x="9868" y="13255"/>
                  <a:pt x="9600" y="13474"/>
                  <a:pt x="9600" y="13745"/>
                </a:cubicBezTo>
                <a:lnTo>
                  <a:pt x="9600" y="15709"/>
                </a:lnTo>
                <a:lnTo>
                  <a:pt x="8400" y="15709"/>
                </a:lnTo>
                <a:lnTo>
                  <a:pt x="8400" y="13255"/>
                </a:lnTo>
                <a:cubicBezTo>
                  <a:pt x="8400" y="12983"/>
                  <a:pt x="8132" y="12764"/>
                  <a:pt x="7800" y="12764"/>
                </a:cubicBezTo>
                <a:cubicBezTo>
                  <a:pt x="7468" y="12764"/>
                  <a:pt x="7200" y="12983"/>
                  <a:pt x="7200" y="13255"/>
                </a:cubicBezTo>
                <a:lnTo>
                  <a:pt x="7200" y="15709"/>
                </a:lnTo>
                <a:lnTo>
                  <a:pt x="6000" y="15709"/>
                </a:lnTo>
                <a:lnTo>
                  <a:pt x="6000" y="13745"/>
                </a:lnTo>
                <a:cubicBezTo>
                  <a:pt x="6000" y="13474"/>
                  <a:pt x="5732" y="13255"/>
                  <a:pt x="5400" y="13255"/>
                </a:cubicBezTo>
                <a:cubicBezTo>
                  <a:pt x="5068" y="13255"/>
                  <a:pt x="4800" y="13474"/>
                  <a:pt x="4800" y="13745"/>
                </a:cubicBezTo>
                <a:lnTo>
                  <a:pt x="4800" y="15709"/>
                </a:lnTo>
                <a:lnTo>
                  <a:pt x="1200" y="15709"/>
                </a:lnTo>
                <a:lnTo>
                  <a:pt x="1200" y="11291"/>
                </a:lnTo>
                <a:lnTo>
                  <a:pt x="20400" y="11291"/>
                </a:lnTo>
                <a:cubicBezTo>
                  <a:pt x="20400" y="11291"/>
                  <a:pt x="20400" y="15709"/>
                  <a:pt x="20400" y="15709"/>
                </a:cubicBezTo>
                <a:close/>
                <a:moveTo>
                  <a:pt x="20400" y="20618"/>
                </a:moveTo>
                <a:lnTo>
                  <a:pt x="19200" y="20618"/>
                </a:lnTo>
                <a:lnTo>
                  <a:pt x="19200" y="18655"/>
                </a:lnTo>
                <a:cubicBezTo>
                  <a:pt x="19200" y="18383"/>
                  <a:pt x="18932" y="18164"/>
                  <a:pt x="18600" y="18164"/>
                </a:cubicBezTo>
                <a:cubicBezTo>
                  <a:pt x="18268" y="18164"/>
                  <a:pt x="18000" y="18383"/>
                  <a:pt x="18000" y="18655"/>
                </a:cubicBezTo>
                <a:lnTo>
                  <a:pt x="18000" y="20618"/>
                </a:lnTo>
                <a:lnTo>
                  <a:pt x="16800" y="20618"/>
                </a:lnTo>
                <a:lnTo>
                  <a:pt x="16800" y="18655"/>
                </a:lnTo>
                <a:cubicBezTo>
                  <a:pt x="16800" y="18383"/>
                  <a:pt x="16532" y="18164"/>
                  <a:pt x="16200" y="18164"/>
                </a:cubicBezTo>
                <a:cubicBezTo>
                  <a:pt x="15868" y="18164"/>
                  <a:pt x="15600" y="18383"/>
                  <a:pt x="15600" y="18655"/>
                </a:cubicBezTo>
                <a:lnTo>
                  <a:pt x="15600" y="20618"/>
                </a:lnTo>
                <a:lnTo>
                  <a:pt x="14400" y="20618"/>
                </a:lnTo>
                <a:lnTo>
                  <a:pt x="14400" y="18164"/>
                </a:lnTo>
                <a:cubicBezTo>
                  <a:pt x="14400" y="17892"/>
                  <a:pt x="14132" y="17673"/>
                  <a:pt x="13800" y="17673"/>
                </a:cubicBezTo>
                <a:cubicBezTo>
                  <a:pt x="13468" y="17673"/>
                  <a:pt x="13200" y="17892"/>
                  <a:pt x="13200" y="18164"/>
                </a:cubicBezTo>
                <a:lnTo>
                  <a:pt x="13200" y="20618"/>
                </a:lnTo>
                <a:lnTo>
                  <a:pt x="10800" y="20618"/>
                </a:lnTo>
                <a:lnTo>
                  <a:pt x="10800" y="18164"/>
                </a:lnTo>
                <a:cubicBezTo>
                  <a:pt x="10800" y="17892"/>
                  <a:pt x="10532" y="17673"/>
                  <a:pt x="10200" y="17673"/>
                </a:cubicBezTo>
                <a:cubicBezTo>
                  <a:pt x="9868" y="17673"/>
                  <a:pt x="9600" y="17892"/>
                  <a:pt x="9600" y="18164"/>
                </a:cubicBezTo>
                <a:lnTo>
                  <a:pt x="9600" y="20618"/>
                </a:lnTo>
                <a:lnTo>
                  <a:pt x="8400" y="20618"/>
                </a:lnTo>
                <a:lnTo>
                  <a:pt x="8400" y="18655"/>
                </a:lnTo>
                <a:cubicBezTo>
                  <a:pt x="8400" y="18383"/>
                  <a:pt x="8132" y="18164"/>
                  <a:pt x="7800" y="18164"/>
                </a:cubicBezTo>
                <a:cubicBezTo>
                  <a:pt x="7468" y="18164"/>
                  <a:pt x="7200" y="18383"/>
                  <a:pt x="7200" y="18655"/>
                </a:cubicBezTo>
                <a:lnTo>
                  <a:pt x="7200" y="20618"/>
                </a:lnTo>
                <a:lnTo>
                  <a:pt x="6000" y="20618"/>
                </a:lnTo>
                <a:lnTo>
                  <a:pt x="6000" y="18164"/>
                </a:lnTo>
                <a:cubicBezTo>
                  <a:pt x="6000" y="17892"/>
                  <a:pt x="5732" y="17673"/>
                  <a:pt x="5400" y="17673"/>
                </a:cubicBezTo>
                <a:cubicBezTo>
                  <a:pt x="5068" y="17673"/>
                  <a:pt x="4800" y="17892"/>
                  <a:pt x="4800" y="18164"/>
                </a:cubicBezTo>
                <a:lnTo>
                  <a:pt x="4800" y="20618"/>
                </a:lnTo>
                <a:lnTo>
                  <a:pt x="3600" y="20618"/>
                </a:lnTo>
                <a:lnTo>
                  <a:pt x="3600" y="18655"/>
                </a:lnTo>
                <a:cubicBezTo>
                  <a:pt x="3600" y="18383"/>
                  <a:pt x="3332" y="18164"/>
                  <a:pt x="3000" y="18164"/>
                </a:cubicBezTo>
                <a:cubicBezTo>
                  <a:pt x="2668" y="18164"/>
                  <a:pt x="2400" y="18383"/>
                  <a:pt x="2400" y="18655"/>
                </a:cubicBezTo>
                <a:lnTo>
                  <a:pt x="2400" y="20618"/>
                </a:lnTo>
                <a:lnTo>
                  <a:pt x="1200" y="20618"/>
                </a:lnTo>
                <a:lnTo>
                  <a:pt x="1200" y="16691"/>
                </a:lnTo>
                <a:lnTo>
                  <a:pt x="20400" y="16691"/>
                </a:lnTo>
                <a:cubicBezTo>
                  <a:pt x="20400" y="16691"/>
                  <a:pt x="20400" y="20618"/>
                  <a:pt x="20400" y="20618"/>
                </a:cubicBezTo>
                <a:close/>
                <a:moveTo>
                  <a:pt x="20400" y="0"/>
                </a:moveTo>
                <a:lnTo>
                  <a:pt x="1200" y="0"/>
                </a:lnTo>
                <a:cubicBezTo>
                  <a:pt x="537" y="0"/>
                  <a:pt x="0" y="440"/>
                  <a:pt x="0" y="982"/>
                </a:cubicBezTo>
                <a:lnTo>
                  <a:pt x="0" y="20618"/>
                </a:lnTo>
                <a:cubicBezTo>
                  <a:pt x="0" y="21160"/>
                  <a:pt x="537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062" y="0"/>
                  <a:pt x="20400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56" name="Shape 2756"/>
          <p:cNvSpPr/>
          <p:nvPr/>
        </p:nvSpPr>
        <p:spPr>
          <a:xfrm>
            <a:off x="10504952" y="4182130"/>
            <a:ext cx="279328" cy="1269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0" y="19440"/>
                </a:moveTo>
                <a:cubicBezTo>
                  <a:pt x="17951" y="19440"/>
                  <a:pt x="17182" y="17747"/>
                  <a:pt x="17182" y="15660"/>
                </a:cubicBezTo>
                <a:cubicBezTo>
                  <a:pt x="17182" y="14601"/>
                  <a:pt x="17381" y="13647"/>
                  <a:pt x="17700" y="12960"/>
                </a:cubicBezTo>
                <a:lnTo>
                  <a:pt x="3900" y="12960"/>
                </a:lnTo>
                <a:cubicBezTo>
                  <a:pt x="4219" y="13647"/>
                  <a:pt x="4418" y="14601"/>
                  <a:pt x="4418" y="15660"/>
                </a:cubicBezTo>
                <a:cubicBezTo>
                  <a:pt x="4418" y="17747"/>
                  <a:pt x="3649" y="19440"/>
                  <a:pt x="2700" y="19440"/>
                </a:cubicBezTo>
                <a:cubicBezTo>
                  <a:pt x="1751" y="19440"/>
                  <a:pt x="982" y="17747"/>
                  <a:pt x="982" y="15660"/>
                </a:cubicBezTo>
                <a:cubicBezTo>
                  <a:pt x="982" y="13757"/>
                  <a:pt x="1623" y="12199"/>
                  <a:pt x="2455" y="11935"/>
                </a:cubicBezTo>
                <a:lnTo>
                  <a:pt x="2455" y="11880"/>
                </a:lnTo>
                <a:cubicBezTo>
                  <a:pt x="2726" y="11880"/>
                  <a:pt x="2945" y="11397"/>
                  <a:pt x="2945" y="10800"/>
                </a:cubicBezTo>
                <a:cubicBezTo>
                  <a:pt x="2945" y="10203"/>
                  <a:pt x="2726" y="9720"/>
                  <a:pt x="2455" y="9720"/>
                </a:cubicBezTo>
                <a:lnTo>
                  <a:pt x="2455" y="9665"/>
                </a:lnTo>
                <a:cubicBezTo>
                  <a:pt x="1623" y="9401"/>
                  <a:pt x="982" y="7843"/>
                  <a:pt x="982" y="5940"/>
                </a:cubicBezTo>
                <a:cubicBezTo>
                  <a:pt x="982" y="3852"/>
                  <a:pt x="1751" y="2160"/>
                  <a:pt x="2700" y="2160"/>
                </a:cubicBezTo>
                <a:cubicBezTo>
                  <a:pt x="3649" y="2160"/>
                  <a:pt x="4418" y="3852"/>
                  <a:pt x="4418" y="5940"/>
                </a:cubicBezTo>
                <a:cubicBezTo>
                  <a:pt x="4418" y="6999"/>
                  <a:pt x="4219" y="7954"/>
                  <a:pt x="3900" y="8640"/>
                </a:cubicBezTo>
                <a:lnTo>
                  <a:pt x="17700" y="8640"/>
                </a:lnTo>
                <a:cubicBezTo>
                  <a:pt x="17381" y="7954"/>
                  <a:pt x="17182" y="6999"/>
                  <a:pt x="17182" y="5940"/>
                </a:cubicBezTo>
                <a:cubicBezTo>
                  <a:pt x="17182" y="3852"/>
                  <a:pt x="17951" y="2160"/>
                  <a:pt x="18900" y="2160"/>
                </a:cubicBezTo>
                <a:cubicBezTo>
                  <a:pt x="19849" y="2160"/>
                  <a:pt x="20618" y="3852"/>
                  <a:pt x="20618" y="5940"/>
                </a:cubicBezTo>
                <a:cubicBezTo>
                  <a:pt x="20618" y="7843"/>
                  <a:pt x="19977" y="9401"/>
                  <a:pt x="19145" y="9665"/>
                </a:cubicBezTo>
                <a:lnTo>
                  <a:pt x="19145" y="9720"/>
                </a:lnTo>
                <a:cubicBezTo>
                  <a:pt x="18874" y="9720"/>
                  <a:pt x="18655" y="10203"/>
                  <a:pt x="18655" y="10800"/>
                </a:cubicBezTo>
                <a:cubicBezTo>
                  <a:pt x="18655" y="11397"/>
                  <a:pt x="18874" y="11880"/>
                  <a:pt x="19145" y="11880"/>
                </a:cubicBezTo>
                <a:lnTo>
                  <a:pt x="19145" y="11935"/>
                </a:lnTo>
                <a:cubicBezTo>
                  <a:pt x="19977" y="12199"/>
                  <a:pt x="20618" y="13757"/>
                  <a:pt x="20618" y="15660"/>
                </a:cubicBezTo>
                <a:cubicBezTo>
                  <a:pt x="20618" y="17747"/>
                  <a:pt x="19849" y="19440"/>
                  <a:pt x="18900" y="19440"/>
                </a:cubicBezTo>
                <a:moveTo>
                  <a:pt x="20449" y="10800"/>
                </a:moveTo>
                <a:cubicBezTo>
                  <a:pt x="21145" y="9725"/>
                  <a:pt x="21600" y="7950"/>
                  <a:pt x="21600" y="5940"/>
                </a:cubicBezTo>
                <a:cubicBezTo>
                  <a:pt x="21600" y="2660"/>
                  <a:pt x="20391" y="0"/>
                  <a:pt x="18900" y="0"/>
                </a:cubicBezTo>
                <a:cubicBezTo>
                  <a:pt x="17409" y="0"/>
                  <a:pt x="16200" y="2660"/>
                  <a:pt x="16200" y="5940"/>
                </a:cubicBezTo>
                <a:cubicBezTo>
                  <a:pt x="16200" y="6124"/>
                  <a:pt x="16208" y="6301"/>
                  <a:pt x="16215" y="6480"/>
                </a:cubicBezTo>
                <a:lnTo>
                  <a:pt x="5385" y="6480"/>
                </a:lnTo>
                <a:cubicBezTo>
                  <a:pt x="5392" y="6301"/>
                  <a:pt x="5400" y="6124"/>
                  <a:pt x="5400" y="5940"/>
                </a:cubicBezTo>
                <a:cubicBezTo>
                  <a:pt x="5400" y="2660"/>
                  <a:pt x="4191" y="0"/>
                  <a:pt x="2700" y="0"/>
                </a:cubicBezTo>
                <a:cubicBezTo>
                  <a:pt x="1209" y="0"/>
                  <a:pt x="0" y="2660"/>
                  <a:pt x="0" y="5940"/>
                </a:cubicBezTo>
                <a:cubicBezTo>
                  <a:pt x="0" y="7950"/>
                  <a:pt x="455" y="9725"/>
                  <a:pt x="1151" y="10800"/>
                </a:cubicBezTo>
                <a:cubicBezTo>
                  <a:pt x="455" y="11875"/>
                  <a:pt x="0" y="13649"/>
                  <a:pt x="0" y="15660"/>
                </a:cubicBezTo>
                <a:cubicBezTo>
                  <a:pt x="0" y="18940"/>
                  <a:pt x="1209" y="21600"/>
                  <a:pt x="2700" y="21600"/>
                </a:cubicBezTo>
                <a:cubicBezTo>
                  <a:pt x="4191" y="21600"/>
                  <a:pt x="5400" y="18940"/>
                  <a:pt x="5400" y="15660"/>
                </a:cubicBezTo>
                <a:cubicBezTo>
                  <a:pt x="5400" y="15476"/>
                  <a:pt x="5392" y="15298"/>
                  <a:pt x="5385" y="15120"/>
                </a:cubicBezTo>
                <a:lnTo>
                  <a:pt x="16215" y="15120"/>
                </a:lnTo>
                <a:cubicBezTo>
                  <a:pt x="16208" y="15298"/>
                  <a:pt x="16200" y="15476"/>
                  <a:pt x="16200" y="15660"/>
                </a:cubicBezTo>
                <a:cubicBezTo>
                  <a:pt x="16200" y="18940"/>
                  <a:pt x="17409" y="21600"/>
                  <a:pt x="18900" y="21600"/>
                </a:cubicBezTo>
                <a:cubicBezTo>
                  <a:pt x="20391" y="21600"/>
                  <a:pt x="21600" y="18940"/>
                  <a:pt x="21600" y="15660"/>
                </a:cubicBezTo>
                <a:cubicBezTo>
                  <a:pt x="21600" y="13649"/>
                  <a:pt x="21145" y="11875"/>
                  <a:pt x="20449" y="1080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57" name="Shape 2757"/>
          <p:cNvSpPr/>
          <p:nvPr/>
        </p:nvSpPr>
        <p:spPr>
          <a:xfrm>
            <a:off x="11038212" y="4105950"/>
            <a:ext cx="279399" cy="2794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84" h="21085" extrusionOk="0">
                <a:moveTo>
                  <a:pt x="6690" y="19632"/>
                </a:moveTo>
                <a:cubicBezTo>
                  <a:pt x="6035" y="20288"/>
                  <a:pt x="4973" y="20288"/>
                  <a:pt x="4318" y="19632"/>
                </a:cubicBezTo>
                <a:cubicBezTo>
                  <a:pt x="3731" y="19043"/>
                  <a:pt x="3675" y="18127"/>
                  <a:pt x="4141" y="17471"/>
                </a:cubicBezTo>
                <a:lnTo>
                  <a:pt x="4127" y="17458"/>
                </a:lnTo>
                <a:cubicBezTo>
                  <a:pt x="4237" y="17311"/>
                  <a:pt x="4231" y="17106"/>
                  <a:pt x="4096" y="16973"/>
                </a:cubicBezTo>
                <a:cubicBezTo>
                  <a:pt x="3963" y="16842"/>
                  <a:pt x="3758" y="16835"/>
                  <a:pt x="3610" y="16939"/>
                </a:cubicBezTo>
                <a:lnTo>
                  <a:pt x="3601" y="16931"/>
                </a:lnTo>
                <a:cubicBezTo>
                  <a:pt x="2946" y="17395"/>
                  <a:pt x="2036" y="17338"/>
                  <a:pt x="1449" y="16752"/>
                </a:cubicBezTo>
                <a:cubicBezTo>
                  <a:pt x="794" y="16097"/>
                  <a:pt x="794" y="15035"/>
                  <a:pt x="1449" y="14381"/>
                </a:cubicBezTo>
                <a:cubicBezTo>
                  <a:pt x="2104" y="13726"/>
                  <a:pt x="3166" y="13726"/>
                  <a:pt x="3821" y="14381"/>
                </a:cubicBezTo>
                <a:cubicBezTo>
                  <a:pt x="4110" y="14670"/>
                  <a:pt x="4264" y="15040"/>
                  <a:pt x="4297" y="15418"/>
                </a:cubicBezTo>
                <a:lnTo>
                  <a:pt x="9862" y="9852"/>
                </a:lnTo>
                <a:lnTo>
                  <a:pt x="15417" y="4298"/>
                </a:lnTo>
                <a:cubicBezTo>
                  <a:pt x="15038" y="4264"/>
                  <a:pt x="14669" y="4111"/>
                  <a:pt x="14380" y="3821"/>
                </a:cubicBezTo>
                <a:cubicBezTo>
                  <a:pt x="13725" y="3166"/>
                  <a:pt x="13725" y="2105"/>
                  <a:pt x="14380" y="1450"/>
                </a:cubicBezTo>
                <a:cubicBezTo>
                  <a:pt x="15034" y="795"/>
                  <a:pt x="16096" y="795"/>
                  <a:pt x="16751" y="1450"/>
                </a:cubicBezTo>
                <a:cubicBezTo>
                  <a:pt x="17332" y="2031"/>
                  <a:pt x="17394" y="2932"/>
                  <a:pt x="16943" y="3585"/>
                </a:cubicBezTo>
                <a:lnTo>
                  <a:pt x="16949" y="3592"/>
                </a:lnTo>
                <a:cubicBezTo>
                  <a:pt x="16829" y="3738"/>
                  <a:pt x="16832" y="3953"/>
                  <a:pt x="16971" y="4089"/>
                </a:cubicBezTo>
                <a:cubicBezTo>
                  <a:pt x="17109" y="4225"/>
                  <a:pt x="17323" y="4230"/>
                  <a:pt x="17473" y="4114"/>
                </a:cubicBezTo>
                <a:lnTo>
                  <a:pt x="17487" y="4129"/>
                </a:lnTo>
                <a:cubicBezTo>
                  <a:pt x="18142" y="3675"/>
                  <a:pt x="19047" y="3737"/>
                  <a:pt x="19631" y="4319"/>
                </a:cubicBezTo>
                <a:cubicBezTo>
                  <a:pt x="20287" y="4974"/>
                  <a:pt x="20287" y="6036"/>
                  <a:pt x="19631" y="6691"/>
                </a:cubicBezTo>
                <a:cubicBezTo>
                  <a:pt x="18974" y="7346"/>
                  <a:pt x="17909" y="7346"/>
                  <a:pt x="17253" y="6691"/>
                </a:cubicBezTo>
                <a:cubicBezTo>
                  <a:pt x="16962" y="6400"/>
                  <a:pt x="16807" y="6029"/>
                  <a:pt x="16775" y="5650"/>
                </a:cubicBezTo>
                <a:lnTo>
                  <a:pt x="5650" y="16775"/>
                </a:lnTo>
                <a:cubicBezTo>
                  <a:pt x="6029" y="16808"/>
                  <a:pt x="6400" y="16963"/>
                  <a:pt x="6690" y="17254"/>
                </a:cubicBezTo>
                <a:cubicBezTo>
                  <a:pt x="7344" y="17910"/>
                  <a:pt x="7344" y="18975"/>
                  <a:pt x="6690" y="19632"/>
                </a:cubicBezTo>
                <a:moveTo>
                  <a:pt x="7277" y="16503"/>
                </a:moveTo>
                <a:lnTo>
                  <a:pt x="16501" y="7278"/>
                </a:lnTo>
                <a:cubicBezTo>
                  <a:pt x="16528" y="7307"/>
                  <a:pt x="16545" y="7340"/>
                  <a:pt x="16573" y="7368"/>
                </a:cubicBezTo>
                <a:cubicBezTo>
                  <a:pt x="17605" y="8397"/>
                  <a:pt x="19278" y="8397"/>
                  <a:pt x="20310" y="7368"/>
                </a:cubicBezTo>
                <a:cubicBezTo>
                  <a:pt x="21342" y="6339"/>
                  <a:pt x="21342" y="4671"/>
                  <a:pt x="20310" y="3641"/>
                </a:cubicBezTo>
                <a:cubicBezTo>
                  <a:pt x="19726" y="3059"/>
                  <a:pt x="18937" y="2818"/>
                  <a:pt x="18175" y="2895"/>
                </a:cubicBezTo>
                <a:cubicBezTo>
                  <a:pt x="18250" y="2137"/>
                  <a:pt x="18009" y="1353"/>
                  <a:pt x="17428" y="772"/>
                </a:cubicBezTo>
                <a:cubicBezTo>
                  <a:pt x="16399" y="-257"/>
                  <a:pt x="14731" y="-257"/>
                  <a:pt x="13702" y="772"/>
                </a:cubicBezTo>
                <a:cubicBezTo>
                  <a:pt x="12673" y="1802"/>
                  <a:pt x="12673" y="3470"/>
                  <a:pt x="13702" y="4498"/>
                </a:cubicBezTo>
                <a:cubicBezTo>
                  <a:pt x="13729" y="4526"/>
                  <a:pt x="13763" y="4543"/>
                  <a:pt x="13791" y="4569"/>
                </a:cubicBezTo>
                <a:lnTo>
                  <a:pt x="4568" y="13791"/>
                </a:lnTo>
                <a:cubicBezTo>
                  <a:pt x="4542" y="13763"/>
                  <a:pt x="4526" y="13730"/>
                  <a:pt x="4498" y="13703"/>
                </a:cubicBezTo>
                <a:cubicBezTo>
                  <a:pt x="3469" y="12674"/>
                  <a:pt x="1801" y="12674"/>
                  <a:pt x="772" y="13703"/>
                </a:cubicBezTo>
                <a:cubicBezTo>
                  <a:pt x="-258" y="14732"/>
                  <a:pt x="-258" y="16400"/>
                  <a:pt x="772" y="17429"/>
                </a:cubicBezTo>
                <a:cubicBezTo>
                  <a:pt x="1353" y="18010"/>
                  <a:pt x="2136" y="18251"/>
                  <a:pt x="2895" y="18176"/>
                </a:cubicBezTo>
                <a:cubicBezTo>
                  <a:pt x="2818" y="18938"/>
                  <a:pt x="3058" y="19727"/>
                  <a:pt x="3641" y="20311"/>
                </a:cubicBezTo>
                <a:cubicBezTo>
                  <a:pt x="4670" y="21343"/>
                  <a:pt x="6338" y="21343"/>
                  <a:pt x="7367" y="20311"/>
                </a:cubicBezTo>
                <a:cubicBezTo>
                  <a:pt x="8396" y="19279"/>
                  <a:pt x="8396" y="17606"/>
                  <a:pt x="7367" y="16574"/>
                </a:cubicBezTo>
                <a:cubicBezTo>
                  <a:pt x="7339" y="16546"/>
                  <a:pt x="7306" y="16529"/>
                  <a:pt x="7277" y="16503"/>
                </a:cubicBezTo>
                <a:moveTo>
                  <a:pt x="16558" y="13703"/>
                </a:moveTo>
                <a:cubicBezTo>
                  <a:pt x="16530" y="13731"/>
                  <a:pt x="16513" y="13764"/>
                  <a:pt x="16487" y="13793"/>
                </a:cubicBezTo>
                <a:lnTo>
                  <a:pt x="14254" y="11560"/>
                </a:lnTo>
                <a:cubicBezTo>
                  <a:pt x="14067" y="11391"/>
                  <a:pt x="13780" y="11393"/>
                  <a:pt x="13601" y="11573"/>
                </a:cubicBezTo>
                <a:cubicBezTo>
                  <a:pt x="13421" y="11753"/>
                  <a:pt x="13419" y="12039"/>
                  <a:pt x="13588" y="12226"/>
                </a:cubicBezTo>
                <a:lnTo>
                  <a:pt x="13576" y="12237"/>
                </a:lnTo>
                <a:lnTo>
                  <a:pt x="16759" y="15420"/>
                </a:lnTo>
                <a:cubicBezTo>
                  <a:pt x="16792" y="15041"/>
                  <a:pt x="16947" y="14671"/>
                  <a:pt x="17238" y="14381"/>
                </a:cubicBezTo>
                <a:cubicBezTo>
                  <a:pt x="17895" y="13726"/>
                  <a:pt x="18959" y="13726"/>
                  <a:pt x="19615" y="14381"/>
                </a:cubicBezTo>
                <a:cubicBezTo>
                  <a:pt x="20273" y="15035"/>
                  <a:pt x="20273" y="16097"/>
                  <a:pt x="19615" y="16752"/>
                </a:cubicBezTo>
                <a:cubicBezTo>
                  <a:pt x="19027" y="17339"/>
                  <a:pt x="18112" y="17395"/>
                  <a:pt x="17455" y="16929"/>
                </a:cubicBezTo>
                <a:lnTo>
                  <a:pt x="17442" y="16942"/>
                </a:lnTo>
                <a:cubicBezTo>
                  <a:pt x="17295" y="16832"/>
                  <a:pt x="17090" y="16839"/>
                  <a:pt x="16957" y="16974"/>
                </a:cubicBezTo>
                <a:cubicBezTo>
                  <a:pt x="16826" y="17107"/>
                  <a:pt x="16819" y="17312"/>
                  <a:pt x="16923" y="17460"/>
                </a:cubicBezTo>
                <a:lnTo>
                  <a:pt x="16915" y="17469"/>
                </a:lnTo>
                <a:cubicBezTo>
                  <a:pt x="17379" y="18124"/>
                  <a:pt x="17322" y="19034"/>
                  <a:pt x="16736" y="19621"/>
                </a:cubicBezTo>
                <a:cubicBezTo>
                  <a:pt x="16081" y="20276"/>
                  <a:pt x="15019" y="20276"/>
                  <a:pt x="14365" y="19621"/>
                </a:cubicBezTo>
                <a:cubicBezTo>
                  <a:pt x="13710" y="18966"/>
                  <a:pt x="13710" y="17904"/>
                  <a:pt x="14365" y="17250"/>
                </a:cubicBezTo>
                <a:cubicBezTo>
                  <a:pt x="14654" y="16960"/>
                  <a:pt x="15024" y="16807"/>
                  <a:pt x="15402" y="16773"/>
                </a:cubicBezTo>
                <a:lnTo>
                  <a:pt x="12222" y="13592"/>
                </a:lnTo>
                <a:lnTo>
                  <a:pt x="12218" y="13596"/>
                </a:lnTo>
                <a:cubicBezTo>
                  <a:pt x="12031" y="13427"/>
                  <a:pt x="11744" y="13428"/>
                  <a:pt x="11565" y="13609"/>
                </a:cubicBezTo>
                <a:cubicBezTo>
                  <a:pt x="11385" y="13789"/>
                  <a:pt x="11383" y="14075"/>
                  <a:pt x="11552" y="14262"/>
                </a:cubicBezTo>
                <a:lnTo>
                  <a:pt x="13776" y="16501"/>
                </a:lnTo>
                <a:cubicBezTo>
                  <a:pt x="13748" y="16528"/>
                  <a:pt x="13714" y="16544"/>
                  <a:pt x="13687" y="16572"/>
                </a:cubicBezTo>
                <a:cubicBezTo>
                  <a:pt x="12658" y="17601"/>
                  <a:pt x="12658" y="19269"/>
                  <a:pt x="13687" y="20298"/>
                </a:cubicBezTo>
                <a:cubicBezTo>
                  <a:pt x="14716" y="21328"/>
                  <a:pt x="16384" y="21328"/>
                  <a:pt x="17413" y="20298"/>
                </a:cubicBezTo>
                <a:cubicBezTo>
                  <a:pt x="17994" y="19717"/>
                  <a:pt x="18235" y="18934"/>
                  <a:pt x="18160" y="18175"/>
                </a:cubicBezTo>
                <a:cubicBezTo>
                  <a:pt x="18922" y="18252"/>
                  <a:pt x="19711" y="18011"/>
                  <a:pt x="20295" y="17429"/>
                </a:cubicBezTo>
                <a:cubicBezTo>
                  <a:pt x="21327" y="16400"/>
                  <a:pt x="21327" y="14732"/>
                  <a:pt x="20295" y="13703"/>
                </a:cubicBezTo>
                <a:cubicBezTo>
                  <a:pt x="19263" y="12674"/>
                  <a:pt x="17590" y="12674"/>
                  <a:pt x="16558" y="13703"/>
                </a:cubicBezTo>
                <a:moveTo>
                  <a:pt x="4511" y="7368"/>
                </a:moveTo>
                <a:cubicBezTo>
                  <a:pt x="4539" y="7340"/>
                  <a:pt x="4556" y="7306"/>
                  <a:pt x="4582" y="7278"/>
                </a:cubicBezTo>
                <a:lnTo>
                  <a:pt x="6815" y="9511"/>
                </a:lnTo>
                <a:cubicBezTo>
                  <a:pt x="7002" y="9679"/>
                  <a:pt x="7289" y="9678"/>
                  <a:pt x="7468" y="9498"/>
                </a:cubicBezTo>
                <a:cubicBezTo>
                  <a:pt x="7649" y="9318"/>
                  <a:pt x="7650" y="9031"/>
                  <a:pt x="7481" y="8844"/>
                </a:cubicBezTo>
                <a:lnTo>
                  <a:pt x="7493" y="8833"/>
                </a:lnTo>
                <a:lnTo>
                  <a:pt x="4309" y="5650"/>
                </a:lnTo>
                <a:cubicBezTo>
                  <a:pt x="4277" y="6029"/>
                  <a:pt x="4122" y="6400"/>
                  <a:pt x="3831" y="6691"/>
                </a:cubicBezTo>
                <a:cubicBezTo>
                  <a:pt x="3175" y="7346"/>
                  <a:pt x="2110" y="7346"/>
                  <a:pt x="1453" y="6691"/>
                </a:cubicBezTo>
                <a:cubicBezTo>
                  <a:pt x="797" y="6036"/>
                  <a:pt x="797" y="4974"/>
                  <a:pt x="1453" y="4319"/>
                </a:cubicBezTo>
                <a:cubicBezTo>
                  <a:pt x="2042" y="3732"/>
                  <a:pt x="2957" y="3676"/>
                  <a:pt x="3614" y="4142"/>
                </a:cubicBezTo>
                <a:lnTo>
                  <a:pt x="3627" y="4128"/>
                </a:lnTo>
                <a:cubicBezTo>
                  <a:pt x="3774" y="4238"/>
                  <a:pt x="3979" y="4232"/>
                  <a:pt x="4112" y="4097"/>
                </a:cubicBezTo>
                <a:cubicBezTo>
                  <a:pt x="4243" y="3963"/>
                  <a:pt x="4250" y="3759"/>
                  <a:pt x="4146" y="3610"/>
                </a:cubicBezTo>
                <a:lnTo>
                  <a:pt x="4154" y="3602"/>
                </a:lnTo>
                <a:cubicBezTo>
                  <a:pt x="3690" y="2947"/>
                  <a:pt x="3746" y="2036"/>
                  <a:pt x="4333" y="1450"/>
                </a:cubicBezTo>
                <a:cubicBezTo>
                  <a:pt x="4988" y="795"/>
                  <a:pt x="6050" y="795"/>
                  <a:pt x="6705" y="1450"/>
                </a:cubicBezTo>
                <a:cubicBezTo>
                  <a:pt x="7359" y="2105"/>
                  <a:pt x="7359" y="3166"/>
                  <a:pt x="6705" y="3821"/>
                </a:cubicBezTo>
                <a:cubicBezTo>
                  <a:pt x="6415" y="4111"/>
                  <a:pt x="6046" y="4264"/>
                  <a:pt x="5667" y="4298"/>
                </a:cubicBezTo>
                <a:lnTo>
                  <a:pt x="8847" y="7478"/>
                </a:lnTo>
                <a:lnTo>
                  <a:pt x="8851" y="7475"/>
                </a:lnTo>
                <a:cubicBezTo>
                  <a:pt x="9038" y="7644"/>
                  <a:pt x="9325" y="7642"/>
                  <a:pt x="9504" y="7462"/>
                </a:cubicBezTo>
                <a:cubicBezTo>
                  <a:pt x="9684" y="7282"/>
                  <a:pt x="9686" y="6995"/>
                  <a:pt x="9517" y="6808"/>
                </a:cubicBezTo>
                <a:lnTo>
                  <a:pt x="7293" y="4569"/>
                </a:lnTo>
                <a:cubicBezTo>
                  <a:pt x="7321" y="4543"/>
                  <a:pt x="7355" y="4526"/>
                  <a:pt x="7382" y="4498"/>
                </a:cubicBezTo>
                <a:cubicBezTo>
                  <a:pt x="8411" y="3470"/>
                  <a:pt x="8411" y="1802"/>
                  <a:pt x="7382" y="772"/>
                </a:cubicBezTo>
                <a:cubicBezTo>
                  <a:pt x="6353" y="-257"/>
                  <a:pt x="4685" y="-257"/>
                  <a:pt x="3656" y="772"/>
                </a:cubicBezTo>
                <a:cubicBezTo>
                  <a:pt x="3075" y="1353"/>
                  <a:pt x="2834" y="2137"/>
                  <a:pt x="2909" y="2895"/>
                </a:cubicBezTo>
                <a:cubicBezTo>
                  <a:pt x="2147" y="2818"/>
                  <a:pt x="1358" y="3059"/>
                  <a:pt x="774" y="3641"/>
                </a:cubicBezTo>
                <a:cubicBezTo>
                  <a:pt x="-258" y="4671"/>
                  <a:pt x="-258" y="6339"/>
                  <a:pt x="774" y="7368"/>
                </a:cubicBezTo>
                <a:cubicBezTo>
                  <a:pt x="1806" y="8397"/>
                  <a:pt x="3479" y="8397"/>
                  <a:pt x="4511" y="7368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58" name="Shape 2758"/>
          <p:cNvSpPr/>
          <p:nvPr/>
        </p:nvSpPr>
        <p:spPr>
          <a:xfrm>
            <a:off x="6238863" y="463921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982" y="6873"/>
                </a:moveTo>
                <a:lnTo>
                  <a:pt x="14727" y="6873"/>
                </a:lnTo>
                <a:lnTo>
                  <a:pt x="14727" y="8836"/>
                </a:lnTo>
                <a:lnTo>
                  <a:pt x="982" y="8836"/>
                </a:lnTo>
                <a:cubicBezTo>
                  <a:pt x="982" y="8836"/>
                  <a:pt x="982" y="6873"/>
                  <a:pt x="982" y="6873"/>
                </a:cubicBezTo>
                <a:close/>
                <a:moveTo>
                  <a:pt x="982" y="9818"/>
                </a:moveTo>
                <a:lnTo>
                  <a:pt x="14727" y="9818"/>
                </a:lnTo>
                <a:cubicBezTo>
                  <a:pt x="15269" y="9818"/>
                  <a:pt x="15709" y="9378"/>
                  <a:pt x="15709" y="8836"/>
                </a:cubicBezTo>
                <a:lnTo>
                  <a:pt x="15709" y="6873"/>
                </a:lnTo>
                <a:cubicBezTo>
                  <a:pt x="15709" y="6331"/>
                  <a:pt x="15269" y="5891"/>
                  <a:pt x="14727" y="5891"/>
                </a:cubicBez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8"/>
                  <a:pt x="440" y="9818"/>
                  <a:pt x="982" y="9818"/>
                </a:cubicBezTo>
                <a:moveTo>
                  <a:pt x="14727" y="20618"/>
                </a:moveTo>
                <a:lnTo>
                  <a:pt x="982" y="20618"/>
                </a:lnTo>
                <a:lnTo>
                  <a:pt x="982" y="18655"/>
                </a:lnTo>
                <a:lnTo>
                  <a:pt x="14727" y="18655"/>
                </a:lnTo>
                <a:cubicBezTo>
                  <a:pt x="14727" y="18655"/>
                  <a:pt x="14727" y="20618"/>
                  <a:pt x="14727" y="20618"/>
                </a:cubicBezTo>
                <a:close/>
                <a:moveTo>
                  <a:pt x="14727" y="17673"/>
                </a:moveTo>
                <a:lnTo>
                  <a:pt x="982" y="17673"/>
                </a:lnTo>
                <a:cubicBezTo>
                  <a:pt x="440" y="17673"/>
                  <a:pt x="0" y="18113"/>
                  <a:pt x="0" y="18655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14727" y="21600"/>
                </a:lnTo>
                <a:cubicBezTo>
                  <a:pt x="15269" y="21600"/>
                  <a:pt x="15709" y="21160"/>
                  <a:pt x="15709" y="20618"/>
                </a:cubicBezTo>
                <a:lnTo>
                  <a:pt x="15709" y="18655"/>
                </a:lnTo>
                <a:cubicBezTo>
                  <a:pt x="15709" y="18113"/>
                  <a:pt x="15269" y="17673"/>
                  <a:pt x="14727" y="17673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59" name="Shape 2759"/>
          <p:cNvSpPr/>
          <p:nvPr/>
        </p:nvSpPr>
        <p:spPr>
          <a:xfrm>
            <a:off x="6772124" y="463921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3927" y="6873"/>
                </a:moveTo>
                <a:lnTo>
                  <a:pt x="17673" y="6873"/>
                </a:lnTo>
                <a:lnTo>
                  <a:pt x="17673" y="8836"/>
                </a:lnTo>
                <a:lnTo>
                  <a:pt x="3927" y="8836"/>
                </a:lnTo>
                <a:cubicBezTo>
                  <a:pt x="3927" y="8836"/>
                  <a:pt x="3927" y="6873"/>
                  <a:pt x="3927" y="6873"/>
                </a:cubicBezTo>
                <a:close/>
                <a:moveTo>
                  <a:pt x="17673" y="9818"/>
                </a:moveTo>
                <a:cubicBezTo>
                  <a:pt x="18215" y="9818"/>
                  <a:pt x="18655" y="9378"/>
                  <a:pt x="18655" y="8836"/>
                </a:cubicBezTo>
                <a:lnTo>
                  <a:pt x="18655" y="6873"/>
                </a:lnTo>
                <a:cubicBezTo>
                  <a:pt x="18655" y="6331"/>
                  <a:pt x="18215" y="5891"/>
                  <a:pt x="17673" y="5891"/>
                </a:cubicBezTo>
                <a:lnTo>
                  <a:pt x="3927" y="5891"/>
                </a:lnTo>
                <a:cubicBezTo>
                  <a:pt x="3385" y="5891"/>
                  <a:pt x="2945" y="6331"/>
                  <a:pt x="2945" y="6873"/>
                </a:cubicBezTo>
                <a:lnTo>
                  <a:pt x="2945" y="8836"/>
                </a:lnTo>
                <a:cubicBezTo>
                  <a:pt x="2945" y="9378"/>
                  <a:pt x="3385" y="9818"/>
                  <a:pt x="3927" y="9818"/>
                </a:cubicBezTo>
                <a:cubicBezTo>
                  <a:pt x="3927" y="9818"/>
                  <a:pt x="17673" y="9818"/>
                  <a:pt x="17673" y="9818"/>
                </a:cubicBezTo>
                <a:close/>
                <a:moveTo>
                  <a:pt x="17673" y="20618"/>
                </a:moveTo>
                <a:lnTo>
                  <a:pt x="3927" y="20618"/>
                </a:lnTo>
                <a:lnTo>
                  <a:pt x="3927" y="18655"/>
                </a:lnTo>
                <a:lnTo>
                  <a:pt x="17673" y="18655"/>
                </a:lnTo>
                <a:cubicBezTo>
                  <a:pt x="17673" y="18655"/>
                  <a:pt x="17673" y="20618"/>
                  <a:pt x="17673" y="20618"/>
                </a:cubicBezTo>
                <a:close/>
                <a:moveTo>
                  <a:pt x="17673" y="17673"/>
                </a:moveTo>
                <a:lnTo>
                  <a:pt x="3927" y="17673"/>
                </a:lnTo>
                <a:cubicBezTo>
                  <a:pt x="3385" y="17673"/>
                  <a:pt x="2945" y="18113"/>
                  <a:pt x="2945" y="18655"/>
                </a:cubicBezTo>
                <a:lnTo>
                  <a:pt x="2945" y="20618"/>
                </a:lnTo>
                <a:cubicBezTo>
                  <a:pt x="2945" y="21160"/>
                  <a:pt x="3385" y="21600"/>
                  <a:pt x="3927" y="21600"/>
                </a:cubicBezTo>
                <a:lnTo>
                  <a:pt x="17673" y="21600"/>
                </a:lnTo>
                <a:cubicBezTo>
                  <a:pt x="18215" y="21600"/>
                  <a:pt x="18655" y="21160"/>
                  <a:pt x="18655" y="20618"/>
                </a:cubicBezTo>
                <a:lnTo>
                  <a:pt x="18655" y="18655"/>
                </a:lnTo>
                <a:cubicBezTo>
                  <a:pt x="18655" y="18113"/>
                  <a:pt x="18215" y="17673"/>
                  <a:pt x="17673" y="17673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60" name="Shape 2760"/>
          <p:cNvSpPr/>
          <p:nvPr/>
        </p:nvSpPr>
        <p:spPr>
          <a:xfrm>
            <a:off x="7305385" y="463921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20618" y="8836"/>
                </a:moveTo>
                <a:lnTo>
                  <a:pt x="6873" y="8836"/>
                </a:lnTo>
                <a:lnTo>
                  <a:pt x="6873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20618" y="5891"/>
                </a:moveTo>
                <a:lnTo>
                  <a:pt x="6873" y="5891"/>
                </a:lnTo>
                <a:cubicBezTo>
                  <a:pt x="6331" y="5891"/>
                  <a:pt x="5891" y="6331"/>
                  <a:pt x="5891" y="6873"/>
                </a:cubicBezTo>
                <a:lnTo>
                  <a:pt x="5891" y="8836"/>
                </a:lnTo>
                <a:cubicBezTo>
                  <a:pt x="5891" y="9378"/>
                  <a:pt x="6331" y="9818"/>
                  <a:pt x="6873" y="9818"/>
                </a:cubicBezTo>
                <a:lnTo>
                  <a:pt x="20618" y="9818"/>
                </a:lnTo>
                <a:cubicBezTo>
                  <a:pt x="21160" y="9818"/>
                  <a:pt x="21600" y="9378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20618" y="20618"/>
                </a:moveTo>
                <a:lnTo>
                  <a:pt x="6873" y="20618"/>
                </a:lnTo>
                <a:lnTo>
                  <a:pt x="6873" y="18655"/>
                </a:lnTo>
                <a:lnTo>
                  <a:pt x="20618" y="18655"/>
                </a:lnTo>
                <a:cubicBezTo>
                  <a:pt x="20618" y="18655"/>
                  <a:pt x="20618" y="20618"/>
                  <a:pt x="20618" y="20618"/>
                </a:cubicBezTo>
                <a:close/>
                <a:moveTo>
                  <a:pt x="20618" y="17673"/>
                </a:moveTo>
                <a:lnTo>
                  <a:pt x="6873" y="17673"/>
                </a:lnTo>
                <a:cubicBezTo>
                  <a:pt x="6331" y="17673"/>
                  <a:pt x="5891" y="18113"/>
                  <a:pt x="5891" y="18655"/>
                </a:cubicBezTo>
                <a:lnTo>
                  <a:pt x="5891" y="20618"/>
                </a:lnTo>
                <a:cubicBezTo>
                  <a:pt x="5891" y="21160"/>
                  <a:pt x="6331" y="21600"/>
                  <a:pt x="6873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18655"/>
                </a:lnTo>
                <a:cubicBezTo>
                  <a:pt x="21600" y="18113"/>
                  <a:pt x="21160" y="17673"/>
                  <a:pt x="20618" y="17673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61" name="Shape 2761"/>
          <p:cNvSpPr/>
          <p:nvPr/>
        </p:nvSpPr>
        <p:spPr>
          <a:xfrm>
            <a:off x="7838646" y="463921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20618" y="5891"/>
                </a:move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8"/>
                  <a:pt x="440" y="9818"/>
                  <a:pt x="982" y="9818"/>
                </a:cubicBezTo>
                <a:lnTo>
                  <a:pt x="20618" y="9818"/>
                </a:lnTo>
                <a:cubicBezTo>
                  <a:pt x="21160" y="9818"/>
                  <a:pt x="21600" y="9378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20618"/>
                </a:moveTo>
                <a:lnTo>
                  <a:pt x="982" y="20618"/>
                </a:lnTo>
                <a:lnTo>
                  <a:pt x="982" y="18655"/>
                </a:lnTo>
                <a:lnTo>
                  <a:pt x="20618" y="18655"/>
                </a:lnTo>
                <a:cubicBezTo>
                  <a:pt x="20618" y="18655"/>
                  <a:pt x="20618" y="20618"/>
                  <a:pt x="20618" y="20618"/>
                </a:cubicBezTo>
                <a:close/>
                <a:moveTo>
                  <a:pt x="20618" y="17673"/>
                </a:moveTo>
                <a:lnTo>
                  <a:pt x="982" y="17673"/>
                </a:lnTo>
                <a:cubicBezTo>
                  <a:pt x="440" y="17673"/>
                  <a:pt x="0" y="18113"/>
                  <a:pt x="0" y="18655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18655"/>
                </a:lnTo>
                <a:cubicBezTo>
                  <a:pt x="21600" y="18113"/>
                  <a:pt x="21160" y="17673"/>
                  <a:pt x="20618" y="17673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62" name="Shape 2762"/>
          <p:cNvSpPr/>
          <p:nvPr/>
        </p:nvSpPr>
        <p:spPr>
          <a:xfrm>
            <a:off x="8371907" y="463921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982"/>
                </a:moveTo>
                <a:cubicBezTo>
                  <a:pt x="19520" y="982"/>
                  <a:pt x="20618" y="2081"/>
                  <a:pt x="20618" y="3436"/>
                </a:cubicBezTo>
                <a:cubicBezTo>
                  <a:pt x="20618" y="4792"/>
                  <a:pt x="19520" y="5891"/>
                  <a:pt x="18164" y="5891"/>
                </a:cubicBezTo>
                <a:cubicBezTo>
                  <a:pt x="16808" y="5891"/>
                  <a:pt x="15709" y="4792"/>
                  <a:pt x="15709" y="3436"/>
                </a:cubicBezTo>
                <a:cubicBezTo>
                  <a:pt x="15709" y="2081"/>
                  <a:pt x="16808" y="982"/>
                  <a:pt x="18164" y="982"/>
                </a:cubicBezTo>
                <a:moveTo>
                  <a:pt x="18164" y="6873"/>
                </a:moveTo>
                <a:cubicBezTo>
                  <a:pt x="20062" y="6873"/>
                  <a:pt x="21600" y="5334"/>
                  <a:pt x="21600" y="3436"/>
                </a:cubicBezTo>
                <a:cubicBezTo>
                  <a:pt x="21600" y="1538"/>
                  <a:pt x="20062" y="0"/>
                  <a:pt x="18164" y="0"/>
                </a:cubicBezTo>
                <a:cubicBezTo>
                  <a:pt x="16266" y="0"/>
                  <a:pt x="14727" y="1538"/>
                  <a:pt x="14727" y="3436"/>
                </a:cubicBezTo>
                <a:cubicBezTo>
                  <a:pt x="14727" y="5334"/>
                  <a:pt x="16266" y="6873"/>
                  <a:pt x="18164" y="6873"/>
                </a:cubicBezTo>
                <a:moveTo>
                  <a:pt x="18164" y="3927"/>
                </a:moveTo>
                <a:lnTo>
                  <a:pt x="18655" y="3927"/>
                </a:lnTo>
                <a:cubicBezTo>
                  <a:pt x="18925" y="3927"/>
                  <a:pt x="19145" y="3708"/>
                  <a:pt x="19145" y="3436"/>
                </a:cubicBezTo>
                <a:cubicBezTo>
                  <a:pt x="19145" y="3165"/>
                  <a:pt x="18925" y="2945"/>
                  <a:pt x="18655" y="2945"/>
                </a:cubicBezTo>
                <a:lnTo>
                  <a:pt x="18655" y="2455"/>
                </a:lnTo>
                <a:cubicBezTo>
                  <a:pt x="18655" y="2183"/>
                  <a:pt x="18434" y="1964"/>
                  <a:pt x="18164" y="1964"/>
                </a:cubicBezTo>
                <a:cubicBezTo>
                  <a:pt x="17893" y="1964"/>
                  <a:pt x="17673" y="2183"/>
                  <a:pt x="17673" y="2455"/>
                </a:cubicBezTo>
                <a:lnTo>
                  <a:pt x="17673" y="3436"/>
                </a:lnTo>
                <a:cubicBezTo>
                  <a:pt x="17673" y="3708"/>
                  <a:pt x="17893" y="3927"/>
                  <a:pt x="18164" y="3927"/>
                </a:cubicBezTo>
                <a:moveTo>
                  <a:pt x="9818" y="11782"/>
                </a:moveTo>
                <a:lnTo>
                  <a:pt x="4909" y="11782"/>
                </a:lnTo>
                <a:lnTo>
                  <a:pt x="4909" y="8836"/>
                </a:lnTo>
                <a:lnTo>
                  <a:pt x="9818" y="8836"/>
                </a:lnTo>
                <a:cubicBezTo>
                  <a:pt x="9818" y="8836"/>
                  <a:pt x="9818" y="11782"/>
                  <a:pt x="9818" y="11782"/>
                </a:cubicBezTo>
                <a:close/>
                <a:moveTo>
                  <a:pt x="21109" y="12764"/>
                </a:moveTo>
                <a:lnTo>
                  <a:pt x="11291" y="12764"/>
                </a:lnTo>
                <a:cubicBezTo>
                  <a:pt x="11562" y="12764"/>
                  <a:pt x="11782" y="12544"/>
                  <a:pt x="11782" y="12273"/>
                </a:cubicBezTo>
                <a:cubicBezTo>
                  <a:pt x="11782" y="12001"/>
                  <a:pt x="11562" y="11782"/>
                  <a:pt x="11291" y="11782"/>
                </a:cubicBezTo>
                <a:lnTo>
                  <a:pt x="10800" y="11782"/>
                </a:lnTo>
                <a:lnTo>
                  <a:pt x="10800" y="8836"/>
                </a:lnTo>
                <a:cubicBezTo>
                  <a:pt x="10800" y="8295"/>
                  <a:pt x="10360" y="7855"/>
                  <a:pt x="9818" y="7855"/>
                </a:cubicBezTo>
                <a:lnTo>
                  <a:pt x="4909" y="7855"/>
                </a:lnTo>
                <a:cubicBezTo>
                  <a:pt x="4367" y="7855"/>
                  <a:pt x="3927" y="8295"/>
                  <a:pt x="3927" y="8836"/>
                </a:cubicBezTo>
                <a:lnTo>
                  <a:pt x="3927" y="11782"/>
                </a:lnTo>
                <a:lnTo>
                  <a:pt x="3436" y="11782"/>
                </a:lnTo>
                <a:cubicBezTo>
                  <a:pt x="3166" y="11782"/>
                  <a:pt x="2945" y="12001"/>
                  <a:pt x="2945" y="12273"/>
                </a:cubicBezTo>
                <a:cubicBezTo>
                  <a:pt x="2945" y="12544"/>
                  <a:pt x="3166" y="12764"/>
                  <a:pt x="3436" y="12764"/>
                </a:cubicBezTo>
                <a:lnTo>
                  <a:pt x="491" y="12764"/>
                </a:lnTo>
                <a:cubicBezTo>
                  <a:pt x="220" y="12764"/>
                  <a:pt x="0" y="12983"/>
                  <a:pt x="0" y="13255"/>
                </a:cubicBezTo>
                <a:cubicBezTo>
                  <a:pt x="0" y="13526"/>
                  <a:pt x="220" y="13745"/>
                  <a:pt x="491" y="13745"/>
                </a:cubicBezTo>
                <a:lnTo>
                  <a:pt x="2945" y="13745"/>
                </a:lnTo>
                <a:lnTo>
                  <a:pt x="2945" y="21109"/>
                </a:lnTo>
                <a:cubicBezTo>
                  <a:pt x="2945" y="21380"/>
                  <a:pt x="3166" y="21600"/>
                  <a:pt x="3436" y="21600"/>
                </a:cubicBezTo>
                <a:cubicBezTo>
                  <a:pt x="3707" y="21600"/>
                  <a:pt x="3927" y="21380"/>
                  <a:pt x="3927" y="21109"/>
                </a:cubicBezTo>
                <a:lnTo>
                  <a:pt x="3927" y="13745"/>
                </a:lnTo>
                <a:lnTo>
                  <a:pt x="17673" y="13745"/>
                </a:lnTo>
                <a:lnTo>
                  <a:pt x="17673" y="21109"/>
                </a:lnTo>
                <a:cubicBezTo>
                  <a:pt x="17673" y="21380"/>
                  <a:pt x="17893" y="21600"/>
                  <a:pt x="18164" y="21600"/>
                </a:cubicBezTo>
                <a:cubicBezTo>
                  <a:pt x="18434" y="21600"/>
                  <a:pt x="18655" y="21380"/>
                  <a:pt x="18655" y="21109"/>
                </a:cubicBezTo>
                <a:lnTo>
                  <a:pt x="18655" y="13745"/>
                </a:lnTo>
                <a:lnTo>
                  <a:pt x="21109" y="13745"/>
                </a:lnTo>
                <a:cubicBezTo>
                  <a:pt x="21380" y="13745"/>
                  <a:pt x="21600" y="13526"/>
                  <a:pt x="21600" y="13255"/>
                </a:cubicBezTo>
                <a:cubicBezTo>
                  <a:pt x="21600" y="12983"/>
                  <a:pt x="21380" y="12764"/>
                  <a:pt x="21109" y="12764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63" name="Shape 2763"/>
          <p:cNvSpPr/>
          <p:nvPr/>
        </p:nvSpPr>
        <p:spPr>
          <a:xfrm>
            <a:off x="8905168" y="463921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5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585" y="2939"/>
                </a:lnTo>
                <a:lnTo>
                  <a:pt x="8836" y="6873"/>
                </a:lnTo>
                <a:lnTo>
                  <a:pt x="11291" y="9818"/>
                </a:lnTo>
                <a:lnTo>
                  <a:pt x="9327" y="14236"/>
                </a:lnTo>
                <a:lnTo>
                  <a:pt x="10800" y="16691"/>
                </a:lnTo>
                <a:lnTo>
                  <a:pt x="10432" y="14236"/>
                </a:lnTo>
                <a:lnTo>
                  <a:pt x="12365" y="9542"/>
                </a:lnTo>
                <a:lnTo>
                  <a:pt x="10002" y="6781"/>
                </a:lnTo>
                <a:lnTo>
                  <a:pt x="12069" y="2007"/>
                </a:lnTo>
                <a:cubicBezTo>
                  <a:pt x="12984" y="1345"/>
                  <a:pt x="14076" y="982"/>
                  <a:pt x="15218" y="982"/>
                </a:cubicBezTo>
                <a:cubicBezTo>
                  <a:pt x="18196" y="982"/>
                  <a:pt x="20618" y="3405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3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64" name="Shape 2764"/>
          <p:cNvSpPr/>
          <p:nvPr/>
        </p:nvSpPr>
        <p:spPr>
          <a:xfrm>
            <a:off x="9438429" y="4651908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88" y="6611"/>
                </a:moveTo>
                <a:cubicBezTo>
                  <a:pt x="20587" y="6619"/>
                  <a:pt x="20587" y="6627"/>
                  <a:pt x="20586" y="6635"/>
                </a:cubicBezTo>
                <a:cubicBezTo>
                  <a:pt x="20585" y="6640"/>
                  <a:pt x="20582" y="6674"/>
                  <a:pt x="20581" y="6680"/>
                </a:cubicBezTo>
                <a:cubicBezTo>
                  <a:pt x="20107" y="11287"/>
                  <a:pt x="14607" y="17428"/>
                  <a:pt x="12595" y="19086"/>
                </a:cubicBezTo>
                <a:lnTo>
                  <a:pt x="11905" y="15660"/>
                </a:lnTo>
                <a:lnTo>
                  <a:pt x="13960" y="10631"/>
                </a:lnTo>
                <a:lnTo>
                  <a:pt x="11429" y="7425"/>
                </a:lnTo>
                <a:lnTo>
                  <a:pt x="12699" y="2550"/>
                </a:lnTo>
                <a:cubicBezTo>
                  <a:pt x="12708" y="2540"/>
                  <a:pt x="12713" y="2534"/>
                  <a:pt x="12723" y="2524"/>
                </a:cubicBezTo>
                <a:cubicBezTo>
                  <a:pt x="13572" y="1625"/>
                  <a:pt x="14916" y="1080"/>
                  <a:pt x="16088" y="1080"/>
                </a:cubicBezTo>
                <a:cubicBezTo>
                  <a:pt x="18586" y="1080"/>
                  <a:pt x="20618" y="3315"/>
                  <a:pt x="20618" y="6063"/>
                </a:cubicBezTo>
                <a:cubicBezTo>
                  <a:pt x="20618" y="6262"/>
                  <a:pt x="20598" y="6506"/>
                  <a:pt x="20588" y="6611"/>
                </a:cubicBezTo>
                <a:moveTo>
                  <a:pt x="21600" y="6063"/>
                </a:moveTo>
                <a:cubicBezTo>
                  <a:pt x="21600" y="2715"/>
                  <a:pt x="19132" y="0"/>
                  <a:pt x="16088" y="0"/>
                </a:cubicBezTo>
                <a:cubicBezTo>
                  <a:pt x="14607" y="0"/>
                  <a:pt x="12974" y="748"/>
                  <a:pt x="11983" y="1794"/>
                </a:cubicBezTo>
                <a:lnTo>
                  <a:pt x="11985" y="1802"/>
                </a:lnTo>
                <a:cubicBezTo>
                  <a:pt x="11900" y="1871"/>
                  <a:pt x="11839" y="1965"/>
                  <a:pt x="11809" y="2079"/>
                </a:cubicBezTo>
                <a:lnTo>
                  <a:pt x="11797" y="2076"/>
                </a:lnTo>
                <a:lnTo>
                  <a:pt x="10309" y="7560"/>
                </a:lnTo>
                <a:lnTo>
                  <a:pt x="12764" y="10800"/>
                </a:lnTo>
                <a:lnTo>
                  <a:pt x="10800" y="15660"/>
                </a:lnTo>
                <a:lnTo>
                  <a:pt x="11797" y="20098"/>
                </a:lnTo>
                <a:lnTo>
                  <a:pt x="11803" y="20097"/>
                </a:lnTo>
                <a:cubicBezTo>
                  <a:pt x="11853" y="20337"/>
                  <a:pt x="12039" y="20520"/>
                  <a:pt x="12273" y="20520"/>
                </a:cubicBezTo>
                <a:cubicBezTo>
                  <a:pt x="12410" y="20520"/>
                  <a:pt x="12534" y="20457"/>
                  <a:pt x="12623" y="20357"/>
                </a:cubicBezTo>
                <a:cubicBezTo>
                  <a:pt x="14361" y="19225"/>
                  <a:pt x="20995" y="12270"/>
                  <a:pt x="21558" y="6787"/>
                </a:cubicBezTo>
                <a:lnTo>
                  <a:pt x="21558" y="6791"/>
                </a:lnTo>
                <a:cubicBezTo>
                  <a:pt x="21559" y="6791"/>
                  <a:pt x="21600" y="6399"/>
                  <a:pt x="21600" y="6063"/>
                </a:cubicBezTo>
                <a:moveTo>
                  <a:pt x="1019" y="7760"/>
                </a:moveTo>
                <a:cubicBezTo>
                  <a:pt x="1018" y="7754"/>
                  <a:pt x="1015" y="7720"/>
                  <a:pt x="1014" y="7715"/>
                </a:cubicBezTo>
                <a:cubicBezTo>
                  <a:pt x="1013" y="7707"/>
                  <a:pt x="1013" y="7699"/>
                  <a:pt x="1012" y="7691"/>
                </a:cubicBezTo>
                <a:cubicBezTo>
                  <a:pt x="1002" y="7586"/>
                  <a:pt x="982" y="7342"/>
                  <a:pt x="982" y="7143"/>
                </a:cubicBezTo>
                <a:cubicBezTo>
                  <a:pt x="982" y="4395"/>
                  <a:pt x="3014" y="2160"/>
                  <a:pt x="5512" y="2160"/>
                </a:cubicBezTo>
                <a:cubicBezTo>
                  <a:pt x="6634" y="2160"/>
                  <a:pt x="7908" y="2664"/>
                  <a:pt x="8760" y="3495"/>
                </a:cubicBezTo>
                <a:lnTo>
                  <a:pt x="7364" y="8640"/>
                </a:lnTo>
                <a:lnTo>
                  <a:pt x="9818" y="11880"/>
                </a:lnTo>
                <a:lnTo>
                  <a:pt x="7855" y="16740"/>
                </a:lnTo>
                <a:lnTo>
                  <a:pt x="8531" y="19752"/>
                </a:lnTo>
                <a:cubicBezTo>
                  <a:pt x="6242" y="17649"/>
                  <a:pt x="1459" y="12041"/>
                  <a:pt x="1019" y="7760"/>
                </a:cubicBezTo>
                <a:moveTo>
                  <a:pt x="9803" y="20925"/>
                </a:moveTo>
                <a:lnTo>
                  <a:pt x="8959" y="16740"/>
                </a:lnTo>
                <a:lnTo>
                  <a:pt x="11015" y="11711"/>
                </a:lnTo>
                <a:lnTo>
                  <a:pt x="8484" y="8505"/>
                </a:lnTo>
                <a:lnTo>
                  <a:pt x="9799" y="3457"/>
                </a:lnTo>
                <a:lnTo>
                  <a:pt x="9791" y="3454"/>
                </a:lnTo>
                <a:cubicBezTo>
                  <a:pt x="9804" y="3407"/>
                  <a:pt x="9818" y="3360"/>
                  <a:pt x="9818" y="3308"/>
                </a:cubicBezTo>
                <a:cubicBezTo>
                  <a:pt x="9818" y="3130"/>
                  <a:pt x="9736" y="2981"/>
                  <a:pt x="9615" y="2882"/>
                </a:cubicBezTo>
                <a:lnTo>
                  <a:pt x="9617" y="2874"/>
                </a:lnTo>
                <a:cubicBezTo>
                  <a:pt x="8626" y="1827"/>
                  <a:pt x="6993" y="1080"/>
                  <a:pt x="5512" y="1080"/>
                </a:cubicBezTo>
                <a:cubicBezTo>
                  <a:pt x="2468" y="1080"/>
                  <a:pt x="0" y="3795"/>
                  <a:pt x="0" y="7143"/>
                </a:cubicBezTo>
                <a:cubicBezTo>
                  <a:pt x="0" y="7479"/>
                  <a:pt x="41" y="7871"/>
                  <a:pt x="42" y="7871"/>
                </a:cubicBezTo>
                <a:lnTo>
                  <a:pt x="42" y="7867"/>
                </a:lnTo>
                <a:cubicBezTo>
                  <a:pt x="605" y="13350"/>
                  <a:pt x="7239" y="20305"/>
                  <a:pt x="8977" y="21437"/>
                </a:cubicBezTo>
                <a:cubicBezTo>
                  <a:pt x="9066" y="21537"/>
                  <a:pt x="9190" y="21600"/>
                  <a:pt x="9327" y="21600"/>
                </a:cubicBezTo>
                <a:cubicBezTo>
                  <a:pt x="9599" y="21600"/>
                  <a:pt x="9818" y="21358"/>
                  <a:pt x="9818" y="21060"/>
                </a:cubicBezTo>
                <a:cubicBezTo>
                  <a:pt x="9818" y="21013"/>
                  <a:pt x="9804" y="20971"/>
                  <a:pt x="9794" y="20927"/>
                </a:cubicBezTo>
                <a:cubicBezTo>
                  <a:pt x="9794" y="20927"/>
                  <a:pt x="9803" y="20925"/>
                  <a:pt x="9803" y="20925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65" name="Shape 2765"/>
          <p:cNvSpPr/>
          <p:nvPr/>
        </p:nvSpPr>
        <p:spPr>
          <a:xfrm>
            <a:off x="9971691" y="463921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82" y="12764"/>
                </a:moveTo>
                <a:cubicBezTo>
                  <a:pt x="11510" y="12764"/>
                  <a:pt x="11291" y="12984"/>
                  <a:pt x="11291" y="13255"/>
                </a:cubicBezTo>
                <a:cubicBezTo>
                  <a:pt x="11291" y="13526"/>
                  <a:pt x="11510" y="13745"/>
                  <a:pt x="11782" y="13745"/>
                </a:cubicBezTo>
                <a:cubicBezTo>
                  <a:pt x="12053" y="13745"/>
                  <a:pt x="12273" y="13526"/>
                  <a:pt x="12273" y="13255"/>
                </a:cubicBezTo>
                <a:cubicBezTo>
                  <a:pt x="12273" y="12984"/>
                  <a:pt x="12053" y="12764"/>
                  <a:pt x="11782" y="12764"/>
                </a:cubicBezTo>
                <a:moveTo>
                  <a:pt x="14727" y="10800"/>
                </a:moveTo>
                <a:cubicBezTo>
                  <a:pt x="14999" y="10800"/>
                  <a:pt x="15218" y="10580"/>
                  <a:pt x="15218" y="10309"/>
                </a:cubicBezTo>
                <a:cubicBezTo>
                  <a:pt x="15218" y="10038"/>
                  <a:pt x="14999" y="9818"/>
                  <a:pt x="14727" y="9818"/>
                </a:cubicBezTo>
                <a:cubicBezTo>
                  <a:pt x="14456" y="9818"/>
                  <a:pt x="14236" y="10038"/>
                  <a:pt x="14236" y="10309"/>
                </a:cubicBezTo>
                <a:cubicBezTo>
                  <a:pt x="14236" y="10580"/>
                  <a:pt x="14456" y="10800"/>
                  <a:pt x="14727" y="10800"/>
                </a:cubicBezTo>
                <a:moveTo>
                  <a:pt x="19913" y="7150"/>
                </a:moveTo>
                <a:lnTo>
                  <a:pt x="19959" y="7195"/>
                </a:lnTo>
                <a:lnTo>
                  <a:pt x="19468" y="7686"/>
                </a:lnTo>
                <a:lnTo>
                  <a:pt x="19468" y="7687"/>
                </a:lnTo>
                <a:lnTo>
                  <a:pt x="17606" y="9549"/>
                </a:lnTo>
                <a:lnTo>
                  <a:pt x="12052" y="3994"/>
                </a:lnTo>
                <a:lnTo>
                  <a:pt x="13913" y="2132"/>
                </a:lnTo>
                <a:cubicBezTo>
                  <a:pt x="13914" y="2132"/>
                  <a:pt x="13914" y="2132"/>
                  <a:pt x="13914" y="2132"/>
                </a:cubicBezTo>
                <a:lnTo>
                  <a:pt x="14405" y="1641"/>
                </a:lnTo>
                <a:lnTo>
                  <a:pt x="14450" y="1687"/>
                </a:lnTo>
                <a:cubicBezTo>
                  <a:pt x="15086" y="1244"/>
                  <a:pt x="15857" y="982"/>
                  <a:pt x="16691" y="982"/>
                </a:cubicBezTo>
                <a:cubicBezTo>
                  <a:pt x="18860" y="982"/>
                  <a:pt x="20618" y="2740"/>
                  <a:pt x="20618" y="4909"/>
                </a:cubicBezTo>
                <a:cubicBezTo>
                  <a:pt x="20618" y="5743"/>
                  <a:pt x="20356" y="6514"/>
                  <a:pt x="19913" y="7150"/>
                </a:cubicBezTo>
                <a:moveTo>
                  <a:pt x="10242" y="16912"/>
                </a:moveTo>
                <a:lnTo>
                  <a:pt x="4689" y="11358"/>
                </a:lnTo>
                <a:lnTo>
                  <a:pt x="11358" y="4689"/>
                </a:lnTo>
                <a:lnTo>
                  <a:pt x="16911" y="10243"/>
                </a:lnTo>
                <a:cubicBezTo>
                  <a:pt x="16911" y="10243"/>
                  <a:pt x="10242" y="16912"/>
                  <a:pt x="10242" y="16912"/>
                </a:cubicBezTo>
                <a:close/>
                <a:moveTo>
                  <a:pt x="7686" y="19468"/>
                </a:moveTo>
                <a:cubicBezTo>
                  <a:pt x="6975" y="20179"/>
                  <a:pt x="5994" y="20618"/>
                  <a:pt x="4909" y="20618"/>
                </a:cubicBezTo>
                <a:cubicBezTo>
                  <a:pt x="2740" y="20618"/>
                  <a:pt x="982" y="18860"/>
                  <a:pt x="982" y="16691"/>
                </a:cubicBezTo>
                <a:cubicBezTo>
                  <a:pt x="982" y="15606"/>
                  <a:pt x="1421" y="14625"/>
                  <a:pt x="2132" y="13914"/>
                </a:cubicBezTo>
                <a:lnTo>
                  <a:pt x="3994" y="12052"/>
                </a:lnTo>
                <a:lnTo>
                  <a:pt x="9548" y="17606"/>
                </a:lnTo>
                <a:cubicBezTo>
                  <a:pt x="9548" y="17606"/>
                  <a:pt x="7686" y="19468"/>
                  <a:pt x="7686" y="19468"/>
                </a:cubicBezTo>
                <a:close/>
                <a:moveTo>
                  <a:pt x="21600" y="4909"/>
                </a:moveTo>
                <a:cubicBezTo>
                  <a:pt x="21600" y="2198"/>
                  <a:pt x="19402" y="0"/>
                  <a:pt x="16691" y="0"/>
                </a:cubicBezTo>
                <a:cubicBezTo>
                  <a:pt x="15586" y="0"/>
                  <a:pt x="14570" y="370"/>
                  <a:pt x="13749" y="986"/>
                </a:cubicBezTo>
                <a:lnTo>
                  <a:pt x="13710" y="947"/>
                </a:lnTo>
                <a:lnTo>
                  <a:pt x="13221" y="1437"/>
                </a:lnTo>
                <a:cubicBezTo>
                  <a:pt x="13220" y="1438"/>
                  <a:pt x="13220" y="1438"/>
                  <a:pt x="13219" y="1439"/>
                </a:cubicBezTo>
                <a:lnTo>
                  <a:pt x="1438" y="13220"/>
                </a:lnTo>
                <a:cubicBezTo>
                  <a:pt x="549" y="14108"/>
                  <a:pt x="0" y="15336"/>
                  <a:pt x="0" y="16691"/>
                </a:cubicBezTo>
                <a:cubicBezTo>
                  <a:pt x="0" y="19402"/>
                  <a:pt x="2198" y="21600"/>
                  <a:pt x="4909" y="21600"/>
                </a:cubicBezTo>
                <a:cubicBezTo>
                  <a:pt x="6265" y="21600"/>
                  <a:pt x="7492" y="21051"/>
                  <a:pt x="8380" y="20162"/>
                </a:cubicBezTo>
                <a:lnTo>
                  <a:pt x="20162" y="8381"/>
                </a:lnTo>
                <a:lnTo>
                  <a:pt x="20163" y="8380"/>
                </a:lnTo>
                <a:lnTo>
                  <a:pt x="20653" y="7890"/>
                </a:lnTo>
                <a:lnTo>
                  <a:pt x="20614" y="7851"/>
                </a:lnTo>
                <a:cubicBezTo>
                  <a:pt x="21230" y="7030"/>
                  <a:pt x="21600" y="6015"/>
                  <a:pt x="21600" y="4909"/>
                </a:cubicBezTo>
                <a:moveTo>
                  <a:pt x="10800" y="6873"/>
                </a:moveTo>
                <a:cubicBezTo>
                  <a:pt x="10800" y="7144"/>
                  <a:pt x="11020" y="7364"/>
                  <a:pt x="11291" y="7364"/>
                </a:cubicBezTo>
                <a:cubicBezTo>
                  <a:pt x="11562" y="7364"/>
                  <a:pt x="11782" y="7144"/>
                  <a:pt x="11782" y="6873"/>
                </a:cubicBezTo>
                <a:cubicBezTo>
                  <a:pt x="11782" y="6602"/>
                  <a:pt x="11562" y="6382"/>
                  <a:pt x="11291" y="6382"/>
                </a:cubicBezTo>
                <a:cubicBezTo>
                  <a:pt x="11020" y="6382"/>
                  <a:pt x="10800" y="6602"/>
                  <a:pt x="10800" y="6873"/>
                </a:cubicBezTo>
                <a:moveTo>
                  <a:pt x="13255" y="12273"/>
                </a:moveTo>
                <a:cubicBezTo>
                  <a:pt x="13526" y="12273"/>
                  <a:pt x="13745" y="12053"/>
                  <a:pt x="13745" y="11782"/>
                </a:cubicBezTo>
                <a:cubicBezTo>
                  <a:pt x="13745" y="11511"/>
                  <a:pt x="13526" y="11291"/>
                  <a:pt x="13255" y="11291"/>
                </a:cubicBezTo>
                <a:cubicBezTo>
                  <a:pt x="12983" y="11291"/>
                  <a:pt x="12764" y="11511"/>
                  <a:pt x="12764" y="11782"/>
                </a:cubicBezTo>
                <a:cubicBezTo>
                  <a:pt x="12764" y="12053"/>
                  <a:pt x="12983" y="12273"/>
                  <a:pt x="13255" y="12273"/>
                </a:cubicBezTo>
                <a:moveTo>
                  <a:pt x="12273" y="9818"/>
                </a:moveTo>
                <a:cubicBezTo>
                  <a:pt x="12544" y="9818"/>
                  <a:pt x="12764" y="9599"/>
                  <a:pt x="12764" y="9327"/>
                </a:cubicBezTo>
                <a:cubicBezTo>
                  <a:pt x="12764" y="9056"/>
                  <a:pt x="12544" y="8836"/>
                  <a:pt x="12273" y="8836"/>
                </a:cubicBezTo>
                <a:cubicBezTo>
                  <a:pt x="12001" y="8836"/>
                  <a:pt x="11782" y="9056"/>
                  <a:pt x="11782" y="9327"/>
                </a:cubicBezTo>
                <a:cubicBezTo>
                  <a:pt x="11782" y="9599"/>
                  <a:pt x="12001" y="9818"/>
                  <a:pt x="12273" y="9818"/>
                </a:cubicBezTo>
                <a:moveTo>
                  <a:pt x="10800" y="10309"/>
                </a:moveTo>
                <a:cubicBezTo>
                  <a:pt x="10529" y="10309"/>
                  <a:pt x="10309" y="10529"/>
                  <a:pt x="10309" y="10800"/>
                </a:cubicBezTo>
                <a:cubicBezTo>
                  <a:pt x="10309" y="11071"/>
                  <a:pt x="10529" y="11291"/>
                  <a:pt x="10800" y="11291"/>
                </a:cubicBezTo>
                <a:cubicBezTo>
                  <a:pt x="11071" y="11291"/>
                  <a:pt x="11291" y="11071"/>
                  <a:pt x="11291" y="10800"/>
                </a:cubicBezTo>
                <a:cubicBezTo>
                  <a:pt x="11291" y="10529"/>
                  <a:pt x="11071" y="10309"/>
                  <a:pt x="10800" y="10309"/>
                </a:cubicBezTo>
                <a:moveTo>
                  <a:pt x="10309" y="14236"/>
                </a:moveTo>
                <a:cubicBezTo>
                  <a:pt x="10038" y="14236"/>
                  <a:pt x="9818" y="14456"/>
                  <a:pt x="9818" y="14727"/>
                </a:cubicBezTo>
                <a:cubicBezTo>
                  <a:pt x="9818" y="14999"/>
                  <a:pt x="10038" y="15218"/>
                  <a:pt x="10309" y="15218"/>
                </a:cubicBezTo>
                <a:cubicBezTo>
                  <a:pt x="10580" y="15218"/>
                  <a:pt x="10800" y="14999"/>
                  <a:pt x="10800" y="14727"/>
                </a:cubicBezTo>
                <a:cubicBezTo>
                  <a:pt x="10800" y="14456"/>
                  <a:pt x="10580" y="14236"/>
                  <a:pt x="10309" y="14236"/>
                </a:cubicBezTo>
                <a:moveTo>
                  <a:pt x="9818" y="8836"/>
                </a:moveTo>
                <a:cubicBezTo>
                  <a:pt x="10090" y="8836"/>
                  <a:pt x="10309" y="8617"/>
                  <a:pt x="10309" y="8345"/>
                </a:cubicBezTo>
                <a:cubicBezTo>
                  <a:pt x="10309" y="8075"/>
                  <a:pt x="10090" y="7855"/>
                  <a:pt x="9818" y="7855"/>
                </a:cubicBezTo>
                <a:cubicBezTo>
                  <a:pt x="9547" y="7855"/>
                  <a:pt x="9327" y="8075"/>
                  <a:pt x="9327" y="8345"/>
                </a:cubicBezTo>
                <a:cubicBezTo>
                  <a:pt x="9327" y="8617"/>
                  <a:pt x="9547" y="8836"/>
                  <a:pt x="9818" y="8836"/>
                </a:cubicBezTo>
                <a:moveTo>
                  <a:pt x="6873" y="10800"/>
                </a:moveTo>
                <a:cubicBezTo>
                  <a:pt x="6601" y="10800"/>
                  <a:pt x="6382" y="11020"/>
                  <a:pt x="6382" y="11291"/>
                </a:cubicBezTo>
                <a:cubicBezTo>
                  <a:pt x="6382" y="11562"/>
                  <a:pt x="6601" y="11782"/>
                  <a:pt x="6873" y="11782"/>
                </a:cubicBezTo>
                <a:cubicBezTo>
                  <a:pt x="7144" y="11782"/>
                  <a:pt x="7364" y="11562"/>
                  <a:pt x="7364" y="11291"/>
                </a:cubicBezTo>
                <a:cubicBezTo>
                  <a:pt x="7364" y="11020"/>
                  <a:pt x="7144" y="10800"/>
                  <a:pt x="6873" y="10800"/>
                </a:cubicBezTo>
                <a:moveTo>
                  <a:pt x="8345" y="9327"/>
                </a:moveTo>
                <a:cubicBezTo>
                  <a:pt x="8074" y="9327"/>
                  <a:pt x="7855" y="9547"/>
                  <a:pt x="7855" y="9818"/>
                </a:cubicBezTo>
                <a:cubicBezTo>
                  <a:pt x="7855" y="10090"/>
                  <a:pt x="8074" y="10309"/>
                  <a:pt x="8345" y="10309"/>
                </a:cubicBezTo>
                <a:cubicBezTo>
                  <a:pt x="8617" y="10309"/>
                  <a:pt x="8836" y="10090"/>
                  <a:pt x="8836" y="9818"/>
                </a:cubicBezTo>
                <a:cubicBezTo>
                  <a:pt x="8836" y="9547"/>
                  <a:pt x="8617" y="9327"/>
                  <a:pt x="8345" y="9327"/>
                </a:cubicBezTo>
                <a:moveTo>
                  <a:pt x="9327" y="11782"/>
                </a:moveTo>
                <a:cubicBezTo>
                  <a:pt x="9056" y="11782"/>
                  <a:pt x="8836" y="12001"/>
                  <a:pt x="8836" y="12273"/>
                </a:cubicBezTo>
                <a:cubicBezTo>
                  <a:pt x="8836" y="12544"/>
                  <a:pt x="9056" y="12764"/>
                  <a:pt x="9327" y="12764"/>
                </a:cubicBezTo>
                <a:cubicBezTo>
                  <a:pt x="9599" y="12764"/>
                  <a:pt x="9818" y="12544"/>
                  <a:pt x="9818" y="12273"/>
                </a:cubicBezTo>
                <a:cubicBezTo>
                  <a:pt x="9818" y="12001"/>
                  <a:pt x="9599" y="11782"/>
                  <a:pt x="9327" y="11782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66" name="Shape 2766"/>
          <p:cNvSpPr/>
          <p:nvPr/>
        </p:nvSpPr>
        <p:spPr>
          <a:xfrm>
            <a:off x="10504952" y="463921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1782"/>
                </a:moveTo>
                <a:lnTo>
                  <a:pt x="11782" y="11782"/>
                </a:lnTo>
                <a:lnTo>
                  <a:pt x="11782" y="15709"/>
                </a:lnTo>
                <a:lnTo>
                  <a:pt x="9818" y="15709"/>
                </a:lnTo>
                <a:lnTo>
                  <a:pt x="9818" y="11782"/>
                </a:lnTo>
                <a:lnTo>
                  <a:pt x="5891" y="11782"/>
                </a:lnTo>
                <a:lnTo>
                  <a:pt x="5891" y="9818"/>
                </a:lnTo>
                <a:lnTo>
                  <a:pt x="9818" y="9818"/>
                </a:lnTo>
                <a:lnTo>
                  <a:pt x="9818" y="5891"/>
                </a:lnTo>
                <a:lnTo>
                  <a:pt x="11782" y="5891"/>
                </a:lnTo>
                <a:lnTo>
                  <a:pt x="11782" y="9818"/>
                </a:lnTo>
                <a:lnTo>
                  <a:pt x="15709" y="9818"/>
                </a:lnTo>
                <a:cubicBezTo>
                  <a:pt x="15709" y="9818"/>
                  <a:pt x="15709" y="11782"/>
                  <a:pt x="15709" y="11782"/>
                </a:cubicBezTo>
                <a:close/>
                <a:moveTo>
                  <a:pt x="15709" y="8836"/>
                </a:moveTo>
                <a:lnTo>
                  <a:pt x="12764" y="8836"/>
                </a:lnTo>
                <a:lnTo>
                  <a:pt x="12764" y="5891"/>
                </a:lnTo>
                <a:cubicBezTo>
                  <a:pt x="12764" y="5349"/>
                  <a:pt x="12324" y="4909"/>
                  <a:pt x="11782" y="4909"/>
                </a:cubicBezTo>
                <a:lnTo>
                  <a:pt x="9818" y="4909"/>
                </a:lnTo>
                <a:cubicBezTo>
                  <a:pt x="9276" y="4909"/>
                  <a:pt x="8836" y="5349"/>
                  <a:pt x="8836" y="5891"/>
                </a:cubicBezTo>
                <a:lnTo>
                  <a:pt x="8836" y="8836"/>
                </a:lnTo>
                <a:lnTo>
                  <a:pt x="5891" y="8836"/>
                </a:lnTo>
                <a:cubicBezTo>
                  <a:pt x="5349" y="8836"/>
                  <a:pt x="4909" y="9276"/>
                  <a:pt x="4909" y="9818"/>
                </a:cubicBezTo>
                <a:lnTo>
                  <a:pt x="4909" y="11782"/>
                </a:lnTo>
                <a:cubicBezTo>
                  <a:pt x="4909" y="12324"/>
                  <a:pt x="5349" y="12764"/>
                  <a:pt x="5891" y="12764"/>
                </a:cubicBezTo>
                <a:lnTo>
                  <a:pt x="8836" y="12764"/>
                </a:lnTo>
                <a:lnTo>
                  <a:pt x="8836" y="15709"/>
                </a:lnTo>
                <a:cubicBezTo>
                  <a:pt x="8836" y="16251"/>
                  <a:pt x="9276" y="16691"/>
                  <a:pt x="9818" y="16691"/>
                </a:cubicBezTo>
                <a:lnTo>
                  <a:pt x="11782" y="16691"/>
                </a:lnTo>
                <a:cubicBezTo>
                  <a:pt x="12324" y="16691"/>
                  <a:pt x="12764" y="16251"/>
                  <a:pt x="12764" y="15709"/>
                </a:cubicBezTo>
                <a:lnTo>
                  <a:pt x="12764" y="12764"/>
                </a:lnTo>
                <a:lnTo>
                  <a:pt x="15709" y="12764"/>
                </a:lnTo>
                <a:cubicBezTo>
                  <a:pt x="16251" y="12764"/>
                  <a:pt x="16691" y="12324"/>
                  <a:pt x="16691" y="11782"/>
                </a:cubicBezTo>
                <a:lnTo>
                  <a:pt x="16691" y="9818"/>
                </a:lnTo>
                <a:cubicBezTo>
                  <a:pt x="16691" y="9276"/>
                  <a:pt x="16251" y="8836"/>
                  <a:pt x="15709" y="8836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67" name="Shape 2767"/>
          <p:cNvSpPr/>
          <p:nvPr/>
        </p:nvSpPr>
        <p:spPr>
          <a:xfrm>
            <a:off x="11038213" y="463921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1782"/>
                </a:moveTo>
                <a:lnTo>
                  <a:pt x="11782" y="11782"/>
                </a:lnTo>
                <a:lnTo>
                  <a:pt x="11782" y="15709"/>
                </a:lnTo>
                <a:lnTo>
                  <a:pt x="9818" y="15709"/>
                </a:lnTo>
                <a:lnTo>
                  <a:pt x="9818" y="11782"/>
                </a:lnTo>
                <a:lnTo>
                  <a:pt x="5891" y="11782"/>
                </a:lnTo>
                <a:lnTo>
                  <a:pt x="5891" y="9818"/>
                </a:lnTo>
                <a:lnTo>
                  <a:pt x="9818" y="9818"/>
                </a:lnTo>
                <a:lnTo>
                  <a:pt x="9818" y="5891"/>
                </a:lnTo>
                <a:lnTo>
                  <a:pt x="11782" y="5891"/>
                </a:lnTo>
                <a:lnTo>
                  <a:pt x="11782" y="9818"/>
                </a:lnTo>
                <a:lnTo>
                  <a:pt x="15709" y="9818"/>
                </a:lnTo>
                <a:cubicBezTo>
                  <a:pt x="15709" y="9818"/>
                  <a:pt x="15709" y="11782"/>
                  <a:pt x="15709" y="11782"/>
                </a:cubicBezTo>
                <a:close/>
                <a:moveTo>
                  <a:pt x="15709" y="8836"/>
                </a:moveTo>
                <a:lnTo>
                  <a:pt x="12764" y="8836"/>
                </a:lnTo>
                <a:lnTo>
                  <a:pt x="12764" y="5891"/>
                </a:lnTo>
                <a:cubicBezTo>
                  <a:pt x="12764" y="5349"/>
                  <a:pt x="12324" y="4909"/>
                  <a:pt x="11782" y="4909"/>
                </a:cubicBezTo>
                <a:lnTo>
                  <a:pt x="9818" y="4909"/>
                </a:lnTo>
                <a:cubicBezTo>
                  <a:pt x="9276" y="4909"/>
                  <a:pt x="8836" y="5349"/>
                  <a:pt x="8836" y="5891"/>
                </a:cubicBezTo>
                <a:lnTo>
                  <a:pt x="8836" y="8836"/>
                </a:lnTo>
                <a:lnTo>
                  <a:pt x="5891" y="8836"/>
                </a:lnTo>
                <a:cubicBezTo>
                  <a:pt x="5349" y="8836"/>
                  <a:pt x="4909" y="9276"/>
                  <a:pt x="4909" y="9818"/>
                </a:cubicBezTo>
                <a:lnTo>
                  <a:pt x="4909" y="11782"/>
                </a:lnTo>
                <a:cubicBezTo>
                  <a:pt x="4909" y="12324"/>
                  <a:pt x="5349" y="12764"/>
                  <a:pt x="5891" y="12764"/>
                </a:cubicBezTo>
                <a:lnTo>
                  <a:pt x="8836" y="12764"/>
                </a:lnTo>
                <a:lnTo>
                  <a:pt x="8836" y="15709"/>
                </a:lnTo>
                <a:cubicBezTo>
                  <a:pt x="8836" y="16251"/>
                  <a:pt x="9276" y="16691"/>
                  <a:pt x="9818" y="16691"/>
                </a:cubicBezTo>
                <a:lnTo>
                  <a:pt x="11782" y="16691"/>
                </a:lnTo>
                <a:cubicBezTo>
                  <a:pt x="12324" y="16691"/>
                  <a:pt x="12764" y="16251"/>
                  <a:pt x="12764" y="15709"/>
                </a:cubicBezTo>
                <a:lnTo>
                  <a:pt x="12764" y="12764"/>
                </a:lnTo>
                <a:lnTo>
                  <a:pt x="15709" y="12764"/>
                </a:lnTo>
                <a:cubicBezTo>
                  <a:pt x="16251" y="12764"/>
                  <a:pt x="16691" y="12324"/>
                  <a:pt x="16691" y="11782"/>
                </a:cubicBezTo>
                <a:lnTo>
                  <a:pt x="16691" y="9818"/>
                </a:lnTo>
                <a:cubicBezTo>
                  <a:pt x="16691" y="9276"/>
                  <a:pt x="16251" y="8836"/>
                  <a:pt x="15709" y="8836"/>
                </a:cubicBezTo>
                <a:moveTo>
                  <a:pt x="10800" y="20618"/>
                </a:moveTo>
                <a:cubicBezTo>
                  <a:pt x="5377" y="20618"/>
                  <a:pt x="982" y="16222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68" name="Shape 2768"/>
          <p:cNvSpPr/>
          <p:nvPr/>
        </p:nvSpPr>
        <p:spPr>
          <a:xfrm>
            <a:off x="6238863" y="5261349"/>
            <a:ext cx="279328" cy="1015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18900"/>
                </a:moveTo>
                <a:lnTo>
                  <a:pt x="11291" y="18900"/>
                </a:lnTo>
                <a:lnTo>
                  <a:pt x="11291" y="2700"/>
                </a:lnTo>
                <a:lnTo>
                  <a:pt x="17673" y="2700"/>
                </a:lnTo>
                <a:cubicBezTo>
                  <a:pt x="19300" y="2700"/>
                  <a:pt x="20618" y="6328"/>
                  <a:pt x="20618" y="10800"/>
                </a:cubicBezTo>
                <a:cubicBezTo>
                  <a:pt x="20618" y="15273"/>
                  <a:pt x="19300" y="18900"/>
                  <a:pt x="17673" y="18900"/>
                </a:cubicBezTo>
                <a:moveTo>
                  <a:pt x="6382" y="13500"/>
                </a:moveTo>
                <a:cubicBezTo>
                  <a:pt x="6111" y="13500"/>
                  <a:pt x="5891" y="12896"/>
                  <a:pt x="5891" y="12150"/>
                </a:cubicBezTo>
                <a:cubicBezTo>
                  <a:pt x="5891" y="11404"/>
                  <a:pt x="6111" y="10800"/>
                  <a:pt x="6382" y="10800"/>
                </a:cubicBezTo>
                <a:cubicBezTo>
                  <a:pt x="6653" y="10800"/>
                  <a:pt x="6873" y="11404"/>
                  <a:pt x="6873" y="12150"/>
                </a:cubicBezTo>
                <a:cubicBezTo>
                  <a:pt x="6873" y="12896"/>
                  <a:pt x="6653" y="13500"/>
                  <a:pt x="6382" y="13500"/>
                </a:cubicBezTo>
                <a:moveTo>
                  <a:pt x="3927" y="10800"/>
                </a:moveTo>
                <a:cubicBezTo>
                  <a:pt x="3385" y="10800"/>
                  <a:pt x="2945" y="9592"/>
                  <a:pt x="2945" y="8100"/>
                </a:cubicBezTo>
                <a:cubicBezTo>
                  <a:pt x="2945" y="6610"/>
                  <a:pt x="3385" y="5400"/>
                  <a:pt x="3927" y="5400"/>
                </a:cubicBezTo>
                <a:cubicBezTo>
                  <a:pt x="4469" y="5400"/>
                  <a:pt x="4909" y="6610"/>
                  <a:pt x="4909" y="8100"/>
                </a:cubicBezTo>
                <a:cubicBezTo>
                  <a:pt x="4909" y="9592"/>
                  <a:pt x="4469" y="10800"/>
                  <a:pt x="3927" y="10800"/>
                </a:cubicBezTo>
                <a:moveTo>
                  <a:pt x="17673" y="0"/>
                </a:moveTo>
                <a:lnTo>
                  <a:pt x="3927" y="0"/>
                </a:lnTo>
                <a:cubicBezTo>
                  <a:pt x="1758" y="0"/>
                  <a:pt x="0" y="4836"/>
                  <a:pt x="0" y="10800"/>
                </a:cubicBezTo>
                <a:cubicBezTo>
                  <a:pt x="0" y="16764"/>
                  <a:pt x="1758" y="21600"/>
                  <a:pt x="3927" y="21600"/>
                </a:cubicBezTo>
                <a:lnTo>
                  <a:pt x="17673" y="21600"/>
                </a:lnTo>
                <a:cubicBezTo>
                  <a:pt x="19842" y="21600"/>
                  <a:pt x="21600" y="16764"/>
                  <a:pt x="21600" y="10800"/>
                </a:cubicBezTo>
                <a:cubicBezTo>
                  <a:pt x="21600" y="4836"/>
                  <a:pt x="19842" y="0"/>
                  <a:pt x="17673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69" name="Shape 2769"/>
          <p:cNvSpPr/>
          <p:nvPr/>
        </p:nvSpPr>
        <p:spPr>
          <a:xfrm>
            <a:off x="6810214" y="5172472"/>
            <a:ext cx="20314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0" y="8836"/>
                </a:moveTo>
                <a:cubicBezTo>
                  <a:pt x="1350" y="7752"/>
                  <a:pt x="2559" y="6873"/>
                  <a:pt x="4050" y="6873"/>
                </a:cubicBezTo>
                <a:lnTo>
                  <a:pt x="17550" y="6873"/>
                </a:lnTo>
                <a:cubicBezTo>
                  <a:pt x="19041" y="6873"/>
                  <a:pt x="20250" y="7752"/>
                  <a:pt x="20250" y="8836"/>
                </a:cubicBezTo>
                <a:cubicBezTo>
                  <a:pt x="20250" y="8836"/>
                  <a:pt x="1350" y="8836"/>
                  <a:pt x="1350" y="8836"/>
                </a:cubicBezTo>
                <a:close/>
                <a:moveTo>
                  <a:pt x="14850" y="12764"/>
                </a:moveTo>
                <a:lnTo>
                  <a:pt x="14850" y="14727"/>
                </a:lnTo>
                <a:lnTo>
                  <a:pt x="12150" y="14727"/>
                </a:lnTo>
                <a:lnTo>
                  <a:pt x="12150" y="16691"/>
                </a:lnTo>
                <a:lnTo>
                  <a:pt x="9450" y="16691"/>
                </a:lnTo>
                <a:lnTo>
                  <a:pt x="9450" y="14727"/>
                </a:lnTo>
                <a:lnTo>
                  <a:pt x="6750" y="14727"/>
                </a:lnTo>
                <a:lnTo>
                  <a:pt x="6750" y="12764"/>
                </a:lnTo>
                <a:lnTo>
                  <a:pt x="9450" y="12764"/>
                </a:lnTo>
                <a:lnTo>
                  <a:pt x="9450" y="10800"/>
                </a:lnTo>
                <a:lnTo>
                  <a:pt x="12150" y="10800"/>
                </a:lnTo>
                <a:lnTo>
                  <a:pt x="12150" y="12764"/>
                </a:lnTo>
                <a:cubicBezTo>
                  <a:pt x="12150" y="12764"/>
                  <a:pt x="14850" y="12764"/>
                  <a:pt x="14850" y="12764"/>
                </a:cubicBezTo>
                <a:close/>
                <a:moveTo>
                  <a:pt x="17550" y="20618"/>
                </a:moveTo>
                <a:lnTo>
                  <a:pt x="4050" y="20618"/>
                </a:lnTo>
                <a:cubicBezTo>
                  <a:pt x="2559" y="20618"/>
                  <a:pt x="1350" y="19739"/>
                  <a:pt x="1350" y="18655"/>
                </a:cubicBezTo>
                <a:lnTo>
                  <a:pt x="20250" y="18655"/>
                </a:lnTo>
                <a:cubicBezTo>
                  <a:pt x="20250" y="19739"/>
                  <a:pt x="19041" y="20618"/>
                  <a:pt x="17550" y="20618"/>
                </a:cubicBezTo>
                <a:moveTo>
                  <a:pt x="6750" y="2945"/>
                </a:moveTo>
                <a:lnTo>
                  <a:pt x="14850" y="2945"/>
                </a:lnTo>
                <a:lnTo>
                  <a:pt x="14850" y="4909"/>
                </a:lnTo>
                <a:lnTo>
                  <a:pt x="6750" y="4909"/>
                </a:lnTo>
                <a:cubicBezTo>
                  <a:pt x="6750" y="4909"/>
                  <a:pt x="6750" y="2945"/>
                  <a:pt x="6750" y="2945"/>
                </a:cubicBezTo>
                <a:close/>
                <a:moveTo>
                  <a:pt x="6750" y="982"/>
                </a:moveTo>
                <a:lnTo>
                  <a:pt x="14850" y="982"/>
                </a:lnTo>
                <a:lnTo>
                  <a:pt x="14850" y="1964"/>
                </a:lnTo>
                <a:lnTo>
                  <a:pt x="6750" y="1964"/>
                </a:lnTo>
                <a:cubicBezTo>
                  <a:pt x="6750" y="1964"/>
                  <a:pt x="6750" y="982"/>
                  <a:pt x="6750" y="982"/>
                </a:cubicBezTo>
                <a:close/>
                <a:moveTo>
                  <a:pt x="17550" y="5891"/>
                </a:moveTo>
                <a:lnTo>
                  <a:pt x="16200" y="5891"/>
                </a:lnTo>
                <a:lnTo>
                  <a:pt x="16200" y="4909"/>
                </a:lnTo>
                <a:lnTo>
                  <a:pt x="16200" y="982"/>
                </a:lnTo>
                <a:cubicBezTo>
                  <a:pt x="16200" y="440"/>
                  <a:pt x="15595" y="0"/>
                  <a:pt x="14850" y="0"/>
                </a:cubicBezTo>
                <a:lnTo>
                  <a:pt x="6750" y="0"/>
                </a:lnTo>
                <a:cubicBezTo>
                  <a:pt x="6005" y="0"/>
                  <a:pt x="5400" y="440"/>
                  <a:pt x="5400" y="982"/>
                </a:cubicBezTo>
                <a:lnTo>
                  <a:pt x="5400" y="4909"/>
                </a:lnTo>
                <a:lnTo>
                  <a:pt x="5400" y="5891"/>
                </a:lnTo>
                <a:lnTo>
                  <a:pt x="4050" y="5891"/>
                </a:lnTo>
                <a:cubicBezTo>
                  <a:pt x="1813" y="5891"/>
                  <a:pt x="0" y="7210"/>
                  <a:pt x="0" y="8836"/>
                </a:cubicBezTo>
                <a:lnTo>
                  <a:pt x="0" y="18655"/>
                </a:lnTo>
                <a:cubicBezTo>
                  <a:pt x="0" y="20282"/>
                  <a:pt x="1813" y="21600"/>
                  <a:pt x="4050" y="21600"/>
                </a:cubicBezTo>
                <a:lnTo>
                  <a:pt x="17550" y="21600"/>
                </a:lnTo>
                <a:cubicBezTo>
                  <a:pt x="19787" y="21600"/>
                  <a:pt x="21600" y="20282"/>
                  <a:pt x="21600" y="18655"/>
                </a:cubicBezTo>
                <a:lnTo>
                  <a:pt x="21600" y="8836"/>
                </a:lnTo>
                <a:cubicBezTo>
                  <a:pt x="21600" y="7210"/>
                  <a:pt x="19787" y="5891"/>
                  <a:pt x="17550" y="5891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70" name="Shape 2770"/>
          <p:cNvSpPr/>
          <p:nvPr/>
        </p:nvSpPr>
        <p:spPr>
          <a:xfrm>
            <a:off x="7305385" y="517247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4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7" y="21545"/>
                  <a:pt x="13610" y="21600"/>
                  <a:pt x="13745" y="21600"/>
                </a:cubicBezTo>
                <a:cubicBezTo>
                  <a:pt x="14016" y="21600"/>
                  <a:pt x="14236" y="21380"/>
                  <a:pt x="14236" y="21109"/>
                </a:cubicBezTo>
                <a:cubicBezTo>
                  <a:pt x="14236" y="20974"/>
                  <a:pt x="14181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71" name="Shape 2771"/>
          <p:cNvSpPr/>
          <p:nvPr/>
        </p:nvSpPr>
        <p:spPr>
          <a:xfrm>
            <a:off x="7838646" y="517247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8836"/>
                </a:moveTo>
                <a:cubicBezTo>
                  <a:pt x="15812" y="8836"/>
                  <a:pt x="16691" y="9716"/>
                  <a:pt x="16691" y="10800"/>
                </a:cubicBezTo>
                <a:cubicBezTo>
                  <a:pt x="16691" y="11884"/>
                  <a:pt x="15812" y="12764"/>
                  <a:pt x="14727" y="12764"/>
                </a:cubicBezTo>
                <a:cubicBezTo>
                  <a:pt x="13643" y="12764"/>
                  <a:pt x="12764" y="11884"/>
                  <a:pt x="12764" y="10800"/>
                </a:cubicBezTo>
                <a:cubicBezTo>
                  <a:pt x="12764" y="9716"/>
                  <a:pt x="13643" y="8836"/>
                  <a:pt x="14727" y="8836"/>
                </a:cubicBezTo>
                <a:moveTo>
                  <a:pt x="14727" y="13745"/>
                </a:moveTo>
                <a:cubicBezTo>
                  <a:pt x="16354" y="13745"/>
                  <a:pt x="17673" y="12427"/>
                  <a:pt x="17673" y="10800"/>
                </a:cubicBezTo>
                <a:cubicBezTo>
                  <a:pt x="17673" y="9174"/>
                  <a:pt x="16354" y="7855"/>
                  <a:pt x="14727" y="7855"/>
                </a:cubicBezTo>
                <a:cubicBezTo>
                  <a:pt x="13100" y="7855"/>
                  <a:pt x="11782" y="9174"/>
                  <a:pt x="11782" y="10800"/>
                </a:cubicBezTo>
                <a:cubicBezTo>
                  <a:pt x="11782" y="12427"/>
                  <a:pt x="13100" y="13745"/>
                  <a:pt x="14727" y="13745"/>
                </a:cubicBezTo>
                <a:moveTo>
                  <a:pt x="6873" y="7308"/>
                </a:moveTo>
                <a:lnTo>
                  <a:pt x="8442" y="9818"/>
                </a:lnTo>
                <a:lnTo>
                  <a:pt x="5304" y="9818"/>
                </a:lnTo>
                <a:cubicBezTo>
                  <a:pt x="5304" y="9818"/>
                  <a:pt x="6873" y="7308"/>
                  <a:pt x="6873" y="7308"/>
                </a:cubicBezTo>
                <a:close/>
                <a:moveTo>
                  <a:pt x="4418" y="10800"/>
                </a:moveTo>
                <a:lnTo>
                  <a:pt x="9327" y="10800"/>
                </a:lnTo>
                <a:cubicBezTo>
                  <a:pt x="9598" y="10800"/>
                  <a:pt x="9818" y="10580"/>
                  <a:pt x="9818" y="10309"/>
                </a:cubicBezTo>
                <a:cubicBezTo>
                  <a:pt x="9818" y="10208"/>
                  <a:pt x="9780" y="10120"/>
                  <a:pt x="9728" y="10042"/>
                </a:cubicBezTo>
                <a:lnTo>
                  <a:pt x="9736" y="10037"/>
                </a:lnTo>
                <a:lnTo>
                  <a:pt x="7281" y="6110"/>
                </a:lnTo>
                <a:lnTo>
                  <a:pt x="7274" y="6114"/>
                </a:lnTo>
                <a:cubicBezTo>
                  <a:pt x="7186" y="5983"/>
                  <a:pt x="7043" y="5891"/>
                  <a:pt x="6873" y="5891"/>
                </a:cubicBezTo>
                <a:cubicBezTo>
                  <a:pt x="6702" y="5891"/>
                  <a:pt x="6560" y="5983"/>
                  <a:pt x="6472" y="6114"/>
                </a:cubicBezTo>
                <a:lnTo>
                  <a:pt x="6464" y="6110"/>
                </a:lnTo>
                <a:lnTo>
                  <a:pt x="4010" y="10037"/>
                </a:lnTo>
                <a:lnTo>
                  <a:pt x="4018" y="10042"/>
                </a:lnTo>
                <a:cubicBezTo>
                  <a:pt x="3965" y="10120"/>
                  <a:pt x="3927" y="10208"/>
                  <a:pt x="3927" y="10309"/>
                </a:cubicBezTo>
                <a:cubicBezTo>
                  <a:pt x="3927" y="10580"/>
                  <a:pt x="4147" y="10800"/>
                  <a:pt x="4418" y="10800"/>
                </a:cubicBezTo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4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7" y="21545"/>
                  <a:pt x="13610" y="21600"/>
                  <a:pt x="13745" y="21600"/>
                </a:cubicBezTo>
                <a:cubicBezTo>
                  <a:pt x="14016" y="21600"/>
                  <a:pt x="14236" y="21380"/>
                  <a:pt x="14236" y="21109"/>
                </a:cubicBezTo>
                <a:cubicBezTo>
                  <a:pt x="14236" y="20974"/>
                  <a:pt x="14181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72" name="Shape 2772"/>
          <p:cNvSpPr/>
          <p:nvPr/>
        </p:nvSpPr>
        <p:spPr>
          <a:xfrm>
            <a:off x="8371907" y="517247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4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7" y="21545"/>
                  <a:pt x="13610" y="21600"/>
                  <a:pt x="13745" y="21600"/>
                </a:cubicBezTo>
                <a:cubicBezTo>
                  <a:pt x="14016" y="21600"/>
                  <a:pt x="14236" y="21380"/>
                  <a:pt x="14236" y="21109"/>
                </a:cubicBezTo>
                <a:cubicBezTo>
                  <a:pt x="14236" y="20974"/>
                  <a:pt x="14181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  <a:moveTo>
                  <a:pt x="12273" y="12764"/>
                </a:moveTo>
                <a:lnTo>
                  <a:pt x="17182" y="12764"/>
                </a:lnTo>
                <a:cubicBezTo>
                  <a:pt x="17453" y="12764"/>
                  <a:pt x="17673" y="12544"/>
                  <a:pt x="17673" y="12273"/>
                </a:cubicBezTo>
                <a:cubicBezTo>
                  <a:pt x="17673" y="12002"/>
                  <a:pt x="17453" y="11782"/>
                  <a:pt x="17182" y="11782"/>
                </a:cubicBezTo>
                <a:lnTo>
                  <a:pt x="12273" y="11782"/>
                </a:lnTo>
                <a:cubicBezTo>
                  <a:pt x="12002" y="11782"/>
                  <a:pt x="11782" y="12002"/>
                  <a:pt x="11782" y="12273"/>
                </a:cubicBezTo>
                <a:cubicBezTo>
                  <a:pt x="11782" y="12544"/>
                  <a:pt x="12002" y="12764"/>
                  <a:pt x="12273" y="12764"/>
                </a:cubicBezTo>
                <a:moveTo>
                  <a:pt x="4909" y="6873"/>
                </a:moveTo>
                <a:lnTo>
                  <a:pt x="8836" y="6873"/>
                </a:lnTo>
                <a:lnTo>
                  <a:pt x="8836" y="11782"/>
                </a:lnTo>
                <a:lnTo>
                  <a:pt x="4909" y="11782"/>
                </a:lnTo>
                <a:cubicBezTo>
                  <a:pt x="4909" y="11782"/>
                  <a:pt x="4909" y="6873"/>
                  <a:pt x="4909" y="6873"/>
                </a:cubicBezTo>
                <a:close/>
                <a:moveTo>
                  <a:pt x="4909" y="12764"/>
                </a:moveTo>
                <a:lnTo>
                  <a:pt x="8836" y="12764"/>
                </a:lnTo>
                <a:cubicBezTo>
                  <a:pt x="9378" y="12764"/>
                  <a:pt x="9818" y="12325"/>
                  <a:pt x="9818" y="11782"/>
                </a:cubicBezTo>
                <a:lnTo>
                  <a:pt x="9818" y="6873"/>
                </a:lnTo>
                <a:cubicBezTo>
                  <a:pt x="9818" y="6331"/>
                  <a:pt x="9378" y="5891"/>
                  <a:pt x="8836" y="5891"/>
                </a:cubicBezTo>
                <a:lnTo>
                  <a:pt x="4909" y="5891"/>
                </a:lnTo>
                <a:cubicBezTo>
                  <a:pt x="4367" y="5891"/>
                  <a:pt x="3927" y="6331"/>
                  <a:pt x="3927" y="6873"/>
                </a:cubicBezTo>
                <a:lnTo>
                  <a:pt x="3927" y="11782"/>
                </a:lnTo>
                <a:cubicBezTo>
                  <a:pt x="3927" y="12325"/>
                  <a:pt x="4367" y="12764"/>
                  <a:pt x="4909" y="12764"/>
                </a:cubicBezTo>
                <a:moveTo>
                  <a:pt x="12273" y="10800"/>
                </a:moveTo>
                <a:lnTo>
                  <a:pt x="14236" y="10800"/>
                </a:lnTo>
                <a:cubicBezTo>
                  <a:pt x="14507" y="10800"/>
                  <a:pt x="14727" y="10580"/>
                  <a:pt x="14727" y="10309"/>
                </a:cubicBezTo>
                <a:cubicBezTo>
                  <a:pt x="14727" y="10038"/>
                  <a:pt x="14507" y="9818"/>
                  <a:pt x="14236" y="9818"/>
                </a:cubicBezTo>
                <a:lnTo>
                  <a:pt x="12273" y="9818"/>
                </a:lnTo>
                <a:cubicBezTo>
                  <a:pt x="12002" y="9818"/>
                  <a:pt x="11782" y="10038"/>
                  <a:pt x="11782" y="10309"/>
                </a:cubicBezTo>
                <a:cubicBezTo>
                  <a:pt x="11782" y="10580"/>
                  <a:pt x="12002" y="10800"/>
                  <a:pt x="12273" y="10800"/>
                </a:cubicBezTo>
                <a:moveTo>
                  <a:pt x="12273" y="6873"/>
                </a:move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lnTo>
                  <a:pt x="12273" y="5891"/>
                </a:lnTo>
                <a:cubicBezTo>
                  <a:pt x="12002" y="5891"/>
                  <a:pt x="11782" y="6111"/>
                  <a:pt x="11782" y="6382"/>
                </a:cubicBezTo>
                <a:cubicBezTo>
                  <a:pt x="11782" y="6653"/>
                  <a:pt x="12002" y="6873"/>
                  <a:pt x="12273" y="6873"/>
                </a:cubicBezTo>
                <a:moveTo>
                  <a:pt x="12273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12273" y="7855"/>
                </a:lnTo>
                <a:cubicBezTo>
                  <a:pt x="12002" y="7855"/>
                  <a:pt x="11782" y="8075"/>
                  <a:pt x="11782" y="8345"/>
                </a:cubicBezTo>
                <a:cubicBezTo>
                  <a:pt x="11782" y="8617"/>
                  <a:pt x="12002" y="8836"/>
                  <a:pt x="12273" y="8836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73" name="Shape 2773"/>
          <p:cNvSpPr/>
          <p:nvPr/>
        </p:nvSpPr>
        <p:spPr>
          <a:xfrm>
            <a:off x="8905168" y="517247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8" y="20851"/>
                  <a:pt x="7364" y="20974"/>
                  <a:pt x="7364" y="21109"/>
                </a:cubicBezTo>
                <a:cubicBezTo>
                  <a:pt x="7364" y="21380"/>
                  <a:pt x="7583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8" y="21545"/>
                  <a:pt x="13610" y="21600"/>
                  <a:pt x="13745" y="21600"/>
                </a:cubicBezTo>
                <a:cubicBezTo>
                  <a:pt x="14017" y="21600"/>
                  <a:pt x="14236" y="21380"/>
                  <a:pt x="14236" y="21109"/>
                </a:cubicBezTo>
                <a:cubicBezTo>
                  <a:pt x="14236" y="20974"/>
                  <a:pt x="14182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  <a:moveTo>
                  <a:pt x="4909" y="12764"/>
                </a:moveTo>
                <a:cubicBezTo>
                  <a:pt x="5180" y="12764"/>
                  <a:pt x="5400" y="12544"/>
                  <a:pt x="5400" y="12273"/>
                </a:cubicBezTo>
                <a:cubicBezTo>
                  <a:pt x="5400" y="9290"/>
                  <a:pt x="7818" y="6873"/>
                  <a:pt x="10800" y="6873"/>
                </a:cubicBezTo>
                <a:cubicBezTo>
                  <a:pt x="13782" y="6873"/>
                  <a:pt x="16200" y="9290"/>
                  <a:pt x="16200" y="12273"/>
                </a:cubicBezTo>
                <a:cubicBezTo>
                  <a:pt x="16200" y="12544"/>
                  <a:pt x="16420" y="12764"/>
                  <a:pt x="16691" y="12764"/>
                </a:cubicBezTo>
                <a:cubicBezTo>
                  <a:pt x="16962" y="12764"/>
                  <a:pt x="17182" y="12544"/>
                  <a:pt x="17182" y="12273"/>
                </a:cubicBezTo>
                <a:cubicBezTo>
                  <a:pt x="17182" y="8748"/>
                  <a:pt x="14325" y="5891"/>
                  <a:pt x="10800" y="5891"/>
                </a:cubicBezTo>
                <a:cubicBezTo>
                  <a:pt x="7275" y="5891"/>
                  <a:pt x="4418" y="8748"/>
                  <a:pt x="4418" y="12273"/>
                </a:cubicBezTo>
                <a:cubicBezTo>
                  <a:pt x="4418" y="12544"/>
                  <a:pt x="4638" y="12764"/>
                  <a:pt x="4909" y="12764"/>
                </a:cubicBezTo>
                <a:moveTo>
                  <a:pt x="10800" y="11782"/>
                </a:moveTo>
                <a:cubicBezTo>
                  <a:pt x="10529" y="11782"/>
                  <a:pt x="10309" y="12002"/>
                  <a:pt x="10309" y="12273"/>
                </a:cubicBezTo>
                <a:cubicBezTo>
                  <a:pt x="10309" y="12544"/>
                  <a:pt x="10529" y="12764"/>
                  <a:pt x="10800" y="12764"/>
                </a:cubicBezTo>
                <a:cubicBezTo>
                  <a:pt x="11071" y="12764"/>
                  <a:pt x="11291" y="12544"/>
                  <a:pt x="11291" y="12273"/>
                </a:cubicBezTo>
                <a:cubicBezTo>
                  <a:pt x="11291" y="12002"/>
                  <a:pt x="11071" y="11782"/>
                  <a:pt x="10800" y="11782"/>
                </a:cubicBezTo>
                <a:moveTo>
                  <a:pt x="10800" y="8836"/>
                </a:moveTo>
                <a:cubicBezTo>
                  <a:pt x="8903" y="8836"/>
                  <a:pt x="7364" y="10375"/>
                  <a:pt x="7364" y="12273"/>
                </a:cubicBezTo>
                <a:cubicBezTo>
                  <a:pt x="7364" y="12544"/>
                  <a:pt x="7583" y="12764"/>
                  <a:pt x="7855" y="12764"/>
                </a:cubicBezTo>
                <a:cubicBezTo>
                  <a:pt x="8126" y="12764"/>
                  <a:pt x="8345" y="12544"/>
                  <a:pt x="8345" y="12273"/>
                </a:cubicBezTo>
                <a:cubicBezTo>
                  <a:pt x="8345" y="10917"/>
                  <a:pt x="9444" y="9818"/>
                  <a:pt x="10800" y="9818"/>
                </a:cubicBezTo>
                <a:cubicBezTo>
                  <a:pt x="12156" y="9818"/>
                  <a:pt x="13255" y="10917"/>
                  <a:pt x="13255" y="12273"/>
                </a:cubicBezTo>
                <a:cubicBezTo>
                  <a:pt x="13255" y="12544"/>
                  <a:pt x="13474" y="12764"/>
                  <a:pt x="13745" y="12764"/>
                </a:cubicBezTo>
                <a:cubicBezTo>
                  <a:pt x="14017" y="12764"/>
                  <a:pt x="14236" y="12544"/>
                  <a:pt x="14236" y="12273"/>
                </a:cubicBezTo>
                <a:cubicBezTo>
                  <a:pt x="14236" y="10375"/>
                  <a:pt x="12698" y="8836"/>
                  <a:pt x="10800" y="8836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74" name="Shape 2774"/>
          <p:cNvSpPr/>
          <p:nvPr/>
        </p:nvSpPr>
        <p:spPr>
          <a:xfrm>
            <a:off x="9438429" y="517247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7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39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39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1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3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8" y="21545"/>
                  <a:pt x="13610" y="21600"/>
                  <a:pt x="13745" y="21600"/>
                </a:cubicBezTo>
                <a:cubicBezTo>
                  <a:pt x="14017" y="21600"/>
                  <a:pt x="14236" y="21380"/>
                  <a:pt x="14236" y="21109"/>
                </a:cubicBezTo>
                <a:cubicBezTo>
                  <a:pt x="14236" y="20974"/>
                  <a:pt x="14182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  <a:moveTo>
                  <a:pt x="16200" y="5891"/>
                </a:moveTo>
                <a:cubicBezTo>
                  <a:pt x="16471" y="5891"/>
                  <a:pt x="16691" y="6111"/>
                  <a:pt x="16691" y="6382"/>
                </a:cubicBezTo>
                <a:cubicBezTo>
                  <a:pt x="16691" y="6653"/>
                  <a:pt x="16471" y="6873"/>
                  <a:pt x="16200" y="6873"/>
                </a:cubicBezTo>
                <a:cubicBezTo>
                  <a:pt x="15929" y="6873"/>
                  <a:pt x="15709" y="6653"/>
                  <a:pt x="15709" y="6382"/>
                </a:cubicBezTo>
                <a:cubicBezTo>
                  <a:pt x="15709" y="6111"/>
                  <a:pt x="15929" y="5891"/>
                  <a:pt x="16200" y="5891"/>
                </a:cubicBezTo>
                <a:moveTo>
                  <a:pt x="16200" y="7855"/>
                </a:moveTo>
                <a:cubicBezTo>
                  <a:pt x="17013" y="7855"/>
                  <a:pt x="17673" y="7196"/>
                  <a:pt x="17673" y="6382"/>
                </a:cubicBezTo>
                <a:cubicBezTo>
                  <a:pt x="17673" y="5569"/>
                  <a:pt x="17013" y="4909"/>
                  <a:pt x="16200" y="4909"/>
                </a:cubicBezTo>
                <a:cubicBezTo>
                  <a:pt x="15387" y="4909"/>
                  <a:pt x="14727" y="5569"/>
                  <a:pt x="14727" y="6382"/>
                </a:cubicBezTo>
                <a:cubicBezTo>
                  <a:pt x="14727" y="7196"/>
                  <a:pt x="15387" y="7855"/>
                  <a:pt x="16200" y="7855"/>
                </a:cubicBezTo>
                <a:moveTo>
                  <a:pt x="8422" y="8135"/>
                </a:moveTo>
                <a:lnTo>
                  <a:pt x="11926" y="11638"/>
                </a:lnTo>
                <a:cubicBezTo>
                  <a:pt x="12015" y="11727"/>
                  <a:pt x="12138" y="11782"/>
                  <a:pt x="12273" y="11782"/>
                </a:cubicBezTo>
                <a:cubicBezTo>
                  <a:pt x="12408" y="11782"/>
                  <a:pt x="12531" y="11727"/>
                  <a:pt x="12620" y="11638"/>
                </a:cubicBezTo>
                <a:lnTo>
                  <a:pt x="14183" y="10075"/>
                </a:lnTo>
                <a:lnTo>
                  <a:pt x="16200" y="12764"/>
                </a:lnTo>
                <a:lnTo>
                  <a:pt x="5336" y="12764"/>
                </a:lnTo>
                <a:cubicBezTo>
                  <a:pt x="5336" y="12764"/>
                  <a:pt x="8422" y="8135"/>
                  <a:pt x="8422" y="8135"/>
                </a:cubicBezTo>
                <a:close/>
                <a:moveTo>
                  <a:pt x="4418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cubicBezTo>
                  <a:pt x="17673" y="13144"/>
                  <a:pt x="17630" y="13047"/>
                  <a:pt x="17568" y="12965"/>
                </a:cubicBezTo>
                <a:lnTo>
                  <a:pt x="17575" y="12960"/>
                </a:lnTo>
                <a:lnTo>
                  <a:pt x="14629" y="9033"/>
                </a:lnTo>
                <a:lnTo>
                  <a:pt x="14622" y="9038"/>
                </a:lnTo>
                <a:cubicBezTo>
                  <a:pt x="14533" y="8919"/>
                  <a:pt x="14397" y="8836"/>
                  <a:pt x="14236" y="8836"/>
                </a:cubicBezTo>
                <a:cubicBezTo>
                  <a:pt x="14101" y="8836"/>
                  <a:pt x="13978" y="8891"/>
                  <a:pt x="13889" y="8980"/>
                </a:cubicBezTo>
                <a:lnTo>
                  <a:pt x="12273" y="10597"/>
                </a:lnTo>
                <a:lnTo>
                  <a:pt x="8693" y="7017"/>
                </a:lnTo>
                <a:cubicBezTo>
                  <a:pt x="8604" y="6928"/>
                  <a:pt x="8481" y="6873"/>
                  <a:pt x="8345" y="6873"/>
                </a:cubicBezTo>
                <a:cubicBezTo>
                  <a:pt x="8175" y="6873"/>
                  <a:pt x="8033" y="6965"/>
                  <a:pt x="7945" y="7097"/>
                </a:cubicBezTo>
                <a:lnTo>
                  <a:pt x="7937" y="7091"/>
                </a:lnTo>
                <a:lnTo>
                  <a:pt x="4010" y="12982"/>
                </a:lnTo>
                <a:lnTo>
                  <a:pt x="4017" y="12988"/>
                </a:lnTo>
                <a:cubicBezTo>
                  <a:pt x="3965" y="13066"/>
                  <a:pt x="3927" y="13154"/>
                  <a:pt x="3927" y="13255"/>
                </a:cubicBezTo>
                <a:cubicBezTo>
                  <a:pt x="3927" y="13526"/>
                  <a:pt x="4147" y="13745"/>
                  <a:pt x="4418" y="13745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75" name="Shape 2775"/>
          <p:cNvSpPr/>
          <p:nvPr/>
        </p:nvSpPr>
        <p:spPr>
          <a:xfrm>
            <a:off x="9971691" y="5216911"/>
            <a:ext cx="279328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755"/>
                </a:moveTo>
                <a:lnTo>
                  <a:pt x="1866" y="6075"/>
                </a:lnTo>
                <a:lnTo>
                  <a:pt x="10800" y="1395"/>
                </a:lnTo>
                <a:lnTo>
                  <a:pt x="19735" y="6075"/>
                </a:lnTo>
                <a:cubicBezTo>
                  <a:pt x="19735" y="6075"/>
                  <a:pt x="10800" y="10755"/>
                  <a:pt x="10800" y="10755"/>
                </a:cubicBezTo>
                <a:close/>
                <a:moveTo>
                  <a:pt x="18031" y="17315"/>
                </a:moveTo>
                <a:lnTo>
                  <a:pt x="14834" y="16216"/>
                </a:lnTo>
                <a:lnTo>
                  <a:pt x="14832" y="16229"/>
                </a:lnTo>
                <a:cubicBezTo>
                  <a:pt x="14797" y="16218"/>
                  <a:pt x="14765" y="16200"/>
                  <a:pt x="14727" y="16200"/>
                </a:cubicBezTo>
                <a:cubicBezTo>
                  <a:pt x="14627" y="16200"/>
                  <a:pt x="14538" y="16251"/>
                  <a:pt x="14460" y="16324"/>
                </a:cubicBezTo>
                <a:lnTo>
                  <a:pt x="14455" y="16313"/>
                </a:lnTo>
                <a:lnTo>
                  <a:pt x="10820" y="20061"/>
                </a:lnTo>
                <a:lnTo>
                  <a:pt x="7658" y="16334"/>
                </a:lnTo>
                <a:lnTo>
                  <a:pt x="7653" y="16344"/>
                </a:lnTo>
                <a:cubicBezTo>
                  <a:pt x="7571" y="16259"/>
                  <a:pt x="7474" y="16200"/>
                  <a:pt x="7364" y="16200"/>
                </a:cubicBezTo>
                <a:cubicBezTo>
                  <a:pt x="7327" y="16200"/>
                  <a:pt x="7294" y="16218"/>
                  <a:pt x="7259" y="16229"/>
                </a:cubicBezTo>
                <a:lnTo>
                  <a:pt x="7257" y="16216"/>
                </a:lnTo>
                <a:lnTo>
                  <a:pt x="4013" y="17331"/>
                </a:lnTo>
                <a:lnTo>
                  <a:pt x="4767" y="9035"/>
                </a:lnTo>
                <a:lnTo>
                  <a:pt x="10589" y="12084"/>
                </a:lnTo>
                <a:lnTo>
                  <a:pt x="10591" y="12080"/>
                </a:lnTo>
                <a:cubicBezTo>
                  <a:pt x="10655" y="12122"/>
                  <a:pt x="10724" y="12150"/>
                  <a:pt x="10800" y="12150"/>
                </a:cubicBezTo>
                <a:cubicBezTo>
                  <a:pt x="10876" y="12150"/>
                  <a:pt x="10946" y="12122"/>
                  <a:pt x="11009" y="12080"/>
                </a:cubicBezTo>
                <a:lnTo>
                  <a:pt x="11011" y="12084"/>
                </a:lnTo>
                <a:lnTo>
                  <a:pt x="16897" y="9001"/>
                </a:lnTo>
                <a:cubicBezTo>
                  <a:pt x="16897" y="9001"/>
                  <a:pt x="18031" y="17315"/>
                  <a:pt x="18031" y="17315"/>
                </a:cubicBezTo>
                <a:close/>
                <a:moveTo>
                  <a:pt x="21600" y="6075"/>
                </a:moveTo>
                <a:cubicBezTo>
                  <a:pt x="21600" y="5806"/>
                  <a:pt x="21484" y="5579"/>
                  <a:pt x="21319" y="5470"/>
                </a:cubicBezTo>
                <a:lnTo>
                  <a:pt x="21320" y="5466"/>
                </a:lnTo>
                <a:lnTo>
                  <a:pt x="21306" y="5458"/>
                </a:lnTo>
                <a:cubicBezTo>
                  <a:pt x="21301" y="5455"/>
                  <a:pt x="21296" y="5453"/>
                  <a:pt x="21292" y="5451"/>
                </a:cubicBezTo>
                <a:lnTo>
                  <a:pt x="11011" y="66"/>
                </a:lnTo>
                <a:lnTo>
                  <a:pt x="11009" y="70"/>
                </a:lnTo>
                <a:cubicBezTo>
                  <a:pt x="10946" y="28"/>
                  <a:pt x="10876" y="0"/>
                  <a:pt x="10800" y="0"/>
                </a:cubicBezTo>
                <a:cubicBezTo>
                  <a:pt x="10724" y="0"/>
                  <a:pt x="10655" y="28"/>
                  <a:pt x="10591" y="70"/>
                </a:cubicBezTo>
                <a:lnTo>
                  <a:pt x="10589" y="66"/>
                </a:lnTo>
                <a:lnTo>
                  <a:pt x="309" y="5451"/>
                </a:lnTo>
                <a:cubicBezTo>
                  <a:pt x="304" y="5453"/>
                  <a:pt x="299" y="5455"/>
                  <a:pt x="295" y="5458"/>
                </a:cubicBezTo>
                <a:lnTo>
                  <a:pt x="280" y="5466"/>
                </a:lnTo>
                <a:lnTo>
                  <a:pt x="281" y="5470"/>
                </a:lnTo>
                <a:cubicBezTo>
                  <a:pt x="116" y="5579"/>
                  <a:pt x="0" y="5806"/>
                  <a:pt x="0" y="6075"/>
                </a:cubicBezTo>
                <a:cubicBezTo>
                  <a:pt x="0" y="6344"/>
                  <a:pt x="116" y="6571"/>
                  <a:pt x="281" y="6680"/>
                </a:cubicBezTo>
                <a:lnTo>
                  <a:pt x="280" y="6684"/>
                </a:lnTo>
                <a:lnTo>
                  <a:pt x="295" y="6692"/>
                </a:lnTo>
                <a:cubicBezTo>
                  <a:pt x="299" y="6695"/>
                  <a:pt x="304" y="6697"/>
                  <a:pt x="309" y="6699"/>
                </a:cubicBezTo>
                <a:lnTo>
                  <a:pt x="1230" y="7182"/>
                </a:lnTo>
                <a:lnTo>
                  <a:pt x="608" y="13603"/>
                </a:lnTo>
                <a:cubicBezTo>
                  <a:pt x="251" y="13805"/>
                  <a:pt x="0" y="14287"/>
                  <a:pt x="0" y="14850"/>
                </a:cubicBezTo>
                <a:cubicBezTo>
                  <a:pt x="0" y="15596"/>
                  <a:pt x="439" y="16200"/>
                  <a:pt x="982" y="16200"/>
                </a:cubicBezTo>
                <a:cubicBezTo>
                  <a:pt x="1524" y="16200"/>
                  <a:pt x="1964" y="15596"/>
                  <a:pt x="1964" y="14850"/>
                </a:cubicBezTo>
                <a:cubicBezTo>
                  <a:pt x="1964" y="14416"/>
                  <a:pt x="1812" y="14034"/>
                  <a:pt x="1580" y="13787"/>
                </a:cubicBezTo>
                <a:lnTo>
                  <a:pt x="2173" y="7676"/>
                </a:lnTo>
                <a:lnTo>
                  <a:pt x="3822" y="8540"/>
                </a:lnTo>
                <a:lnTo>
                  <a:pt x="2950" y="18135"/>
                </a:lnTo>
                <a:lnTo>
                  <a:pt x="2958" y="18138"/>
                </a:lnTo>
                <a:cubicBezTo>
                  <a:pt x="2955" y="18167"/>
                  <a:pt x="2945" y="18193"/>
                  <a:pt x="2945" y="18225"/>
                </a:cubicBezTo>
                <a:cubicBezTo>
                  <a:pt x="2945" y="18598"/>
                  <a:pt x="3165" y="18900"/>
                  <a:pt x="3436" y="18900"/>
                </a:cubicBezTo>
                <a:cubicBezTo>
                  <a:pt x="3474" y="18900"/>
                  <a:pt x="3506" y="18884"/>
                  <a:pt x="3541" y="18873"/>
                </a:cubicBezTo>
                <a:lnTo>
                  <a:pt x="3543" y="18884"/>
                </a:lnTo>
                <a:lnTo>
                  <a:pt x="7238" y="17613"/>
                </a:lnTo>
                <a:lnTo>
                  <a:pt x="10506" y="21465"/>
                </a:lnTo>
                <a:lnTo>
                  <a:pt x="10510" y="21456"/>
                </a:lnTo>
                <a:cubicBezTo>
                  <a:pt x="10593" y="21541"/>
                  <a:pt x="10690" y="21600"/>
                  <a:pt x="10800" y="21600"/>
                </a:cubicBezTo>
                <a:cubicBezTo>
                  <a:pt x="10901" y="21600"/>
                  <a:pt x="10989" y="21548"/>
                  <a:pt x="11068" y="21476"/>
                </a:cubicBezTo>
                <a:lnTo>
                  <a:pt x="11072" y="21487"/>
                </a:lnTo>
                <a:lnTo>
                  <a:pt x="14834" y="17607"/>
                </a:lnTo>
                <a:lnTo>
                  <a:pt x="18548" y="18884"/>
                </a:lnTo>
                <a:lnTo>
                  <a:pt x="18550" y="18871"/>
                </a:lnTo>
                <a:cubicBezTo>
                  <a:pt x="18585" y="18882"/>
                  <a:pt x="18618" y="18900"/>
                  <a:pt x="18655" y="18900"/>
                </a:cubicBezTo>
                <a:cubicBezTo>
                  <a:pt x="18926" y="18900"/>
                  <a:pt x="19145" y="18598"/>
                  <a:pt x="19145" y="18225"/>
                </a:cubicBezTo>
                <a:cubicBezTo>
                  <a:pt x="19145" y="18181"/>
                  <a:pt x="19135" y="18143"/>
                  <a:pt x="19130" y="18102"/>
                </a:cubicBezTo>
                <a:lnTo>
                  <a:pt x="19137" y="18100"/>
                </a:lnTo>
                <a:lnTo>
                  <a:pt x="17830" y="8513"/>
                </a:lnTo>
                <a:lnTo>
                  <a:pt x="21292" y="6699"/>
                </a:lnTo>
                <a:cubicBezTo>
                  <a:pt x="21296" y="6697"/>
                  <a:pt x="21301" y="6695"/>
                  <a:pt x="21306" y="6692"/>
                </a:cubicBezTo>
                <a:lnTo>
                  <a:pt x="21320" y="6684"/>
                </a:lnTo>
                <a:lnTo>
                  <a:pt x="21319" y="6680"/>
                </a:lnTo>
                <a:cubicBezTo>
                  <a:pt x="21484" y="6571"/>
                  <a:pt x="21600" y="6344"/>
                  <a:pt x="21600" y="6075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76" name="Shape 2776"/>
          <p:cNvSpPr/>
          <p:nvPr/>
        </p:nvSpPr>
        <p:spPr>
          <a:xfrm>
            <a:off x="10568435" y="5172472"/>
            <a:ext cx="15236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00" y="7855"/>
                </a:moveTo>
                <a:lnTo>
                  <a:pt x="9900" y="7855"/>
                </a:lnTo>
                <a:lnTo>
                  <a:pt x="9900" y="9818"/>
                </a:lnTo>
                <a:cubicBezTo>
                  <a:pt x="9900" y="10090"/>
                  <a:pt x="10303" y="10309"/>
                  <a:pt x="10800" y="10309"/>
                </a:cubicBezTo>
                <a:cubicBezTo>
                  <a:pt x="11297" y="10309"/>
                  <a:pt x="11700" y="10090"/>
                  <a:pt x="11700" y="9818"/>
                </a:cubicBezTo>
                <a:lnTo>
                  <a:pt x="11700" y="7855"/>
                </a:lnTo>
                <a:lnTo>
                  <a:pt x="15300" y="7855"/>
                </a:lnTo>
                <a:cubicBezTo>
                  <a:pt x="15797" y="7855"/>
                  <a:pt x="16200" y="7635"/>
                  <a:pt x="16200" y="7364"/>
                </a:cubicBezTo>
                <a:cubicBezTo>
                  <a:pt x="16200" y="7092"/>
                  <a:pt x="15797" y="6873"/>
                  <a:pt x="15300" y="6873"/>
                </a:cubicBezTo>
                <a:lnTo>
                  <a:pt x="11700" y="6873"/>
                </a:lnTo>
                <a:lnTo>
                  <a:pt x="11700" y="4909"/>
                </a:lnTo>
                <a:cubicBezTo>
                  <a:pt x="11700" y="4638"/>
                  <a:pt x="11297" y="4418"/>
                  <a:pt x="10800" y="4418"/>
                </a:cubicBezTo>
                <a:cubicBezTo>
                  <a:pt x="10303" y="4418"/>
                  <a:pt x="9900" y="4638"/>
                  <a:pt x="9900" y="4909"/>
                </a:cubicBezTo>
                <a:lnTo>
                  <a:pt x="9900" y="6873"/>
                </a:lnTo>
                <a:lnTo>
                  <a:pt x="6300" y="6873"/>
                </a:lnTo>
                <a:cubicBezTo>
                  <a:pt x="5803" y="6873"/>
                  <a:pt x="5400" y="7092"/>
                  <a:pt x="5400" y="7364"/>
                </a:cubicBezTo>
                <a:cubicBezTo>
                  <a:pt x="5400" y="7635"/>
                  <a:pt x="5803" y="7855"/>
                  <a:pt x="6300" y="7855"/>
                </a:cubicBezTo>
                <a:moveTo>
                  <a:pt x="19800" y="19847"/>
                </a:moveTo>
                <a:lnTo>
                  <a:pt x="11464" y="14886"/>
                </a:lnTo>
                <a:lnTo>
                  <a:pt x="11457" y="14889"/>
                </a:lnTo>
                <a:cubicBezTo>
                  <a:pt x="11294" y="14791"/>
                  <a:pt x="11063" y="14727"/>
                  <a:pt x="10800" y="14727"/>
                </a:cubicBezTo>
                <a:cubicBezTo>
                  <a:pt x="10537" y="14727"/>
                  <a:pt x="10306" y="14791"/>
                  <a:pt x="10142" y="14889"/>
                </a:cubicBezTo>
                <a:lnTo>
                  <a:pt x="10136" y="14886"/>
                </a:lnTo>
                <a:lnTo>
                  <a:pt x="1800" y="19847"/>
                </a:lnTo>
                <a:lnTo>
                  <a:pt x="1800" y="982"/>
                </a:lnTo>
                <a:lnTo>
                  <a:pt x="19800" y="982"/>
                </a:lnTo>
                <a:cubicBezTo>
                  <a:pt x="19800" y="982"/>
                  <a:pt x="19800" y="19847"/>
                  <a:pt x="19800" y="19847"/>
                </a:cubicBezTo>
                <a:close/>
                <a:moveTo>
                  <a:pt x="20700" y="0"/>
                </a:moveTo>
                <a:lnTo>
                  <a:pt x="900" y="0"/>
                </a:lnTo>
                <a:cubicBezTo>
                  <a:pt x="403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403" y="21600"/>
                  <a:pt x="900" y="21600"/>
                </a:cubicBezTo>
                <a:cubicBezTo>
                  <a:pt x="1163" y="21600"/>
                  <a:pt x="1394" y="21536"/>
                  <a:pt x="1559" y="21438"/>
                </a:cubicBezTo>
                <a:lnTo>
                  <a:pt x="1564" y="21441"/>
                </a:lnTo>
                <a:lnTo>
                  <a:pt x="10800" y="15945"/>
                </a:lnTo>
                <a:lnTo>
                  <a:pt x="20036" y="21441"/>
                </a:lnTo>
                <a:lnTo>
                  <a:pt x="20041" y="21438"/>
                </a:lnTo>
                <a:cubicBezTo>
                  <a:pt x="20206" y="21536"/>
                  <a:pt x="20437" y="21600"/>
                  <a:pt x="20700" y="21600"/>
                </a:cubicBezTo>
                <a:cubicBezTo>
                  <a:pt x="21197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197" y="0"/>
                  <a:pt x="20700" y="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77" name="Shape 2777"/>
          <p:cNvSpPr/>
          <p:nvPr/>
        </p:nvSpPr>
        <p:spPr>
          <a:xfrm>
            <a:off x="11076303" y="5172472"/>
            <a:ext cx="20314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20095"/>
                </a:moveTo>
                <a:lnTo>
                  <a:pt x="11298" y="14886"/>
                </a:lnTo>
                <a:lnTo>
                  <a:pt x="11293" y="14890"/>
                </a:lnTo>
                <a:cubicBezTo>
                  <a:pt x="11170" y="14791"/>
                  <a:pt x="10997" y="14727"/>
                  <a:pt x="10800" y="14727"/>
                </a:cubicBezTo>
                <a:cubicBezTo>
                  <a:pt x="10603" y="14727"/>
                  <a:pt x="10430" y="14791"/>
                  <a:pt x="10306" y="14890"/>
                </a:cubicBezTo>
                <a:lnTo>
                  <a:pt x="10302" y="14886"/>
                </a:lnTo>
                <a:lnTo>
                  <a:pt x="1350" y="20095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20095"/>
                  <a:pt x="20250" y="20095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72" y="21600"/>
                  <a:pt x="1045" y="21537"/>
                  <a:pt x="1169" y="21438"/>
                </a:cubicBezTo>
                <a:lnTo>
                  <a:pt x="1173" y="21441"/>
                </a:lnTo>
                <a:lnTo>
                  <a:pt x="10800" y="15839"/>
                </a:lnTo>
                <a:lnTo>
                  <a:pt x="20427" y="21441"/>
                </a:lnTo>
                <a:lnTo>
                  <a:pt x="20431" y="21438"/>
                </a:lnTo>
                <a:cubicBezTo>
                  <a:pt x="20555" y="21537"/>
                  <a:pt x="2072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7337" y="7850"/>
                </a:moveTo>
                <a:lnTo>
                  <a:pt x="9710" y="7850"/>
                </a:lnTo>
                <a:lnTo>
                  <a:pt x="10039" y="7213"/>
                </a:lnTo>
                <a:lnTo>
                  <a:pt x="10800" y="5738"/>
                </a:lnTo>
                <a:lnTo>
                  <a:pt x="11561" y="7213"/>
                </a:lnTo>
                <a:lnTo>
                  <a:pt x="11890" y="7850"/>
                </a:lnTo>
                <a:lnTo>
                  <a:pt x="14263" y="7850"/>
                </a:lnTo>
                <a:lnTo>
                  <a:pt x="13014" y="8550"/>
                </a:lnTo>
                <a:lnTo>
                  <a:pt x="12253" y="8976"/>
                </a:lnTo>
                <a:lnTo>
                  <a:pt x="12557" y="9638"/>
                </a:lnTo>
                <a:lnTo>
                  <a:pt x="13240" y="11130"/>
                </a:lnTo>
                <a:lnTo>
                  <a:pt x="11598" y="10254"/>
                </a:lnTo>
                <a:lnTo>
                  <a:pt x="10800" y="9828"/>
                </a:lnTo>
                <a:lnTo>
                  <a:pt x="10002" y="10254"/>
                </a:lnTo>
                <a:lnTo>
                  <a:pt x="8360" y="11130"/>
                </a:lnTo>
                <a:lnTo>
                  <a:pt x="9043" y="9638"/>
                </a:lnTo>
                <a:lnTo>
                  <a:pt x="9347" y="8976"/>
                </a:lnTo>
                <a:lnTo>
                  <a:pt x="8586" y="8550"/>
                </a:lnTo>
                <a:cubicBezTo>
                  <a:pt x="8586" y="8550"/>
                  <a:pt x="7337" y="7850"/>
                  <a:pt x="7337" y="7850"/>
                </a:cubicBezTo>
                <a:close/>
                <a:moveTo>
                  <a:pt x="5737" y="13745"/>
                </a:moveTo>
                <a:lnTo>
                  <a:pt x="10800" y="11045"/>
                </a:lnTo>
                <a:lnTo>
                  <a:pt x="15863" y="13745"/>
                </a:lnTo>
                <a:lnTo>
                  <a:pt x="13838" y="9328"/>
                </a:lnTo>
                <a:lnTo>
                  <a:pt x="18225" y="6868"/>
                </a:lnTo>
                <a:lnTo>
                  <a:pt x="12825" y="6868"/>
                </a:lnTo>
                <a:lnTo>
                  <a:pt x="10800" y="2945"/>
                </a:lnTo>
                <a:lnTo>
                  <a:pt x="8775" y="6868"/>
                </a:lnTo>
                <a:lnTo>
                  <a:pt x="3375" y="6868"/>
                </a:lnTo>
                <a:lnTo>
                  <a:pt x="7762" y="9328"/>
                </a:lnTo>
                <a:cubicBezTo>
                  <a:pt x="7762" y="9328"/>
                  <a:pt x="5737" y="13745"/>
                  <a:pt x="5737" y="13745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78" name="Shape 2778"/>
          <p:cNvSpPr/>
          <p:nvPr/>
        </p:nvSpPr>
        <p:spPr>
          <a:xfrm>
            <a:off x="6238863" y="570573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481" y="12956"/>
                </a:moveTo>
                <a:cubicBezTo>
                  <a:pt x="17070" y="12258"/>
                  <a:pt x="16576" y="11533"/>
                  <a:pt x="16011" y="10795"/>
                </a:cubicBezTo>
                <a:cubicBezTo>
                  <a:pt x="16573" y="10063"/>
                  <a:pt x="17072" y="9339"/>
                  <a:pt x="17481" y="8644"/>
                </a:cubicBezTo>
                <a:cubicBezTo>
                  <a:pt x="19410" y="9181"/>
                  <a:pt x="20618" y="9948"/>
                  <a:pt x="20618" y="10800"/>
                </a:cubicBezTo>
                <a:cubicBezTo>
                  <a:pt x="20618" y="11652"/>
                  <a:pt x="19410" y="12419"/>
                  <a:pt x="17481" y="12956"/>
                </a:cubicBezTo>
                <a:moveTo>
                  <a:pt x="17742" y="17743"/>
                </a:moveTo>
                <a:cubicBezTo>
                  <a:pt x="17140" y="18345"/>
                  <a:pt x="15740" y="18028"/>
                  <a:pt x="13996" y="17045"/>
                </a:cubicBezTo>
                <a:cubicBezTo>
                  <a:pt x="14198" y="16261"/>
                  <a:pt x="14365" y="15406"/>
                  <a:pt x="14487" y="14488"/>
                </a:cubicBezTo>
                <a:cubicBezTo>
                  <a:pt x="15405" y="14366"/>
                  <a:pt x="16261" y="14198"/>
                  <a:pt x="17044" y="13996"/>
                </a:cubicBezTo>
                <a:cubicBezTo>
                  <a:pt x="18028" y="15740"/>
                  <a:pt x="18345" y="17140"/>
                  <a:pt x="17742" y="17743"/>
                </a:cubicBezTo>
                <a:moveTo>
                  <a:pt x="15404" y="11561"/>
                </a:moveTo>
                <a:cubicBezTo>
                  <a:pt x="15837" y="12119"/>
                  <a:pt x="16219" y="12662"/>
                  <a:pt x="16554" y="13185"/>
                </a:cubicBezTo>
                <a:cubicBezTo>
                  <a:pt x="15950" y="13317"/>
                  <a:pt x="15295" y="13429"/>
                  <a:pt x="14597" y="13517"/>
                </a:cubicBezTo>
                <a:cubicBezTo>
                  <a:pt x="14631" y="13155"/>
                  <a:pt x="14655" y="12784"/>
                  <a:pt x="14677" y="12409"/>
                </a:cubicBezTo>
                <a:cubicBezTo>
                  <a:pt x="14930" y="12127"/>
                  <a:pt x="15170" y="11844"/>
                  <a:pt x="15404" y="11561"/>
                </a:cubicBezTo>
                <a:moveTo>
                  <a:pt x="15402" y="10032"/>
                </a:moveTo>
                <a:cubicBezTo>
                  <a:pt x="15170" y="9752"/>
                  <a:pt x="14928" y="9471"/>
                  <a:pt x="14677" y="9191"/>
                </a:cubicBezTo>
                <a:cubicBezTo>
                  <a:pt x="14655" y="8817"/>
                  <a:pt x="14631" y="8445"/>
                  <a:pt x="14597" y="8084"/>
                </a:cubicBezTo>
                <a:cubicBezTo>
                  <a:pt x="15295" y="8171"/>
                  <a:pt x="15950" y="8283"/>
                  <a:pt x="16554" y="8415"/>
                </a:cubicBezTo>
                <a:cubicBezTo>
                  <a:pt x="16221" y="8935"/>
                  <a:pt x="15832" y="9478"/>
                  <a:pt x="15402" y="10032"/>
                </a:cubicBezTo>
                <a:moveTo>
                  <a:pt x="17742" y="3857"/>
                </a:moveTo>
                <a:cubicBezTo>
                  <a:pt x="18345" y="4460"/>
                  <a:pt x="18028" y="5860"/>
                  <a:pt x="17044" y="7604"/>
                </a:cubicBezTo>
                <a:cubicBezTo>
                  <a:pt x="16261" y="7402"/>
                  <a:pt x="15405" y="7234"/>
                  <a:pt x="14487" y="7112"/>
                </a:cubicBezTo>
                <a:cubicBezTo>
                  <a:pt x="14365" y="6194"/>
                  <a:pt x="14198" y="5339"/>
                  <a:pt x="13996" y="4555"/>
                </a:cubicBezTo>
                <a:cubicBezTo>
                  <a:pt x="15740" y="3572"/>
                  <a:pt x="17140" y="3255"/>
                  <a:pt x="17742" y="3857"/>
                </a:cubicBezTo>
                <a:moveTo>
                  <a:pt x="13718" y="12012"/>
                </a:moveTo>
                <a:cubicBezTo>
                  <a:pt x="13448" y="12303"/>
                  <a:pt x="13172" y="12593"/>
                  <a:pt x="12882" y="12883"/>
                </a:cubicBezTo>
                <a:cubicBezTo>
                  <a:pt x="12593" y="13172"/>
                  <a:pt x="12303" y="13449"/>
                  <a:pt x="12012" y="13719"/>
                </a:cubicBezTo>
                <a:cubicBezTo>
                  <a:pt x="11614" y="13733"/>
                  <a:pt x="11212" y="13745"/>
                  <a:pt x="10800" y="13745"/>
                </a:cubicBezTo>
                <a:cubicBezTo>
                  <a:pt x="10387" y="13745"/>
                  <a:pt x="9985" y="13733"/>
                  <a:pt x="9587" y="13719"/>
                </a:cubicBezTo>
                <a:cubicBezTo>
                  <a:pt x="9297" y="13449"/>
                  <a:pt x="9006" y="13172"/>
                  <a:pt x="8717" y="12883"/>
                </a:cubicBezTo>
                <a:cubicBezTo>
                  <a:pt x="8428" y="12593"/>
                  <a:pt x="8152" y="12303"/>
                  <a:pt x="7881" y="12012"/>
                </a:cubicBezTo>
                <a:cubicBezTo>
                  <a:pt x="7866" y="11614"/>
                  <a:pt x="7855" y="11212"/>
                  <a:pt x="7855" y="10800"/>
                </a:cubicBezTo>
                <a:cubicBezTo>
                  <a:pt x="7855" y="10388"/>
                  <a:pt x="7866" y="9986"/>
                  <a:pt x="7881" y="9587"/>
                </a:cubicBezTo>
                <a:cubicBezTo>
                  <a:pt x="8152" y="9297"/>
                  <a:pt x="8428" y="9007"/>
                  <a:pt x="8717" y="8717"/>
                </a:cubicBezTo>
                <a:cubicBezTo>
                  <a:pt x="9006" y="8428"/>
                  <a:pt x="9297" y="8151"/>
                  <a:pt x="9587" y="7881"/>
                </a:cubicBezTo>
                <a:cubicBezTo>
                  <a:pt x="9985" y="7867"/>
                  <a:pt x="10387" y="7855"/>
                  <a:pt x="10800" y="7855"/>
                </a:cubicBezTo>
                <a:cubicBezTo>
                  <a:pt x="11212" y="7855"/>
                  <a:pt x="11614" y="7867"/>
                  <a:pt x="12012" y="7881"/>
                </a:cubicBezTo>
                <a:cubicBezTo>
                  <a:pt x="12303" y="8151"/>
                  <a:pt x="12593" y="8428"/>
                  <a:pt x="12882" y="8717"/>
                </a:cubicBezTo>
                <a:cubicBezTo>
                  <a:pt x="13172" y="9007"/>
                  <a:pt x="13448" y="9297"/>
                  <a:pt x="13718" y="9587"/>
                </a:cubicBezTo>
                <a:cubicBezTo>
                  <a:pt x="13733" y="9986"/>
                  <a:pt x="13745" y="10388"/>
                  <a:pt x="13745" y="10800"/>
                </a:cubicBezTo>
                <a:cubicBezTo>
                  <a:pt x="13745" y="11212"/>
                  <a:pt x="13733" y="11614"/>
                  <a:pt x="13718" y="12012"/>
                </a:cubicBezTo>
                <a:moveTo>
                  <a:pt x="13185" y="16555"/>
                </a:moveTo>
                <a:cubicBezTo>
                  <a:pt x="12662" y="16219"/>
                  <a:pt x="12120" y="15837"/>
                  <a:pt x="11561" y="15404"/>
                </a:cubicBezTo>
                <a:cubicBezTo>
                  <a:pt x="11844" y="15170"/>
                  <a:pt x="12127" y="14931"/>
                  <a:pt x="12409" y="14677"/>
                </a:cubicBezTo>
                <a:cubicBezTo>
                  <a:pt x="12783" y="14655"/>
                  <a:pt x="13155" y="14631"/>
                  <a:pt x="13517" y="14597"/>
                </a:cubicBezTo>
                <a:cubicBezTo>
                  <a:pt x="13429" y="15295"/>
                  <a:pt x="13316" y="15950"/>
                  <a:pt x="13185" y="16555"/>
                </a:cubicBezTo>
                <a:moveTo>
                  <a:pt x="10800" y="20618"/>
                </a:moveTo>
                <a:cubicBezTo>
                  <a:pt x="9948" y="20618"/>
                  <a:pt x="9181" y="19410"/>
                  <a:pt x="8643" y="17481"/>
                </a:cubicBezTo>
                <a:cubicBezTo>
                  <a:pt x="9339" y="17072"/>
                  <a:pt x="10062" y="16573"/>
                  <a:pt x="10795" y="16011"/>
                </a:cubicBezTo>
                <a:cubicBezTo>
                  <a:pt x="11532" y="16576"/>
                  <a:pt x="12258" y="17070"/>
                  <a:pt x="12957" y="17481"/>
                </a:cubicBezTo>
                <a:cubicBezTo>
                  <a:pt x="12419" y="19410"/>
                  <a:pt x="11652" y="20618"/>
                  <a:pt x="10800" y="20618"/>
                </a:cubicBezTo>
                <a:moveTo>
                  <a:pt x="8083" y="14597"/>
                </a:moveTo>
                <a:cubicBezTo>
                  <a:pt x="8445" y="14631"/>
                  <a:pt x="8816" y="14655"/>
                  <a:pt x="9190" y="14677"/>
                </a:cubicBezTo>
                <a:cubicBezTo>
                  <a:pt x="9471" y="14929"/>
                  <a:pt x="9751" y="15170"/>
                  <a:pt x="10032" y="15403"/>
                </a:cubicBezTo>
                <a:cubicBezTo>
                  <a:pt x="9478" y="15832"/>
                  <a:pt x="8935" y="16221"/>
                  <a:pt x="8415" y="16555"/>
                </a:cubicBezTo>
                <a:cubicBezTo>
                  <a:pt x="8283" y="15950"/>
                  <a:pt x="8171" y="15295"/>
                  <a:pt x="8083" y="14597"/>
                </a:cubicBezTo>
                <a:moveTo>
                  <a:pt x="8415" y="5045"/>
                </a:moveTo>
                <a:cubicBezTo>
                  <a:pt x="8938" y="5381"/>
                  <a:pt x="9480" y="5762"/>
                  <a:pt x="10038" y="6196"/>
                </a:cubicBezTo>
                <a:cubicBezTo>
                  <a:pt x="9756" y="6430"/>
                  <a:pt x="9473" y="6670"/>
                  <a:pt x="9190" y="6924"/>
                </a:cubicBezTo>
                <a:cubicBezTo>
                  <a:pt x="8816" y="6945"/>
                  <a:pt x="8445" y="6969"/>
                  <a:pt x="8083" y="7003"/>
                </a:cubicBezTo>
                <a:cubicBezTo>
                  <a:pt x="8171" y="6305"/>
                  <a:pt x="8283" y="5650"/>
                  <a:pt x="8415" y="5045"/>
                </a:cubicBezTo>
                <a:moveTo>
                  <a:pt x="10800" y="982"/>
                </a:moveTo>
                <a:cubicBezTo>
                  <a:pt x="11652" y="982"/>
                  <a:pt x="12419" y="2191"/>
                  <a:pt x="12957" y="4119"/>
                </a:cubicBezTo>
                <a:cubicBezTo>
                  <a:pt x="12261" y="4528"/>
                  <a:pt x="11537" y="5027"/>
                  <a:pt x="10804" y="5589"/>
                </a:cubicBezTo>
                <a:cubicBezTo>
                  <a:pt x="10067" y="5024"/>
                  <a:pt x="9341" y="4530"/>
                  <a:pt x="8643" y="4119"/>
                </a:cubicBezTo>
                <a:cubicBezTo>
                  <a:pt x="9181" y="2191"/>
                  <a:pt x="9948" y="982"/>
                  <a:pt x="10800" y="982"/>
                </a:cubicBezTo>
                <a:moveTo>
                  <a:pt x="13517" y="7003"/>
                </a:moveTo>
                <a:cubicBezTo>
                  <a:pt x="13155" y="6969"/>
                  <a:pt x="12783" y="6945"/>
                  <a:pt x="12409" y="6924"/>
                </a:cubicBezTo>
                <a:cubicBezTo>
                  <a:pt x="12129" y="6671"/>
                  <a:pt x="11848" y="6430"/>
                  <a:pt x="11568" y="6198"/>
                </a:cubicBezTo>
                <a:cubicBezTo>
                  <a:pt x="12122" y="5768"/>
                  <a:pt x="12665" y="5379"/>
                  <a:pt x="13185" y="5045"/>
                </a:cubicBezTo>
                <a:cubicBezTo>
                  <a:pt x="13316" y="5650"/>
                  <a:pt x="13429" y="6305"/>
                  <a:pt x="13517" y="7003"/>
                </a:cubicBezTo>
                <a:moveTo>
                  <a:pt x="7112" y="7112"/>
                </a:moveTo>
                <a:cubicBezTo>
                  <a:pt x="6194" y="7234"/>
                  <a:pt x="5339" y="7402"/>
                  <a:pt x="4555" y="7604"/>
                </a:cubicBezTo>
                <a:cubicBezTo>
                  <a:pt x="3572" y="5860"/>
                  <a:pt x="3255" y="4460"/>
                  <a:pt x="3858" y="3857"/>
                </a:cubicBezTo>
                <a:cubicBezTo>
                  <a:pt x="4460" y="3255"/>
                  <a:pt x="5860" y="3572"/>
                  <a:pt x="7604" y="4555"/>
                </a:cubicBezTo>
                <a:cubicBezTo>
                  <a:pt x="7402" y="5339"/>
                  <a:pt x="7234" y="6194"/>
                  <a:pt x="7112" y="7112"/>
                </a:cubicBezTo>
                <a:moveTo>
                  <a:pt x="3858" y="17743"/>
                </a:moveTo>
                <a:cubicBezTo>
                  <a:pt x="3255" y="17140"/>
                  <a:pt x="3572" y="15740"/>
                  <a:pt x="4555" y="13996"/>
                </a:cubicBezTo>
                <a:cubicBezTo>
                  <a:pt x="5339" y="14198"/>
                  <a:pt x="6194" y="14366"/>
                  <a:pt x="7112" y="14488"/>
                </a:cubicBezTo>
                <a:cubicBezTo>
                  <a:pt x="7234" y="15406"/>
                  <a:pt x="7402" y="16261"/>
                  <a:pt x="7604" y="17045"/>
                </a:cubicBezTo>
                <a:cubicBezTo>
                  <a:pt x="5860" y="18028"/>
                  <a:pt x="4460" y="18345"/>
                  <a:pt x="3858" y="17743"/>
                </a:cubicBezTo>
                <a:moveTo>
                  <a:pt x="7003" y="13517"/>
                </a:moveTo>
                <a:cubicBezTo>
                  <a:pt x="6305" y="13429"/>
                  <a:pt x="5650" y="13317"/>
                  <a:pt x="5045" y="13185"/>
                </a:cubicBezTo>
                <a:cubicBezTo>
                  <a:pt x="5379" y="12665"/>
                  <a:pt x="5768" y="12122"/>
                  <a:pt x="6197" y="11568"/>
                </a:cubicBezTo>
                <a:cubicBezTo>
                  <a:pt x="6429" y="11848"/>
                  <a:pt x="6671" y="12129"/>
                  <a:pt x="6923" y="12409"/>
                </a:cubicBezTo>
                <a:cubicBezTo>
                  <a:pt x="6944" y="12784"/>
                  <a:pt x="6968" y="13155"/>
                  <a:pt x="7003" y="13517"/>
                </a:cubicBezTo>
                <a:moveTo>
                  <a:pt x="6923" y="9191"/>
                </a:moveTo>
                <a:cubicBezTo>
                  <a:pt x="6669" y="9473"/>
                  <a:pt x="6429" y="9756"/>
                  <a:pt x="6196" y="10039"/>
                </a:cubicBezTo>
                <a:cubicBezTo>
                  <a:pt x="5763" y="9481"/>
                  <a:pt x="5381" y="8938"/>
                  <a:pt x="5045" y="8415"/>
                </a:cubicBezTo>
                <a:cubicBezTo>
                  <a:pt x="5650" y="8283"/>
                  <a:pt x="6305" y="8171"/>
                  <a:pt x="7003" y="8084"/>
                </a:cubicBezTo>
                <a:cubicBezTo>
                  <a:pt x="6968" y="8445"/>
                  <a:pt x="6944" y="8816"/>
                  <a:pt x="6923" y="9191"/>
                </a:cubicBezTo>
                <a:moveTo>
                  <a:pt x="982" y="10800"/>
                </a:moveTo>
                <a:cubicBezTo>
                  <a:pt x="982" y="9948"/>
                  <a:pt x="2190" y="9181"/>
                  <a:pt x="4119" y="8644"/>
                </a:cubicBezTo>
                <a:cubicBezTo>
                  <a:pt x="4530" y="9342"/>
                  <a:pt x="5023" y="10067"/>
                  <a:pt x="5588" y="10805"/>
                </a:cubicBezTo>
                <a:cubicBezTo>
                  <a:pt x="5027" y="11537"/>
                  <a:pt x="4528" y="12262"/>
                  <a:pt x="4119" y="12956"/>
                </a:cubicBezTo>
                <a:cubicBezTo>
                  <a:pt x="2190" y="12419"/>
                  <a:pt x="982" y="11652"/>
                  <a:pt x="982" y="10800"/>
                </a:cubicBezTo>
                <a:moveTo>
                  <a:pt x="21600" y="10800"/>
                </a:moveTo>
                <a:cubicBezTo>
                  <a:pt x="21600" y="9624"/>
                  <a:pt x="20173" y="8571"/>
                  <a:pt x="17918" y="7853"/>
                </a:cubicBezTo>
                <a:cubicBezTo>
                  <a:pt x="19002" y="5750"/>
                  <a:pt x="19269" y="3995"/>
                  <a:pt x="18437" y="3163"/>
                </a:cubicBezTo>
                <a:cubicBezTo>
                  <a:pt x="17605" y="2332"/>
                  <a:pt x="15850" y="2598"/>
                  <a:pt x="13748" y="3682"/>
                </a:cubicBezTo>
                <a:cubicBezTo>
                  <a:pt x="13029" y="1427"/>
                  <a:pt x="11976" y="0"/>
                  <a:pt x="10800" y="0"/>
                </a:cubicBezTo>
                <a:cubicBezTo>
                  <a:pt x="9623" y="0"/>
                  <a:pt x="8571" y="1427"/>
                  <a:pt x="7852" y="3682"/>
                </a:cubicBezTo>
                <a:cubicBezTo>
                  <a:pt x="5750" y="2598"/>
                  <a:pt x="3995" y="2332"/>
                  <a:pt x="3163" y="3163"/>
                </a:cubicBezTo>
                <a:cubicBezTo>
                  <a:pt x="2331" y="3995"/>
                  <a:pt x="2598" y="5750"/>
                  <a:pt x="3682" y="7853"/>
                </a:cubicBezTo>
                <a:cubicBezTo>
                  <a:pt x="1426" y="8571"/>
                  <a:pt x="0" y="9624"/>
                  <a:pt x="0" y="10800"/>
                </a:cubicBezTo>
                <a:cubicBezTo>
                  <a:pt x="0" y="11976"/>
                  <a:pt x="1426" y="13029"/>
                  <a:pt x="3682" y="13748"/>
                </a:cubicBezTo>
                <a:cubicBezTo>
                  <a:pt x="2598" y="15851"/>
                  <a:pt x="2331" y="17605"/>
                  <a:pt x="3163" y="18437"/>
                </a:cubicBezTo>
                <a:cubicBezTo>
                  <a:pt x="3995" y="19268"/>
                  <a:pt x="5750" y="19002"/>
                  <a:pt x="7852" y="17918"/>
                </a:cubicBezTo>
                <a:cubicBezTo>
                  <a:pt x="8571" y="20173"/>
                  <a:pt x="9623" y="21600"/>
                  <a:pt x="10800" y="21600"/>
                </a:cubicBezTo>
                <a:cubicBezTo>
                  <a:pt x="11976" y="21600"/>
                  <a:pt x="13029" y="20173"/>
                  <a:pt x="13748" y="17918"/>
                </a:cubicBezTo>
                <a:cubicBezTo>
                  <a:pt x="15850" y="19002"/>
                  <a:pt x="17605" y="19268"/>
                  <a:pt x="18437" y="18437"/>
                </a:cubicBezTo>
                <a:cubicBezTo>
                  <a:pt x="19269" y="17605"/>
                  <a:pt x="19002" y="15851"/>
                  <a:pt x="17918" y="13748"/>
                </a:cubicBezTo>
                <a:cubicBezTo>
                  <a:pt x="20173" y="13029"/>
                  <a:pt x="21600" y="11976"/>
                  <a:pt x="21600" y="10800"/>
                </a:cubicBezTo>
                <a:moveTo>
                  <a:pt x="10800" y="9818"/>
                </a:moveTo>
                <a:cubicBezTo>
                  <a:pt x="10258" y="9818"/>
                  <a:pt x="9818" y="10258"/>
                  <a:pt x="9818" y="10800"/>
                </a:cubicBezTo>
                <a:cubicBezTo>
                  <a:pt x="9818" y="11342"/>
                  <a:pt x="10258" y="11782"/>
                  <a:pt x="10800" y="11782"/>
                </a:cubicBezTo>
                <a:cubicBezTo>
                  <a:pt x="11342" y="11782"/>
                  <a:pt x="11782" y="11342"/>
                  <a:pt x="11782" y="10800"/>
                </a:cubicBezTo>
                <a:cubicBezTo>
                  <a:pt x="11782" y="10258"/>
                  <a:pt x="11342" y="9818"/>
                  <a:pt x="10800" y="9818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79" name="Shape 2779"/>
          <p:cNvSpPr/>
          <p:nvPr/>
        </p:nvSpPr>
        <p:spPr>
          <a:xfrm>
            <a:off x="6810214" y="5705734"/>
            <a:ext cx="20314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7" y="16691"/>
                </a:moveTo>
                <a:lnTo>
                  <a:pt x="5303" y="12525"/>
                </a:lnTo>
                <a:lnTo>
                  <a:pt x="5294" y="12521"/>
                </a:lnTo>
                <a:cubicBezTo>
                  <a:pt x="5355" y="12447"/>
                  <a:pt x="5400" y="12365"/>
                  <a:pt x="5400" y="12273"/>
                </a:cubicBezTo>
                <a:cubicBezTo>
                  <a:pt x="5400" y="12001"/>
                  <a:pt x="5098" y="11782"/>
                  <a:pt x="4725" y="11782"/>
                </a:cubicBezTo>
                <a:lnTo>
                  <a:pt x="3375" y="11782"/>
                </a:lnTo>
                <a:lnTo>
                  <a:pt x="6615" y="8640"/>
                </a:lnTo>
                <a:lnTo>
                  <a:pt x="6606" y="8635"/>
                </a:lnTo>
                <a:cubicBezTo>
                  <a:pt x="6691" y="8553"/>
                  <a:pt x="6750" y="8456"/>
                  <a:pt x="6750" y="8345"/>
                </a:cubicBezTo>
                <a:cubicBezTo>
                  <a:pt x="6750" y="8075"/>
                  <a:pt x="6448" y="7855"/>
                  <a:pt x="6075" y="7855"/>
                </a:cubicBezTo>
                <a:lnTo>
                  <a:pt x="4855" y="7855"/>
                </a:lnTo>
                <a:lnTo>
                  <a:pt x="8548" y="4785"/>
                </a:lnTo>
                <a:lnTo>
                  <a:pt x="8544" y="4782"/>
                </a:lnTo>
                <a:cubicBezTo>
                  <a:pt x="8683" y="4691"/>
                  <a:pt x="8775" y="4564"/>
                  <a:pt x="8775" y="4418"/>
                </a:cubicBezTo>
                <a:cubicBezTo>
                  <a:pt x="8775" y="4147"/>
                  <a:pt x="8473" y="3927"/>
                  <a:pt x="8100" y="3927"/>
                </a:cubicBezTo>
                <a:lnTo>
                  <a:pt x="7029" y="3927"/>
                </a:lnTo>
                <a:lnTo>
                  <a:pt x="10800" y="1185"/>
                </a:lnTo>
                <a:lnTo>
                  <a:pt x="14571" y="3927"/>
                </a:lnTo>
                <a:lnTo>
                  <a:pt x="13500" y="3927"/>
                </a:lnTo>
                <a:cubicBezTo>
                  <a:pt x="13128" y="3927"/>
                  <a:pt x="12825" y="4147"/>
                  <a:pt x="12825" y="4418"/>
                </a:cubicBezTo>
                <a:cubicBezTo>
                  <a:pt x="12825" y="4564"/>
                  <a:pt x="12917" y="4691"/>
                  <a:pt x="13056" y="4782"/>
                </a:cubicBezTo>
                <a:lnTo>
                  <a:pt x="13052" y="4785"/>
                </a:lnTo>
                <a:lnTo>
                  <a:pt x="16744" y="7855"/>
                </a:lnTo>
                <a:lnTo>
                  <a:pt x="15525" y="7855"/>
                </a:lnTo>
                <a:cubicBezTo>
                  <a:pt x="15153" y="7855"/>
                  <a:pt x="14850" y="8075"/>
                  <a:pt x="14850" y="8345"/>
                </a:cubicBezTo>
                <a:cubicBezTo>
                  <a:pt x="14850" y="8456"/>
                  <a:pt x="14909" y="8553"/>
                  <a:pt x="14994" y="8635"/>
                </a:cubicBezTo>
                <a:lnTo>
                  <a:pt x="14985" y="8640"/>
                </a:lnTo>
                <a:lnTo>
                  <a:pt x="18225" y="11782"/>
                </a:lnTo>
                <a:lnTo>
                  <a:pt x="16875" y="11782"/>
                </a:lnTo>
                <a:cubicBezTo>
                  <a:pt x="16503" y="11782"/>
                  <a:pt x="16200" y="12001"/>
                  <a:pt x="16200" y="12273"/>
                </a:cubicBezTo>
                <a:cubicBezTo>
                  <a:pt x="16200" y="12365"/>
                  <a:pt x="16244" y="12447"/>
                  <a:pt x="16306" y="12521"/>
                </a:cubicBezTo>
                <a:lnTo>
                  <a:pt x="16296" y="12525"/>
                </a:lnTo>
                <a:lnTo>
                  <a:pt x="19733" y="16691"/>
                </a:lnTo>
                <a:cubicBezTo>
                  <a:pt x="19733" y="16691"/>
                  <a:pt x="1867" y="16691"/>
                  <a:pt x="1867" y="16691"/>
                </a:cubicBezTo>
                <a:close/>
                <a:moveTo>
                  <a:pt x="12150" y="20618"/>
                </a:moveTo>
                <a:lnTo>
                  <a:pt x="9450" y="20618"/>
                </a:lnTo>
                <a:lnTo>
                  <a:pt x="9450" y="17673"/>
                </a:lnTo>
                <a:lnTo>
                  <a:pt x="12150" y="17673"/>
                </a:lnTo>
                <a:cubicBezTo>
                  <a:pt x="12150" y="17673"/>
                  <a:pt x="12150" y="20618"/>
                  <a:pt x="12150" y="20618"/>
                </a:cubicBezTo>
                <a:close/>
                <a:moveTo>
                  <a:pt x="21494" y="16933"/>
                </a:moveTo>
                <a:lnTo>
                  <a:pt x="21503" y="16929"/>
                </a:lnTo>
                <a:lnTo>
                  <a:pt x="18067" y="12764"/>
                </a:lnTo>
                <a:lnTo>
                  <a:pt x="19575" y="12764"/>
                </a:lnTo>
                <a:cubicBezTo>
                  <a:pt x="19948" y="12764"/>
                  <a:pt x="20250" y="12544"/>
                  <a:pt x="20250" y="12273"/>
                </a:cubicBezTo>
                <a:cubicBezTo>
                  <a:pt x="20250" y="12162"/>
                  <a:pt x="20191" y="12066"/>
                  <a:pt x="20106" y="11983"/>
                </a:cubicBezTo>
                <a:lnTo>
                  <a:pt x="20115" y="11978"/>
                </a:lnTo>
                <a:lnTo>
                  <a:pt x="16875" y="8836"/>
                </a:lnTo>
                <a:lnTo>
                  <a:pt x="18225" y="8836"/>
                </a:lnTo>
                <a:cubicBezTo>
                  <a:pt x="18598" y="8836"/>
                  <a:pt x="18900" y="8617"/>
                  <a:pt x="18900" y="8345"/>
                </a:cubicBezTo>
                <a:cubicBezTo>
                  <a:pt x="18900" y="8200"/>
                  <a:pt x="18808" y="8072"/>
                  <a:pt x="18669" y="7982"/>
                </a:cubicBezTo>
                <a:lnTo>
                  <a:pt x="18673" y="7978"/>
                </a:lnTo>
                <a:lnTo>
                  <a:pt x="14980" y="4909"/>
                </a:lnTo>
                <a:lnTo>
                  <a:pt x="16200" y="4909"/>
                </a:lnTo>
                <a:cubicBezTo>
                  <a:pt x="16573" y="4909"/>
                  <a:pt x="16875" y="4690"/>
                  <a:pt x="16875" y="4418"/>
                </a:cubicBezTo>
                <a:cubicBezTo>
                  <a:pt x="16875" y="4283"/>
                  <a:pt x="16800" y="4160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1" y="4160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lnTo>
                  <a:pt x="6619" y="4909"/>
                </a:lnTo>
                <a:lnTo>
                  <a:pt x="2927" y="7978"/>
                </a:lnTo>
                <a:lnTo>
                  <a:pt x="2931" y="7982"/>
                </a:lnTo>
                <a:cubicBezTo>
                  <a:pt x="2792" y="8072"/>
                  <a:pt x="2700" y="8200"/>
                  <a:pt x="2700" y="8345"/>
                </a:cubicBezTo>
                <a:cubicBezTo>
                  <a:pt x="2700" y="8617"/>
                  <a:pt x="3003" y="8836"/>
                  <a:pt x="3375" y="8836"/>
                </a:cubicBezTo>
                <a:lnTo>
                  <a:pt x="4725" y="8836"/>
                </a:lnTo>
                <a:lnTo>
                  <a:pt x="1485" y="11978"/>
                </a:lnTo>
                <a:lnTo>
                  <a:pt x="1494" y="11983"/>
                </a:lnTo>
                <a:cubicBezTo>
                  <a:pt x="1409" y="12066"/>
                  <a:pt x="1350" y="12162"/>
                  <a:pt x="1350" y="12273"/>
                </a:cubicBezTo>
                <a:cubicBezTo>
                  <a:pt x="1350" y="12544"/>
                  <a:pt x="1653" y="12764"/>
                  <a:pt x="2025" y="12764"/>
                </a:cubicBezTo>
                <a:lnTo>
                  <a:pt x="3533" y="12764"/>
                </a:lnTo>
                <a:lnTo>
                  <a:pt x="96" y="16929"/>
                </a:lnTo>
                <a:lnTo>
                  <a:pt x="106" y="16933"/>
                </a:lnTo>
                <a:cubicBezTo>
                  <a:pt x="44" y="17007"/>
                  <a:pt x="0" y="17089"/>
                  <a:pt x="0" y="17182"/>
                </a:cubicBezTo>
                <a:cubicBezTo>
                  <a:pt x="0" y="17453"/>
                  <a:pt x="303" y="17673"/>
                  <a:pt x="675" y="17673"/>
                </a:cubicBezTo>
                <a:lnTo>
                  <a:pt x="8100" y="17673"/>
                </a:lnTo>
                <a:lnTo>
                  <a:pt x="8100" y="21109"/>
                </a:lnTo>
                <a:cubicBezTo>
                  <a:pt x="8100" y="21380"/>
                  <a:pt x="8403" y="21600"/>
                  <a:pt x="8775" y="21600"/>
                </a:cubicBezTo>
                <a:lnTo>
                  <a:pt x="12825" y="21600"/>
                </a:lnTo>
                <a:cubicBezTo>
                  <a:pt x="13198" y="21600"/>
                  <a:pt x="13500" y="21380"/>
                  <a:pt x="13500" y="21109"/>
                </a:cubicBezTo>
                <a:lnTo>
                  <a:pt x="13500" y="17673"/>
                </a:lnTo>
                <a:lnTo>
                  <a:pt x="20925" y="17673"/>
                </a:lnTo>
                <a:cubicBezTo>
                  <a:pt x="21298" y="17673"/>
                  <a:pt x="21600" y="17453"/>
                  <a:pt x="21600" y="17182"/>
                </a:cubicBezTo>
                <a:cubicBezTo>
                  <a:pt x="21600" y="17089"/>
                  <a:pt x="21555" y="17007"/>
                  <a:pt x="21494" y="16933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80" name="Shape 2780"/>
          <p:cNvSpPr/>
          <p:nvPr/>
        </p:nvSpPr>
        <p:spPr>
          <a:xfrm>
            <a:off x="7381565" y="5705734"/>
            <a:ext cx="12696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40" y="14727"/>
                </a:moveTo>
                <a:lnTo>
                  <a:pt x="2160" y="14727"/>
                </a:lnTo>
                <a:lnTo>
                  <a:pt x="2160" y="4909"/>
                </a:lnTo>
                <a:cubicBezTo>
                  <a:pt x="2160" y="2740"/>
                  <a:pt x="6028" y="982"/>
                  <a:pt x="10800" y="982"/>
                </a:cubicBezTo>
                <a:cubicBezTo>
                  <a:pt x="15571" y="982"/>
                  <a:pt x="19440" y="2740"/>
                  <a:pt x="19440" y="4909"/>
                </a:cubicBezTo>
                <a:cubicBezTo>
                  <a:pt x="19440" y="4909"/>
                  <a:pt x="19440" y="14727"/>
                  <a:pt x="19440" y="14727"/>
                </a:cubicBezTo>
                <a:close/>
                <a:moveTo>
                  <a:pt x="10800" y="0"/>
                </a:moveTo>
                <a:cubicBezTo>
                  <a:pt x="4835" y="0"/>
                  <a:pt x="0" y="2198"/>
                  <a:pt x="0" y="4909"/>
                </a:cubicBezTo>
                <a:lnTo>
                  <a:pt x="0" y="14727"/>
                </a:lnTo>
                <a:cubicBezTo>
                  <a:pt x="0" y="15269"/>
                  <a:pt x="968" y="15709"/>
                  <a:pt x="2160" y="15709"/>
                </a:cubicBezTo>
                <a:lnTo>
                  <a:pt x="9720" y="15709"/>
                </a:lnTo>
                <a:lnTo>
                  <a:pt x="9720" y="21109"/>
                </a:lnTo>
                <a:cubicBezTo>
                  <a:pt x="9720" y="21380"/>
                  <a:pt x="10204" y="21600"/>
                  <a:pt x="10800" y="21600"/>
                </a:cubicBezTo>
                <a:cubicBezTo>
                  <a:pt x="11396" y="21600"/>
                  <a:pt x="11880" y="21380"/>
                  <a:pt x="11880" y="21109"/>
                </a:cubicBezTo>
                <a:lnTo>
                  <a:pt x="11880" y="15709"/>
                </a:lnTo>
                <a:lnTo>
                  <a:pt x="19440" y="15709"/>
                </a:lnTo>
                <a:cubicBezTo>
                  <a:pt x="20632" y="15709"/>
                  <a:pt x="21600" y="15269"/>
                  <a:pt x="21600" y="14727"/>
                </a:cubicBezTo>
                <a:lnTo>
                  <a:pt x="21600" y="4909"/>
                </a:lnTo>
                <a:cubicBezTo>
                  <a:pt x="21600" y="2198"/>
                  <a:pt x="16765" y="0"/>
                  <a:pt x="10800" y="0"/>
                </a:cubicBezTo>
                <a:moveTo>
                  <a:pt x="7560" y="4909"/>
                </a:moveTo>
                <a:cubicBezTo>
                  <a:pt x="6964" y="4909"/>
                  <a:pt x="6480" y="5129"/>
                  <a:pt x="6480" y="5400"/>
                </a:cubicBezTo>
                <a:lnTo>
                  <a:pt x="6480" y="12273"/>
                </a:lnTo>
                <a:cubicBezTo>
                  <a:pt x="6480" y="12544"/>
                  <a:pt x="6964" y="12764"/>
                  <a:pt x="7560" y="12764"/>
                </a:cubicBezTo>
                <a:cubicBezTo>
                  <a:pt x="8156" y="12764"/>
                  <a:pt x="8640" y="12544"/>
                  <a:pt x="8640" y="12273"/>
                </a:cubicBezTo>
                <a:lnTo>
                  <a:pt x="8640" y="5400"/>
                </a:lnTo>
                <a:cubicBezTo>
                  <a:pt x="8640" y="5129"/>
                  <a:pt x="8156" y="4909"/>
                  <a:pt x="7560" y="4909"/>
                </a:cubicBezTo>
                <a:moveTo>
                  <a:pt x="14040" y="4909"/>
                </a:moveTo>
                <a:cubicBezTo>
                  <a:pt x="13444" y="4909"/>
                  <a:pt x="12960" y="5129"/>
                  <a:pt x="12960" y="5400"/>
                </a:cubicBezTo>
                <a:lnTo>
                  <a:pt x="12960" y="12273"/>
                </a:lnTo>
                <a:cubicBezTo>
                  <a:pt x="12960" y="12544"/>
                  <a:pt x="13444" y="12764"/>
                  <a:pt x="14040" y="12764"/>
                </a:cubicBezTo>
                <a:cubicBezTo>
                  <a:pt x="14636" y="12764"/>
                  <a:pt x="15120" y="12544"/>
                  <a:pt x="15120" y="12273"/>
                </a:cubicBezTo>
                <a:lnTo>
                  <a:pt x="15120" y="5400"/>
                </a:lnTo>
                <a:cubicBezTo>
                  <a:pt x="15120" y="5129"/>
                  <a:pt x="14636" y="4909"/>
                  <a:pt x="14040" y="4909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81" name="Shape 2781"/>
          <p:cNvSpPr/>
          <p:nvPr/>
        </p:nvSpPr>
        <p:spPr>
          <a:xfrm>
            <a:off x="7838646" y="570573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6873"/>
                </a:moveTo>
                <a:cubicBezTo>
                  <a:pt x="6162" y="6873"/>
                  <a:pt x="6382" y="6653"/>
                  <a:pt x="6382" y="6382"/>
                </a:cubicBezTo>
                <a:lnTo>
                  <a:pt x="6382" y="1473"/>
                </a:lnTo>
                <a:cubicBezTo>
                  <a:pt x="6382" y="1201"/>
                  <a:pt x="6162" y="982"/>
                  <a:pt x="5891" y="982"/>
                </a:cubicBezTo>
                <a:cubicBezTo>
                  <a:pt x="5620" y="982"/>
                  <a:pt x="5400" y="1201"/>
                  <a:pt x="5400" y="1473"/>
                </a:cubicBezTo>
                <a:lnTo>
                  <a:pt x="5400" y="6382"/>
                </a:lnTo>
                <a:cubicBezTo>
                  <a:pt x="5400" y="6653"/>
                  <a:pt x="5620" y="6873"/>
                  <a:pt x="5891" y="6873"/>
                </a:cubicBezTo>
                <a:moveTo>
                  <a:pt x="2945" y="5891"/>
                </a:moveTo>
                <a:cubicBezTo>
                  <a:pt x="3216" y="5891"/>
                  <a:pt x="3436" y="5671"/>
                  <a:pt x="3436" y="5400"/>
                </a:cubicBezTo>
                <a:lnTo>
                  <a:pt x="3436" y="2455"/>
                </a:lnTo>
                <a:cubicBezTo>
                  <a:pt x="3436" y="2183"/>
                  <a:pt x="3216" y="1964"/>
                  <a:pt x="2945" y="1964"/>
                </a:cubicBezTo>
                <a:cubicBezTo>
                  <a:pt x="2675" y="1964"/>
                  <a:pt x="2455" y="2183"/>
                  <a:pt x="2455" y="2455"/>
                </a:cubicBezTo>
                <a:lnTo>
                  <a:pt x="2455" y="5400"/>
                </a:lnTo>
                <a:cubicBezTo>
                  <a:pt x="2455" y="5671"/>
                  <a:pt x="2675" y="5891"/>
                  <a:pt x="2945" y="5891"/>
                </a:cubicBezTo>
                <a:moveTo>
                  <a:pt x="18655" y="15218"/>
                </a:moveTo>
                <a:lnTo>
                  <a:pt x="17648" y="15218"/>
                </a:lnTo>
                <a:cubicBezTo>
                  <a:pt x="17660" y="15056"/>
                  <a:pt x="17673" y="14893"/>
                  <a:pt x="17673" y="14727"/>
                </a:cubicBezTo>
                <a:lnTo>
                  <a:pt x="17673" y="11291"/>
                </a:lnTo>
                <a:lnTo>
                  <a:pt x="18655" y="11291"/>
                </a:lnTo>
                <a:cubicBezTo>
                  <a:pt x="19739" y="11291"/>
                  <a:pt x="20618" y="12170"/>
                  <a:pt x="20618" y="13255"/>
                </a:cubicBezTo>
                <a:cubicBezTo>
                  <a:pt x="20618" y="14339"/>
                  <a:pt x="19739" y="15218"/>
                  <a:pt x="18655" y="15218"/>
                </a:cubicBezTo>
                <a:moveTo>
                  <a:pt x="16691" y="14727"/>
                </a:moveTo>
                <a:cubicBezTo>
                  <a:pt x="16691" y="15802"/>
                  <a:pt x="16399" y="16805"/>
                  <a:pt x="15896" y="17673"/>
                </a:cubicBezTo>
                <a:lnTo>
                  <a:pt x="1777" y="17673"/>
                </a:lnTo>
                <a:cubicBezTo>
                  <a:pt x="1274" y="16805"/>
                  <a:pt x="982" y="15802"/>
                  <a:pt x="982" y="14727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4727"/>
                  <a:pt x="16691" y="14727"/>
                </a:cubicBezTo>
                <a:close/>
                <a:moveTo>
                  <a:pt x="10800" y="20618"/>
                </a:moveTo>
                <a:lnTo>
                  <a:pt x="6873" y="20618"/>
                </a:lnTo>
                <a:cubicBezTo>
                  <a:pt x="5131" y="20618"/>
                  <a:pt x="3569" y="19857"/>
                  <a:pt x="2491" y="18655"/>
                </a:cubicBezTo>
                <a:lnTo>
                  <a:pt x="15182" y="18655"/>
                </a:lnTo>
                <a:cubicBezTo>
                  <a:pt x="14103" y="19857"/>
                  <a:pt x="12542" y="20618"/>
                  <a:pt x="10800" y="20618"/>
                </a:cubicBezTo>
                <a:moveTo>
                  <a:pt x="18655" y="10309"/>
                </a:moveTo>
                <a:lnTo>
                  <a:pt x="17673" y="10309"/>
                </a:lnTo>
                <a:lnTo>
                  <a:pt x="17673" y="8836"/>
                </a:lnTo>
                <a:cubicBezTo>
                  <a:pt x="17673" y="8295"/>
                  <a:pt x="17233" y="7855"/>
                  <a:pt x="16691" y="7855"/>
                </a:cubicBezTo>
                <a:lnTo>
                  <a:pt x="982" y="7855"/>
                </a:lnTo>
                <a:cubicBezTo>
                  <a:pt x="440" y="7855"/>
                  <a:pt x="0" y="8295"/>
                  <a:pt x="0" y="8836"/>
                </a:cubicBezTo>
                <a:lnTo>
                  <a:pt x="0" y="14727"/>
                </a:lnTo>
                <a:cubicBezTo>
                  <a:pt x="0" y="17232"/>
                  <a:pt x="1344" y="19417"/>
                  <a:pt x="3346" y="20618"/>
                </a:cubicBezTo>
                <a:lnTo>
                  <a:pt x="491" y="20618"/>
                </a:lnTo>
                <a:cubicBezTo>
                  <a:pt x="220" y="20618"/>
                  <a:pt x="0" y="20838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0"/>
                  <a:pt x="17673" y="21109"/>
                </a:cubicBezTo>
                <a:cubicBezTo>
                  <a:pt x="17673" y="20838"/>
                  <a:pt x="17453" y="20618"/>
                  <a:pt x="17182" y="20618"/>
                </a:cubicBezTo>
                <a:lnTo>
                  <a:pt x="14330" y="20618"/>
                </a:lnTo>
                <a:cubicBezTo>
                  <a:pt x="15925" y="19659"/>
                  <a:pt x="17101" y="18074"/>
                  <a:pt x="17511" y="16200"/>
                </a:cubicBezTo>
                <a:lnTo>
                  <a:pt x="18655" y="16200"/>
                </a:lnTo>
                <a:cubicBezTo>
                  <a:pt x="20281" y="16200"/>
                  <a:pt x="21600" y="14882"/>
                  <a:pt x="21600" y="13255"/>
                </a:cubicBezTo>
                <a:cubicBezTo>
                  <a:pt x="21600" y="11628"/>
                  <a:pt x="20281" y="10309"/>
                  <a:pt x="18655" y="10309"/>
                </a:cubicBezTo>
                <a:moveTo>
                  <a:pt x="11782" y="5891"/>
                </a:moveTo>
                <a:cubicBezTo>
                  <a:pt x="12053" y="5891"/>
                  <a:pt x="12273" y="5671"/>
                  <a:pt x="12273" y="5400"/>
                </a:cubicBezTo>
                <a:lnTo>
                  <a:pt x="12273" y="2455"/>
                </a:lnTo>
                <a:cubicBezTo>
                  <a:pt x="12273" y="2183"/>
                  <a:pt x="12053" y="1964"/>
                  <a:pt x="11782" y="1964"/>
                </a:cubicBezTo>
                <a:cubicBezTo>
                  <a:pt x="11511" y="1964"/>
                  <a:pt x="11291" y="2183"/>
                  <a:pt x="11291" y="2455"/>
                </a:cubicBezTo>
                <a:lnTo>
                  <a:pt x="11291" y="5400"/>
                </a:lnTo>
                <a:cubicBezTo>
                  <a:pt x="11291" y="5671"/>
                  <a:pt x="11511" y="5891"/>
                  <a:pt x="11782" y="5891"/>
                </a:cubicBezTo>
                <a:moveTo>
                  <a:pt x="14727" y="6873"/>
                </a:moveTo>
                <a:cubicBezTo>
                  <a:pt x="14998" y="6873"/>
                  <a:pt x="15218" y="6653"/>
                  <a:pt x="15218" y="6382"/>
                </a:cubicBezTo>
                <a:lnTo>
                  <a:pt x="15218" y="1473"/>
                </a:lnTo>
                <a:cubicBezTo>
                  <a:pt x="15218" y="1201"/>
                  <a:pt x="14998" y="982"/>
                  <a:pt x="14727" y="982"/>
                </a:cubicBezTo>
                <a:cubicBezTo>
                  <a:pt x="14456" y="982"/>
                  <a:pt x="14236" y="1201"/>
                  <a:pt x="14236" y="1473"/>
                </a:cubicBezTo>
                <a:lnTo>
                  <a:pt x="14236" y="6382"/>
                </a:lnTo>
                <a:cubicBezTo>
                  <a:pt x="14236" y="6653"/>
                  <a:pt x="14456" y="6873"/>
                  <a:pt x="14727" y="6873"/>
                </a:cubicBezTo>
                <a:moveTo>
                  <a:pt x="8836" y="5891"/>
                </a:moveTo>
                <a:cubicBezTo>
                  <a:pt x="9107" y="5891"/>
                  <a:pt x="9327" y="5671"/>
                  <a:pt x="9327" y="5400"/>
                </a:cubicBezTo>
                <a:lnTo>
                  <a:pt x="9327" y="491"/>
                </a:lnTo>
                <a:cubicBezTo>
                  <a:pt x="9327" y="220"/>
                  <a:pt x="9107" y="0"/>
                  <a:pt x="8836" y="0"/>
                </a:cubicBezTo>
                <a:cubicBezTo>
                  <a:pt x="8566" y="0"/>
                  <a:pt x="8345" y="220"/>
                  <a:pt x="8345" y="491"/>
                </a:cubicBezTo>
                <a:lnTo>
                  <a:pt x="8345" y="5400"/>
                </a:lnTo>
                <a:cubicBezTo>
                  <a:pt x="8345" y="5671"/>
                  <a:pt x="8566" y="5891"/>
                  <a:pt x="8836" y="5891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82" name="Shape 2782"/>
          <p:cNvSpPr/>
          <p:nvPr/>
        </p:nvSpPr>
        <p:spPr>
          <a:xfrm>
            <a:off x="8371907" y="5724779"/>
            <a:ext cx="279597" cy="2412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683" h="20545" extrusionOk="0">
                <a:moveTo>
                  <a:pt x="9621" y="9676"/>
                </a:moveTo>
                <a:cubicBezTo>
                  <a:pt x="9621" y="9676"/>
                  <a:pt x="9621" y="9675"/>
                  <a:pt x="9621" y="9675"/>
                </a:cubicBezTo>
                <a:lnTo>
                  <a:pt x="9620" y="9674"/>
                </a:lnTo>
                <a:cubicBezTo>
                  <a:pt x="9620" y="9674"/>
                  <a:pt x="9621" y="9676"/>
                  <a:pt x="9621" y="9676"/>
                </a:cubicBezTo>
                <a:close/>
                <a:moveTo>
                  <a:pt x="19582" y="1266"/>
                </a:moveTo>
                <a:cubicBezTo>
                  <a:pt x="18115" y="-422"/>
                  <a:pt x="15737" y="-422"/>
                  <a:pt x="14270" y="1266"/>
                </a:cubicBezTo>
                <a:lnTo>
                  <a:pt x="14934" y="2030"/>
                </a:lnTo>
                <a:cubicBezTo>
                  <a:pt x="16034" y="765"/>
                  <a:pt x="17818" y="765"/>
                  <a:pt x="18918" y="2030"/>
                </a:cubicBezTo>
                <a:cubicBezTo>
                  <a:pt x="20019" y="3297"/>
                  <a:pt x="20019" y="5351"/>
                  <a:pt x="18918" y="6618"/>
                </a:cubicBezTo>
                <a:lnTo>
                  <a:pt x="8956" y="17881"/>
                </a:lnTo>
                <a:lnTo>
                  <a:pt x="9621" y="18645"/>
                </a:lnTo>
                <a:lnTo>
                  <a:pt x="19582" y="7382"/>
                </a:lnTo>
                <a:cubicBezTo>
                  <a:pt x="21050" y="5693"/>
                  <a:pt x="21050" y="2955"/>
                  <a:pt x="19582" y="1266"/>
                </a:cubicBezTo>
                <a:moveTo>
                  <a:pt x="2315" y="17881"/>
                </a:moveTo>
                <a:cubicBezTo>
                  <a:pt x="481" y="15770"/>
                  <a:pt x="481" y="12551"/>
                  <a:pt x="2315" y="10439"/>
                </a:cubicBezTo>
                <a:cubicBezTo>
                  <a:pt x="2317" y="10437"/>
                  <a:pt x="2320" y="10434"/>
                  <a:pt x="2323" y="10431"/>
                </a:cubicBezTo>
                <a:lnTo>
                  <a:pt x="2323" y="10431"/>
                </a:lnTo>
                <a:lnTo>
                  <a:pt x="9289" y="2413"/>
                </a:lnTo>
                <a:cubicBezTo>
                  <a:pt x="9472" y="2201"/>
                  <a:pt x="9472" y="1859"/>
                  <a:pt x="9289" y="1648"/>
                </a:cubicBezTo>
                <a:cubicBezTo>
                  <a:pt x="9105" y="1437"/>
                  <a:pt x="8808" y="1437"/>
                  <a:pt x="8624" y="1648"/>
                </a:cubicBezTo>
                <a:lnTo>
                  <a:pt x="1651" y="9675"/>
                </a:lnTo>
                <a:cubicBezTo>
                  <a:pt x="-550" y="12208"/>
                  <a:pt x="-550" y="16112"/>
                  <a:pt x="1651" y="18645"/>
                </a:cubicBezTo>
                <a:cubicBezTo>
                  <a:pt x="3852" y="21178"/>
                  <a:pt x="7420" y="21178"/>
                  <a:pt x="9621" y="18645"/>
                </a:cubicBezTo>
                <a:lnTo>
                  <a:pt x="8948" y="17889"/>
                </a:lnTo>
                <a:cubicBezTo>
                  <a:pt x="7114" y="19991"/>
                  <a:pt x="4147" y="19989"/>
                  <a:pt x="2315" y="17881"/>
                </a:cubicBezTo>
                <a:moveTo>
                  <a:pt x="6300" y="13497"/>
                </a:moveTo>
                <a:cubicBezTo>
                  <a:pt x="7033" y="14341"/>
                  <a:pt x="8223" y="14341"/>
                  <a:pt x="8956" y="13497"/>
                </a:cubicBezTo>
                <a:lnTo>
                  <a:pt x="13937" y="7764"/>
                </a:lnTo>
                <a:cubicBezTo>
                  <a:pt x="14121" y="7553"/>
                  <a:pt x="14121" y="7211"/>
                  <a:pt x="13937" y="7000"/>
                </a:cubicBezTo>
                <a:cubicBezTo>
                  <a:pt x="13754" y="6789"/>
                  <a:pt x="13457" y="6789"/>
                  <a:pt x="13273" y="7000"/>
                </a:cubicBezTo>
                <a:lnTo>
                  <a:pt x="8292" y="12732"/>
                </a:lnTo>
                <a:cubicBezTo>
                  <a:pt x="7926" y="13155"/>
                  <a:pt x="7331" y="13155"/>
                  <a:pt x="6964" y="12732"/>
                </a:cubicBezTo>
                <a:cubicBezTo>
                  <a:pt x="6597" y="12310"/>
                  <a:pt x="6597" y="11626"/>
                  <a:pt x="6964" y="11204"/>
                </a:cubicBezTo>
                <a:lnTo>
                  <a:pt x="8292" y="9675"/>
                </a:lnTo>
                <a:lnTo>
                  <a:pt x="14934" y="2030"/>
                </a:lnTo>
                <a:lnTo>
                  <a:pt x="14270" y="1266"/>
                </a:lnTo>
                <a:lnTo>
                  <a:pt x="6300" y="10439"/>
                </a:lnTo>
                <a:cubicBezTo>
                  <a:pt x="5566" y="11284"/>
                  <a:pt x="5566" y="12653"/>
                  <a:pt x="6300" y="13497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83" name="Shape 2783"/>
          <p:cNvSpPr/>
          <p:nvPr/>
        </p:nvSpPr>
        <p:spPr>
          <a:xfrm>
            <a:off x="8905168" y="5724779"/>
            <a:ext cx="279328" cy="2412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855"/>
                </a:moveTo>
                <a:lnTo>
                  <a:pt x="1633" y="10800"/>
                </a:lnTo>
                <a:lnTo>
                  <a:pt x="4615" y="9156"/>
                </a:lnTo>
                <a:lnTo>
                  <a:pt x="10589" y="12450"/>
                </a:lnTo>
                <a:lnTo>
                  <a:pt x="10591" y="12446"/>
                </a:lnTo>
                <a:cubicBezTo>
                  <a:pt x="10654" y="12482"/>
                  <a:pt x="10724" y="12505"/>
                  <a:pt x="10800" y="12505"/>
                </a:cubicBezTo>
                <a:cubicBezTo>
                  <a:pt x="10876" y="12505"/>
                  <a:pt x="10946" y="12482"/>
                  <a:pt x="11009" y="12446"/>
                </a:cubicBezTo>
                <a:lnTo>
                  <a:pt x="11011" y="12450"/>
                </a:lnTo>
                <a:lnTo>
                  <a:pt x="16985" y="9156"/>
                </a:lnTo>
                <a:lnTo>
                  <a:pt x="19967" y="10800"/>
                </a:lnTo>
                <a:cubicBezTo>
                  <a:pt x="19967" y="10800"/>
                  <a:pt x="10800" y="15855"/>
                  <a:pt x="10800" y="15855"/>
                </a:cubicBezTo>
                <a:close/>
                <a:moveTo>
                  <a:pt x="19967" y="15347"/>
                </a:moveTo>
                <a:lnTo>
                  <a:pt x="10800" y="20402"/>
                </a:lnTo>
                <a:lnTo>
                  <a:pt x="1633" y="15347"/>
                </a:lnTo>
                <a:lnTo>
                  <a:pt x="4615" y="13703"/>
                </a:lnTo>
                <a:lnTo>
                  <a:pt x="10589" y="16997"/>
                </a:lnTo>
                <a:lnTo>
                  <a:pt x="10591" y="16994"/>
                </a:lnTo>
                <a:cubicBezTo>
                  <a:pt x="10654" y="17029"/>
                  <a:pt x="10724" y="17053"/>
                  <a:pt x="10800" y="17053"/>
                </a:cubicBezTo>
                <a:cubicBezTo>
                  <a:pt x="10876" y="17053"/>
                  <a:pt x="10946" y="17029"/>
                  <a:pt x="11009" y="16994"/>
                </a:cubicBezTo>
                <a:lnTo>
                  <a:pt x="11011" y="16997"/>
                </a:lnTo>
                <a:lnTo>
                  <a:pt x="16985" y="13703"/>
                </a:lnTo>
                <a:cubicBezTo>
                  <a:pt x="16985" y="13703"/>
                  <a:pt x="19967" y="15347"/>
                  <a:pt x="19967" y="15347"/>
                </a:cubicBezTo>
                <a:close/>
                <a:moveTo>
                  <a:pt x="1633" y="6253"/>
                </a:moveTo>
                <a:lnTo>
                  <a:pt x="10800" y="1198"/>
                </a:lnTo>
                <a:lnTo>
                  <a:pt x="19967" y="6253"/>
                </a:lnTo>
                <a:lnTo>
                  <a:pt x="10800" y="11307"/>
                </a:lnTo>
                <a:cubicBezTo>
                  <a:pt x="10800" y="11307"/>
                  <a:pt x="1633" y="6253"/>
                  <a:pt x="1633" y="6253"/>
                </a:cubicBezTo>
                <a:close/>
                <a:moveTo>
                  <a:pt x="21600" y="10800"/>
                </a:moveTo>
                <a:cubicBezTo>
                  <a:pt x="21600" y="10574"/>
                  <a:pt x="21484" y="10383"/>
                  <a:pt x="21319" y="10290"/>
                </a:cubicBezTo>
                <a:lnTo>
                  <a:pt x="21320" y="10287"/>
                </a:lnTo>
                <a:lnTo>
                  <a:pt x="18127" y="8526"/>
                </a:lnTo>
                <a:lnTo>
                  <a:pt x="21320" y="6766"/>
                </a:lnTo>
                <a:lnTo>
                  <a:pt x="21319" y="6762"/>
                </a:lnTo>
                <a:cubicBezTo>
                  <a:pt x="21484" y="6671"/>
                  <a:pt x="21600" y="6479"/>
                  <a:pt x="21600" y="6253"/>
                </a:cubicBezTo>
                <a:cubicBezTo>
                  <a:pt x="21600" y="6027"/>
                  <a:pt x="21484" y="5835"/>
                  <a:pt x="21319" y="5743"/>
                </a:cubicBezTo>
                <a:lnTo>
                  <a:pt x="21320" y="5740"/>
                </a:lnTo>
                <a:lnTo>
                  <a:pt x="11011" y="56"/>
                </a:lnTo>
                <a:lnTo>
                  <a:pt x="11009" y="59"/>
                </a:lnTo>
                <a:cubicBezTo>
                  <a:pt x="10946" y="23"/>
                  <a:pt x="10876" y="0"/>
                  <a:pt x="10800" y="0"/>
                </a:cubicBezTo>
                <a:cubicBezTo>
                  <a:pt x="10724" y="0"/>
                  <a:pt x="10654" y="23"/>
                  <a:pt x="10591" y="59"/>
                </a:cubicBezTo>
                <a:lnTo>
                  <a:pt x="10589" y="56"/>
                </a:lnTo>
                <a:lnTo>
                  <a:pt x="280" y="5740"/>
                </a:lnTo>
                <a:lnTo>
                  <a:pt x="281" y="5743"/>
                </a:lnTo>
                <a:cubicBezTo>
                  <a:pt x="116" y="5835"/>
                  <a:pt x="0" y="6027"/>
                  <a:pt x="0" y="6253"/>
                </a:cubicBezTo>
                <a:cubicBezTo>
                  <a:pt x="0" y="6479"/>
                  <a:pt x="116" y="6671"/>
                  <a:pt x="281" y="6762"/>
                </a:cubicBezTo>
                <a:lnTo>
                  <a:pt x="280" y="6766"/>
                </a:lnTo>
                <a:lnTo>
                  <a:pt x="3473" y="8526"/>
                </a:lnTo>
                <a:lnTo>
                  <a:pt x="280" y="10287"/>
                </a:lnTo>
                <a:lnTo>
                  <a:pt x="281" y="10290"/>
                </a:lnTo>
                <a:cubicBezTo>
                  <a:pt x="116" y="10383"/>
                  <a:pt x="0" y="10574"/>
                  <a:pt x="0" y="10800"/>
                </a:cubicBezTo>
                <a:cubicBezTo>
                  <a:pt x="0" y="11026"/>
                  <a:pt x="116" y="11218"/>
                  <a:pt x="281" y="11310"/>
                </a:cubicBezTo>
                <a:lnTo>
                  <a:pt x="280" y="11313"/>
                </a:lnTo>
                <a:lnTo>
                  <a:pt x="3473" y="13074"/>
                </a:lnTo>
                <a:lnTo>
                  <a:pt x="280" y="14834"/>
                </a:lnTo>
                <a:lnTo>
                  <a:pt x="281" y="14838"/>
                </a:lnTo>
                <a:cubicBezTo>
                  <a:pt x="116" y="14930"/>
                  <a:pt x="0" y="15121"/>
                  <a:pt x="0" y="15347"/>
                </a:cubicBezTo>
                <a:cubicBezTo>
                  <a:pt x="0" y="15574"/>
                  <a:pt x="116" y="15765"/>
                  <a:pt x="281" y="15857"/>
                </a:cubicBezTo>
                <a:lnTo>
                  <a:pt x="280" y="15860"/>
                </a:lnTo>
                <a:lnTo>
                  <a:pt x="10589" y="21544"/>
                </a:lnTo>
                <a:lnTo>
                  <a:pt x="10591" y="21541"/>
                </a:lnTo>
                <a:cubicBezTo>
                  <a:pt x="10654" y="21577"/>
                  <a:pt x="10724" y="21600"/>
                  <a:pt x="10800" y="21600"/>
                </a:cubicBezTo>
                <a:cubicBezTo>
                  <a:pt x="10876" y="21600"/>
                  <a:pt x="10946" y="21577"/>
                  <a:pt x="11009" y="21541"/>
                </a:cubicBezTo>
                <a:lnTo>
                  <a:pt x="11011" y="21544"/>
                </a:lnTo>
                <a:lnTo>
                  <a:pt x="21320" y="15860"/>
                </a:lnTo>
                <a:lnTo>
                  <a:pt x="21319" y="15857"/>
                </a:lnTo>
                <a:cubicBezTo>
                  <a:pt x="21484" y="15765"/>
                  <a:pt x="21600" y="15574"/>
                  <a:pt x="21600" y="15347"/>
                </a:cubicBezTo>
                <a:cubicBezTo>
                  <a:pt x="21600" y="15121"/>
                  <a:pt x="21484" y="14930"/>
                  <a:pt x="21319" y="14838"/>
                </a:cubicBezTo>
                <a:lnTo>
                  <a:pt x="21320" y="14834"/>
                </a:lnTo>
                <a:lnTo>
                  <a:pt x="18127" y="13074"/>
                </a:lnTo>
                <a:lnTo>
                  <a:pt x="21320" y="11313"/>
                </a:lnTo>
                <a:lnTo>
                  <a:pt x="21319" y="11310"/>
                </a:lnTo>
                <a:cubicBezTo>
                  <a:pt x="21484" y="11218"/>
                  <a:pt x="21600" y="11026"/>
                  <a:pt x="21600" y="1080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84" name="Shape 2784"/>
          <p:cNvSpPr/>
          <p:nvPr/>
        </p:nvSpPr>
        <p:spPr>
          <a:xfrm>
            <a:off x="9438429" y="570573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353" y="11229"/>
                </a:moveTo>
                <a:lnTo>
                  <a:pt x="20356" y="11234"/>
                </a:lnTo>
                <a:lnTo>
                  <a:pt x="11029" y="16143"/>
                </a:lnTo>
                <a:lnTo>
                  <a:pt x="11026" y="16138"/>
                </a:lnTo>
                <a:cubicBezTo>
                  <a:pt x="10957" y="16174"/>
                  <a:pt x="10883" y="16200"/>
                  <a:pt x="10800" y="16200"/>
                </a:cubicBezTo>
                <a:cubicBezTo>
                  <a:pt x="10717" y="16200"/>
                  <a:pt x="10643" y="16174"/>
                  <a:pt x="10574" y="16138"/>
                </a:cubicBezTo>
                <a:lnTo>
                  <a:pt x="10571" y="16143"/>
                </a:lnTo>
                <a:lnTo>
                  <a:pt x="1244" y="11234"/>
                </a:lnTo>
                <a:lnTo>
                  <a:pt x="1247" y="11229"/>
                </a:lnTo>
                <a:cubicBezTo>
                  <a:pt x="1091" y="11147"/>
                  <a:pt x="982" y="10988"/>
                  <a:pt x="982" y="10800"/>
                </a:cubicBezTo>
                <a:cubicBezTo>
                  <a:pt x="982" y="10612"/>
                  <a:pt x="1091" y="10453"/>
                  <a:pt x="1247" y="10371"/>
                </a:cubicBezTo>
                <a:lnTo>
                  <a:pt x="1244" y="10366"/>
                </a:lnTo>
                <a:lnTo>
                  <a:pt x="3562" y="9146"/>
                </a:lnTo>
                <a:lnTo>
                  <a:pt x="10113" y="12594"/>
                </a:lnTo>
                <a:lnTo>
                  <a:pt x="10117" y="12588"/>
                </a:lnTo>
                <a:cubicBezTo>
                  <a:pt x="10322" y="12697"/>
                  <a:pt x="10552" y="12764"/>
                  <a:pt x="10800" y="12764"/>
                </a:cubicBezTo>
                <a:cubicBezTo>
                  <a:pt x="11048" y="12764"/>
                  <a:pt x="11278" y="12697"/>
                  <a:pt x="11483" y="12588"/>
                </a:cubicBezTo>
                <a:lnTo>
                  <a:pt x="11486" y="12594"/>
                </a:lnTo>
                <a:lnTo>
                  <a:pt x="18038" y="9146"/>
                </a:lnTo>
                <a:lnTo>
                  <a:pt x="20356" y="10366"/>
                </a:lnTo>
                <a:lnTo>
                  <a:pt x="20353" y="10371"/>
                </a:lnTo>
                <a:cubicBezTo>
                  <a:pt x="20509" y="10453"/>
                  <a:pt x="20618" y="10612"/>
                  <a:pt x="20618" y="10800"/>
                </a:cubicBezTo>
                <a:cubicBezTo>
                  <a:pt x="20618" y="10988"/>
                  <a:pt x="20509" y="11147"/>
                  <a:pt x="20353" y="11229"/>
                </a:cubicBezTo>
                <a:moveTo>
                  <a:pt x="20356" y="14784"/>
                </a:moveTo>
                <a:lnTo>
                  <a:pt x="20353" y="14790"/>
                </a:lnTo>
                <a:cubicBezTo>
                  <a:pt x="20509" y="14872"/>
                  <a:pt x="20618" y="15030"/>
                  <a:pt x="20618" y="15218"/>
                </a:cubicBezTo>
                <a:cubicBezTo>
                  <a:pt x="20618" y="15407"/>
                  <a:pt x="20509" y="15565"/>
                  <a:pt x="20353" y="15647"/>
                </a:cubicBezTo>
                <a:lnTo>
                  <a:pt x="20356" y="15653"/>
                </a:lnTo>
                <a:lnTo>
                  <a:pt x="11029" y="20562"/>
                </a:lnTo>
                <a:lnTo>
                  <a:pt x="11026" y="20556"/>
                </a:lnTo>
                <a:cubicBezTo>
                  <a:pt x="10957" y="20592"/>
                  <a:pt x="10883" y="20618"/>
                  <a:pt x="10800" y="20618"/>
                </a:cubicBezTo>
                <a:cubicBezTo>
                  <a:pt x="10717" y="20618"/>
                  <a:pt x="10643" y="20592"/>
                  <a:pt x="10574" y="20556"/>
                </a:cubicBezTo>
                <a:lnTo>
                  <a:pt x="10571" y="20562"/>
                </a:lnTo>
                <a:lnTo>
                  <a:pt x="1244" y="15653"/>
                </a:lnTo>
                <a:lnTo>
                  <a:pt x="1247" y="15647"/>
                </a:lnTo>
                <a:cubicBezTo>
                  <a:pt x="1091" y="15565"/>
                  <a:pt x="982" y="15407"/>
                  <a:pt x="982" y="15218"/>
                </a:cubicBezTo>
                <a:cubicBezTo>
                  <a:pt x="982" y="15030"/>
                  <a:pt x="1091" y="14872"/>
                  <a:pt x="1247" y="14790"/>
                </a:cubicBezTo>
                <a:lnTo>
                  <a:pt x="1244" y="14784"/>
                </a:lnTo>
                <a:lnTo>
                  <a:pt x="3562" y="13564"/>
                </a:lnTo>
                <a:lnTo>
                  <a:pt x="10113" y="17012"/>
                </a:lnTo>
                <a:lnTo>
                  <a:pt x="10117" y="17006"/>
                </a:lnTo>
                <a:cubicBezTo>
                  <a:pt x="10322" y="17115"/>
                  <a:pt x="10552" y="17182"/>
                  <a:pt x="10800" y="17182"/>
                </a:cubicBezTo>
                <a:cubicBezTo>
                  <a:pt x="11048" y="17182"/>
                  <a:pt x="11278" y="17115"/>
                  <a:pt x="11483" y="17006"/>
                </a:cubicBezTo>
                <a:lnTo>
                  <a:pt x="11486" y="17012"/>
                </a:lnTo>
                <a:lnTo>
                  <a:pt x="18038" y="13564"/>
                </a:lnTo>
                <a:cubicBezTo>
                  <a:pt x="18038" y="13564"/>
                  <a:pt x="20356" y="14784"/>
                  <a:pt x="20356" y="14784"/>
                </a:cubicBezTo>
                <a:close/>
                <a:moveTo>
                  <a:pt x="1244" y="6816"/>
                </a:moveTo>
                <a:lnTo>
                  <a:pt x="1247" y="6811"/>
                </a:lnTo>
                <a:cubicBezTo>
                  <a:pt x="1091" y="6728"/>
                  <a:pt x="982" y="6570"/>
                  <a:pt x="982" y="6382"/>
                </a:cubicBezTo>
                <a:cubicBezTo>
                  <a:pt x="982" y="6194"/>
                  <a:pt x="1091" y="6035"/>
                  <a:pt x="1247" y="5953"/>
                </a:cubicBezTo>
                <a:lnTo>
                  <a:pt x="1244" y="5947"/>
                </a:lnTo>
                <a:lnTo>
                  <a:pt x="10571" y="1038"/>
                </a:lnTo>
                <a:lnTo>
                  <a:pt x="10574" y="1044"/>
                </a:lnTo>
                <a:cubicBezTo>
                  <a:pt x="10643" y="1008"/>
                  <a:pt x="10717" y="982"/>
                  <a:pt x="10800" y="982"/>
                </a:cubicBezTo>
                <a:cubicBezTo>
                  <a:pt x="10883" y="982"/>
                  <a:pt x="10957" y="1008"/>
                  <a:pt x="11026" y="1044"/>
                </a:cubicBezTo>
                <a:lnTo>
                  <a:pt x="11029" y="1038"/>
                </a:lnTo>
                <a:lnTo>
                  <a:pt x="20356" y="5947"/>
                </a:lnTo>
                <a:lnTo>
                  <a:pt x="20353" y="5953"/>
                </a:lnTo>
                <a:cubicBezTo>
                  <a:pt x="20509" y="6035"/>
                  <a:pt x="20618" y="6194"/>
                  <a:pt x="20618" y="6382"/>
                </a:cubicBezTo>
                <a:cubicBezTo>
                  <a:pt x="20618" y="6570"/>
                  <a:pt x="20509" y="6728"/>
                  <a:pt x="20353" y="6811"/>
                </a:cubicBezTo>
                <a:lnTo>
                  <a:pt x="20356" y="6816"/>
                </a:lnTo>
                <a:lnTo>
                  <a:pt x="11029" y="11725"/>
                </a:lnTo>
                <a:lnTo>
                  <a:pt x="11026" y="11720"/>
                </a:lnTo>
                <a:cubicBezTo>
                  <a:pt x="10957" y="11756"/>
                  <a:pt x="10883" y="11782"/>
                  <a:pt x="10800" y="11782"/>
                </a:cubicBezTo>
                <a:cubicBezTo>
                  <a:pt x="10717" y="11782"/>
                  <a:pt x="10643" y="11756"/>
                  <a:pt x="10574" y="11720"/>
                </a:cubicBezTo>
                <a:lnTo>
                  <a:pt x="10571" y="11725"/>
                </a:lnTo>
                <a:cubicBezTo>
                  <a:pt x="10571" y="11725"/>
                  <a:pt x="1244" y="6816"/>
                  <a:pt x="1244" y="6816"/>
                </a:cubicBezTo>
                <a:close/>
                <a:moveTo>
                  <a:pt x="21600" y="10800"/>
                </a:moveTo>
                <a:cubicBezTo>
                  <a:pt x="21600" y="10234"/>
                  <a:pt x="21278" y="9749"/>
                  <a:pt x="20810" y="9503"/>
                </a:cubicBezTo>
                <a:lnTo>
                  <a:pt x="20813" y="9497"/>
                </a:lnTo>
                <a:lnTo>
                  <a:pt x="19092" y="8591"/>
                </a:lnTo>
                <a:lnTo>
                  <a:pt x="20813" y="7685"/>
                </a:lnTo>
                <a:lnTo>
                  <a:pt x="20810" y="7679"/>
                </a:lnTo>
                <a:cubicBezTo>
                  <a:pt x="21278" y="7433"/>
                  <a:pt x="21600" y="6948"/>
                  <a:pt x="21600" y="6382"/>
                </a:cubicBezTo>
                <a:cubicBezTo>
                  <a:pt x="21600" y="5816"/>
                  <a:pt x="21278" y="5331"/>
                  <a:pt x="20810" y="5085"/>
                </a:cubicBezTo>
                <a:lnTo>
                  <a:pt x="20813" y="5079"/>
                </a:lnTo>
                <a:lnTo>
                  <a:pt x="11486" y="170"/>
                </a:lnTo>
                <a:lnTo>
                  <a:pt x="11483" y="175"/>
                </a:lnTo>
                <a:cubicBezTo>
                  <a:pt x="11278" y="67"/>
                  <a:pt x="11048" y="0"/>
                  <a:pt x="10800" y="0"/>
                </a:cubicBezTo>
                <a:cubicBezTo>
                  <a:pt x="10552" y="0"/>
                  <a:pt x="10322" y="67"/>
                  <a:pt x="10117" y="175"/>
                </a:cubicBezTo>
                <a:lnTo>
                  <a:pt x="10113" y="170"/>
                </a:lnTo>
                <a:lnTo>
                  <a:pt x="786" y="5079"/>
                </a:lnTo>
                <a:lnTo>
                  <a:pt x="790" y="5085"/>
                </a:lnTo>
                <a:cubicBezTo>
                  <a:pt x="322" y="5331"/>
                  <a:pt x="0" y="5816"/>
                  <a:pt x="0" y="6382"/>
                </a:cubicBezTo>
                <a:cubicBezTo>
                  <a:pt x="0" y="6948"/>
                  <a:pt x="322" y="7433"/>
                  <a:pt x="790" y="7679"/>
                </a:cubicBezTo>
                <a:lnTo>
                  <a:pt x="786" y="7685"/>
                </a:lnTo>
                <a:lnTo>
                  <a:pt x="2508" y="8591"/>
                </a:lnTo>
                <a:lnTo>
                  <a:pt x="786" y="9497"/>
                </a:lnTo>
                <a:lnTo>
                  <a:pt x="790" y="9503"/>
                </a:lnTo>
                <a:cubicBezTo>
                  <a:pt x="322" y="9749"/>
                  <a:pt x="0" y="10234"/>
                  <a:pt x="0" y="10800"/>
                </a:cubicBezTo>
                <a:cubicBezTo>
                  <a:pt x="0" y="11366"/>
                  <a:pt x="322" y="11851"/>
                  <a:pt x="790" y="12097"/>
                </a:cubicBezTo>
                <a:lnTo>
                  <a:pt x="786" y="12103"/>
                </a:lnTo>
                <a:lnTo>
                  <a:pt x="2508" y="13009"/>
                </a:lnTo>
                <a:lnTo>
                  <a:pt x="786" y="13915"/>
                </a:lnTo>
                <a:lnTo>
                  <a:pt x="790" y="13921"/>
                </a:lnTo>
                <a:cubicBezTo>
                  <a:pt x="322" y="14167"/>
                  <a:pt x="0" y="14652"/>
                  <a:pt x="0" y="15218"/>
                </a:cubicBezTo>
                <a:cubicBezTo>
                  <a:pt x="0" y="15784"/>
                  <a:pt x="322" y="16269"/>
                  <a:pt x="790" y="16515"/>
                </a:cubicBezTo>
                <a:lnTo>
                  <a:pt x="786" y="16521"/>
                </a:lnTo>
                <a:lnTo>
                  <a:pt x="10113" y="21430"/>
                </a:lnTo>
                <a:lnTo>
                  <a:pt x="10117" y="21425"/>
                </a:lnTo>
                <a:cubicBezTo>
                  <a:pt x="10322" y="21533"/>
                  <a:pt x="10552" y="21600"/>
                  <a:pt x="10800" y="21600"/>
                </a:cubicBezTo>
                <a:cubicBezTo>
                  <a:pt x="11048" y="21600"/>
                  <a:pt x="11278" y="21533"/>
                  <a:pt x="11483" y="21425"/>
                </a:cubicBezTo>
                <a:lnTo>
                  <a:pt x="11486" y="21430"/>
                </a:lnTo>
                <a:lnTo>
                  <a:pt x="20813" y="16521"/>
                </a:lnTo>
                <a:lnTo>
                  <a:pt x="20810" y="16515"/>
                </a:lnTo>
                <a:cubicBezTo>
                  <a:pt x="21278" y="16269"/>
                  <a:pt x="21600" y="15784"/>
                  <a:pt x="21600" y="15218"/>
                </a:cubicBezTo>
                <a:cubicBezTo>
                  <a:pt x="21600" y="14652"/>
                  <a:pt x="21278" y="14167"/>
                  <a:pt x="20810" y="13921"/>
                </a:cubicBezTo>
                <a:lnTo>
                  <a:pt x="20813" y="13915"/>
                </a:lnTo>
                <a:lnTo>
                  <a:pt x="19092" y="13009"/>
                </a:lnTo>
                <a:lnTo>
                  <a:pt x="20813" y="12103"/>
                </a:lnTo>
                <a:lnTo>
                  <a:pt x="20810" y="12097"/>
                </a:lnTo>
                <a:cubicBezTo>
                  <a:pt x="21278" y="11851"/>
                  <a:pt x="21600" y="11366"/>
                  <a:pt x="21600" y="1080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85" name="Shape 2785"/>
          <p:cNvSpPr/>
          <p:nvPr/>
        </p:nvSpPr>
        <p:spPr>
          <a:xfrm>
            <a:off x="9971691" y="5731127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400"/>
                </a:moveTo>
                <a:cubicBezTo>
                  <a:pt x="14522" y="20400"/>
                  <a:pt x="12764" y="18251"/>
                  <a:pt x="12764" y="15600"/>
                </a:cubicBezTo>
                <a:cubicBezTo>
                  <a:pt x="12764" y="12949"/>
                  <a:pt x="14522" y="10800"/>
                  <a:pt x="16691" y="10800"/>
                </a:cubicBezTo>
                <a:cubicBezTo>
                  <a:pt x="18860" y="10800"/>
                  <a:pt x="20618" y="12949"/>
                  <a:pt x="20618" y="15600"/>
                </a:cubicBezTo>
                <a:cubicBezTo>
                  <a:pt x="20618" y="18251"/>
                  <a:pt x="18860" y="20400"/>
                  <a:pt x="16691" y="20400"/>
                </a:cubicBezTo>
                <a:moveTo>
                  <a:pt x="12762" y="3393"/>
                </a:moveTo>
                <a:lnTo>
                  <a:pt x="12781" y="3388"/>
                </a:lnTo>
                <a:cubicBezTo>
                  <a:pt x="12870" y="2164"/>
                  <a:pt x="13702" y="1200"/>
                  <a:pt x="14727" y="1200"/>
                </a:cubicBezTo>
                <a:cubicBezTo>
                  <a:pt x="15521" y="1200"/>
                  <a:pt x="16202" y="1779"/>
                  <a:pt x="16511" y="2609"/>
                </a:cubicBezTo>
                <a:lnTo>
                  <a:pt x="16509" y="2609"/>
                </a:lnTo>
                <a:lnTo>
                  <a:pt x="19162" y="10421"/>
                </a:lnTo>
                <a:cubicBezTo>
                  <a:pt x="18436" y="9902"/>
                  <a:pt x="17593" y="9600"/>
                  <a:pt x="16691" y="9600"/>
                </a:cubicBezTo>
                <a:cubicBezTo>
                  <a:pt x="15082" y="9600"/>
                  <a:pt x="13658" y="10550"/>
                  <a:pt x="12763" y="12012"/>
                </a:cubicBezTo>
                <a:cubicBezTo>
                  <a:pt x="12763" y="12012"/>
                  <a:pt x="12762" y="3393"/>
                  <a:pt x="12762" y="3393"/>
                </a:cubicBezTo>
                <a:close/>
                <a:moveTo>
                  <a:pt x="11782" y="13200"/>
                </a:moveTo>
                <a:lnTo>
                  <a:pt x="9818" y="13200"/>
                </a:lnTo>
                <a:lnTo>
                  <a:pt x="9818" y="4800"/>
                </a:lnTo>
                <a:lnTo>
                  <a:pt x="11782" y="4800"/>
                </a:lnTo>
                <a:cubicBezTo>
                  <a:pt x="11782" y="4800"/>
                  <a:pt x="11782" y="13200"/>
                  <a:pt x="11782" y="13200"/>
                </a:cubicBezTo>
                <a:close/>
                <a:moveTo>
                  <a:pt x="11782" y="15600"/>
                </a:moveTo>
                <a:lnTo>
                  <a:pt x="9818" y="156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15600"/>
                  <a:pt x="11782" y="15600"/>
                </a:cubicBezTo>
                <a:close/>
                <a:moveTo>
                  <a:pt x="8837" y="12012"/>
                </a:moveTo>
                <a:cubicBezTo>
                  <a:pt x="7942" y="10550"/>
                  <a:pt x="6518" y="9600"/>
                  <a:pt x="4909" y="9600"/>
                </a:cubicBezTo>
                <a:cubicBezTo>
                  <a:pt x="4007" y="9600"/>
                  <a:pt x="3164" y="9902"/>
                  <a:pt x="2438" y="10421"/>
                </a:cubicBezTo>
                <a:lnTo>
                  <a:pt x="5091" y="2609"/>
                </a:lnTo>
                <a:lnTo>
                  <a:pt x="5089" y="2609"/>
                </a:lnTo>
                <a:cubicBezTo>
                  <a:pt x="5398" y="1779"/>
                  <a:pt x="6079" y="1200"/>
                  <a:pt x="6873" y="1200"/>
                </a:cubicBezTo>
                <a:cubicBezTo>
                  <a:pt x="7898" y="1200"/>
                  <a:pt x="8730" y="2164"/>
                  <a:pt x="8819" y="3388"/>
                </a:cubicBezTo>
                <a:lnTo>
                  <a:pt x="8838" y="3393"/>
                </a:lnTo>
                <a:cubicBezTo>
                  <a:pt x="8838" y="3393"/>
                  <a:pt x="8837" y="12012"/>
                  <a:pt x="8837" y="12012"/>
                </a:cubicBezTo>
                <a:close/>
                <a:moveTo>
                  <a:pt x="4909" y="20400"/>
                </a:moveTo>
                <a:cubicBezTo>
                  <a:pt x="2740" y="20400"/>
                  <a:pt x="982" y="18251"/>
                  <a:pt x="982" y="15600"/>
                </a:cubicBezTo>
                <a:cubicBezTo>
                  <a:pt x="982" y="12949"/>
                  <a:pt x="2740" y="10800"/>
                  <a:pt x="4909" y="10800"/>
                </a:cubicBezTo>
                <a:cubicBezTo>
                  <a:pt x="7078" y="10800"/>
                  <a:pt x="8836" y="12949"/>
                  <a:pt x="8836" y="15600"/>
                </a:cubicBezTo>
                <a:cubicBezTo>
                  <a:pt x="8836" y="18251"/>
                  <a:pt x="7078" y="20400"/>
                  <a:pt x="4909" y="20400"/>
                </a:cubicBezTo>
                <a:moveTo>
                  <a:pt x="21102" y="12980"/>
                </a:moveTo>
                <a:lnTo>
                  <a:pt x="17504" y="2400"/>
                </a:lnTo>
                <a:lnTo>
                  <a:pt x="17493" y="2402"/>
                </a:lnTo>
                <a:cubicBezTo>
                  <a:pt x="17088" y="1006"/>
                  <a:pt x="16009" y="0"/>
                  <a:pt x="14727" y="0"/>
                </a:cubicBezTo>
                <a:cubicBezTo>
                  <a:pt x="13101" y="0"/>
                  <a:pt x="11782" y="1612"/>
                  <a:pt x="11782" y="3600"/>
                </a:cubicBezTo>
                <a:lnTo>
                  <a:pt x="9818" y="3600"/>
                </a:lnTo>
                <a:cubicBezTo>
                  <a:pt x="9818" y="1612"/>
                  <a:pt x="8499" y="0"/>
                  <a:pt x="6873" y="0"/>
                </a:cubicBezTo>
                <a:cubicBezTo>
                  <a:pt x="5592" y="0"/>
                  <a:pt x="4512" y="1006"/>
                  <a:pt x="4107" y="2402"/>
                </a:cubicBezTo>
                <a:lnTo>
                  <a:pt x="4096" y="2400"/>
                </a:lnTo>
                <a:lnTo>
                  <a:pt x="498" y="12980"/>
                </a:lnTo>
                <a:cubicBezTo>
                  <a:pt x="182" y="13772"/>
                  <a:pt x="0" y="14659"/>
                  <a:pt x="0" y="15600"/>
                </a:cubicBezTo>
                <a:cubicBezTo>
                  <a:pt x="0" y="18914"/>
                  <a:pt x="2198" y="21600"/>
                  <a:pt x="4909" y="21600"/>
                </a:cubicBezTo>
                <a:cubicBezTo>
                  <a:pt x="7284" y="21600"/>
                  <a:pt x="9265" y="19539"/>
                  <a:pt x="9719" y="16800"/>
                </a:cubicBezTo>
                <a:lnTo>
                  <a:pt x="11881" y="16800"/>
                </a:lnTo>
                <a:cubicBezTo>
                  <a:pt x="12335" y="19539"/>
                  <a:pt x="14316" y="21600"/>
                  <a:pt x="16691" y="21600"/>
                </a:cubicBezTo>
                <a:cubicBezTo>
                  <a:pt x="19402" y="21600"/>
                  <a:pt x="21600" y="18914"/>
                  <a:pt x="21600" y="15600"/>
                </a:cubicBezTo>
                <a:cubicBezTo>
                  <a:pt x="21600" y="14659"/>
                  <a:pt x="21418" y="13772"/>
                  <a:pt x="21102" y="12980"/>
                </a:cubicBezTo>
                <a:moveTo>
                  <a:pt x="16691" y="12000"/>
                </a:moveTo>
                <a:cubicBezTo>
                  <a:pt x="15064" y="12000"/>
                  <a:pt x="13745" y="13612"/>
                  <a:pt x="13745" y="15600"/>
                </a:cubicBezTo>
                <a:cubicBezTo>
                  <a:pt x="13745" y="15932"/>
                  <a:pt x="13965" y="16200"/>
                  <a:pt x="14236" y="16200"/>
                </a:cubicBezTo>
                <a:cubicBezTo>
                  <a:pt x="14508" y="16200"/>
                  <a:pt x="14727" y="15932"/>
                  <a:pt x="14727" y="15600"/>
                </a:cubicBezTo>
                <a:cubicBezTo>
                  <a:pt x="14727" y="14275"/>
                  <a:pt x="15606" y="13200"/>
                  <a:pt x="16691" y="13200"/>
                </a:cubicBezTo>
                <a:cubicBezTo>
                  <a:pt x="16962" y="13200"/>
                  <a:pt x="17182" y="12932"/>
                  <a:pt x="17182" y="12600"/>
                </a:cubicBezTo>
                <a:cubicBezTo>
                  <a:pt x="17182" y="12268"/>
                  <a:pt x="16962" y="12000"/>
                  <a:pt x="16691" y="12000"/>
                </a:cubicBezTo>
                <a:moveTo>
                  <a:pt x="4909" y="12000"/>
                </a:moveTo>
                <a:cubicBezTo>
                  <a:pt x="3282" y="12000"/>
                  <a:pt x="1964" y="13612"/>
                  <a:pt x="1964" y="15600"/>
                </a:cubicBezTo>
                <a:cubicBezTo>
                  <a:pt x="1964" y="15932"/>
                  <a:pt x="2183" y="16200"/>
                  <a:pt x="2455" y="16200"/>
                </a:cubicBezTo>
                <a:cubicBezTo>
                  <a:pt x="2726" y="16200"/>
                  <a:pt x="2945" y="15932"/>
                  <a:pt x="2945" y="15600"/>
                </a:cubicBezTo>
                <a:cubicBezTo>
                  <a:pt x="2945" y="14275"/>
                  <a:pt x="3825" y="13200"/>
                  <a:pt x="4909" y="13200"/>
                </a:cubicBezTo>
                <a:cubicBezTo>
                  <a:pt x="5180" y="13200"/>
                  <a:pt x="5400" y="12932"/>
                  <a:pt x="5400" y="12600"/>
                </a:cubicBezTo>
                <a:cubicBezTo>
                  <a:pt x="5400" y="12268"/>
                  <a:pt x="5180" y="12000"/>
                  <a:pt x="4909" y="1200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86" name="Shape 2786"/>
          <p:cNvSpPr/>
          <p:nvPr/>
        </p:nvSpPr>
        <p:spPr>
          <a:xfrm>
            <a:off x="10504951" y="5718430"/>
            <a:ext cx="279127" cy="2539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79" h="20458" extrusionOk="0">
                <a:moveTo>
                  <a:pt x="8629" y="9718"/>
                </a:moveTo>
                <a:cubicBezTo>
                  <a:pt x="8364" y="9718"/>
                  <a:pt x="8150" y="9946"/>
                  <a:pt x="8150" y="10229"/>
                </a:cubicBezTo>
                <a:cubicBezTo>
                  <a:pt x="8150" y="10512"/>
                  <a:pt x="8364" y="10740"/>
                  <a:pt x="8629" y="10740"/>
                </a:cubicBezTo>
                <a:cubicBezTo>
                  <a:pt x="8894" y="10740"/>
                  <a:pt x="9109" y="10512"/>
                  <a:pt x="9109" y="10229"/>
                </a:cubicBezTo>
                <a:cubicBezTo>
                  <a:pt x="9109" y="9946"/>
                  <a:pt x="8894" y="9718"/>
                  <a:pt x="8629" y="9718"/>
                </a:cubicBezTo>
                <a:moveTo>
                  <a:pt x="19841" y="17227"/>
                </a:moveTo>
                <a:cubicBezTo>
                  <a:pt x="18962" y="17974"/>
                  <a:pt x="18122" y="17900"/>
                  <a:pt x="18122" y="17900"/>
                </a:cubicBezTo>
                <a:cubicBezTo>
                  <a:pt x="17681" y="17900"/>
                  <a:pt x="16277" y="16919"/>
                  <a:pt x="9448" y="11852"/>
                </a:cubicBezTo>
                <a:lnTo>
                  <a:pt x="10866" y="10844"/>
                </a:lnTo>
                <a:cubicBezTo>
                  <a:pt x="10866" y="10844"/>
                  <a:pt x="19841" y="17227"/>
                  <a:pt x="19841" y="17227"/>
                </a:cubicBezTo>
                <a:close/>
                <a:moveTo>
                  <a:pt x="6661" y="12605"/>
                </a:moveTo>
                <a:cubicBezTo>
                  <a:pt x="6010" y="12349"/>
                  <a:pt x="5264" y="12239"/>
                  <a:pt x="4521" y="12267"/>
                </a:cubicBezTo>
                <a:cubicBezTo>
                  <a:pt x="15686" y="3965"/>
                  <a:pt x="17591" y="2558"/>
                  <a:pt x="18122" y="2558"/>
                </a:cubicBezTo>
                <a:cubicBezTo>
                  <a:pt x="18122" y="2558"/>
                  <a:pt x="18962" y="2484"/>
                  <a:pt x="19841" y="3231"/>
                </a:cubicBezTo>
                <a:cubicBezTo>
                  <a:pt x="19841" y="3231"/>
                  <a:pt x="6661" y="12605"/>
                  <a:pt x="6661" y="12605"/>
                </a:cubicBezTo>
                <a:close/>
                <a:moveTo>
                  <a:pt x="5586" y="19031"/>
                </a:moveTo>
                <a:cubicBezTo>
                  <a:pt x="4111" y="19863"/>
                  <a:pt x="2224" y="19369"/>
                  <a:pt x="1372" y="17927"/>
                </a:cubicBezTo>
                <a:cubicBezTo>
                  <a:pt x="520" y="16485"/>
                  <a:pt x="1026" y="14640"/>
                  <a:pt x="2501" y="13808"/>
                </a:cubicBezTo>
                <a:cubicBezTo>
                  <a:pt x="3977" y="12975"/>
                  <a:pt x="6532" y="13092"/>
                  <a:pt x="7383" y="14534"/>
                </a:cubicBezTo>
                <a:cubicBezTo>
                  <a:pt x="8235" y="15977"/>
                  <a:pt x="7062" y="18198"/>
                  <a:pt x="5586" y="19031"/>
                </a:cubicBezTo>
                <a:moveTo>
                  <a:pt x="4521" y="8191"/>
                </a:moveTo>
                <a:cubicBezTo>
                  <a:pt x="5264" y="8219"/>
                  <a:pt x="6010" y="8109"/>
                  <a:pt x="6661" y="7853"/>
                </a:cubicBezTo>
                <a:lnTo>
                  <a:pt x="7765" y="8638"/>
                </a:lnTo>
                <a:cubicBezTo>
                  <a:pt x="7345" y="8950"/>
                  <a:pt x="6901" y="9281"/>
                  <a:pt x="6443" y="9621"/>
                </a:cubicBezTo>
                <a:cubicBezTo>
                  <a:pt x="5833" y="9167"/>
                  <a:pt x="5200" y="8696"/>
                  <a:pt x="4521" y="8191"/>
                </a:cubicBezTo>
                <a:moveTo>
                  <a:pt x="2501" y="6650"/>
                </a:moveTo>
                <a:cubicBezTo>
                  <a:pt x="1026" y="5818"/>
                  <a:pt x="520" y="3973"/>
                  <a:pt x="1372" y="2531"/>
                </a:cubicBezTo>
                <a:cubicBezTo>
                  <a:pt x="2224" y="1089"/>
                  <a:pt x="4111" y="595"/>
                  <a:pt x="5586" y="1427"/>
                </a:cubicBezTo>
                <a:cubicBezTo>
                  <a:pt x="7062" y="2260"/>
                  <a:pt x="8235" y="4481"/>
                  <a:pt x="7383" y="5924"/>
                </a:cubicBezTo>
                <a:cubicBezTo>
                  <a:pt x="6532" y="7366"/>
                  <a:pt x="3977" y="7483"/>
                  <a:pt x="2501" y="6650"/>
                </a:cubicBezTo>
                <a:moveTo>
                  <a:pt x="21079" y="3580"/>
                </a:moveTo>
                <a:cubicBezTo>
                  <a:pt x="21079" y="2451"/>
                  <a:pt x="19262" y="1535"/>
                  <a:pt x="18203" y="1535"/>
                </a:cubicBezTo>
                <a:lnTo>
                  <a:pt x="18122" y="1535"/>
                </a:lnTo>
                <a:cubicBezTo>
                  <a:pt x="17404" y="1535"/>
                  <a:pt x="17139" y="1673"/>
                  <a:pt x="8610" y="8009"/>
                </a:cubicBezTo>
                <a:lnTo>
                  <a:pt x="7613" y="7300"/>
                </a:lnTo>
                <a:cubicBezTo>
                  <a:pt x="7876" y="7084"/>
                  <a:pt x="8104" y="6833"/>
                  <a:pt x="8275" y="6534"/>
                </a:cubicBezTo>
                <a:cubicBezTo>
                  <a:pt x="9372" y="4611"/>
                  <a:pt x="7861" y="1650"/>
                  <a:pt x="5960" y="539"/>
                </a:cubicBezTo>
                <a:cubicBezTo>
                  <a:pt x="4060" y="-571"/>
                  <a:pt x="1629" y="88"/>
                  <a:pt x="532" y="2011"/>
                </a:cubicBezTo>
                <a:cubicBezTo>
                  <a:pt x="-521" y="3857"/>
                  <a:pt x="41" y="6194"/>
                  <a:pt x="1769" y="7361"/>
                </a:cubicBezTo>
                <a:cubicBezTo>
                  <a:pt x="3185" y="8414"/>
                  <a:pt x="4458" y="9360"/>
                  <a:pt x="5626" y="10229"/>
                </a:cubicBezTo>
                <a:cubicBezTo>
                  <a:pt x="4461" y="11096"/>
                  <a:pt x="3178" y="12049"/>
                  <a:pt x="1769" y="13097"/>
                </a:cubicBezTo>
                <a:cubicBezTo>
                  <a:pt x="40" y="14264"/>
                  <a:pt x="-521" y="16601"/>
                  <a:pt x="532" y="18447"/>
                </a:cubicBezTo>
                <a:cubicBezTo>
                  <a:pt x="1629" y="20371"/>
                  <a:pt x="4060" y="21029"/>
                  <a:pt x="5960" y="19919"/>
                </a:cubicBezTo>
                <a:cubicBezTo>
                  <a:pt x="7861" y="18808"/>
                  <a:pt x="9372" y="15847"/>
                  <a:pt x="8275" y="13924"/>
                </a:cubicBezTo>
                <a:cubicBezTo>
                  <a:pt x="8104" y="13625"/>
                  <a:pt x="7876" y="13374"/>
                  <a:pt x="7613" y="13158"/>
                </a:cubicBezTo>
                <a:lnTo>
                  <a:pt x="8610" y="12449"/>
                </a:lnTo>
                <a:cubicBezTo>
                  <a:pt x="17134" y="18781"/>
                  <a:pt x="17404" y="18923"/>
                  <a:pt x="18122" y="18923"/>
                </a:cubicBezTo>
                <a:lnTo>
                  <a:pt x="18203" y="18923"/>
                </a:lnTo>
                <a:cubicBezTo>
                  <a:pt x="19262" y="18923"/>
                  <a:pt x="21079" y="18007"/>
                  <a:pt x="21079" y="16878"/>
                </a:cubicBezTo>
                <a:lnTo>
                  <a:pt x="11731" y="10229"/>
                </a:lnTo>
                <a:cubicBezTo>
                  <a:pt x="11731" y="10229"/>
                  <a:pt x="21079" y="3580"/>
                  <a:pt x="21079" y="3580"/>
                </a:cubicBezTo>
                <a:close/>
                <a:moveTo>
                  <a:pt x="4639" y="16789"/>
                </a:moveTo>
                <a:cubicBezTo>
                  <a:pt x="4496" y="16859"/>
                  <a:pt x="4332" y="16897"/>
                  <a:pt x="4162" y="16897"/>
                </a:cubicBezTo>
                <a:cubicBezTo>
                  <a:pt x="3846" y="16897"/>
                  <a:pt x="3544" y="16764"/>
                  <a:pt x="3411" y="16567"/>
                </a:cubicBezTo>
                <a:cubicBezTo>
                  <a:pt x="3347" y="16471"/>
                  <a:pt x="3351" y="16406"/>
                  <a:pt x="3362" y="16361"/>
                </a:cubicBezTo>
                <a:cubicBezTo>
                  <a:pt x="3392" y="16240"/>
                  <a:pt x="3511" y="16117"/>
                  <a:pt x="3682" y="16034"/>
                </a:cubicBezTo>
                <a:cubicBezTo>
                  <a:pt x="3891" y="15930"/>
                  <a:pt x="4198" y="15869"/>
                  <a:pt x="4503" y="15869"/>
                </a:cubicBezTo>
                <a:cubicBezTo>
                  <a:pt x="4935" y="15869"/>
                  <a:pt x="5194" y="15988"/>
                  <a:pt x="5273" y="16050"/>
                </a:cubicBezTo>
                <a:cubicBezTo>
                  <a:pt x="5252" y="16207"/>
                  <a:pt x="5019" y="16601"/>
                  <a:pt x="4639" y="16789"/>
                </a:cubicBezTo>
                <a:moveTo>
                  <a:pt x="4503" y="14845"/>
                </a:moveTo>
                <a:cubicBezTo>
                  <a:pt x="4065" y="14845"/>
                  <a:pt x="3621" y="14936"/>
                  <a:pt x="3279" y="15105"/>
                </a:cubicBezTo>
                <a:cubicBezTo>
                  <a:pt x="2435" y="15522"/>
                  <a:pt x="2147" y="16443"/>
                  <a:pt x="2633" y="17165"/>
                </a:cubicBezTo>
                <a:cubicBezTo>
                  <a:pt x="2960" y="17649"/>
                  <a:pt x="3553" y="17919"/>
                  <a:pt x="4162" y="17919"/>
                </a:cubicBezTo>
                <a:cubicBezTo>
                  <a:pt x="4461" y="17919"/>
                  <a:pt x="4764" y="17854"/>
                  <a:pt x="5041" y="17717"/>
                </a:cubicBezTo>
                <a:cubicBezTo>
                  <a:pt x="5885" y="17300"/>
                  <a:pt x="6555" y="16190"/>
                  <a:pt x="6069" y="15469"/>
                </a:cubicBezTo>
                <a:cubicBezTo>
                  <a:pt x="5779" y="15040"/>
                  <a:pt x="5146" y="14845"/>
                  <a:pt x="4503" y="14845"/>
                </a:cubicBezTo>
                <a:moveTo>
                  <a:pt x="4503" y="4590"/>
                </a:moveTo>
                <a:cubicBezTo>
                  <a:pt x="4198" y="4590"/>
                  <a:pt x="3891" y="4528"/>
                  <a:pt x="3682" y="4425"/>
                </a:cubicBezTo>
                <a:cubicBezTo>
                  <a:pt x="3511" y="4341"/>
                  <a:pt x="3392" y="4219"/>
                  <a:pt x="3362" y="4098"/>
                </a:cubicBezTo>
                <a:cubicBezTo>
                  <a:pt x="3351" y="4052"/>
                  <a:pt x="3347" y="3987"/>
                  <a:pt x="3411" y="3891"/>
                </a:cubicBezTo>
                <a:cubicBezTo>
                  <a:pt x="3544" y="3694"/>
                  <a:pt x="3846" y="3561"/>
                  <a:pt x="4162" y="3561"/>
                </a:cubicBezTo>
                <a:cubicBezTo>
                  <a:pt x="4332" y="3561"/>
                  <a:pt x="4496" y="3599"/>
                  <a:pt x="4639" y="3669"/>
                </a:cubicBezTo>
                <a:cubicBezTo>
                  <a:pt x="5019" y="3857"/>
                  <a:pt x="5252" y="4252"/>
                  <a:pt x="5273" y="4408"/>
                </a:cubicBezTo>
                <a:cubicBezTo>
                  <a:pt x="5194" y="4470"/>
                  <a:pt x="4935" y="4590"/>
                  <a:pt x="4503" y="4590"/>
                </a:cubicBezTo>
                <a:moveTo>
                  <a:pt x="5041" y="2741"/>
                </a:moveTo>
                <a:cubicBezTo>
                  <a:pt x="4764" y="2604"/>
                  <a:pt x="4461" y="2539"/>
                  <a:pt x="4162" y="2539"/>
                </a:cubicBezTo>
                <a:cubicBezTo>
                  <a:pt x="3553" y="2539"/>
                  <a:pt x="2960" y="2809"/>
                  <a:pt x="2633" y="3294"/>
                </a:cubicBezTo>
                <a:cubicBezTo>
                  <a:pt x="2147" y="4015"/>
                  <a:pt x="2435" y="4937"/>
                  <a:pt x="3279" y="5353"/>
                </a:cubicBezTo>
                <a:cubicBezTo>
                  <a:pt x="3621" y="5522"/>
                  <a:pt x="4065" y="5613"/>
                  <a:pt x="4503" y="5613"/>
                </a:cubicBezTo>
                <a:cubicBezTo>
                  <a:pt x="5146" y="5613"/>
                  <a:pt x="5779" y="5418"/>
                  <a:pt x="6069" y="4990"/>
                </a:cubicBezTo>
                <a:cubicBezTo>
                  <a:pt x="6555" y="4268"/>
                  <a:pt x="5885" y="3158"/>
                  <a:pt x="5041" y="2741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87" name="Shape 2787"/>
          <p:cNvSpPr/>
          <p:nvPr/>
        </p:nvSpPr>
        <p:spPr>
          <a:xfrm>
            <a:off x="11038212" y="5705734"/>
            <a:ext cx="279155" cy="2793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86" h="21600" extrusionOk="0">
                <a:moveTo>
                  <a:pt x="11502" y="10309"/>
                </a:moveTo>
                <a:cubicBezTo>
                  <a:pt x="11767" y="10309"/>
                  <a:pt x="11981" y="10090"/>
                  <a:pt x="11981" y="9818"/>
                </a:cubicBezTo>
                <a:cubicBezTo>
                  <a:pt x="11981" y="9547"/>
                  <a:pt x="11767" y="9327"/>
                  <a:pt x="11502" y="9327"/>
                </a:cubicBezTo>
                <a:cubicBezTo>
                  <a:pt x="11237" y="9327"/>
                  <a:pt x="11022" y="9547"/>
                  <a:pt x="11022" y="9818"/>
                </a:cubicBezTo>
                <a:cubicBezTo>
                  <a:pt x="11022" y="10090"/>
                  <a:pt x="11237" y="10309"/>
                  <a:pt x="11502" y="10309"/>
                </a:cubicBezTo>
                <a:moveTo>
                  <a:pt x="15818" y="4909"/>
                </a:moveTo>
                <a:cubicBezTo>
                  <a:pt x="16083" y="4909"/>
                  <a:pt x="16297" y="5129"/>
                  <a:pt x="16297" y="5400"/>
                </a:cubicBezTo>
                <a:cubicBezTo>
                  <a:pt x="16297" y="5672"/>
                  <a:pt x="16083" y="5891"/>
                  <a:pt x="15818" y="5891"/>
                </a:cubicBezTo>
                <a:cubicBezTo>
                  <a:pt x="15553" y="5891"/>
                  <a:pt x="15338" y="5672"/>
                  <a:pt x="15338" y="5400"/>
                </a:cubicBezTo>
                <a:cubicBezTo>
                  <a:pt x="15338" y="5129"/>
                  <a:pt x="15553" y="4909"/>
                  <a:pt x="15818" y="4909"/>
                </a:cubicBezTo>
                <a:moveTo>
                  <a:pt x="15818" y="6873"/>
                </a:moveTo>
                <a:cubicBezTo>
                  <a:pt x="16612" y="6873"/>
                  <a:pt x="17256" y="6213"/>
                  <a:pt x="17256" y="5400"/>
                </a:cubicBezTo>
                <a:cubicBezTo>
                  <a:pt x="17256" y="4587"/>
                  <a:pt x="16612" y="3928"/>
                  <a:pt x="15818" y="3928"/>
                </a:cubicBezTo>
                <a:cubicBezTo>
                  <a:pt x="15023" y="3928"/>
                  <a:pt x="14379" y="4587"/>
                  <a:pt x="14379" y="5400"/>
                </a:cubicBezTo>
                <a:cubicBezTo>
                  <a:pt x="14379" y="6213"/>
                  <a:pt x="15023" y="6873"/>
                  <a:pt x="15818" y="6873"/>
                </a:cubicBezTo>
                <a:moveTo>
                  <a:pt x="12941" y="11782"/>
                </a:moveTo>
                <a:cubicBezTo>
                  <a:pt x="13206" y="11782"/>
                  <a:pt x="13420" y="11562"/>
                  <a:pt x="13420" y="11291"/>
                </a:cubicBezTo>
                <a:cubicBezTo>
                  <a:pt x="13420" y="11020"/>
                  <a:pt x="13206" y="10800"/>
                  <a:pt x="12941" y="10800"/>
                </a:cubicBezTo>
                <a:cubicBezTo>
                  <a:pt x="12675" y="10800"/>
                  <a:pt x="12461" y="11020"/>
                  <a:pt x="12461" y="11291"/>
                </a:cubicBezTo>
                <a:cubicBezTo>
                  <a:pt x="12461" y="11562"/>
                  <a:pt x="12675" y="11782"/>
                  <a:pt x="12941" y="11782"/>
                </a:cubicBezTo>
                <a:moveTo>
                  <a:pt x="10063" y="7855"/>
                </a:moveTo>
                <a:cubicBezTo>
                  <a:pt x="9798" y="7855"/>
                  <a:pt x="9584" y="8074"/>
                  <a:pt x="9584" y="8346"/>
                </a:cubicBezTo>
                <a:cubicBezTo>
                  <a:pt x="9584" y="8617"/>
                  <a:pt x="9798" y="8836"/>
                  <a:pt x="10063" y="8836"/>
                </a:cubicBezTo>
                <a:cubicBezTo>
                  <a:pt x="10328" y="8836"/>
                  <a:pt x="10543" y="8617"/>
                  <a:pt x="10543" y="8346"/>
                </a:cubicBezTo>
                <a:cubicBezTo>
                  <a:pt x="10543" y="8074"/>
                  <a:pt x="10328" y="7855"/>
                  <a:pt x="10063" y="7855"/>
                </a:cubicBezTo>
                <a:moveTo>
                  <a:pt x="1718" y="19842"/>
                </a:moveTo>
                <a:lnTo>
                  <a:pt x="3451" y="15392"/>
                </a:lnTo>
                <a:cubicBezTo>
                  <a:pt x="3684" y="15834"/>
                  <a:pt x="3973" y="16253"/>
                  <a:pt x="4312" y="16642"/>
                </a:cubicBezTo>
                <a:cubicBezTo>
                  <a:pt x="4824" y="17230"/>
                  <a:pt x="5418" y="17711"/>
                  <a:pt x="6061" y="18068"/>
                </a:cubicBezTo>
                <a:cubicBezTo>
                  <a:pt x="6061" y="18068"/>
                  <a:pt x="1718" y="19842"/>
                  <a:pt x="1718" y="19842"/>
                </a:cubicBezTo>
                <a:close/>
                <a:moveTo>
                  <a:pt x="3717" y="12060"/>
                </a:moveTo>
                <a:lnTo>
                  <a:pt x="0" y="21600"/>
                </a:lnTo>
                <a:lnTo>
                  <a:pt x="9319" y="17795"/>
                </a:lnTo>
                <a:cubicBezTo>
                  <a:pt x="9153" y="17815"/>
                  <a:pt x="8987" y="17824"/>
                  <a:pt x="8822" y="17824"/>
                </a:cubicBezTo>
                <a:cubicBezTo>
                  <a:pt x="5971" y="17824"/>
                  <a:pt x="3389" y="15002"/>
                  <a:pt x="3717" y="12060"/>
                </a:cubicBezTo>
                <a:moveTo>
                  <a:pt x="16115" y="10657"/>
                </a:moveTo>
                <a:cubicBezTo>
                  <a:pt x="15925" y="10851"/>
                  <a:pt x="15627" y="11171"/>
                  <a:pt x="15280" y="11542"/>
                </a:cubicBezTo>
                <a:cubicBezTo>
                  <a:pt x="14662" y="12204"/>
                  <a:pt x="13712" y="13221"/>
                  <a:pt x="13147" y="13753"/>
                </a:cubicBezTo>
                <a:lnTo>
                  <a:pt x="7665" y="8141"/>
                </a:lnTo>
                <a:cubicBezTo>
                  <a:pt x="8185" y="7563"/>
                  <a:pt x="9179" y="6590"/>
                  <a:pt x="9825" y="5958"/>
                </a:cubicBezTo>
                <a:cubicBezTo>
                  <a:pt x="10188" y="5603"/>
                  <a:pt x="10500" y="5298"/>
                  <a:pt x="10690" y="5103"/>
                </a:cubicBezTo>
                <a:cubicBezTo>
                  <a:pt x="13284" y="2447"/>
                  <a:pt x="18271" y="993"/>
                  <a:pt x="20136" y="982"/>
                </a:cubicBezTo>
                <a:cubicBezTo>
                  <a:pt x="20132" y="2572"/>
                  <a:pt x="18824" y="7884"/>
                  <a:pt x="16115" y="10657"/>
                </a:cubicBezTo>
                <a:moveTo>
                  <a:pt x="12477" y="14563"/>
                </a:moveTo>
                <a:cubicBezTo>
                  <a:pt x="12127" y="15873"/>
                  <a:pt x="11665" y="17072"/>
                  <a:pt x="11154" y="18035"/>
                </a:cubicBezTo>
                <a:cubicBezTo>
                  <a:pt x="10943" y="17454"/>
                  <a:pt x="10642" y="16798"/>
                  <a:pt x="10214" y="16110"/>
                </a:cubicBezTo>
                <a:cubicBezTo>
                  <a:pt x="10035" y="15823"/>
                  <a:pt x="9728" y="15656"/>
                  <a:pt x="9405" y="15656"/>
                </a:cubicBezTo>
                <a:cubicBezTo>
                  <a:pt x="9329" y="15656"/>
                  <a:pt x="9252" y="15665"/>
                  <a:pt x="9176" y="15684"/>
                </a:cubicBezTo>
                <a:cubicBezTo>
                  <a:pt x="8990" y="15731"/>
                  <a:pt x="8799" y="15755"/>
                  <a:pt x="8610" y="15755"/>
                </a:cubicBezTo>
                <a:cubicBezTo>
                  <a:pt x="7905" y="15755"/>
                  <a:pt x="7217" y="15432"/>
                  <a:pt x="6621" y="14822"/>
                </a:cubicBezTo>
                <a:cubicBezTo>
                  <a:pt x="5861" y="14044"/>
                  <a:pt x="5561" y="13114"/>
                  <a:pt x="5779" y="12206"/>
                </a:cubicBezTo>
                <a:cubicBezTo>
                  <a:pt x="5877" y="11797"/>
                  <a:pt x="5709" y="11370"/>
                  <a:pt x="5363" y="11144"/>
                </a:cubicBezTo>
                <a:cubicBezTo>
                  <a:pt x="4690" y="10706"/>
                  <a:pt x="4050" y="10398"/>
                  <a:pt x="3482" y="10183"/>
                </a:cubicBezTo>
                <a:cubicBezTo>
                  <a:pt x="4423" y="9658"/>
                  <a:pt x="5594" y="9186"/>
                  <a:pt x="6874" y="8827"/>
                </a:cubicBezTo>
                <a:cubicBezTo>
                  <a:pt x="6900" y="8820"/>
                  <a:pt x="6921" y="8803"/>
                  <a:pt x="6946" y="8793"/>
                </a:cubicBezTo>
                <a:lnTo>
                  <a:pt x="12510" y="14490"/>
                </a:lnTo>
                <a:cubicBezTo>
                  <a:pt x="12501" y="14515"/>
                  <a:pt x="12484" y="14536"/>
                  <a:pt x="12477" y="14563"/>
                </a:cubicBezTo>
                <a:moveTo>
                  <a:pt x="20922" y="167"/>
                </a:moveTo>
                <a:cubicBezTo>
                  <a:pt x="20813" y="55"/>
                  <a:pt x="20545" y="0"/>
                  <a:pt x="20157" y="0"/>
                </a:cubicBezTo>
                <a:cubicBezTo>
                  <a:pt x="18131" y="0"/>
                  <a:pt x="12842" y="1511"/>
                  <a:pt x="10012" y="4409"/>
                </a:cubicBezTo>
                <a:cubicBezTo>
                  <a:pt x="9345" y="5092"/>
                  <a:pt x="7134" y="7175"/>
                  <a:pt x="6621" y="7880"/>
                </a:cubicBezTo>
                <a:cubicBezTo>
                  <a:pt x="4961" y="8346"/>
                  <a:pt x="2544" y="9277"/>
                  <a:pt x="1196" y="10657"/>
                </a:cubicBezTo>
                <a:cubicBezTo>
                  <a:pt x="1196" y="10657"/>
                  <a:pt x="2841" y="10663"/>
                  <a:pt x="4848" y="11972"/>
                </a:cubicBezTo>
                <a:cubicBezTo>
                  <a:pt x="4556" y="13190"/>
                  <a:pt x="4926" y="14475"/>
                  <a:pt x="5943" y="15516"/>
                </a:cubicBezTo>
                <a:cubicBezTo>
                  <a:pt x="6735" y="16327"/>
                  <a:pt x="7672" y="16737"/>
                  <a:pt x="8610" y="16737"/>
                </a:cubicBezTo>
                <a:cubicBezTo>
                  <a:pt x="8876" y="16737"/>
                  <a:pt x="9142" y="16704"/>
                  <a:pt x="9405" y="16637"/>
                </a:cubicBezTo>
                <a:cubicBezTo>
                  <a:pt x="10683" y="18692"/>
                  <a:pt x="10690" y="20376"/>
                  <a:pt x="10690" y="20376"/>
                </a:cubicBezTo>
                <a:cubicBezTo>
                  <a:pt x="12038" y="18996"/>
                  <a:pt x="12948" y="16521"/>
                  <a:pt x="13402" y="14822"/>
                </a:cubicBezTo>
                <a:cubicBezTo>
                  <a:pt x="14091" y="14297"/>
                  <a:pt x="16126" y="12034"/>
                  <a:pt x="16793" y="11351"/>
                </a:cubicBezTo>
                <a:cubicBezTo>
                  <a:pt x="20164" y="7900"/>
                  <a:pt x="21600" y="861"/>
                  <a:pt x="20922" y="167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157" name="Title 4">
            <a:extLst>
              <a:ext uri="{FF2B5EF4-FFF2-40B4-BE49-F238E27FC236}">
                <a16:creationId xmlns:a16="http://schemas.microsoft.com/office/drawing/2014/main" id="{AD7B7BE3-9E20-4602-B9C2-3E5B1DB4B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ectronics &amp; </a:t>
            </a:r>
            <a:r>
              <a:rPr lang="en-US" dirty="0" err="1"/>
              <a:t>Misc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B63E629-60C3-EC44-AC66-42B9FA83D4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F490F3-DDBE-3F46-8F6F-F71BDB2D5A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29D581-EC8F-A342-B502-42421D0A8A52}" type="slidenum">
              <a:rPr lang="en-US" smtClean="0"/>
              <a:t>61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064824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0" name="Shape 2790"/>
          <p:cNvSpPr/>
          <p:nvPr/>
        </p:nvSpPr>
        <p:spPr>
          <a:xfrm>
            <a:off x="880859" y="1464632"/>
            <a:ext cx="279328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17550"/>
                </a:moveTo>
                <a:lnTo>
                  <a:pt x="10309" y="17550"/>
                </a:lnTo>
                <a:cubicBezTo>
                  <a:pt x="10580" y="17550"/>
                  <a:pt x="10800" y="17248"/>
                  <a:pt x="10800" y="16875"/>
                </a:cubicBezTo>
                <a:cubicBezTo>
                  <a:pt x="10800" y="16503"/>
                  <a:pt x="10580" y="16200"/>
                  <a:pt x="10309" y="16200"/>
                </a:cubicBezTo>
                <a:lnTo>
                  <a:pt x="3436" y="16200"/>
                </a:lnTo>
                <a:cubicBezTo>
                  <a:pt x="3166" y="16200"/>
                  <a:pt x="2945" y="16503"/>
                  <a:pt x="2945" y="16875"/>
                </a:cubicBezTo>
                <a:cubicBezTo>
                  <a:pt x="2945" y="17248"/>
                  <a:pt x="3166" y="17550"/>
                  <a:pt x="3436" y="17550"/>
                </a:cubicBezTo>
                <a:moveTo>
                  <a:pt x="3436" y="14850"/>
                </a:moveTo>
                <a:lnTo>
                  <a:pt x="12273" y="14850"/>
                </a:lnTo>
                <a:cubicBezTo>
                  <a:pt x="12544" y="14850"/>
                  <a:pt x="12764" y="14548"/>
                  <a:pt x="12764" y="14175"/>
                </a:cubicBezTo>
                <a:cubicBezTo>
                  <a:pt x="12764" y="13803"/>
                  <a:pt x="12544" y="13500"/>
                  <a:pt x="12273" y="13500"/>
                </a:cubicBezTo>
                <a:lnTo>
                  <a:pt x="3436" y="13500"/>
                </a:lnTo>
                <a:cubicBezTo>
                  <a:pt x="3166" y="13500"/>
                  <a:pt x="2945" y="13803"/>
                  <a:pt x="2945" y="14175"/>
                </a:cubicBezTo>
                <a:cubicBezTo>
                  <a:pt x="2945" y="14548"/>
                  <a:pt x="3166" y="14850"/>
                  <a:pt x="3436" y="14850"/>
                </a:cubicBezTo>
                <a:moveTo>
                  <a:pt x="20618" y="4050"/>
                </a:moveTo>
                <a:lnTo>
                  <a:pt x="982" y="40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4050"/>
                  <a:pt x="20618" y="4050"/>
                </a:cubicBezTo>
                <a:close/>
                <a:moveTo>
                  <a:pt x="20618" y="20250"/>
                </a:moveTo>
                <a:lnTo>
                  <a:pt x="982" y="20250"/>
                </a:lnTo>
                <a:lnTo>
                  <a:pt x="982" y="9450"/>
                </a:lnTo>
                <a:lnTo>
                  <a:pt x="20618" y="9450"/>
                </a:lnTo>
                <a:cubicBezTo>
                  <a:pt x="20618" y="94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16200" y="17550"/>
                </a:moveTo>
                <a:lnTo>
                  <a:pt x="18164" y="17550"/>
                </a:lnTo>
                <a:cubicBezTo>
                  <a:pt x="18434" y="17550"/>
                  <a:pt x="18655" y="17248"/>
                  <a:pt x="18655" y="16875"/>
                </a:cubicBezTo>
                <a:lnTo>
                  <a:pt x="18655" y="14175"/>
                </a:lnTo>
                <a:cubicBezTo>
                  <a:pt x="18655" y="13803"/>
                  <a:pt x="18434" y="13500"/>
                  <a:pt x="18164" y="13500"/>
                </a:cubicBezTo>
                <a:lnTo>
                  <a:pt x="16200" y="13500"/>
                </a:lnTo>
                <a:cubicBezTo>
                  <a:pt x="15929" y="13500"/>
                  <a:pt x="15709" y="13803"/>
                  <a:pt x="15709" y="14175"/>
                </a:cubicBezTo>
                <a:lnTo>
                  <a:pt x="15709" y="16875"/>
                </a:lnTo>
                <a:cubicBezTo>
                  <a:pt x="15709" y="17248"/>
                  <a:pt x="15929" y="17550"/>
                  <a:pt x="16200" y="1755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91" name="Shape 2791"/>
          <p:cNvSpPr/>
          <p:nvPr/>
        </p:nvSpPr>
        <p:spPr>
          <a:xfrm>
            <a:off x="1414120" y="1451935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538"/>
                  <a:pt x="3927" y="1200"/>
                </a:cubicBezTo>
                <a:lnTo>
                  <a:pt x="3927" y="3000"/>
                </a:lnTo>
                <a:cubicBezTo>
                  <a:pt x="3927" y="3332"/>
                  <a:pt x="4147" y="3600"/>
                  <a:pt x="4418" y="3600"/>
                </a:cubicBezTo>
                <a:cubicBezTo>
                  <a:pt x="4689" y="3600"/>
                  <a:pt x="4909" y="3332"/>
                  <a:pt x="4909" y="3000"/>
                </a:cubicBezTo>
                <a:lnTo>
                  <a:pt x="4909" y="1200"/>
                </a:lnTo>
                <a:lnTo>
                  <a:pt x="20618" y="1200"/>
                </a:lnTo>
                <a:lnTo>
                  <a:pt x="20618" y="15600"/>
                </a:lnTo>
                <a:lnTo>
                  <a:pt x="19145" y="15600"/>
                </a:lnTo>
                <a:cubicBezTo>
                  <a:pt x="18875" y="15600"/>
                  <a:pt x="18655" y="15869"/>
                  <a:pt x="18655" y="16200"/>
                </a:cubicBezTo>
                <a:cubicBezTo>
                  <a:pt x="18655" y="16532"/>
                  <a:pt x="18875" y="16800"/>
                  <a:pt x="19145" y="16800"/>
                </a:cubicBezTo>
                <a:lnTo>
                  <a:pt x="20618" y="16800"/>
                </a:lnTo>
                <a:cubicBezTo>
                  <a:pt x="21160" y="16800"/>
                  <a:pt x="21600" y="16262"/>
                  <a:pt x="21600" y="15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6691" y="8400"/>
                </a:moveTo>
                <a:lnTo>
                  <a:pt x="982" y="8400"/>
                </a:lnTo>
                <a:lnTo>
                  <a:pt x="982" y="6000"/>
                </a:lnTo>
                <a:lnTo>
                  <a:pt x="16691" y="6000"/>
                </a:lnTo>
                <a:cubicBezTo>
                  <a:pt x="16691" y="6000"/>
                  <a:pt x="16691" y="8400"/>
                  <a:pt x="16691" y="8400"/>
                </a:cubicBezTo>
                <a:close/>
                <a:moveTo>
                  <a:pt x="16691" y="20400"/>
                </a:moveTo>
                <a:lnTo>
                  <a:pt x="982" y="20400"/>
                </a:lnTo>
                <a:lnTo>
                  <a:pt x="982" y="12000"/>
                </a:lnTo>
                <a:lnTo>
                  <a:pt x="16691" y="12000"/>
                </a:lnTo>
                <a:cubicBezTo>
                  <a:pt x="16691" y="12000"/>
                  <a:pt x="16691" y="20400"/>
                  <a:pt x="16691" y="20400"/>
                </a:cubicBezTo>
                <a:close/>
                <a:moveTo>
                  <a:pt x="16691" y="4800"/>
                </a:moveTo>
                <a:lnTo>
                  <a:pt x="982" y="4800"/>
                </a:lnTo>
                <a:cubicBezTo>
                  <a:pt x="440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062"/>
                  <a:pt x="17673" y="20400"/>
                </a:cubicBezTo>
                <a:lnTo>
                  <a:pt x="17673" y="6000"/>
                </a:lnTo>
                <a:cubicBezTo>
                  <a:pt x="17673" y="5338"/>
                  <a:pt x="17233" y="4800"/>
                  <a:pt x="16691" y="4800"/>
                </a:cubicBezTo>
                <a:moveTo>
                  <a:pt x="3436" y="18000"/>
                </a:moveTo>
                <a:lnTo>
                  <a:pt x="7364" y="18000"/>
                </a:lnTo>
                <a:cubicBezTo>
                  <a:pt x="7634" y="18000"/>
                  <a:pt x="7855" y="17732"/>
                  <a:pt x="7855" y="17400"/>
                </a:cubicBezTo>
                <a:cubicBezTo>
                  <a:pt x="7855" y="17069"/>
                  <a:pt x="7634" y="16800"/>
                  <a:pt x="7364" y="16800"/>
                </a:cubicBezTo>
                <a:lnTo>
                  <a:pt x="3436" y="16800"/>
                </a:lnTo>
                <a:cubicBezTo>
                  <a:pt x="3166" y="16800"/>
                  <a:pt x="2945" y="17069"/>
                  <a:pt x="2945" y="17400"/>
                </a:cubicBezTo>
                <a:cubicBezTo>
                  <a:pt x="2945" y="17732"/>
                  <a:pt x="3166" y="18000"/>
                  <a:pt x="3436" y="18000"/>
                </a:cubicBezTo>
                <a:moveTo>
                  <a:pt x="3436" y="15600"/>
                </a:moveTo>
                <a:lnTo>
                  <a:pt x="9327" y="15600"/>
                </a:lnTo>
                <a:cubicBezTo>
                  <a:pt x="9598" y="15600"/>
                  <a:pt x="9818" y="15332"/>
                  <a:pt x="9818" y="15000"/>
                </a:cubicBezTo>
                <a:cubicBezTo>
                  <a:pt x="9818" y="14668"/>
                  <a:pt x="9598" y="14400"/>
                  <a:pt x="9327" y="14400"/>
                </a:cubicBezTo>
                <a:lnTo>
                  <a:pt x="3436" y="14400"/>
                </a:lnTo>
                <a:cubicBezTo>
                  <a:pt x="3166" y="14400"/>
                  <a:pt x="2945" y="14668"/>
                  <a:pt x="2945" y="15000"/>
                </a:cubicBezTo>
                <a:cubicBezTo>
                  <a:pt x="2945" y="15332"/>
                  <a:pt x="3166" y="15600"/>
                  <a:pt x="3436" y="15600"/>
                </a:cubicBezTo>
                <a:moveTo>
                  <a:pt x="12273" y="18000"/>
                </a:moveTo>
                <a:lnTo>
                  <a:pt x="14236" y="18000"/>
                </a:lnTo>
                <a:cubicBezTo>
                  <a:pt x="14507" y="18000"/>
                  <a:pt x="14727" y="17732"/>
                  <a:pt x="14727" y="17400"/>
                </a:cubicBezTo>
                <a:lnTo>
                  <a:pt x="14727" y="15000"/>
                </a:lnTo>
                <a:cubicBezTo>
                  <a:pt x="14727" y="14668"/>
                  <a:pt x="14507" y="14400"/>
                  <a:pt x="14236" y="14400"/>
                </a:cubicBezTo>
                <a:lnTo>
                  <a:pt x="12273" y="14400"/>
                </a:lnTo>
                <a:cubicBezTo>
                  <a:pt x="12002" y="14400"/>
                  <a:pt x="11782" y="14668"/>
                  <a:pt x="11782" y="15000"/>
                </a:cubicBezTo>
                <a:lnTo>
                  <a:pt x="11782" y="17400"/>
                </a:lnTo>
                <a:cubicBezTo>
                  <a:pt x="11782" y="17732"/>
                  <a:pt x="12002" y="18000"/>
                  <a:pt x="12273" y="1800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92" name="Shape 2792"/>
          <p:cNvSpPr/>
          <p:nvPr/>
        </p:nvSpPr>
        <p:spPr>
          <a:xfrm>
            <a:off x="1947381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949" y="13580"/>
                </a:moveTo>
                <a:cubicBezTo>
                  <a:pt x="11701" y="13784"/>
                  <a:pt x="11474" y="13901"/>
                  <a:pt x="11085" y="13931"/>
                </a:cubicBezTo>
                <a:lnTo>
                  <a:pt x="11085" y="11339"/>
                </a:lnTo>
                <a:cubicBezTo>
                  <a:pt x="11251" y="11383"/>
                  <a:pt x="11321" y="11435"/>
                  <a:pt x="11479" y="11494"/>
                </a:cubicBezTo>
                <a:cubicBezTo>
                  <a:pt x="11638" y="11554"/>
                  <a:pt x="11780" y="11632"/>
                  <a:pt x="11906" y="11728"/>
                </a:cubicBezTo>
                <a:cubicBezTo>
                  <a:pt x="12032" y="11824"/>
                  <a:pt x="12133" y="11943"/>
                  <a:pt x="12208" y="12084"/>
                </a:cubicBezTo>
                <a:cubicBezTo>
                  <a:pt x="12284" y="12225"/>
                  <a:pt x="12322" y="12399"/>
                  <a:pt x="12322" y="12607"/>
                </a:cubicBezTo>
                <a:cubicBezTo>
                  <a:pt x="12322" y="13052"/>
                  <a:pt x="12198" y="13376"/>
                  <a:pt x="11949" y="13580"/>
                </a:cubicBezTo>
                <a:moveTo>
                  <a:pt x="10437" y="9837"/>
                </a:moveTo>
                <a:cubicBezTo>
                  <a:pt x="10286" y="9800"/>
                  <a:pt x="10228" y="9753"/>
                  <a:pt x="10081" y="9698"/>
                </a:cubicBezTo>
                <a:cubicBezTo>
                  <a:pt x="9933" y="9642"/>
                  <a:pt x="9803" y="9570"/>
                  <a:pt x="9692" y="9481"/>
                </a:cubicBezTo>
                <a:cubicBezTo>
                  <a:pt x="9581" y="9392"/>
                  <a:pt x="9489" y="9285"/>
                  <a:pt x="9417" y="9159"/>
                </a:cubicBezTo>
                <a:cubicBezTo>
                  <a:pt x="9345" y="9032"/>
                  <a:pt x="9309" y="8880"/>
                  <a:pt x="9309" y="8702"/>
                </a:cubicBezTo>
                <a:cubicBezTo>
                  <a:pt x="9309" y="8309"/>
                  <a:pt x="9415" y="8030"/>
                  <a:pt x="9627" y="7862"/>
                </a:cubicBezTo>
                <a:cubicBezTo>
                  <a:pt x="9839" y="7696"/>
                  <a:pt x="10048" y="7612"/>
                  <a:pt x="10437" y="7612"/>
                </a:cubicBezTo>
                <a:cubicBezTo>
                  <a:pt x="10437" y="7612"/>
                  <a:pt x="10437" y="9837"/>
                  <a:pt x="10437" y="9837"/>
                </a:cubicBezTo>
                <a:close/>
                <a:moveTo>
                  <a:pt x="12765" y="10727"/>
                </a:moveTo>
                <a:cubicBezTo>
                  <a:pt x="12527" y="10542"/>
                  <a:pt x="12253" y="10390"/>
                  <a:pt x="11944" y="10271"/>
                </a:cubicBezTo>
                <a:cubicBezTo>
                  <a:pt x="11634" y="10153"/>
                  <a:pt x="11410" y="10049"/>
                  <a:pt x="11085" y="9959"/>
                </a:cubicBezTo>
                <a:lnTo>
                  <a:pt x="11085" y="7612"/>
                </a:lnTo>
                <a:cubicBezTo>
                  <a:pt x="11474" y="7612"/>
                  <a:pt x="11665" y="7713"/>
                  <a:pt x="11841" y="7913"/>
                </a:cubicBezTo>
                <a:cubicBezTo>
                  <a:pt x="12017" y="8113"/>
                  <a:pt x="12113" y="8402"/>
                  <a:pt x="12127" y="8781"/>
                </a:cubicBezTo>
                <a:lnTo>
                  <a:pt x="13359" y="8781"/>
                </a:lnTo>
                <a:cubicBezTo>
                  <a:pt x="13359" y="8417"/>
                  <a:pt x="13295" y="8098"/>
                  <a:pt x="13170" y="7824"/>
                </a:cubicBezTo>
                <a:cubicBezTo>
                  <a:pt x="13043" y="7550"/>
                  <a:pt x="12875" y="7323"/>
                  <a:pt x="12662" y="7145"/>
                </a:cubicBezTo>
                <a:cubicBezTo>
                  <a:pt x="12449" y="6967"/>
                  <a:pt x="12200" y="6833"/>
                  <a:pt x="11911" y="6744"/>
                </a:cubicBezTo>
                <a:cubicBezTo>
                  <a:pt x="11623" y="6656"/>
                  <a:pt x="11410" y="6611"/>
                  <a:pt x="11085" y="6611"/>
                </a:cubicBezTo>
                <a:lnTo>
                  <a:pt x="11085" y="5881"/>
                </a:lnTo>
                <a:lnTo>
                  <a:pt x="10437" y="5881"/>
                </a:lnTo>
                <a:lnTo>
                  <a:pt x="10437" y="6611"/>
                </a:lnTo>
                <a:cubicBezTo>
                  <a:pt x="10113" y="6611"/>
                  <a:pt x="9895" y="6659"/>
                  <a:pt x="9600" y="6756"/>
                </a:cubicBezTo>
                <a:cubicBezTo>
                  <a:pt x="9305" y="6852"/>
                  <a:pt x="9044" y="6991"/>
                  <a:pt x="8817" y="7173"/>
                </a:cubicBezTo>
                <a:cubicBezTo>
                  <a:pt x="8590" y="7355"/>
                  <a:pt x="8410" y="7581"/>
                  <a:pt x="8277" y="7852"/>
                </a:cubicBezTo>
                <a:cubicBezTo>
                  <a:pt x="8144" y="8122"/>
                  <a:pt x="8077" y="8436"/>
                  <a:pt x="8077" y="8791"/>
                </a:cubicBezTo>
                <a:cubicBezTo>
                  <a:pt x="8077" y="9199"/>
                  <a:pt x="8150" y="9541"/>
                  <a:pt x="8293" y="9815"/>
                </a:cubicBezTo>
                <a:cubicBezTo>
                  <a:pt x="8438" y="10089"/>
                  <a:pt x="8626" y="10317"/>
                  <a:pt x="8860" y="10499"/>
                </a:cubicBezTo>
                <a:cubicBezTo>
                  <a:pt x="9094" y="10681"/>
                  <a:pt x="9357" y="10829"/>
                  <a:pt x="9649" y="10944"/>
                </a:cubicBezTo>
                <a:cubicBezTo>
                  <a:pt x="9940" y="11059"/>
                  <a:pt x="10142" y="11157"/>
                  <a:pt x="10437" y="11239"/>
                </a:cubicBezTo>
                <a:lnTo>
                  <a:pt x="10437" y="13931"/>
                </a:lnTo>
                <a:cubicBezTo>
                  <a:pt x="9940" y="13916"/>
                  <a:pt x="9676" y="13768"/>
                  <a:pt x="9460" y="13486"/>
                </a:cubicBezTo>
                <a:cubicBezTo>
                  <a:pt x="9244" y="13204"/>
                  <a:pt x="9139" y="12818"/>
                  <a:pt x="9147" y="12329"/>
                </a:cubicBezTo>
                <a:lnTo>
                  <a:pt x="7915" y="12329"/>
                </a:lnTo>
                <a:cubicBezTo>
                  <a:pt x="7908" y="12744"/>
                  <a:pt x="7967" y="13111"/>
                  <a:pt x="8094" y="13430"/>
                </a:cubicBezTo>
                <a:cubicBezTo>
                  <a:pt x="8220" y="13749"/>
                  <a:pt x="8397" y="14018"/>
                  <a:pt x="8628" y="14236"/>
                </a:cubicBezTo>
                <a:cubicBezTo>
                  <a:pt x="8858" y="14455"/>
                  <a:pt x="9136" y="14624"/>
                  <a:pt x="9460" y="14743"/>
                </a:cubicBezTo>
                <a:cubicBezTo>
                  <a:pt x="9784" y="14861"/>
                  <a:pt x="10048" y="14924"/>
                  <a:pt x="10437" y="14932"/>
                </a:cubicBezTo>
                <a:lnTo>
                  <a:pt x="10437" y="15692"/>
                </a:lnTo>
                <a:lnTo>
                  <a:pt x="11085" y="15692"/>
                </a:lnTo>
                <a:lnTo>
                  <a:pt x="11085" y="14932"/>
                </a:lnTo>
                <a:cubicBezTo>
                  <a:pt x="11446" y="14917"/>
                  <a:pt x="11688" y="14856"/>
                  <a:pt x="11998" y="14748"/>
                </a:cubicBezTo>
                <a:cubicBezTo>
                  <a:pt x="12307" y="14641"/>
                  <a:pt x="12578" y="14485"/>
                  <a:pt x="12808" y="14281"/>
                </a:cubicBezTo>
                <a:cubicBezTo>
                  <a:pt x="13038" y="14077"/>
                  <a:pt x="13220" y="13821"/>
                  <a:pt x="13353" y="13513"/>
                </a:cubicBezTo>
                <a:cubicBezTo>
                  <a:pt x="13486" y="13206"/>
                  <a:pt x="13553" y="12844"/>
                  <a:pt x="13553" y="12429"/>
                </a:cubicBezTo>
                <a:cubicBezTo>
                  <a:pt x="13553" y="12028"/>
                  <a:pt x="13481" y="11691"/>
                  <a:pt x="13337" y="11417"/>
                </a:cubicBezTo>
                <a:cubicBezTo>
                  <a:pt x="13193" y="11142"/>
                  <a:pt x="13002" y="10912"/>
                  <a:pt x="12765" y="10727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93" name="Shape 2793"/>
          <p:cNvSpPr/>
          <p:nvPr/>
        </p:nvSpPr>
        <p:spPr>
          <a:xfrm>
            <a:off x="2480642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86" y="14720"/>
                </a:moveTo>
                <a:cubicBezTo>
                  <a:pt x="9513" y="14863"/>
                  <a:pt x="9355" y="14945"/>
                  <a:pt x="9084" y="14965"/>
                </a:cubicBezTo>
                <a:lnTo>
                  <a:pt x="9084" y="13151"/>
                </a:lnTo>
                <a:cubicBezTo>
                  <a:pt x="9199" y="13182"/>
                  <a:pt x="9248" y="13219"/>
                  <a:pt x="9358" y="13260"/>
                </a:cubicBezTo>
                <a:cubicBezTo>
                  <a:pt x="9469" y="13302"/>
                  <a:pt x="9568" y="13357"/>
                  <a:pt x="9656" y="13424"/>
                </a:cubicBezTo>
                <a:cubicBezTo>
                  <a:pt x="9744" y="13491"/>
                  <a:pt x="9814" y="13575"/>
                  <a:pt x="9867" y="13673"/>
                </a:cubicBezTo>
                <a:cubicBezTo>
                  <a:pt x="9920" y="13772"/>
                  <a:pt x="9946" y="13894"/>
                  <a:pt x="9946" y="14039"/>
                </a:cubicBezTo>
                <a:cubicBezTo>
                  <a:pt x="9946" y="14350"/>
                  <a:pt x="9859" y="14577"/>
                  <a:pt x="9686" y="14720"/>
                </a:cubicBezTo>
                <a:moveTo>
                  <a:pt x="8631" y="12100"/>
                </a:moveTo>
                <a:cubicBezTo>
                  <a:pt x="8526" y="12074"/>
                  <a:pt x="8486" y="12041"/>
                  <a:pt x="8383" y="12003"/>
                </a:cubicBezTo>
                <a:cubicBezTo>
                  <a:pt x="8280" y="11964"/>
                  <a:pt x="8189" y="11913"/>
                  <a:pt x="8112" y="11851"/>
                </a:cubicBezTo>
                <a:cubicBezTo>
                  <a:pt x="8034" y="11789"/>
                  <a:pt x="7969" y="11714"/>
                  <a:pt x="7919" y="11625"/>
                </a:cubicBezTo>
                <a:cubicBezTo>
                  <a:pt x="7869" y="11537"/>
                  <a:pt x="7844" y="11431"/>
                  <a:pt x="7844" y="11306"/>
                </a:cubicBezTo>
                <a:cubicBezTo>
                  <a:pt x="7844" y="11031"/>
                  <a:pt x="7918" y="10835"/>
                  <a:pt x="8067" y="10718"/>
                </a:cubicBezTo>
                <a:cubicBezTo>
                  <a:pt x="8214" y="10601"/>
                  <a:pt x="8360" y="10543"/>
                  <a:pt x="8631" y="10543"/>
                </a:cubicBezTo>
                <a:cubicBezTo>
                  <a:pt x="8631" y="10543"/>
                  <a:pt x="8631" y="12100"/>
                  <a:pt x="8631" y="12100"/>
                </a:cubicBezTo>
                <a:close/>
                <a:moveTo>
                  <a:pt x="10255" y="12723"/>
                </a:moveTo>
                <a:cubicBezTo>
                  <a:pt x="10089" y="12593"/>
                  <a:pt x="9898" y="12487"/>
                  <a:pt x="9683" y="12404"/>
                </a:cubicBezTo>
                <a:cubicBezTo>
                  <a:pt x="9466" y="12321"/>
                  <a:pt x="9310" y="12248"/>
                  <a:pt x="9084" y="12186"/>
                </a:cubicBezTo>
                <a:lnTo>
                  <a:pt x="9084" y="10543"/>
                </a:lnTo>
                <a:cubicBezTo>
                  <a:pt x="9355" y="10543"/>
                  <a:pt x="9488" y="10613"/>
                  <a:pt x="9611" y="10753"/>
                </a:cubicBezTo>
                <a:cubicBezTo>
                  <a:pt x="9734" y="10893"/>
                  <a:pt x="9800" y="11096"/>
                  <a:pt x="9810" y="11361"/>
                </a:cubicBezTo>
                <a:lnTo>
                  <a:pt x="10669" y="11361"/>
                </a:lnTo>
                <a:cubicBezTo>
                  <a:pt x="10669" y="11106"/>
                  <a:pt x="10625" y="10883"/>
                  <a:pt x="10537" y="10690"/>
                </a:cubicBezTo>
                <a:cubicBezTo>
                  <a:pt x="10450" y="10499"/>
                  <a:pt x="10331" y="10340"/>
                  <a:pt x="10183" y="10216"/>
                </a:cubicBezTo>
                <a:cubicBezTo>
                  <a:pt x="10035" y="10091"/>
                  <a:pt x="9860" y="9998"/>
                  <a:pt x="9659" y="9935"/>
                </a:cubicBezTo>
                <a:cubicBezTo>
                  <a:pt x="9459" y="9873"/>
                  <a:pt x="9310" y="9842"/>
                  <a:pt x="9084" y="9842"/>
                </a:cubicBezTo>
                <a:lnTo>
                  <a:pt x="9084" y="9331"/>
                </a:lnTo>
                <a:lnTo>
                  <a:pt x="8631" y="9331"/>
                </a:lnTo>
                <a:lnTo>
                  <a:pt x="8631" y="9842"/>
                </a:lnTo>
                <a:cubicBezTo>
                  <a:pt x="8405" y="9842"/>
                  <a:pt x="8253" y="9876"/>
                  <a:pt x="8048" y="9943"/>
                </a:cubicBezTo>
                <a:cubicBezTo>
                  <a:pt x="7842" y="10011"/>
                  <a:pt x="7660" y="10108"/>
                  <a:pt x="7501" y="10235"/>
                </a:cubicBezTo>
                <a:cubicBezTo>
                  <a:pt x="7343" y="10363"/>
                  <a:pt x="7218" y="10521"/>
                  <a:pt x="7125" y="10710"/>
                </a:cubicBezTo>
                <a:cubicBezTo>
                  <a:pt x="7032" y="10899"/>
                  <a:pt x="6985" y="11119"/>
                  <a:pt x="6985" y="11368"/>
                </a:cubicBezTo>
                <a:cubicBezTo>
                  <a:pt x="6985" y="11654"/>
                  <a:pt x="7035" y="11892"/>
                  <a:pt x="7136" y="12085"/>
                </a:cubicBezTo>
                <a:cubicBezTo>
                  <a:pt x="7237" y="12277"/>
                  <a:pt x="7368" y="12436"/>
                  <a:pt x="7531" y="12563"/>
                </a:cubicBezTo>
                <a:cubicBezTo>
                  <a:pt x="7694" y="12691"/>
                  <a:pt x="7878" y="12794"/>
                  <a:pt x="8081" y="12875"/>
                </a:cubicBezTo>
                <a:cubicBezTo>
                  <a:pt x="8285" y="12956"/>
                  <a:pt x="8426" y="13024"/>
                  <a:pt x="8631" y="13081"/>
                </a:cubicBezTo>
                <a:lnTo>
                  <a:pt x="8631" y="14965"/>
                </a:lnTo>
                <a:cubicBezTo>
                  <a:pt x="8285" y="14955"/>
                  <a:pt x="8100" y="14852"/>
                  <a:pt x="7950" y="14654"/>
                </a:cubicBezTo>
                <a:cubicBezTo>
                  <a:pt x="7799" y="14457"/>
                  <a:pt x="7726" y="14187"/>
                  <a:pt x="7731" y="13844"/>
                </a:cubicBezTo>
                <a:lnTo>
                  <a:pt x="6872" y="13844"/>
                </a:lnTo>
                <a:cubicBezTo>
                  <a:pt x="6867" y="14135"/>
                  <a:pt x="6908" y="14392"/>
                  <a:pt x="6996" y="14615"/>
                </a:cubicBezTo>
                <a:cubicBezTo>
                  <a:pt x="7085" y="14839"/>
                  <a:pt x="7209" y="15027"/>
                  <a:pt x="7369" y="15180"/>
                </a:cubicBezTo>
                <a:cubicBezTo>
                  <a:pt x="7530" y="15333"/>
                  <a:pt x="7723" y="15451"/>
                  <a:pt x="7950" y="15534"/>
                </a:cubicBezTo>
                <a:cubicBezTo>
                  <a:pt x="8176" y="15617"/>
                  <a:pt x="8360" y="15661"/>
                  <a:pt x="8631" y="15667"/>
                </a:cubicBezTo>
                <a:lnTo>
                  <a:pt x="8631" y="16199"/>
                </a:lnTo>
                <a:lnTo>
                  <a:pt x="9084" y="16199"/>
                </a:lnTo>
                <a:lnTo>
                  <a:pt x="9084" y="15667"/>
                </a:lnTo>
                <a:cubicBezTo>
                  <a:pt x="9335" y="15656"/>
                  <a:pt x="9504" y="15613"/>
                  <a:pt x="9720" y="15538"/>
                </a:cubicBezTo>
                <a:cubicBezTo>
                  <a:pt x="9936" y="15463"/>
                  <a:pt x="10124" y="15354"/>
                  <a:pt x="10285" y="15211"/>
                </a:cubicBezTo>
                <a:cubicBezTo>
                  <a:pt x="10445" y="15068"/>
                  <a:pt x="10573" y="14889"/>
                  <a:pt x="10666" y="14673"/>
                </a:cubicBezTo>
                <a:cubicBezTo>
                  <a:pt x="10758" y="14459"/>
                  <a:pt x="10805" y="14205"/>
                  <a:pt x="10805" y="13914"/>
                </a:cubicBezTo>
                <a:cubicBezTo>
                  <a:pt x="10805" y="13634"/>
                  <a:pt x="10755" y="13398"/>
                  <a:pt x="10654" y="13206"/>
                </a:cubicBezTo>
                <a:cubicBezTo>
                  <a:pt x="10554" y="13014"/>
                  <a:pt x="10421" y="12853"/>
                  <a:pt x="10255" y="12723"/>
                </a:cubicBezTo>
                <a:moveTo>
                  <a:pt x="12764" y="0"/>
                </a:moveTo>
                <a:cubicBezTo>
                  <a:pt x="9919" y="0"/>
                  <a:pt x="7396" y="1350"/>
                  <a:pt x="5779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9" y="987"/>
                  <a:pt x="20613" y="4502"/>
                  <a:pt x="20613" y="8836"/>
                </a:cubicBezTo>
                <a:cubicBezTo>
                  <a:pt x="20613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8836" y="20613"/>
                </a:moveTo>
                <a:cubicBezTo>
                  <a:pt x="4501" y="20613"/>
                  <a:pt x="987" y="17098"/>
                  <a:pt x="987" y="12764"/>
                </a:cubicBezTo>
                <a:cubicBezTo>
                  <a:pt x="987" y="8429"/>
                  <a:pt x="4501" y="4915"/>
                  <a:pt x="8836" y="4915"/>
                </a:cubicBezTo>
                <a:cubicBezTo>
                  <a:pt x="13172" y="4915"/>
                  <a:pt x="16685" y="8429"/>
                  <a:pt x="16685" y="12764"/>
                </a:cubicBezTo>
                <a:cubicBezTo>
                  <a:pt x="16685" y="17098"/>
                  <a:pt x="13172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6" y="21600"/>
                  <a:pt x="17673" y="17644"/>
                  <a:pt x="17673" y="12764"/>
                </a:cubicBezTo>
                <a:cubicBezTo>
                  <a:pt x="17673" y="7884"/>
                  <a:pt x="13716" y="3927"/>
                  <a:pt x="8836" y="3927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94" name="Shape 2794"/>
          <p:cNvSpPr/>
          <p:nvPr/>
        </p:nvSpPr>
        <p:spPr>
          <a:xfrm>
            <a:off x="3013903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535" y="7724"/>
                </a:moveTo>
                <a:cubicBezTo>
                  <a:pt x="12082" y="7724"/>
                  <a:pt x="12586" y="7961"/>
                  <a:pt x="13047" y="8436"/>
                </a:cubicBezTo>
                <a:lnTo>
                  <a:pt x="13544" y="7424"/>
                </a:lnTo>
                <a:cubicBezTo>
                  <a:pt x="12888" y="6964"/>
                  <a:pt x="12248" y="6734"/>
                  <a:pt x="11621" y="6734"/>
                </a:cubicBezTo>
                <a:cubicBezTo>
                  <a:pt x="10757" y="6734"/>
                  <a:pt x="10048" y="7019"/>
                  <a:pt x="9494" y="7590"/>
                </a:cubicBezTo>
                <a:cubicBezTo>
                  <a:pt x="9019" y="8087"/>
                  <a:pt x="8691" y="8762"/>
                  <a:pt x="8510" y="9615"/>
                </a:cubicBezTo>
                <a:lnTo>
                  <a:pt x="7938" y="9615"/>
                </a:lnTo>
                <a:lnTo>
                  <a:pt x="7658" y="10327"/>
                </a:lnTo>
                <a:lnTo>
                  <a:pt x="8435" y="10327"/>
                </a:lnTo>
                <a:cubicBezTo>
                  <a:pt x="8428" y="10409"/>
                  <a:pt x="8423" y="10483"/>
                  <a:pt x="8419" y="10549"/>
                </a:cubicBezTo>
                <a:cubicBezTo>
                  <a:pt x="8415" y="10616"/>
                  <a:pt x="8414" y="10675"/>
                  <a:pt x="8414" y="10727"/>
                </a:cubicBezTo>
                <a:cubicBezTo>
                  <a:pt x="8414" y="10794"/>
                  <a:pt x="8415" y="10857"/>
                  <a:pt x="8419" y="10916"/>
                </a:cubicBezTo>
                <a:cubicBezTo>
                  <a:pt x="8423" y="10976"/>
                  <a:pt x="8428" y="11032"/>
                  <a:pt x="8435" y="11083"/>
                </a:cubicBezTo>
                <a:lnTo>
                  <a:pt x="7949" y="11083"/>
                </a:lnTo>
                <a:lnTo>
                  <a:pt x="7658" y="11784"/>
                </a:lnTo>
                <a:lnTo>
                  <a:pt x="8489" y="11784"/>
                </a:lnTo>
                <a:cubicBezTo>
                  <a:pt x="8604" y="12674"/>
                  <a:pt x="8896" y="13382"/>
                  <a:pt x="9364" y="13908"/>
                </a:cubicBezTo>
                <a:cubicBezTo>
                  <a:pt x="9904" y="14517"/>
                  <a:pt x="10656" y="14821"/>
                  <a:pt x="11621" y="14821"/>
                </a:cubicBezTo>
                <a:cubicBezTo>
                  <a:pt x="12219" y="14821"/>
                  <a:pt x="12762" y="14658"/>
                  <a:pt x="13252" y="14331"/>
                </a:cubicBezTo>
                <a:lnTo>
                  <a:pt x="13252" y="13097"/>
                </a:lnTo>
                <a:cubicBezTo>
                  <a:pt x="12978" y="13356"/>
                  <a:pt x="12733" y="13542"/>
                  <a:pt x="12517" y="13653"/>
                </a:cubicBezTo>
                <a:cubicBezTo>
                  <a:pt x="12280" y="13772"/>
                  <a:pt x="11981" y="13831"/>
                  <a:pt x="11621" y="13831"/>
                </a:cubicBezTo>
                <a:cubicBezTo>
                  <a:pt x="11067" y="13831"/>
                  <a:pt x="10627" y="13620"/>
                  <a:pt x="10304" y="13197"/>
                </a:cubicBezTo>
                <a:cubicBezTo>
                  <a:pt x="10023" y="12855"/>
                  <a:pt x="9839" y="12385"/>
                  <a:pt x="9753" y="11784"/>
                </a:cubicBezTo>
                <a:lnTo>
                  <a:pt x="11924" y="11784"/>
                </a:lnTo>
                <a:lnTo>
                  <a:pt x="12193" y="11083"/>
                </a:lnTo>
                <a:lnTo>
                  <a:pt x="9699" y="11083"/>
                </a:lnTo>
                <a:cubicBezTo>
                  <a:pt x="9692" y="11046"/>
                  <a:pt x="9688" y="10932"/>
                  <a:pt x="9688" y="10739"/>
                </a:cubicBezTo>
                <a:lnTo>
                  <a:pt x="9688" y="10483"/>
                </a:lnTo>
                <a:cubicBezTo>
                  <a:pt x="9688" y="10416"/>
                  <a:pt x="9692" y="10364"/>
                  <a:pt x="9699" y="10327"/>
                </a:cubicBezTo>
                <a:lnTo>
                  <a:pt x="12344" y="10327"/>
                </a:lnTo>
                <a:lnTo>
                  <a:pt x="12626" y="9615"/>
                </a:lnTo>
                <a:lnTo>
                  <a:pt x="9775" y="9615"/>
                </a:lnTo>
                <a:cubicBezTo>
                  <a:pt x="9868" y="9096"/>
                  <a:pt x="10051" y="8662"/>
                  <a:pt x="10325" y="8314"/>
                </a:cubicBezTo>
                <a:cubicBezTo>
                  <a:pt x="10649" y="7920"/>
                  <a:pt x="11052" y="7724"/>
                  <a:pt x="11535" y="7724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95" name="Shape 2795"/>
          <p:cNvSpPr/>
          <p:nvPr/>
        </p:nvSpPr>
        <p:spPr>
          <a:xfrm>
            <a:off x="3547164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5" y="1349"/>
                  <a:pt x="5780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2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9292" y="10539"/>
                </a:moveTo>
                <a:cubicBezTo>
                  <a:pt x="9702" y="10539"/>
                  <a:pt x="10080" y="10712"/>
                  <a:pt x="10426" y="11057"/>
                </a:cubicBezTo>
                <a:lnTo>
                  <a:pt x="10798" y="10320"/>
                </a:lnTo>
                <a:cubicBezTo>
                  <a:pt x="10307" y="9985"/>
                  <a:pt x="9826" y="9817"/>
                  <a:pt x="9356" y="9817"/>
                </a:cubicBezTo>
                <a:cubicBezTo>
                  <a:pt x="8708" y="9817"/>
                  <a:pt x="8176" y="10026"/>
                  <a:pt x="7761" y="10441"/>
                </a:cubicBezTo>
                <a:cubicBezTo>
                  <a:pt x="7404" y="10804"/>
                  <a:pt x="7158" y="11296"/>
                  <a:pt x="7023" y="11917"/>
                </a:cubicBezTo>
                <a:lnTo>
                  <a:pt x="6594" y="11917"/>
                </a:lnTo>
                <a:lnTo>
                  <a:pt x="6384" y="12435"/>
                </a:lnTo>
                <a:lnTo>
                  <a:pt x="6967" y="12435"/>
                </a:lnTo>
                <a:cubicBezTo>
                  <a:pt x="6961" y="12495"/>
                  <a:pt x="6957" y="12549"/>
                  <a:pt x="6955" y="12598"/>
                </a:cubicBezTo>
                <a:cubicBezTo>
                  <a:pt x="6952" y="12646"/>
                  <a:pt x="6950" y="12690"/>
                  <a:pt x="6950" y="12727"/>
                </a:cubicBezTo>
                <a:cubicBezTo>
                  <a:pt x="6950" y="12776"/>
                  <a:pt x="6952" y="12822"/>
                  <a:pt x="6955" y="12865"/>
                </a:cubicBezTo>
                <a:cubicBezTo>
                  <a:pt x="6957" y="12908"/>
                  <a:pt x="6961" y="12949"/>
                  <a:pt x="6967" y="12987"/>
                </a:cubicBezTo>
                <a:lnTo>
                  <a:pt x="6602" y="12987"/>
                </a:lnTo>
                <a:lnTo>
                  <a:pt x="6384" y="13497"/>
                </a:lnTo>
                <a:lnTo>
                  <a:pt x="7007" y="13497"/>
                </a:lnTo>
                <a:cubicBezTo>
                  <a:pt x="7093" y="14146"/>
                  <a:pt x="7313" y="14662"/>
                  <a:pt x="7663" y="15045"/>
                </a:cubicBezTo>
                <a:cubicBezTo>
                  <a:pt x="8068" y="15489"/>
                  <a:pt x="8633" y="15710"/>
                  <a:pt x="9356" y="15710"/>
                </a:cubicBezTo>
                <a:cubicBezTo>
                  <a:pt x="9805" y="15710"/>
                  <a:pt x="10212" y="15591"/>
                  <a:pt x="10579" y="15354"/>
                </a:cubicBezTo>
                <a:lnTo>
                  <a:pt x="10579" y="14454"/>
                </a:lnTo>
                <a:cubicBezTo>
                  <a:pt x="10374" y="14643"/>
                  <a:pt x="10191" y="14778"/>
                  <a:pt x="10029" y="14859"/>
                </a:cubicBezTo>
                <a:cubicBezTo>
                  <a:pt x="9850" y="14945"/>
                  <a:pt x="9626" y="14989"/>
                  <a:pt x="9356" y="14989"/>
                </a:cubicBezTo>
                <a:cubicBezTo>
                  <a:pt x="8940" y="14989"/>
                  <a:pt x="8611" y="14834"/>
                  <a:pt x="8368" y="14527"/>
                </a:cubicBezTo>
                <a:cubicBezTo>
                  <a:pt x="8158" y="14279"/>
                  <a:pt x="8020" y="13935"/>
                  <a:pt x="7955" y="13497"/>
                </a:cubicBezTo>
                <a:lnTo>
                  <a:pt x="9583" y="13497"/>
                </a:lnTo>
                <a:lnTo>
                  <a:pt x="9786" y="12987"/>
                </a:lnTo>
                <a:lnTo>
                  <a:pt x="7914" y="12987"/>
                </a:lnTo>
                <a:cubicBezTo>
                  <a:pt x="7909" y="12960"/>
                  <a:pt x="7906" y="12876"/>
                  <a:pt x="7906" y="12735"/>
                </a:cubicBezTo>
                <a:lnTo>
                  <a:pt x="7906" y="12549"/>
                </a:lnTo>
                <a:cubicBezTo>
                  <a:pt x="7906" y="12500"/>
                  <a:pt x="7909" y="12462"/>
                  <a:pt x="7914" y="12435"/>
                </a:cubicBezTo>
                <a:lnTo>
                  <a:pt x="9899" y="12435"/>
                </a:lnTo>
                <a:lnTo>
                  <a:pt x="10110" y="11917"/>
                </a:lnTo>
                <a:lnTo>
                  <a:pt x="7972" y="11917"/>
                </a:lnTo>
                <a:cubicBezTo>
                  <a:pt x="8042" y="11539"/>
                  <a:pt x="8179" y="11222"/>
                  <a:pt x="8384" y="10968"/>
                </a:cubicBezTo>
                <a:cubicBezTo>
                  <a:pt x="8627" y="10682"/>
                  <a:pt x="8929" y="10539"/>
                  <a:pt x="9292" y="10539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96" name="Shape 2796"/>
          <p:cNvSpPr/>
          <p:nvPr/>
        </p:nvSpPr>
        <p:spPr>
          <a:xfrm>
            <a:off x="4080425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97" name="Shape 2797"/>
          <p:cNvSpPr/>
          <p:nvPr/>
        </p:nvSpPr>
        <p:spPr>
          <a:xfrm>
            <a:off x="4613686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52" y="12079"/>
                </a:moveTo>
                <a:cubicBezTo>
                  <a:pt x="9878" y="12752"/>
                  <a:pt x="8799" y="12411"/>
                  <a:pt x="8449" y="12327"/>
                </a:cubicBezTo>
                <a:lnTo>
                  <a:pt x="8758" y="11138"/>
                </a:lnTo>
                <a:cubicBezTo>
                  <a:pt x="9107" y="11222"/>
                  <a:pt x="10234" y="11378"/>
                  <a:pt x="10052" y="12079"/>
                </a:cubicBezTo>
                <a:moveTo>
                  <a:pt x="9860" y="13998"/>
                </a:moveTo>
                <a:cubicBezTo>
                  <a:pt x="9669" y="14737"/>
                  <a:pt x="8373" y="14338"/>
                  <a:pt x="7953" y="14238"/>
                </a:cubicBezTo>
                <a:lnTo>
                  <a:pt x="8293" y="12927"/>
                </a:lnTo>
                <a:cubicBezTo>
                  <a:pt x="8714" y="13027"/>
                  <a:pt x="10060" y="13227"/>
                  <a:pt x="9860" y="13998"/>
                </a:cubicBezTo>
                <a:moveTo>
                  <a:pt x="10034" y="10721"/>
                </a:moveTo>
                <a:lnTo>
                  <a:pt x="10288" y="9743"/>
                </a:lnTo>
                <a:lnTo>
                  <a:pt x="9668" y="9595"/>
                </a:lnTo>
                <a:lnTo>
                  <a:pt x="9421" y="10547"/>
                </a:lnTo>
                <a:cubicBezTo>
                  <a:pt x="9258" y="10508"/>
                  <a:pt x="9090" y="10471"/>
                  <a:pt x="8925" y="10434"/>
                </a:cubicBezTo>
                <a:lnTo>
                  <a:pt x="9173" y="9476"/>
                </a:lnTo>
                <a:lnTo>
                  <a:pt x="8554" y="9328"/>
                </a:lnTo>
                <a:lnTo>
                  <a:pt x="8300" y="10306"/>
                </a:lnTo>
                <a:cubicBezTo>
                  <a:pt x="8165" y="10276"/>
                  <a:pt x="8033" y="10247"/>
                  <a:pt x="7904" y="10216"/>
                </a:cubicBezTo>
                <a:lnTo>
                  <a:pt x="7904" y="10213"/>
                </a:lnTo>
                <a:lnTo>
                  <a:pt x="7050" y="10008"/>
                </a:lnTo>
                <a:lnTo>
                  <a:pt x="6885" y="10644"/>
                </a:lnTo>
                <a:cubicBezTo>
                  <a:pt x="6885" y="10644"/>
                  <a:pt x="7345" y="10745"/>
                  <a:pt x="7335" y="10751"/>
                </a:cubicBezTo>
                <a:cubicBezTo>
                  <a:pt x="7586" y="10812"/>
                  <a:pt x="7632" y="10971"/>
                  <a:pt x="7624" y="11098"/>
                </a:cubicBezTo>
                <a:lnTo>
                  <a:pt x="7335" y="12213"/>
                </a:lnTo>
                <a:cubicBezTo>
                  <a:pt x="7352" y="12216"/>
                  <a:pt x="7375" y="12222"/>
                  <a:pt x="7399" y="12232"/>
                </a:cubicBezTo>
                <a:cubicBezTo>
                  <a:pt x="7379" y="12227"/>
                  <a:pt x="7357" y="12222"/>
                  <a:pt x="7334" y="12216"/>
                </a:cubicBezTo>
                <a:lnTo>
                  <a:pt x="6928" y="13777"/>
                </a:lnTo>
                <a:cubicBezTo>
                  <a:pt x="6898" y="13851"/>
                  <a:pt x="6820" y="13960"/>
                  <a:pt x="6645" y="13919"/>
                </a:cubicBezTo>
                <a:cubicBezTo>
                  <a:pt x="6651" y="13928"/>
                  <a:pt x="6194" y="13811"/>
                  <a:pt x="6194" y="13811"/>
                </a:cubicBezTo>
                <a:lnTo>
                  <a:pt x="5886" y="14492"/>
                </a:lnTo>
                <a:lnTo>
                  <a:pt x="6692" y="14686"/>
                </a:lnTo>
                <a:cubicBezTo>
                  <a:pt x="6843" y="14721"/>
                  <a:pt x="6990" y="14759"/>
                  <a:pt x="7134" y="14795"/>
                </a:cubicBezTo>
                <a:lnTo>
                  <a:pt x="6878" y="15784"/>
                </a:lnTo>
                <a:lnTo>
                  <a:pt x="7497" y="15933"/>
                </a:lnTo>
                <a:lnTo>
                  <a:pt x="7751" y="14954"/>
                </a:lnTo>
                <a:cubicBezTo>
                  <a:pt x="7921" y="14998"/>
                  <a:pt x="8085" y="15039"/>
                  <a:pt x="8245" y="15077"/>
                </a:cubicBezTo>
                <a:lnTo>
                  <a:pt x="7992" y="16051"/>
                </a:lnTo>
                <a:lnTo>
                  <a:pt x="8612" y="16200"/>
                </a:lnTo>
                <a:lnTo>
                  <a:pt x="8868" y="15212"/>
                </a:lnTo>
                <a:cubicBezTo>
                  <a:pt x="9926" y="15404"/>
                  <a:pt x="10720" y="15327"/>
                  <a:pt x="11055" y="14408"/>
                </a:cubicBezTo>
                <a:cubicBezTo>
                  <a:pt x="11324" y="13669"/>
                  <a:pt x="11041" y="13242"/>
                  <a:pt x="10485" y="12965"/>
                </a:cubicBezTo>
                <a:cubicBezTo>
                  <a:pt x="10890" y="12875"/>
                  <a:pt x="11195" y="12619"/>
                  <a:pt x="11277" y="12090"/>
                </a:cubicBezTo>
                <a:cubicBezTo>
                  <a:pt x="11389" y="11368"/>
                  <a:pt x="10816" y="10980"/>
                  <a:pt x="10034" y="10721"/>
                </a:cubicBezTo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8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1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09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98" name="Shape 2798"/>
          <p:cNvSpPr/>
          <p:nvPr/>
        </p:nvSpPr>
        <p:spPr>
          <a:xfrm>
            <a:off x="5146947" y="1490025"/>
            <a:ext cx="279328" cy="1523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02" y="11838"/>
                </a:moveTo>
                <a:cubicBezTo>
                  <a:pt x="11425" y="11731"/>
                  <a:pt x="11338" y="11646"/>
                  <a:pt x="11242" y="11581"/>
                </a:cubicBezTo>
                <a:cubicBezTo>
                  <a:pt x="11144" y="11515"/>
                  <a:pt x="11102" y="11458"/>
                  <a:pt x="11001" y="11410"/>
                </a:cubicBezTo>
                <a:lnTo>
                  <a:pt x="11001" y="14261"/>
                </a:lnTo>
                <a:cubicBezTo>
                  <a:pt x="11238" y="14227"/>
                  <a:pt x="11377" y="14100"/>
                  <a:pt x="11528" y="13875"/>
                </a:cubicBezTo>
                <a:cubicBezTo>
                  <a:pt x="11680" y="13651"/>
                  <a:pt x="11756" y="13293"/>
                  <a:pt x="11756" y="12804"/>
                </a:cubicBezTo>
                <a:cubicBezTo>
                  <a:pt x="11756" y="12576"/>
                  <a:pt x="11733" y="12384"/>
                  <a:pt x="11686" y="12229"/>
                </a:cubicBezTo>
                <a:cubicBezTo>
                  <a:pt x="11640" y="12074"/>
                  <a:pt x="11579" y="11944"/>
                  <a:pt x="11502" y="11838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9" y="16200"/>
                  <a:pt x="15709" y="16602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2"/>
                  <a:pt x="17453" y="16200"/>
                  <a:pt x="17182" y="16200"/>
                </a:cubicBezTo>
                <a:moveTo>
                  <a:pt x="9917" y="8509"/>
                </a:moveTo>
                <a:cubicBezTo>
                  <a:pt x="9917" y="8706"/>
                  <a:pt x="9938" y="8872"/>
                  <a:pt x="9982" y="9011"/>
                </a:cubicBezTo>
                <a:cubicBezTo>
                  <a:pt x="10026" y="9150"/>
                  <a:pt x="10082" y="9268"/>
                  <a:pt x="10150" y="9366"/>
                </a:cubicBezTo>
                <a:cubicBezTo>
                  <a:pt x="10219" y="9464"/>
                  <a:pt x="10298" y="9544"/>
                  <a:pt x="10388" y="9605"/>
                </a:cubicBezTo>
                <a:cubicBezTo>
                  <a:pt x="10478" y="9665"/>
                  <a:pt x="10513" y="9717"/>
                  <a:pt x="10605" y="9757"/>
                </a:cubicBezTo>
                <a:lnTo>
                  <a:pt x="10605" y="7311"/>
                </a:lnTo>
                <a:cubicBezTo>
                  <a:pt x="10368" y="7311"/>
                  <a:pt x="10241" y="7402"/>
                  <a:pt x="10111" y="7585"/>
                </a:cubicBezTo>
                <a:cubicBezTo>
                  <a:pt x="9981" y="7769"/>
                  <a:pt x="9917" y="8077"/>
                  <a:pt x="9917" y="8509"/>
                </a:cubicBezTo>
                <a:moveTo>
                  <a:pt x="20127" y="3600"/>
                </a:moveTo>
                <a:cubicBezTo>
                  <a:pt x="19856" y="3600"/>
                  <a:pt x="19636" y="3197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9" y="1800"/>
                  <a:pt x="20618" y="2203"/>
                  <a:pt x="20618" y="2700"/>
                </a:cubicBezTo>
                <a:cubicBezTo>
                  <a:pt x="20618" y="3197"/>
                  <a:pt x="20399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08"/>
                  <a:pt x="18655" y="18900"/>
                </a:cubicBezTo>
                <a:cubicBezTo>
                  <a:pt x="18655" y="19217"/>
                  <a:pt x="18690" y="19517"/>
                  <a:pt x="18745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8"/>
                  <a:pt x="2286" y="16200"/>
                  <a:pt x="1473" y="16200"/>
                </a:cubicBezTo>
                <a:cubicBezTo>
                  <a:pt x="1300" y="16200"/>
                  <a:pt x="1136" y="16265"/>
                  <a:pt x="982" y="16365"/>
                </a:cubicBezTo>
                <a:lnTo>
                  <a:pt x="982" y="5234"/>
                </a:lnTo>
                <a:cubicBezTo>
                  <a:pt x="1136" y="5335"/>
                  <a:pt x="1300" y="5400"/>
                  <a:pt x="1473" y="5400"/>
                </a:cubicBezTo>
                <a:cubicBezTo>
                  <a:pt x="2286" y="5400"/>
                  <a:pt x="2945" y="4191"/>
                  <a:pt x="2945" y="2700"/>
                </a:cubicBezTo>
                <a:cubicBezTo>
                  <a:pt x="2945" y="2382"/>
                  <a:pt x="2910" y="2083"/>
                  <a:pt x="2855" y="1800"/>
                </a:cubicBezTo>
                <a:lnTo>
                  <a:pt x="18745" y="1800"/>
                </a:lnTo>
                <a:cubicBezTo>
                  <a:pt x="18690" y="2083"/>
                  <a:pt x="18655" y="2382"/>
                  <a:pt x="18655" y="2700"/>
                </a:cubicBezTo>
                <a:cubicBezTo>
                  <a:pt x="18655" y="4191"/>
                  <a:pt x="19314" y="5400"/>
                  <a:pt x="20127" y="5400"/>
                </a:cubicBezTo>
                <a:cubicBezTo>
                  <a:pt x="20300" y="5400"/>
                  <a:pt x="20464" y="5335"/>
                  <a:pt x="20618" y="5234"/>
                </a:cubicBezTo>
                <a:cubicBezTo>
                  <a:pt x="20618" y="5234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9" y="18000"/>
                  <a:pt x="20618" y="18403"/>
                  <a:pt x="20618" y="18900"/>
                </a:cubicBezTo>
                <a:cubicBezTo>
                  <a:pt x="20618" y="19397"/>
                  <a:pt x="20399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7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7"/>
                  <a:pt x="1744" y="3600"/>
                  <a:pt x="1473" y="3600"/>
                </a:cubicBezTo>
                <a:cubicBezTo>
                  <a:pt x="1201" y="3600"/>
                  <a:pt x="982" y="3197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  <a:moveTo>
                  <a:pt x="12385" y="13801"/>
                </a:moveTo>
                <a:cubicBezTo>
                  <a:pt x="12304" y="14141"/>
                  <a:pt x="12193" y="14422"/>
                  <a:pt x="12052" y="14646"/>
                </a:cubicBezTo>
                <a:cubicBezTo>
                  <a:pt x="11912" y="14871"/>
                  <a:pt x="11747" y="15042"/>
                  <a:pt x="11558" y="15160"/>
                </a:cubicBezTo>
                <a:cubicBezTo>
                  <a:pt x="11369" y="15278"/>
                  <a:pt x="11221" y="15345"/>
                  <a:pt x="11001" y="15362"/>
                </a:cubicBezTo>
                <a:lnTo>
                  <a:pt x="11001" y="16198"/>
                </a:lnTo>
                <a:lnTo>
                  <a:pt x="10605" y="16198"/>
                </a:lnTo>
                <a:lnTo>
                  <a:pt x="10605" y="15362"/>
                </a:lnTo>
                <a:cubicBezTo>
                  <a:pt x="10368" y="15353"/>
                  <a:pt x="10206" y="15284"/>
                  <a:pt x="10009" y="15154"/>
                </a:cubicBezTo>
                <a:cubicBezTo>
                  <a:pt x="9811" y="15023"/>
                  <a:pt x="9642" y="14837"/>
                  <a:pt x="9501" y="14596"/>
                </a:cubicBezTo>
                <a:cubicBezTo>
                  <a:pt x="9361" y="14356"/>
                  <a:pt x="9252" y="14061"/>
                  <a:pt x="9175" y="13710"/>
                </a:cubicBezTo>
                <a:cubicBezTo>
                  <a:pt x="9098" y="13359"/>
                  <a:pt x="9062" y="12956"/>
                  <a:pt x="9066" y="12498"/>
                </a:cubicBezTo>
                <a:lnTo>
                  <a:pt x="9818" y="12498"/>
                </a:lnTo>
                <a:cubicBezTo>
                  <a:pt x="9813" y="13036"/>
                  <a:pt x="9877" y="13461"/>
                  <a:pt x="10009" y="13770"/>
                </a:cubicBezTo>
                <a:cubicBezTo>
                  <a:pt x="10140" y="14081"/>
                  <a:pt x="10302" y="14244"/>
                  <a:pt x="10605" y="14261"/>
                </a:cubicBezTo>
                <a:lnTo>
                  <a:pt x="10605" y="11299"/>
                </a:lnTo>
                <a:cubicBezTo>
                  <a:pt x="10425" y="11209"/>
                  <a:pt x="10302" y="11101"/>
                  <a:pt x="10124" y="10974"/>
                </a:cubicBezTo>
                <a:cubicBezTo>
                  <a:pt x="9946" y="10849"/>
                  <a:pt x="9786" y="10686"/>
                  <a:pt x="9643" y="10485"/>
                </a:cubicBezTo>
                <a:cubicBezTo>
                  <a:pt x="9500" y="10285"/>
                  <a:pt x="9385" y="10035"/>
                  <a:pt x="9297" y="9733"/>
                </a:cubicBezTo>
                <a:cubicBezTo>
                  <a:pt x="9209" y="9431"/>
                  <a:pt x="9165" y="9056"/>
                  <a:pt x="9165" y="8607"/>
                </a:cubicBezTo>
                <a:cubicBezTo>
                  <a:pt x="9165" y="8216"/>
                  <a:pt x="9206" y="7871"/>
                  <a:pt x="9287" y="7574"/>
                </a:cubicBezTo>
                <a:cubicBezTo>
                  <a:pt x="9369" y="7276"/>
                  <a:pt x="9478" y="7026"/>
                  <a:pt x="9617" y="6827"/>
                </a:cubicBezTo>
                <a:cubicBezTo>
                  <a:pt x="9755" y="6627"/>
                  <a:pt x="9914" y="6474"/>
                  <a:pt x="10094" y="6368"/>
                </a:cubicBezTo>
                <a:cubicBezTo>
                  <a:pt x="10275" y="6262"/>
                  <a:pt x="10408" y="6209"/>
                  <a:pt x="10605" y="6209"/>
                </a:cubicBezTo>
                <a:lnTo>
                  <a:pt x="10605" y="5406"/>
                </a:lnTo>
                <a:lnTo>
                  <a:pt x="11001" y="5406"/>
                </a:lnTo>
                <a:lnTo>
                  <a:pt x="11001" y="6209"/>
                </a:lnTo>
                <a:cubicBezTo>
                  <a:pt x="11199" y="6209"/>
                  <a:pt x="11329" y="6257"/>
                  <a:pt x="11505" y="6356"/>
                </a:cubicBezTo>
                <a:cubicBezTo>
                  <a:pt x="11681" y="6454"/>
                  <a:pt x="11834" y="6601"/>
                  <a:pt x="11963" y="6796"/>
                </a:cubicBezTo>
                <a:cubicBezTo>
                  <a:pt x="12093" y="6992"/>
                  <a:pt x="12196" y="7241"/>
                  <a:pt x="12273" y="7543"/>
                </a:cubicBezTo>
                <a:cubicBezTo>
                  <a:pt x="12350" y="7845"/>
                  <a:pt x="12389" y="8195"/>
                  <a:pt x="12389" y="8594"/>
                </a:cubicBezTo>
                <a:lnTo>
                  <a:pt x="11637" y="8594"/>
                </a:lnTo>
                <a:cubicBezTo>
                  <a:pt x="11628" y="8179"/>
                  <a:pt x="11570" y="7860"/>
                  <a:pt x="11463" y="7641"/>
                </a:cubicBezTo>
                <a:cubicBezTo>
                  <a:pt x="11355" y="7420"/>
                  <a:pt x="11238" y="7311"/>
                  <a:pt x="11001" y="7311"/>
                </a:cubicBezTo>
                <a:lnTo>
                  <a:pt x="11001" y="9892"/>
                </a:lnTo>
                <a:cubicBezTo>
                  <a:pt x="11199" y="9990"/>
                  <a:pt x="11336" y="10104"/>
                  <a:pt x="11525" y="10235"/>
                </a:cubicBezTo>
                <a:cubicBezTo>
                  <a:pt x="11714" y="10365"/>
                  <a:pt x="11881" y="10532"/>
                  <a:pt x="12026" y="10736"/>
                </a:cubicBezTo>
                <a:cubicBezTo>
                  <a:pt x="12171" y="10940"/>
                  <a:pt x="12287" y="11193"/>
                  <a:pt x="12375" y="11495"/>
                </a:cubicBezTo>
                <a:cubicBezTo>
                  <a:pt x="12463" y="11797"/>
                  <a:pt x="12507" y="12168"/>
                  <a:pt x="12507" y="12608"/>
                </a:cubicBezTo>
                <a:cubicBezTo>
                  <a:pt x="12507" y="13065"/>
                  <a:pt x="12466" y="13463"/>
                  <a:pt x="12385" y="13801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6"/>
                  <a:pt x="8631" y="18000"/>
                  <a:pt x="10800" y="18000"/>
                </a:cubicBezTo>
                <a:cubicBezTo>
                  <a:pt x="12969" y="18000"/>
                  <a:pt x="14727" y="14776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2"/>
                  <a:pt x="3927" y="4500"/>
                </a:cubicBezTo>
                <a:cubicBezTo>
                  <a:pt x="3927" y="4997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7"/>
                  <a:pt x="5891" y="4500"/>
                </a:cubicBezTo>
                <a:cubicBezTo>
                  <a:pt x="5891" y="4002"/>
                  <a:pt x="5671" y="3600"/>
                  <a:pt x="5400" y="360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799" name="Shape 2799"/>
          <p:cNvSpPr/>
          <p:nvPr/>
        </p:nvSpPr>
        <p:spPr>
          <a:xfrm>
            <a:off x="5680208" y="1464632"/>
            <a:ext cx="279328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16" y="11782"/>
                </a:moveTo>
                <a:cubicBezTo>
                  <a:pt x="9916" y="11929"/>
                  <a:pt x="9939" y="12054"/>
                  <a:pt x="9982" y="12159"/>
                </a:cubicBezTo>
                <a:cubicBezTo>
                  <a:pt x="10026" y="12263"/>
                  <a:pt x="10082" y="12351"/>
                  <a:pt x="10151" y="12425"/>
                </a:cubicBezTo>
                <a:cubicBezTo>
                  <a:pt x="10219" y="12498"/>
                  <a:pt x="10298" y="12557"/>
                  <a:pt x="10388" y="12604"/>
                </a:cubicBezTo>
                <a:cubicBezTo>
                  <a:pt x="10478" y="12650"/>
                  <a:pt x="10513" y="12688"/>
                  <a:pt x="10605" y="12719"/>
                </a:cubicBezTo>
                <a:lnTo>
                  <a:pt x="10605" y="10882"/>
                </a:lnTo>
                <a:cubicBezTo>
                  <a:pt x="10368" y="10882"/>
                  <a:pt x="10241" y="10952"/>
                  <a:pt x="10111" y="11090"/>
                </a:cubicBezTo>
                <a:cubicBezTo>
                  <a:pt x="9981" y="11227"/>
                  <a:pt x="9916" y="11458"/>
                  <a:pt x="9916" y="11782"/>
                </a:cubicBezTo>
                <a:moveTo>
                  <a:pt x="11501" y="14278"/>
                </a:moveTo>
                <a:cubicBezTo>
                  <a:pt x="11425" y="14199"/>
                  <a:pt x="11338" y="14135"/>
                  <a:pt x="11242" y="14086"/>
                </a:cubicBezTo>
                <a:cubicBezTo>
                  <a:pt x="11145" y="14037"/>
                  <a:pt x="11102" y="13994"/>
                  <a:pt x="11001" y="13958"/>
                </a:cubicBezTo>
                <a:lnTo>
                  <a:pt x="11001" y="16096"/>
                </a:lnTo>
                <a:cubicBezTo>
                  <a:pt x="11238" y="16071"/>
                  <a:pt x="11377" y="15975"/>
                  <a:pt x="11528" y="15806"/>
                </a:cubicBezTo>
                <a:cubicBezTo>
                  <a:pt x="11680" y="15638"/>
                  <a:pt x="11756" y="15371"/>
                  <a:pt x="11756" y="15004"/>
                </a:cubicBezTo>
                <a:cubicBezTo>
                  <a:pt x="11756" y="14833"/>
                  <a:pt x="11733" y="14689"/>
                  <a:pt x="11686" y="14572"/>
                </a:cubicBezTo>
                <a:cubicBezTo>
                  <a:pt x="11640" y="14456"/>
                  <a:pt x="11579" y="14358"/>
                  <a:pt x="11501" y="14278"/>
                </a:cubicBezTo>
                <a:moveTo>
                  <a:pt x="12385" y="15751"/>
                </a:moveTo>
                <a:cubicBezTo>
                  <a:pt x="12304" y="16006"/>
                  <a:pt x="12193" y="16216"/>
                  <a:pt x="12052" y="16385"/>
                </a:cubicBezTo>
                <a:cubicBezTo>
                  <a:pt x="11911" y="16553"/>
                  <a:pt x="11747" y="16681"/>
                  <a:pt x="11558" y="16770"/>
                </a:cubicBezTo>
                <a:cubicBezTo>
                  <a:pt x="11369" y="16859"/>
                  <a:pt x="11221" y="16910"/>
                  <a:pt x="11001" y="16922"/>
                </a:cubicBezTo>
                <a:lnTo>
                  <a:pt x="11001" y="17549"/>
                </a:lnTo>
                <a:lnTo>
                  <a:pt x="10605" y="17549"/>
                </a:lnTo>
                <a:lnTo>
                  <a:pt x="10605" y="16922"/>
                </a:lnTo>
                <a:cubicBezTo>
                  <a:pt x="10368" y="16915"/>
                  <a:pt x="10206" y="16863"/>
                  <a:pt x="10009" y="16766"/>
                </a:cubicBezTo>
                <a:cubicBezTo>
                  <a:pt x="9811" y="16667"/>
                  <a:pt x="9642" y="16528"/>
                  <a:pt x="9501" y="16348"/>
                </a:cubicBezTo>
                <a:cubicBezTo>
                  <a:pt x="9361" y="16168"/>
                  <a:pt x="9252" y="15946"/>
                  <a:pt x="9175" y="15683"/>
                </a:cubicBezTo>
                <a:cubicBezTo>
                  <a:pt x="9098" y="15420"/>
                  <a:pt x="9062" y="15117"/>
                  <a:pt x="9066" y="14775"/>
                </a:cubicBezTo>
                <a:lnTo>
                  <a:pt x="9818" y="14775"/>
                </a:lnTo>
                <a:cubicBezTo>
                  <a:pt x="9813" y="15178"/>
                  <a:pt x="9877" y="15496"/>
                  <a:pt x="10009" y="15729"/>
                </a:cubicBezTo>
                <a:cubicBezTo>
                  <a:pt x="10140" y="15961"/>
                  <a:pt x="10302" y="16083"/>
                  <a:pt x="10605" y="16096"/>
                </a:cubicBezTo>
                <a:lnTo>
                  <a:pt x="10605" y="13875"/>
                </a:lnTo>
                <a:cubicBezTo>
                  <a:pt x="10425" y="13807"/>
                  <a:pt x="10302" y="13726"/>
                  <a:pt x="10124" y="13631"/>
                </a:cubicBezTo>
                <a:cubicBezTo>
                  <a:pt x="9946" y="13537"/>
                  <a:pt x="9786" y="13414"/>
                  <a:pt x="9643" y="13264"/>
                </a:cubicBezTo>
                <a:cubicBezTo>
                  <a:pt x="9500" y="13115"/>
                  <a:pt x="9385" y="12927"/>
                  <a:pt x="9297" y="12700"/>
                </a:cubicBezTo>
                <a:cubicBezTo>
                  <a:pt x="9209" y="12474"/>
                  <a:pt x="9165" y="12192"/>
                  <a:pt x="9165" y="11855"/>
                </a:cubicBezTo>
                <a:cubicBezTo>
                  <a:pt x="9165" y="11562"/>
                  <a:pt x="9206" y="11304"/>
                  <a:pt x="9287" y="11080"/>
                </a:cubicBezTo>
                <a:cubicBezTo>
                  <a:pt x="9369" y="10857"/>
                  <a:pt x="9478" y="10670"/>
                  <a:pt x="9617" y="10520"/>
                </a:cubicBezTo>
                <a:cubicBezTo>
                  <a:pt x="9755" y="10370"/>
                  <a:pt x="9914" y="10256"/>
                  <a:pt x="10094" y="10176"/>
                </a:cubicBezTo>
                <a:cubicBezTo>
                  <a:pt x="10274" y="10097"/>
                  <a:pt x="10407" y="10057"/>
                  <a:pt x="10605" y="10057"/>
                </a:cubicBezTo>
                <a:lnTo>
                  <a:pt x="10605" y="9455"/>
                </a:lnTo>
                <a:lnTo>
                  <a:pt x="11001" y="9455"/>
                </a:lnTo>
                <a:lnTo>
                  <a:pt x="11001" y="10057"/>
                </a:lnTo>
                <a:cubicBezTo>
                  <a:pt x="11199" y="10057"/>
                  <a:pt x="11329" y="10093"/>
                  <a:pt x="11505" y="10167"/>
                </a:cubicBezTo>
                <a:cubicBezTo>
                  <a:pt x="11681" y="10240"/>
                  <a:pt x="11834" y="10350"/>
                  <a:pt x="11963" y="10498"/>
                </a:cubicBezTo>
                <a:cubicBezTo>
                  <a:pt x="12093" y="10644"/>
                  <a:pt x="12196" y="10831"/>
                  <a:pt x="12273" y="11057"/>
                </a:cubicBezTo>
                <a:cubicBezTo>
                  <a:pt x="12350" y="11284"/>
                  <a:pt x="12388" y="11547"/>
                  <a:pt x="12388" y="11847"/>
                </a:cubicBezTo>
                <a:lnTo>
                  <a:pt x="11637" y="11847"/>
                </a:lnTo>
                <a:cubicBezTo>
                  <a:pt x="11628" y="11534"/>
                  <a:pt x="11570" y="11296"/>
                  <a:pt x="11463" y="11130"/>
                </a:cubicBezTo>
                <a:cubicBezTo>
                  <a:pt x="11355" y="10965"/>
                  <a:pt x="11238" y="10882"/>
                  <a:pt x="11001" y="10882"/>
                </a:cubicBezTo>
                <a:lnTo>
                  <a:pt x="11001" y="12819"/>
                </a:lnTo>
                <a:cubicBezTo>
                  <a:pt x="11199" y="12894"/>
                  <a:pt x="11336" y="12978"/>
                  <a:pt x="11525" y="13076"/>
                </a:cubicBezTo>
                <a:cubicBezTo>
                  <a:pt x="11714" y="13175"/>
                  <a:pt x="11881" y="13300"/>
                  <a:pt x="12026" y="13453"/>
                </a:cubicBezTo>
                <a:cubicBezTo>
                  <a:pt x="12171" y="13605"/>
                  <a:pt x="12287" y="13795"/>
                  <a:pt x="12375" y="14021"/>
                </a:cubicBezTo>
                <a:cubicBezTo>
                  <a:pt x="12463" y="14248"/>
                  <a:pt x="12507" y="14526"/>
                  <a:pt x="12507" y="14857"/>
                </a:cubicBezTo>
                <a:cubicBezTo>
                  <a:pt x="12507" y="15199"/>
                  <a:pt x="12466" y="15497"/>
                  <a:pt x="12385" y="15751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3"/>
                  <a:pt x="8631" y="18900"/>
                  <a:pt x="10800" y="18900"/>
                </a:cubicBezTo>
                <a:cubicBezTo>
                  <a:pt x="12969" y="18900"/>
                  <a:pt x="14727" y="16483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6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6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00" name="Shape 2800"/>
          <p:cNvSpPr/>
          <p:nvPr/>
        </p:nvSpPr>
        <p:spPr>
          <a:xfrm>
            <a:off x="880859" y="2010590"/>
            <a:ext cx="279328" cy="1777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208" y="15258"/>
                </a:moveTo>
                <a:cubicBezTo>
                  <a:pt x="10138" y="15500"/>
                  <a:pt x="10044" y="15701"/>
                  <a:pt x="9923" y="15861"/>
                </a:cubicBezTo>
                <a:cubicBezTo>
                  <a:pt x="9802" y="16022"/>
                  <a:pt x="9660" y="16144"/>
                  <a:pt x="9499" y="16228"/>
                </a:cubicBezTo>
                <a:cubicBezTo>
                  <a:pt x="9362" y="16300"/>
                  <a:pt x="9243" y="16340"/>
                  <a:pt x="9097" y="16360"/>
                </a:cubicBezTo>
                <a:lnTo>
                  <a:pt x="9097" y="16971"/>
                </a:lnTo>
                <a:lnTo>
                  <a:pt x="8606" y="16971"/>
                </a:lnTo>
                <a:lnTo>
                  <a:pt x="8606" y="16361"/>
                </a:lnTo>
                <a:cubicBezTo>
                  <a:pt x="8446" y="16345"/>
                  <a:pt x="8316" y="16304"/>
                  <a:pt x="8171" y="16224"/>
                </a:cubicBezTo>
                <a:cubicBezTo>
                  <a:pt x="8001" y="16130"/>
                  <a:pt x="7856" y="15998"/>
                  <a:pt x="7736" y="15826"/>
                </a:cubicBezTo>
                <a:cubicBezTo>
                  <a:pt x="7615" y="15655"/>
                  <a:pt x="7522" y="15443"/>
                  <a:pt x="7456" y="15193"/>
                </a:cubicBezTo>
                <a:cubicBezTo>
                  <a:pt x="7390" y="14942"/>
                  <a:pt x="7359" y="14654"/>
                  <a:pt x="7363" y="14327"/>
                </a:cubicBezTo>
                <a:lnTo>
                  <a:pt x="8007" y="14327"/>
                </a:lnTo>
                <a:cubicBezTo>
                  <a:pt x="8003" y="14712"/>
                  <a:pt x="8058" y="15015"/>
                  <a:pt x="8171" y="15236"/>
                </a:cubicBezTo>
                <a:cubicBezTo>
                  <a:pt x="8270" y="15431"/>
                  <a:pt x="8403" y="15530"/>
                  <a:pt x="8606" y="15563"/>
                </a:cubicBezTo>
                <a:lnTo>
                  <a:pt x="8606" y="13432"/>
                </a:lnTo>
                <a:cubicBezTo>
                  <a:pt x="8492" y="13376"/>
                  <a:pt x="8395" y="13313"/>
                  <a:pt x="8270" y="13239"/>
                </a:cubicBezTo>
                <a:cubicBezTo>
                  <a:pt x="8118" y="13149"/>
                  <a:pt x="7980" y="13033"/>
                  <a:pt x="7857" y="12890"/>
                </a:cubicBezTo>
                <a:cubicBezTo>
                  <a:pt x="7735" y="12746"/>
                  <a:pt x="7636" y="12568"/>
                  <a:pt x="7561" y="12352"/>
                </a:cubicBezTo>
                <a:cubicBezTo>
                  <a:pt x="7485" y="12136"/>
                  <a:pt x="7448" y="11868"/>
                  <a:pt x="7448" y="11548"/>
                </a:cubicBezTo>
                <a:cubicBezTo>
                  <a:pt x="7448" y="11268"/>
                  <a:pt x="7483" y="11023"/>
                  <a:pt x="7553" y="10809"/>
                </a:cubicBezTo>
                <a:cubicBezTo>
                  <a:pt x="7622" y="10596"/>
                  <a:pt x="7716" y="10419"/>
                  <a:pt x="7835" y="10276"/>
                </a:cubicBezTo>
                <a:cubicBezTo>
                  <a:pt x="7954" y="10134"/>
                  <a:pt x="8090" y="10024"/>
                  <a:pt x="8244" y="9948"/>
                </a:cubicBezTo>
                <a:cubicBezTo>
                  <a:pt x="8373" y="9885"/>
                  <a:pt x="8479" y="9855"/>
                  <a:pt x="8606" y="9844"/>
                </a:cubicBezTo>
                <a:lnTo>
                  <a:pt x="8606" y="9257"/>
                </a:lnTo>
                <a:lnTo>
                  <a:pt x="9097" y="9257"/>
                </a:lnTo>
                <a:lnTo>
                  <a:pt x="9097" y="9844"/>
                </a:lnTo>
                <a:cubicBezTo>
                  <a:pt x="9224" y="9853"/>
                  <a:pt x="9328" y="9881"/>
                  <a:pt x="9453" y="9939"/>
                </a:cubicBezTo>
                <a:cubicBezTo>
                  <a:pt x="9605" y="10009"/>
                  <a:pt x="9735" y="10114"/>
                  <a:pt x="9847" y="10255"/>
                </a:cubicBezTo>
                <a:cubicBezTo>
                  <a:pt x="9957" y="10394"/>
                  <a:pt x="10046" y="10572"/>
                  <a:pt x="10112" y="10788"/>
                </a:cubicBezTo>
                <a:cubicBezTo>
                  <a:pt x="10178" y="11003"/>
                  <a:pt x="10211" y="11254"/>
                  <a:pt x="10211" y="11540"/>
                </a:cubicBezTo>
                <a:lnTo>
                  <a:pt x="9567" y="11540"/>
                </a:lnTo>
                <a:cubicBezTo>
                  <a:pt x="9559" y="11242"/>
                  <a:pt x="9509" y="11015"/>
                  <a:pt x="9417" y="10857"/>
                </a:cubicBezTo>
                <a:cubicBezTo>
                  <a:pt x="9339" y="10725"/>
                  <a:pt x="9243" y="10661"/>
                  <a:pt x="9097" y="10640"/>
                </a:cubicBezTo>
                <a:lnTo>
                  <a:pt x="9097" y="12504"/>
                </a:lnTo>
                <a:cubicBezTo>
                  <a:pt x="9226" y="12565"/>
                  <a:pt x="9336" y="12633"/>
                  <a:pt x="9471" y="12710"/>
                </a:cubicBezTo>
                <a:cubicBezTo>
                  <a:pt x="9633" y="12804"/>
                  <a:pt x="9776" y="12923"/>
                  <a:pt x="9900" y="13069"/>
                </a:cubicBezTo>
                <a:cubicBezTo>
                  <a:pt x="10024" y="13215"/>
                  <a:pt x="10124" y="13395"/>
                  <a:pt x="10200" y="13610"/>
                </a:cubicBezTo>
                <a:cubicBezTo>
                  <a:pt x="10275" y="13827"/>
                  <a:pt x="10312" y="14091"/>
                  <a:pt x="10312" y="14407"/>
                </a:cubicBezTo>
                <a:cubicBezTo>
                  <a:pt x="10312" y="14732"/>
                  <a:pt x="10278" y="15016"/>
                  <a:pt x="10208" y="152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6"/>
                  <a:pt x="6938" y="18514"/>
                  <a:pt x="8836" y="18514"/>
                </a:cubicBezTo>
                <a:cubicBezTo>
                  <a:pt x="10734" y="18514"/>
                  <a:pt x="12273" y="16096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0"/>
                  <a:pt x="3927" y="1543"/>
                </a:cubicBezTo>
                <a:lnTo>
                  <a:pt x="3927" y="2314"/>
                </a:lnTo>
                <a:cubicBezTo>
                  <a:pt x="3927" y="2740"/>
                  <a:pt x="4147" y="3086"/>
                  <a:pt x="4418" y="3086"/>
                </a:cubicBezTo>
                <a:cubicBezTo>
                  <a:pt x="4689" y="3086"/>
                  <a:pt x="4909" y="2740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0"/>
                  <a:pt x="21600" y="15429"/>
                </a:cubicBezTo>
                <a:lnTo>
                  <a:pt x="21600" y="1543"/>
                </a:lnTo>
                <a:cubicBezTo>
                  <a:pt x="21600" y="690"/>
                  <a:pt x="21160" y="0"/>
                  <a:pt x="20618" y="0"/>
                </a:cubicBezTo>
                <a:moveTo>
                  <a:pt x="9451" y="13856"/>
                </a:moveTo>
                <a:cubicBezTo>
                  <a:pt x="9385" y="13780"/>
                  <a:pt x="9310" y="13718"/>
                  <a:pt x="9228" y="13671"/>
                </a:cubicBezTo>
                <a:cubicBezTo>
                  <a:pt x="9175" y="13642"/>
                  <a:pt x="9137" y="13616"/>
                  <a:pt x="9097" y="13590"/>
                </a:cubicBezTo>
                <a:lnTo>
                  <a:pt x="9097" y="15560"/>
                </a:lnTo>
                <a:cubicBezTo>
                  <a:pt x="9250" y="15523"/>
                  <a:pt x="9363" y="15447"/>
                  <a:pt x="9473" y="15311"/>
                </a:cubicBezTo>
                <a:cubicBezTo>
                  <a:pt x="9604" y="15151"/>
                  <a:pt x="9668" y="14896"/>
                  <a:pt x="9668" y="14545"/>
                </a:cubicBezTo>
                <a:cubicBezTo>
                  <a:pt x="9668" y="14383"/>
                  <a:pt x="9649" y="14246"/>
                  <a:pt x="9609" y="14135"/>
                </a:cubicBezTo>
                <a:cubicBezTo>
                  <a:pt x="9570" y="14024"/>
                  <a:pt x="9517" y="13931"/>
                  <a:pt x="9451" y="13856"/>
                </a:cubicBezTo>
                <a:moveTo>
                  <a:pt x="13255" y="16971"/>
                </a:moveTo>
                <a:cubicBezTo>
                  <a:pt x="12983" y="16971"/>
                  <a:pt x="12764" y="17316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6"/>
                  <a:pt x="13525" y="16971"/>
                  <a:pt x="13255" y="16971"/>
                </a:cubicBezTo>
                <a:moveTo>
                  <a:pt x="16200" y="7714"/>
                </a:moveTo>
                <a:cubicBezTo>
                  <a:pt x="15928" y="7714"/>
                  <a:pt x="15709" y="7369"/>
                  <a:pt x="15709" y="6943"/>
                </a:cubicBezTo>
                <a:cubicBezTo>
                  <a:pt x="15709" y="6516"/>
                  <a:pt x="15928" y="6171"/>
                  <a:pt x="16200" y="6171"/>
                </a:cubicBezTo>
                <a:cubicBezTo>
                  <a:pt x="16471" y="6171"/>
                  <a:pt x="16691" y="6516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7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7"/>
                  <a:pt x="14762" y="19814"/>
                  <a:pt x="14817" y="20057"/>
                </a:cubicBezTo>
                <a:lnTo>
                  <a:pt x="2855" y="20057"/>
                </a:lnTo>
                <a:cubicBezTo>
                  <a:pt x="2910" y="19814"/>
                  <a:pt x="2945" y="19557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7"/>
                  <a:pt x="982" y="17113"/>
                </a:cubicBezTo>
                <a:lnTo>
                  <a:pt x="982" y="9115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1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2" y="6414"/>
                  <a:pt x="14727" y="6671"/>
                  <a:pt x="14727" y="6943"/>
                </a:cubicBezTo>
                <a:cubicBezTo>
                  <a:pt x="14727" y="8221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5"/>
                </a:cubicBezTo>
                <a:cubicBezTo>
                  <a:pt x="16691" y="9115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8" y="20057"/>
                  <a:pt x="15709" y="19712"/>
                  <a:pt x="15709" y="19286"/>
                </a:cubicBezTo>
                <a:cubicBezTo>
                  <a:pt x="15709" y="18859"/>
                  <a:pt x="15928" y="18514"/>
                  <a:pt x="16200" y="18514"/>
                </a:cubicBezTo>
                <a:cubicBezTo>
                  <a:pt x="16471" y="18514"/>
                  <a:pt x="16691" y="18859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59"/>
                  <a:pt x="1201" y="18514"/>
                  <a:pt x="1473" y="18514"/>
                </a:cubicBezTo>
                <a:cubicBezTo>
                  <a:pt x="1744" y="18514"/>
                  <a:pt x="1964" y="18859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6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6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39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39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092" y="11478"/>
                </a:moveTo>
                <a:cubicBezTo>
                  <a:pt x="8092" y="11618"/>
                  <a:pt x="8111" y="11738"/>
                  <a:pt x="8149" y="11836"/>
                </a:cubicBezTo>
                <a:cubicBezTo>
                  <a:pt x="8186" y="11936"/>
                  <a:pt x="8234" y="12020"/>
                  <a:pt x="8293" y="12090"/>
                </a:cubicBezTo>
                <a:cubicBezTo>
                  <a:pt x="8351" y="12160"/>
                  <a:pt x="8419" y="12217"/>
                  <a:pt x="8496" y="12260"/>
                </a:cubicBezTo>
                <a:cubicBezTo>
                  <a:pt x="8542" y="12286"/>
                  <a:pt x="8573" y="12310"/>
                  <a:pt x="8606" y="12330"/>
                </a:cubicBezTo>
                <a:lnTo>
                  <a:pt x="8606" y="10637"/>
                </a:lnTo>
                <a:cubicBezTo>
                  <a:pt x="8457" y="10653"/>
                  <a:pt x="8353" y="10708"/>
                  <a:pt x="8258" y="10818"/>
                </a:cubicBezTo>
                <a:cubicBezTo>
                  <a:pt x="8147" y="10949"/>
                  <a:pt x="8092" y="11170"/>
                  <a:pt x="8092" y="11478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01" name="Shape 2801"/>
          <p:cNvSpPr/>
          <p:nvPr/>
        </p:nvSpPr>
        <p:spPr>
          <a:xfrm>
            <a:off x="1414120" y="2023286"/>
            <a:ext cx="279328" cy="1523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58" y="9506"/>
                </a:moveTo>
                <a:lnTo>
                  <a:pt x="11671" y="10299"/>
                </a:lnTo>
                <a:lnTo>
                  <a:pt x="9907" y="10299"/>
                </a:lnTo>
                <a:cubicBezTo>
                  <a:pt x="9902" y="10340"/>
                  <a:pt x="9900" y="10398"/>
                  <a:pt x="9900" y="10472"/>
                </a:cubicBezTo>
                <a:lnTo>
                  <a:pt x="9900" y="10757"/>
                </a:lnTo>
                <a:cubicBezTo>
                  <a:pt x="9900" y="10972"/>
                  <a:pt x="9902" y="11100"/>
                  <a:pt x="9907" y="11141"/>
                </a:cubicBezTo>
                <a:lnTo>
                  <a:pt x="11570" y="11141"/>
                </a:lnTo>
                <a:lnTo>
                  <a:pt x="11390" y="11921"/>
                </a:lnTo>
                <a:lnTo>
                  <a:pt x="9943" y="11921"/>
                </a:lnTo>
                <a:cubicBezTo>
                  <a:pt x="10001" y="12589"/>
                  <a:pt x="10123" y="13114"/>
                  <a:pt x="10311" y="13494"/>
                </a:cubicBezTo>
                <a:cubicBezTo>
                  <a:pt x="10527" y="13964"/>
                  <a:pt x="10819" y="14199"/>
                  <a:pt x="11189" y="14199"/>
                </a:cubicBezTo>
                <a:cubicBezTo>
                  <a:pt x="11429" y="14199"/>
                  <a:pt x="11628" y="14134"/>
                  <a:pt x="11786" y="14001"/>
                </a:cubicBezTo>
                <a:cubicBezTo>
                  <a:pt x="11930" y="13878"/>
                  <a:pt x="12093" y="13671"/>
                  <a:pt x="12276" y="13382"/>
                </a:cubicBezTo>
                <a:lnTo>
                  <a:pt x="12276" y="14756"/>
                </a:lnTo>
                <a:cubicBezTo>
                  <a:pt x="11949" y="15119"/>
                  <a:pt x="11587" y="15301"/>
                  <a:pt x="11189" y="15301"/>
                </a:cubicBezTo>
                <a:cubicBezTo>
                  <a:pt x="10546" y="15301"/>
                  <a:pt x="10044" y="14963"/>
                  <a:pt x="9683" y="14287"/>
                </a:cubicBezTo>
                <a:cubicBezTo>
                  <a:pt x="9372" y="13700"/>
                  <a:pt x="9177" y="12912"/>
                  <a:pt x="9100" y="11921"/>
                </a:cubicBezTo>
                <a:lnTo>
                  <a:pt x="8546" y="11921"/>
                </a:lnTo>
                <a:lnTo>
                  <a:pt x="8740" y="11141"/>
                </a:lnTo>
                <a:lnTo>
                  <a:pt x="9065" y="11141"/>
                </a:lnTo>
                <a:cubicBezTo>
                  <a:pt x="9060" y="11083"/>
                  <a:pt x="9056" y="11022"/>
                  <a:pt x="9054" y="10955"/>
                </a:cubicBezTo>
                <a:cubicBezTo>
                  <a:pt x="9051" y="10889"/>
                  <a:pt x="9050" y="10819"/>
                  <a:pt x="9050" y="10744"/>
                </a:cubicBezTo>
                <a:cubicBezTo>
                  <a:pt x="9050" y="10687"/>
                  <a:pt x="9051" y="10620"/>
                  <a:pt x="9054" y="10547"/>
                </a:cubicBezTo>
                <a:cubicBezTo>
                  <a:pt x="9056" y="10472"/>
                  <a:pt x="9060" y="10389"/>
                  <a:pt x="9065" y="10299"/>
                </a:cubicBezTo>
                <a:lnTo>
                  <a:pt x="8546" y="10299"/>
                </a:lnTo>
                <a:lnTo>
                  <a:pt x="8734" y="9506"/>
                </a:lnTo>
                <a:lnTo>
                  <a:pt x="9115" y="9506"/>
                </a:lnTo>
                <a:cubicBezTo>
                  <a:pt x="9235" y="8557"/>
                  <a:pt x="9453" y="7806"/>
                  <a:pt x="9770" y="7253"/>
                </a:cubicBezTo>
                <a:cubicBezTo>
                  <a:pt x="10140" y="6617"/>
                  <a:pt x="10612" y="6299"/>
                  <a:pt x="11189" y="6299"/>
                </a:cubicBezTo>
                <a:cubicBezTo>
                  <a:pt x="11606" y="6299"/>
                  <a:pt x="12034" y="6555"/>
                  <a:pt x="12470" y="7066"/>
                </a:cubicBezTo>
                <a:lnTo>
                  <a:pt x="12139" y="8193"/>
                </a:lnTo>
                <a:cubicBezTo>
                  <a:pt x="11832" y="7666"/>
                  <a:pt x="11496" y="7401"/>
                  <a:pt x="11131" y="7401"/>
                </a:cubicBezTo>
                <a:cubicBezTo>
                  <a:pt x="10809" y="7401"/>
                  <a:pt x="10541" y="7620"/>
                  <a:pt x="10325" y="8058"/>
                </a:cubicBezTo>
                <a:cubicBezTo>
                  <a:pt x="10142" y="8445"/>
                  <a:pt x="10020" y="8929"/>
                  <a:pt x="9957" y="9506"/>
                </a:cubicBezTo>
                <a:cubicBezTo>
                  <a:pt x="9957" y="9506"/>
                  <a:pt x="11858" y="9506"/>
                  <a:pt x="11858" y="9506"/>
                </a:cubicBezTo>
                <a:close/>
                <a:moveTo>
                  <a:pt x="10800" y="3601"/>
                </a:moveTo>
                <a:cubicBezTo>
                  <a:pt x="8631" y="3601"/>
                  <a:pt x="6873" y="6824"/>
                  <a:pt x="6873" y="10799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799"/>
                </a:cubicBezTo>
                <a:cubicBezTo>
                  <a:pt x="14727" y="6824"/>
                  <a:pt x="12969" y="3601"/>
                  <a:pt x="10800" y="3601"/>
                </a:cubicBezTo>
                <a:moveTo>
                  <a:pt x="5400" y="3601"/>
                </a:moveTo>
                <a:lnTo>
                  <a:pt x="4418" y="3601"/>
                </a:lnTo>
                <a:cubicBezTo>
                  <a:pt x="4147" y="3601"/>
                  <a:pt x="3927" y="4003"/>
                  <a:pt x="3927" y="4501"/>
                </a:cubicBezTo>
                <a:cubicBezTo>
                  <a:pt x="3927" y="4998"/>
                  <a:pt x="4147" y="5401"/>
                  <a:pt x="4418" y="5401"/>
                </a:cubicBezTo>
                <a:lnTo>
                  <a:pt x="5400" y="5401"/>
                </a:lnTo>
                <a:cubicBezTo>
                  <a:pt x="5671" y="5401"/>
                  <a:pt x="5891" y="4998"/>
                  <a:pt x="5891" y="4501"/>
                </a:cubicBezTo>
                <a:cubicBezTo>
                  <a:pt x="5891" y="4003"/>
                  <a:pt x="5671" y="3601"/>
                  <a:pt x="5400" y="3601"/>
                </a:cubicBezTo>
                <a:moveTo>
                  <a:pt x="17182" y="16199"/>
                </a:moveTo>
                <a:lnTo>
                  <a:pt x="16200" y="16199"/>
                </a:lnTo>
                <a:cubicBezTo>
                  <a:pt x="15929" y="16199"/>
                  <a:pt x="15709" y="16603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3"/>
                  <a:pt x="17453" y="16199"/>
                  <a:pt x="17182" y="16199"/>
                </a:cubicBezTo>
                <a:moveTo>
                  <a:pt x="20127" y="3601"/>
                </a:moveTo>
                <a:cubicBezTo>
                  <a:pt x="19856" y="3601"/>
                  <a:pt x="19636" y="3198"/>
                  <a:pt x="19636" y="2701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1"/>
                </a:cubicBezTo>
                <a:cubicBezTo>
                  <a:pt x="20618" y="3198"/>
                  <a:pt x="20398" y="3601"/>
                  <a:pt x="20127" y="3601"/>
                </a:cubicBezTo>
                <a:moveTo>
                  <a:pt x="20618" y="16365"/>
                </a:moveTo>
                <a:cubicBezTo>
                  <a:pt x="20464" y="16264"/>
                  <a:pt x="20300" y="16199"/>
                  <a:pt x="20127" y="16199"/>
                </a:cubicBezTo>
                <a:cubicBezTo>
                  <a:pt x="19314" y="16199"/>
                  <a:pt x="18655" y="17409"/>
                  <a:pt x="18655" y="18900"/>
                </a:cubicBezTo>
                <a:cubicBezTo>
                  <a:pt x="18655" y="19217"/>
                  <a:pt x="18689" y="19517"/>
                  <a:pt x="18744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9"/>
                  <a:pt x="2286" y="16199"/>
                  <a:pt x="1473" y="16199"/>
                </a:cubicBezTo>
                <a:cubicBezTo>
                  <a:pt x="1299" y="16199"/>
                  <a:pt x="1136" y="16264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1"/>
                  <a:pt x="1473" y="5401"/>
                </a:cubicBezTo>
                <a:cubicBezTo>
                  <a:pt x="2286" y="5401"/>
                  <a:pt x="2945" y="4192"/>
                  <a:pt x="2945" y="2701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89" y="2083"/>
                  <a:pt x="18655" y="2383"/>
                  <a:pt x="18655" y="2701"/>
                </a:cubicBezTo>
                <a:cubicBezTo>
                  <a:pt x="18655" y="4192"/>
                  <a:pt x="19314" y="5401"/>
                  <a:pt x="20127" y="5401"/>
                </a:cubicBezTo>
                <a:cubicBezTo>
                  <a:pt x="20300" y="5401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2"/>
                  <a:pt x="19856" y="18000"/>
                  <a:pt x="20127" y="18000"/>
                </a:cubicBezTo>
                <a:cubicBezTo>
                  <a:pt x="20398" y="18000"/>
                  <a:pt x="20618" y="18402"/>
                  <a:pt x="20618" y="18900"/>
                </a:cubicBezTo>
                <a:cubicBezTo>
                  <a:pt x="20618" y="19397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2" y="19800"/>
                  <a:pt x="982" y="19397"/>
                  <a:pt x="982" y="18900"/>
                </a:cubicBezTo>
                <a:cubicBezTo>
                  <a:pt x="982" y="18402"/>
                  <a:pt x="1202" y="18000"/>
                  <a:pt x="1473" y="18000"/>
                </a:cubicBezTo>
                <a:cubicBezTo>
                  <a:pt x="1744" y="18000"/>
                  <a:pt x="1964" y="18402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1"/>
                </a:cubicBezTo>
                <a:cubicBezTo>
                  <a:pt x="1964" y="3198"/>
                  <a:pt x="1744" y="3601"/>
                  <a:pt x="1473" y="3601"/>
                </a:cubicBezTo>
                <a:cubicBezTo>
                  <a:pt x="1202" y="3601"/>
                  <a:pt x="982" y="3198"/>
                  <a:pt x="982" y="2701"/>
                </a:cubicBezTo>
                <a:cubicBezTo>
                  <a:pt x="982" y="2203"/>
                  <a:pt x="1202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3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02" name="Shape 2802"/>
          <p:cNvSpPr/>
          <p:nvPr/>
        </p:nvSpPr>
        <p:spPr>
          <a:xfrm>
            <a:off x="1947381" y="1997893"/>
            <a:ext cx="279328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  <a:moveTo>
                  <a:pt x="11858" y="12529"/>
                </a:moveTo>
                <a:lnTo>
                  <a:pt x="11671" y="13124"/>
                </a:lnTo>
                <a:lnTo>
                  <a:pt x="9908" y="13124"/>
                </a:lnTo>
                <a:cubicBezTo>
                  <a:pt x="9902" y="13155"/>
                  <a:pt x="9900" y="13198"/>
                  <a:pt x="9900" y="13254"/>
                </a:cubicBezTo>
                <a:lnTo>
                  <a:pt x="9900" y="13468"/>
                </a:lnTo>
                <a:cubicBezTo>
                  <a:pt x="9900" y="13629"/>
                  <a:pt x="9902" y="13725"/>
                  <a:pt x="9908" y="13756"/>
                </a:cubicBezTo>
                <a:lnTo>
                  <a:pt x="11570" y="13756"/>
                </a:lnTo>
                <a:lnTo>
                  <a:pt x="11391" y="14340"/>
                </a:lnTo>
                <a:lnTo>
                  <a:pt x="9943" y="14340"/>
                </a:lnTo>
                <a:cubicBezTo>
                  <a:pt x="10001" y="14842"/>
                  <a:pt x="10124" y="15236"/>
                  <a:pt x="10311" y="15520"/>
                </a:cubicBezTo>
                <a:cubicBezTo>
                  <a:pt x="10527" y="15873"/>
                  <a:pt x="10819" y="16050"/>
                  <a:pt x="11189" y="16050"/>
                </a:cubicBezTo>
                <a:cubicBezTo>
                  <a:pt x="11429" y="16050"/>
                  <a:pt x="11628" y="16000"/>
                  <a:pt x="11787" y="15901"/>
                </a:cubicBezTo>
                <a:cubicBezTo>
                  <a:pt x="11930" y="15808"/>
                  <a:pt x="12093" y="15654"/>
                  <a:pt x="12276" y="15437"/>
                </a:cubicBezTo>
                <a:lnTo>
                  <a:pt x="12276" y="16468"/>
                </a:lnTo>
                <a:cubicBezTo>
                  <a:pt x="11950" y="16741"/>
                  <a:pt x="11587" y="16876"/>
                  <a:pt x="11189" y="16876"/>
                </a:cubicBezTo>
                <a:cubicBezTo>
                  <a:pt x="10546" y="16876"/>
                  <a:pt x="10044" y="16623"/>
                  <a:pt x="9684" y="16114"/>
                </a:cubicBezTo>
                <a:cubicBezTo>
                  <a:pt x="9372" y="15676"/>
                  <a:pt x="9177" y="15084"/>
                  <a:pt x="9101" y="14340"/>
                </a:cubicBezTo>
                <a:lnTo>
                  <a:pt x="8547" y="14340"/>
                </a:lnTo>
                <a:lnTo>
                  <a:pt x="8741" y="13756"/>
                </a:lnTo>
                <a:lnTo>
                  <a:pt x="9065" y="13756"/>
                </a:lnTo>
                <a:cubicBezTo>
                  <a:pt x="9060" y="13712"/>
                  <a:pt x="9056" y="13666"/>
                  <a:pt x="9054" y="13617"/>
                </a:cubicBezTo>
                <a:cubicBezTo>
                  <a:pt x="9051" y="13567"/>
                  <a:pt x="9050" y="13515"/>
                  <a:pt x="9050" y="13458"/>
                </a:cubicBezTo>
                <a:cubicBezTo>
                  <a:pt x="9050" y="13416"/>
                  <a:pt x="9051" y="13366"/>
                  <a:pt x="9054" y="13310"/>
                </a:cubicBezTo>
                <a:cubicBezTo>
                  <a:pt x="9056" y="13254"/>
                  <a:pt x="9060" y="13192"/>
                  <a:pt x="9065" y="13124"/>
                </a:cubicBezTo>
                <a:lnTo>
                  <a:pt x="8547" y="13124"/>
                </a:lnTo>
                <a:lnTo>
                  <a:pt x="8734" y="12529"/>
                </a:lnTo>
                <a:lnTo>
                  <a:pt x="9115" y="12529"/>
                </a:lnTo>
                <a:cubicBezTo>
                  <a:pt x="9235" y="11818"/>
                  <a:pt x="9453" y="11254"/>
                  <a:pt x="9770" y="10840"/>
                </a:cubicBezTo>
                <a:cubicBezTo>
                  <a:pt x="10140" y="10363"/>
                  <a:pt x="10613" y="10124"/>
                  <a:pt x="11189" y="10124"/>
                </a:cubicBezTo>
                <a:cubicBezTo>
                  <a:pt x="11607" y="10124"/>
                  <a:pt x="12034" y="10316"/>
                  <a:pt x="12470" y="10700"/>
                </a:cubicBezTo>
                <a:lnTo>
                  <a:pt x="12139" y="11545"/>
                </a:lnTo>
                <a:cubicBezTo>
                  <a:pt x="11832" y="11150"/>
                  <a:pt x="11496" y="10951"/>
                  <a:pt x="11131" y="10951"/>
                </a:cubicBezTo>
                <a:cubicBezTo>
                  <a:pt x="10809" y="10951"/>
                  <a:pt x="10541" y="11115"/>
                  <a:pt x="10325" y="11443"/>
                </a:cubicBezTo>
                <a:cubicBezTo>
                  <a:pt x="10143" y="11734"/>
                  <a:pt x="10020" y="12097"/>
                  <a:pt x="9958" y="12529"/>
                </a:cubicBezTo>
                <a:cubicBezTo>
                  <a:pt x="9958" y="12529"/>
                  <a:pt x="11858" y="12529"/>
                  <a:pt x="11858" y="12529"/>
                </a:cubicBezTo>
                <a:close/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8" y="6750"/>
                  <a:pt x="20618" y="7052"/>
                  <a:pt x="20618" y="7425"/>
                </a:cubicBezTo>
                <a:cubicBezTo>
                  <a:pt x="20618" y="7798"/>
                  <a:pt x="20398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9"/>
                  <a:pt x="18745" y="20250"/>
                </a:cubicBezTo>
                <a:lnTo>
                  <a:pt x="2855" y="20250"/>
                </a:lnTo>
                <a:cubicBezTo>
                  <a:pt x="2910" y="20039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299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299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8" y="18900"/>
                  <a:pt x="20618" y="19203"/>
                  <a:pt x="20618" y="19575"/>
                </a:cubicBezTo>
                <a:cubicBezTo>
                  <a:pt x="20618" y="19948"/>
                  <a:pt x="20398" y="20250"/>
                  <a:pt x="20127" y="20250"/>
                </a:cubicBezTo>
                <a:moveTo>
                  <a:pt x="1473" y="20250"/>
                </a:moveTo>
                <a:cubicBezTo>
                  <a:pt x="1202" y="20250"/>
                  <a:pt x="982" y="19948"/>
                  <a:pt x="982" y="19575"/>
                </a:cubicBezTo>
                <a:cubicBezTo>
                  <a:pt x="982" y="19203"/>
                  <a:pt x="1202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2" y="8100"/>
                  <a:pt x="982" y="7798"/>
                  <a:pt x="982" y="7425"/>
                </a:cubicBezTo>
                <a:cubicBezTo>
                  <a:pt x="982" y="7052"/>
                  <a:pt x="1202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5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5"/>
                  <a:pt x="21160" y="5400"/>
                  <a:pt x="20618" y="54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6" y="4050"/>
                  <a:pt x="19636" y="3748"/>
                  <a:pt x="19636" y="3375"/>
                </a:cubicBezTo>
                <a:cubicBezTo>
                  <a:pt x="19636" y="3002"/>
                  <a:pt x="19416" y="2700"/>
                  <a:pt x="19145" y="2700"/>
                </a:cubicBezTo>
                <a:lnTo>
                  <a:pt x="2455" y="2700"/>
                </a:lnTo>
                <a:cubicBezTo>
                  <a:pt x="2184" y="2700"/>
                  <a:pt x="1964" y="3002"/>
                  <a:pt x="1964" y="3375"/>
                </a:cubicBezTo>
                <a:cubicBezTo>
                  <a:pt x="1964" y="3748"/>
                  <a:pt x="2184" y="4050"/>
                  <a:pt x="2455" y="405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03" name="Shape 2803"/>
          <p:cNvSpPr/>
          <p:nvPr/>
        </p:nvSpPr>
        <p:spPr>
          <a:xfrm>
            <a:off x="2480642" y="2010590"/>
            <a:ext cx="279328" cy="1777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34" y="12227"/>
                </a:moveTo>
                <a:lnTo>
                  <a:pt x="9494" y="12771"/>
                </a:lnTo>
                <a:lnTo>
                  <a:pt x="8171" y="12771"/>
                </a:lnTo>
                <a:cubicBezTo>
                  <a:pt x="8167" y="12799"/>
                  <a:pt x="8165" y="12839"/>
                  <a:pt x="8165" y="12890"/>
                </a:cubicBezTo>
                <a:lnTo>
                  <a:pt x="8165" y="13085"/>
                </a:lnTo>
                <a:cubicBezTo>
                  <a:pt x="8165" y="13232"/>
                  <a:pt x="8167" y="13320"/>
                  <a:pt x="8171" y="13348"/>
                </a:cubicBezTo>
                <a:lnTo>
                  <a:pt x="9418" y="13348"/>
                </a:lnTo>
                <a:lnTo>
                  <a:pt x="9283" y="13883"/>
                </a:lnTo>
                <a:lnTo>
                  <a:pt x="8198" y="13883"/>
                </a:lnTo>
                <a:cubicBezTo>
                  <a:pt x="8241" y="14342"/>
                  <a:pt x="8333" y="14701"/>
                  <a:pt x="8473" y="14961"/>
                </a:cubicBezTo>
                <a:cubicBezTo>
                  <a:pt x="8635" y="15284"/>
                  <a:pt x="8855" y="15445"/>
                  <a:pt x="9132" y="15445"/>
                </a:cubicBezTo>
                <a:cubicBezTo>
                  <a:pt x="9312" y="15445"/>
                  <a:pt x="9461" y="15401"/>
                  <a:pt x="9580" y="15310"/>
                </a:cubicBezTo>
                <a:cubicBezTo>
                  <a:pt x="9688" y="15225"/>
                  <a:pt x="9810" y="15084"/>
                  <a:pt x="9947" y="14885"/>
                </a:cubicBezTo>
                <a:lnTo>
                  <a:pt x="9947" y="15828"/>
                </a:lnTo>
                <a:cubicBezTo>
                  <a:pt x="9702" y="16076"/>
                  <a:pt x="9430" y="16202"/>
                  <a:pt x="9132" y="16202"/>
                </a:cubicBezTo>
                <a:cubicBezTo>
                  <a:pt x="8649" y="16202"/>
                  <a:pt x="8273" y="15970"/>
                  <a:pt x="8003" y="15505"/>
                </a:cubicBezTo>
                <a:cubicBezTo>
                  <a:pt x="7769" y="15104"/>
                  <a:pt x="7623" y="14562"/>
                  <a:pt x="7566" y="13883"/>
                </a:cubicBezTo>
                <a:lnTo>
                  <a:pt x="7150" y="13883"/>
                </a:lnTo>
                <a:lnTo>
                  <a:pt x="7296" y="13348"/>
                </a:lnTo>
                <a:lnTo>
                  <a:pt x="7539" y="13348"/>
                </a:lnTo>
                <a:cubicBezTo>
                  <a:pt x="7536" y="13309"/>
                  <a:pt x="7532" y="13267"/>
                  <a:pt x="7530" y="13221"/>
                </a:cubicBezTo>
                <a:cubicBezTo>
                  <a:pt x="7529" y="13175"/>
                  <a:pt x="7528" y="13127"/>
                  <a:pt x="7528" y="13077"/>
                </a:cubicBezTo>
                <a:cubicBezTo>
                  <a:pt x="7528" y="13037"/>
                  <a:pt x="7529" y="12991"/>
                  <a:pt x="7530" y="12941"/>
                </a:cubicBezTo>
                <a:cubicBezTo>
                  <a:pt x="7532" y="12890"/>
                  <a:pt x="7536" y="12833"/>
                  <a:pt x="7539" y="12771"/>
                </a:cubicBezTo>
                <a:lnTo>
                  <a:pt x="7150" y="12771"/>
                </a:lnTo>
                <a:lnTo>
                  <a:pt x="7291" y="12227"/>
                </a:lnTo>
                <a:lnTo>
                  <a:pt x="7577" y="12227"/>
                </a:lnTo>
                <a:cubicBezTo>
                  <a:pt x="7667" y="11576"/>
                  <a:pt x="7831" y="11061"/>
                  <a:pt x="8068" y="10682"/>
                </a:cubicBezTo>
                <a:cubicBezTo>
                  <a:pt x="8345" y="10247"/>
                  <a:pt x="8700" y="10028"/>
                  <a:pt x="9132" y="10028"/>
                </a:cubicBezTo>
                <a:cubicBezTo>
                  <a:pt x="9445" y="10028"/>
                  <a:pt x="9766" y="10203"/>
                  <a:pt x="10093" y="10554"/>
                </a:cubicBezTo>
                <a:lnTo>
                  <a:pt x="9845" y="11327"/>
                </a:lnTo>
                <a:cubicBezTo>
                  <a:pt x="9614" y="10965"/>
                  <a:pt x="9362" y="10783"/>
                  <a:pt x="9089" y="10783"/>
                </a:cubicBezTo>
                <a:cubicBezTo>
                  <a:pt x="8847" y="10783"/>
                  <a:pt x="8646" y="10934"/>
                  <a:pt x="8484" y="11234"/>
                </a:cubicBezTo>
                <a:cubicBezTo>
                  <a:pt x="8347" y="11500"/>
                  <a:pt x="8255" y="11831"/>
                  <a:pt x="8209" y="12227"/>
                </a:cubicBezTo>
                <a:cubicBezTo>
                  <a:pt x="8209" y="12227"/>
                  <a:pt x="9634" y="12227"/>
                  <a:pt x="9634" y="12227"/>
                </a:cubicBezTo>
                <a:close/>
                <a:moveTo>
                  <a:pt x="8836" y="7714"/>
                </a:moveTo>
                <a:cubicBezTo>
                  <a:pt x="6938" y="7714"/>
                  <a:pt x="5400" y="10133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3"/>
                  <a:pt x="10734" y="7714"/>
                  <a:pt x="8836" y="7714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8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8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2" y="20057"/>
                  <a:pt x="982" y="19712"/>
                  <a:pt x="982" y="19286"/>
                </a:cubicBezTo>
                <a:cubicBezTo>
                  <a:pt x="982" y="18860"/>
                  <a:pt x="1202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2" y="7714"/>
                  <a:pt x="982" y="7369"/>
                  <a:pt x="982" y="6943"/>
                </a:cubicBezTo>
                <a:cubicBezTo>
                  <a:pt x="982" y="6517"/>
                  <a:pt x="1202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89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5" y="15429"/>
                  <a:pt x="18655" y="15775"/>
                  <a:pt x="18655" y="16200"/>
                </a:cubicBezTo>
                <a:cubicBezTo>
                  <a:pt x="18655" y="16626"/>
                  <a:pt x="18875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3255" y="16971"/>
                </a:moveTo>
                <a:cubicBezTo>
                  <a:pt x="12984" y="16971"/>
                  <a:pt x="12764" y="17317"/>
                  <a:pt x="12764" y="17743"/>
                </a:cubicBezTo>
                <a:cubicBezTo>
                  <a:pt x="12764" y="18169"/>
                  <a:pt x="12984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7"/>
                  <a:pt x="13525" y="16971"/>
                  <a:pt x="13255" y="16971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04" name="Shape 2804"/>
          <p:cNvSpPr/>
          <p:nvPr/>
        </p:nvSpPr>
        <p:spPr>
          <a:xfrm>
            <a:off x="3013903" y="2023287"/>
            <a:ext cx="279328" cy="1523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1057"/>
                </a:moveTo>
                <a:lnTo>
                  <a:pt x="10114" y="13116"/>
                </a:lnTo>
                <a:cubicBezTo>
                  <a:pt x="10458" y="13273"/>
                  <a:pt x="11518" y="13902"/>
                  <a:pt x="11675" y="12740"/>
                </a:cubicBezTo>
                <a:cubicBezTo>
                  <a:pt x="11839" y="11528"/>
                  <a:pt x="10736" y="11215"/>
                  <a:pt x="10393" y="11057"/>
                </a:cubicBezTo>
                <a:moveTo>
                  <a:pt x="10772" y="8246"/>
                </a:moveTo>
                <a:lnTo>
                  <a:pt x="10520" y="10114"/>
                </a:lnTo>
                <a:cubicBezTo>
                  <a:pt x="10806" y="10246"/>
                  <a:pt x="11689" y="10782"/>
                  <a:pt x="11832" y="9726"/>
                </a:cubicBezTo>
                <a:cubicBezTo>
                  <a:pt x="11981" y="8623"/>
                  <a:pt x="11059" y="8378"/>
                  <a:pt x="10772" y="8246"/>
                </a:cubicBezTo>
                <a:moveTo>
                  <a:pt x="12833" y="9742"/>
                </a:moveTo>
                <a:cubicBezTo>
                  <a:pt x="12767" y="10572"/>
                  <a:pt x="12517" y="10974"/>
                  <a:pt x="12186" y="11116"/>
                </a:cubicBezTo>
                <a:cubicBezTo>
                  <a:pt x="12641" y="11552"/>
                  <a:pt x="12872" y="12224"/>
                  <a:pt x="12652" y="13386"/>
                </a:cubicBezTo>
                <a:cubicBezTo>
                  <a:pt x="12378" y="14828"/>
                  <a:pt x="11728" y="14950"/>
                  <a:pt x="10863" y="14648"/>
                </a:cubicBezTo>
                <a:lnTo>
                  <a:pt x="10653" y="16200"/>
                </a:lnTo>
                <a:lnTo>
                  <a:pt x="10146" y="15966"/>
                </a:lnTo>
                <a:lnTo>
                  <a:pt x="10353" y="14435"/>
                </a:lnTo>
                <a:cubicBezTo>
                  <a:pt x="10222" y="14376"/>
                  <a:pt x="10088" y="14311"/>
                  <a:pt x="9949" y="14242"/>
                </a:cubicBezTo>
                <a:lnTo>
                  <a:pt x="9741" y="15780"/>
                </a:lnTo>
                <a:lnTo>
                  <a:pt x="9235" y="15548"/>
                </a:lnTo>
                <a:lnTo>
                  <a:pt x="9444" y="13993"/>
                </a:lnTo>
                <a:cubicBezTo>
                  <a:pt x="9326" y="13936"/>
                  <a:pt x="9206" y="13877"/>
                  <a:pt x="9083" y="13820"/>
                </a:cubicBezTo>
                <a:lnTo>
                  <a:pt x="8423" y="13517"/>
                </a:lnTo>
                <a:lnTo>
                  <a:pt x="8675" y="12446"/>
                </a:lnTo>
                <a:cubicBezTo>
                  <a:pt x="8675" y="12446"/>
                  <a:pt x="9049" y="12629"/>
                  <a:pt x="9043" y="12615"/>
                </a:cubicBezTo>
                <a:cubicBezTo>
                  <a:pt x="9187" y="12681"/>
                  <a:pt x="9251" y="12509"/>
                  <a:pt x="9276" y="12393"/>
                </a:cubicBezTo>
                <a:lnTo>
                  <a:pt x="9607" y="9940"/>
                </a:lnTo>
                <a:cubicBezTo>
                  <a:pt x="9626" y="9949"/>
                  <a:pt x="9644" y="9957"/>
                  <a:pt x="9661" y="9965"/>
                </a:cubicBezTo>
                <a:cubicBezTo>
                  <a:pt x="9641" y="9950"/>
                  <a:pt x="9623" y="9940"/>
                  <a:pt x="9608" y="9933"/>
                </a:cubicBezTo>
                <a:lnTo>
                  <a:pt x="9845" y="8183"/>
                </a:lnTo>
                <a:cubicBezTo>
                  <a:pt x="9851" y="7984"/>
                  <a:pt x="9814" y="7733"/>
                  <a:pt x="9608" y="7639"/>
                </a:cubicBezTo>
                <a:cubicBezTo>
                  <a:pt x="9616" y="7629"/>
                  <a:pt x="9240" y="7469"/>
                  <a:pt x="9240" y="7469"/>
                </a:cubicBezTo>
                <a:lnTo>
                  <a:pt x="9375" y="6471"/>
                </a:lnTo>
                <a:lnTo>
                  <a:pt x="10074" y="6793"/>
                </a:lnTo>
                <a:lnTo>
                  <a:pt x="10074" y="6798"/>
                </a:lnTo>
                <a:cubicBezTo>
                  <a:pt x="10179" y="6845"/>
                  <a:pt x="10288" y="6892"/>
                  <a:pt x="10398" y="6937"/>
                </a:cubicBezTo>
                <a:lnTo>
                  <a:pt x="10606" y="5401"/>
                </a:lnTo>
                <a:lnTo>
                  <a:pt x="11113" y="5634"/>
                </a:lnTo>
                <a:lnTo>
                  <a:pt x="10909" y="7140"/>
                </a:lnTo>
                <a:cubicBezTo>
                  <a:pt x="11045" y="7197"/>
                  <a:pt x="11182" y="7255"/>
                  <a:pt x="11315" y="7317"/>
                </a:cubicBezTo>
                <a:lnTo>
                  <a:pt x="11517" y="5821"/>
                </a:lnTo>
                <a:lnTo>
                  <a:pt x="12025" y="6054"/>
                </a:lnTo>
                <a:lnTo>
                  <a:pt x="11817" y="7590"/>
                </a:lnTo>
                <a:cubicBezTo>
                  <a:pt x="12457" y="7998"/>
                  <a:pt x="12926" y="8607"/>
                  <a:pt x="12833" y="9742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8" y="16200"/>
                  <a:pt x="15709" y="16603"/>
                  <a:pt x="15709" y="17100"/>
                </a:cubicBezTo>
                <a:cubicBezTo>
                  <a:pt x="15709" y="17598"/>
                  <a:pt x="15928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8"/>
                  <a:pt x="17673" y="17100"/>
                </a:cubicBezTo>
                <a:cubicBezTo>
                  <a:pt x="17673" y="16603"/>
                  <a:pt x="17453" y="16200"/>
                  <a:pt x="17182" y="162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3"/>
                  <a:pt x="3927" y="4500"/>
                </a:cubicBezTo>
                <a:cubicBezTo>
                  <a:pt x="3927" y="4998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8"/>
                  <a:pt x="5891" y="4500"/>
                </a:cubicBezTo>
                <a:cubicBezTo>
                  <a:pt x="5891" y="4003"/>
                  <a:pt x="5671" y="3600"/>
                  <a:pt x="5400" y="3600"/>
                </a:cubicBezTo>
                <a:moveTo>
                  <a:pt x="20127" y="3600"/>
                </a:moveTo>
                <a:cubicBezTo>
                  <a:pt x="19856" y="3600"/>
                  <a:pt x="19636" y="3198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0"/>
                </a:cubicBezTo>
                <a:cubicBezTo>
                  <a:pt x="20618" y="3198"/>
                  <a:pt x="20398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10"/>
                  <a:pt x="18655" y="18900"/>
                </a:cubicBezTo>
                <a:cubicBezTo>
                  <a:pt x="18655" y="19217"/>
                  <a:pt x="18690" y="19518"/>
                  <a:pt x="18744" y="19800"/>
                </a:cubicBezTo>
                <a:lnTo>
                  <a:pt x="2855" y="19800"/>
                </a:lnTo>
                <a:cubicBezTo>
                  <a:pt x="2910" y="19518"/>
                  <a:pt x="2945" y="19217"/>
                  <a:pt x="2945" y="18900"/>
                </a:cubicBezTo>
                <a:cubicBezTo>
                  <a:pt x="2945" y="17410"/>
                  <a:pt x="2286" y="16200"/>
                  <a:pt x="1473" y="16200"/>
                </a:cubicBezTo>
                <a:cubicBezTo>
                  <a:pt x="1299" y="16200"/>
                  <a:pt x="1136" y="16265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0"/>
                  <a:pt x="1473" y="5400"/>
                </a:cubicBezTo>
                <a:cubicBezTo>
                  <a:pt x="2286" y="5400"/>
                  <a:pt x="2945" y="4192"/>
                  <a:pt x="2945" y="2700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90" y="2083"/>
                  <a:pt x="18655" y="2383"/>
                  <a:pt x="18655" y="2700"/>
                </a:cubicBezTo>
                <a:cubicBezTo>
                  <a:pt x="18655" y="4192"/>
                  <a:pt x="19314" y="5400"/>
                  <a:pt x="20127" y="5400"/>
                </a:cubicBezTo>
                <a:cubicBezTo>
                  <a:pt x="20300" y="5400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8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8" y="18000"/>
                  <a:pt x="20618" y="18403"/>
                  <a:pt x="20618" y="18900"/>
                </a:cubicBezTo>
                <a:cubicBezTo>
                  <a:pt x="20618" y="19398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8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8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8"/>
                  <a:pt x="1744" y="3600"/>
                  <a:pt x="1473" y="3600"/>
                </a:cubicBezTo>
                <a:cubicBezTo>
                  <a:pt x="1201" y="3600"/>
                  <a:pt x="982" y="3198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05" name="Shape 2805"/>
          <p:cNvSpPr/>
          <p:nvPr/>
        </p:nvSpPr>
        <p:spPr>
          <a:xfrm>
            <a:off x="3547164" y="1997893"/>
            <a:ext cx="279328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3692"/>
                </a:moveTo>
                <a:lnTo>
                  <a:pt x="10114" y="15237"/>
                </a:lnTo>
                <a:cubicBezTo>
                  <a:pt x="10458" y="15355"/>
                  <a:pt x="11518" y="15826"/>
                  <a:pt x="11675" y="14955"/>
                </a:cubicBezTo>
                <a:cubicBezTo>
                  <a:pt x="11839" y="14046"/>
                  <a:pt x="10737" y="13811"/>
                  <a:pt x="10393" y="13692"/>
                </a:cubicBezTo>
                <a:moveTo>
                  <a:pt x="12834" y="12706"/>
                </a:moveTo>
                <a:cubicBezTo>
                  <a:pt x="12767" y="13329"/>
                  <a:pt x="12517" y="13631"/>
                  <a:pt x="12186" y="13737"/>
                </a:cubicBezTo>
                <a:cubicBezTo>
                  <a:pt x="12641" y="14064"/>
                  <a:pt x="12873" y="14567"/>
                  <a:pt x="12652" y="15439"/>
                </a:cubicBezTo>
                <a:cubicBezTo>
                  <a:pt x="12378" y="16521"/>
                  <a:pt x="11728" y="16613"/>
                  <a:pt x="10863" y="16386"/>
                </a:cubicBezTo>
                <a:lnTo>
                  <a:pt x="10653" y="17550"/>
                </a:lnTo>
                <a:lnTo>
                  <a:pt x="10147" y="17375"/>
                </a:lnTo>
                <a:lnTo>
                  <a:pt x="10354" y="16227"/>
                </a:lnTo>
                <a:cubicBezTo>
                  <a:pt x="10222" y="16182"/>
                  <a:pt x="10088" y="16133"/>
                  <a:pt x="9950" y="16081"/>
                </a:cubicBezTo>
                <a:lnTo>
                  <a:pt x="9741" y="17235"/>
                </a:lnTo>
                <a:lnTo>
                  <a:pt x="9235" y="17061"/>
                </a:lnTo>
                <a:lnTo>
                  <a:pt x="9445" y="15894"/>
                </a:lnTo>
                <a:cubicBezTo>
                  <a:pt x="9326" y="15852"/>
                  <a:pt x="9206" y="15808"/>
                  <a:pt x="9083" y="15765"/>
                </a:cubicBezTo>
                <a:lnTo>
                  <a:pt x="8424" y="15538"/>
                </a:lnTo>
                <a:lnTo>
                  <a:pt x="8675" y="14735"/>
                </a:lnTo>
                <a:cubicBezTo>
                  <a:pt x="8675" y="14735"/>
                  <a:pt x="9049" y="14872"/>
                  <a:pt x="9044" y="14862"/>
                </a:cubicBezTo>
                <a:cubicBezTo>
                  <a:pt x="9187" y="14911"/>
                  <a:pt x="9251" y="14781"/>
                  <a:pt x="9276" y="14695"/>
                </a:cubicBezTo>
                <a:lnTo>
                  <a:pt x="9608" y="12855"/>
                </a:lnTo>
                <a:cubicBezTo>
                  <a:pt x="9626" y="12862"/>
                  <a:pt x="9645" y="12868"/>
                  <a:pt x="9661" y="12874"/>
                </a:cubicBezTo>
                <a:cubicBezTo>
                  <a:pt x="9641" y="12862"/>
                  <a:pt x="9623" y="12855"/>
                  <a:pt x="9609" y="12850"/>
                </a:cubicBezTo>
                <a:lnTo>
                  <a:pt x="9845" y="11537"/>
                </a:lnTo>
                <a:cubicBezTo>
                  <a:pt x="9852" y="11388"/>
                  <a:pt x="9814" y="11200"/>
                  <a:pt x="9609" y="11129"/>
                </a:cubicBezTo>
                <a:cubicBezTo>
                  <a:pt x="9617" y="11121"/>
                  <a:pt x="9241" y="11002"/>
                  <a:pt x="9241" y="11002"/>
                </a:cubicBezTo>
                <a:lnTo>
                  <a:pt x="9376" y="10253"/>
                </a:lnTo>
                <a:lnTo>
                  <a:pt x="10075" y="10494"/>
                </a:lnTo>
                <a:lnTo>
                  <a:pt x="10074" y="10498"/>
                </a:lnTo>
                <a:cubicBezTo>
                  <a:pt x="10180" y="10534"/>
                  <a:pt x="10288" y="10569"/>
                  <a:pt x="10398" y="10603"/>
                </a:cubicBezTo>
                <a:lnTo>
                  <a:pt x="10606" y="9451"/>
                </a:lnTo>
                <a:lnTo>
                  <a:pt x="11113" y="9626"/>
                </a:lnTo>
                <a:lnTo>
                  <a:pt x="10909" y="10755"/>
                </a:lnTo>
                <a:cubicBezTo>
                  <a:pt x="11045" y="10798"/>
                  <a:pt x="11182" y="10842"/>
                  <a:pt x="11316" y="10887"/>
                </a:cubicBezTo>
                <a:lnTo>
                  <a:pt x="11518" y="9765"/>
                </a:lnTo>
                <a:lnTo>
                  <a:pt x="12025" y="9940"/>
                </a:lnTo>
                <a:lnTo>
                  <a:pt x="11817" y="11093"/>
                </a:lnTo>
                <a:cubicBezTo>
                  <a:pt x="12457" y="11398"/>
                  <a:pt x="12926" y="11855"/>
                  <a:pt x="12834" y="12706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2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2"/>
                  <a:pt x="5671" y="8100"/>
                  <a:pt x="54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3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3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10773" y="11584"/>
                </a:moveTo>
                <a:lnTo>
                  <a:pt x="10520" y="12985"/>
                </a:lnTo>
                <a:cubicBezTo>
                  <a:pt x="10807" y="13084"/>
                  <a:pt x="11689" y="13487"/>
                  <a:pt x="11832" y="12694"/>
                </a:cubicBezTo>
                <a:cubicBezTo>
                  <a:pt x="11981" y="11867"/>
                  <a:pt x="11059" y="11683"/>
                  <a:pt x="10773" y="11584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5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5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06" name="Shape 2806"/>
          <p:cNvSpPr/>
          <p:nvPr/>
        </p:nvSpPr>
        <p:spPr>
          <a:xfrm>
            <a:off x="4080425" y="2010590"/>
            <a:ext cx="279328" cy="1777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442" y="12358"/>
                </a:moveTo>
                <a:cubicBezTo>
                  <a:pt x="10390" y="12952"/>
                  <a:pt x="10196" y="13240"/>
                  <a:pt x="9938" y="13340"/>
                </a:cubicBezTo>
                <a:cubicBezTo>
                  <a:pt x="10292" y="13653"/>
                  <a:pt x="10472" y="14131"/>
                  <a:pt x="10300" y="14961"/>
                </a:cubicBezTo>
                <a:cubicBezTo>
                  <a:pt x="10088" y="15991"/>
                  <a:pt x="9582" y="16078"/>
                  <a:pt x="8910" y="15863"/>
                </a:cubicBezTo>
                <a:lnTo>
                  <a:pt x="8746" y="16971"/>
                </a:lnTo>
                <a:lnTo>
                  <a:pt x="8352" y="16805"/>
                </a:lnTo>
                <a:lnTo>
                  <a:pt x="8513" y="15711"/>
                </a:lnTo>
                <a:cubicBezTo>
                  <a:pt x="8411" y="15668"/>
                  <a:pt x="8306" y="15622"/>
                  <a:pt x="8199" y="15573"/>
                </a:cubicBezTo>
                <a:lnTo>
                  <a:pt x="8037" y="16672"/>
                </a:lnTo>
                <a:lnTo>
                  <a:pt x="7643" y="16505"/>
                </a:lnTo>
                <a:lnTo>
                  <a:pt x="7806" y="15395"/>
                </a:lnTo>
                <a:cubicBezTo>
                  <a:pt x="7714" y="15355"/>
                  <a:pt x="7621" y="15312"/>
                  <a:pt x="7525" y="15272"/>
                </a:cubicBezTo>
                <a:lnTo>
                  <a:pt x="7012" y="15055"/>
                </a:lnTo>
                <a:lnTo>
                  <a:pt x="7207" y="14290"/>
                </a:lnTo>
                <a:cubicBezTo>
                  <a:pt x="7207" y="14290"/>
                  <a:pt x="7498" y="14421"/>
                  <a:pt x="7495" y="14412"/>
                </a:cubicBezTo>
                <a:cubicBezTo>
                  <a:pt x="7606" y="14459"/>
                  <a:pt x="7656" y="14335"/>
                  <a:pt x="7675" y="14252"/>
                </a:cubicBezTo>
                <a:lnTo>
                  <a:pt x="7933" y="12501"/>
                </a:lnTo>
                <a:cubicBezTo>
                  <a:pt x="7948" y="12506"/>
                  <a:pt x="7961" y="12512"/>
                  <a:pt x="7974" y="12518"/>
                </a:cubicBezTo>
                <a:cubicBezTo>
                  <a:pt x="7959" y="12507"/>
                  <a:pt x="7945" y="12501"/>
                  <a:pt x="7934" y="12495"/>
                </a:cubicBezTo>
                <a:lnTo>
                  <a:pt x="8118" y="11245"/>
                </a:lnTo>
                <a:cubicBezTo>
                  <a:pt x="8122" y="11103"/>
                  <a:pt x="8093" y="10924"/>
                  <a:pt x="7934" y="10856"/>
                </a:cubicBezTo>
                <a:cubicBezTo>
                  <a:pt x="7940" y="10849"/>
                  <a:pt x="7647" y="10735"/>
                  <a:pt x="7647" y="10735"/>
                </a:cubicBezTo>
                <a:lnTo>
                  <a:pt x="7752" y="10022"/>
                </a:lnTo>
                <a:lnTo>
                  <a:pt x="8297" y="10252"/>
                </a:lnTo>
                <a:lnTo>
                  <a:pt x="8296" y="10255"/>
                </a:lnTo>
                <a:cubicBezTo>
                  <a:pt x="8378" y="10289"/>
                  <a:pt x="8462" y="10322"/>
                  <a:pt x="8548" y="10356"/>
                </a:cubicBezTo>
                <a:lnTo>
                  <a:pt x="8709" y="9258"/>
                </a:lnTo>
                <a:lnTo>
                  <a:pt x="9103" y="9424"/>
                </a:lnTo>
                <a:lnTo>
                  <a:pt x="8945" y="10500"/>
                </a:lnTo>
                <a:cubicBezTo>
                  <a:pt x="9051" y="10541"/>
                  <a:pt x="9158" y="10582"/>
                  <a:pt x="9261" y="10627"/>
                </a:cubicBezTo>
                <a:lnTo>
                  <a:pt x="9418" y="9557"/>
                </a:lnTo>
                <a:lnTo>
                  <a:pt x="9813" y="9724"/>
                </a:lnTo>
                <a:lnTo>
                  <a:pt x="9651" y="10822"/>
                </a:lnTo>
                <a:cubicBezTo>
                  <a:pt x="10149" y="11112"/>
                  <a:pt x="10513" y="11548"/>
                  <a:pt x="10442" y="123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13255" y="16971"/>
                </a:moveTo>
                <a:cubicBezTo>
                  <a:pt x="12983" y="16971"/>
                  <a:pt x="12764" y="17318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6" y="18514"/>
                  <a:pt x="13745" y="18169"/>
                  <a:pt x="13745" y="17743"/>
                </a:cubicBezTo>
                <a:cubicBezTo>
                  <a:pt x="13745" y="17318"/>
                  <a:pt x="13526" y="16971"/>
                  <a:pt x="13255" y="16971"/>
                </a:cubicBezTo>
                <a:moveTo>
                  <a:pt x="8839" y="11290"/>
                </a:moveTo>
                <a:lnTo>
                  <a:pt x="8643" y="12624"/>
                </a:lnTo>
                <a:cubicBezTo>
                  <a:pt x="8865" y="12718"/>
                  <a:pt x="9552" y="13102"/>
                  <a:pt x="9663" y="12347"/>
                </a:cubicBezTo>
                <a:cubicBezTo>
                  <a:pt x="9778" y="11559"/>
                  <a:pt x="9062" y="11384"/>
                  <a:pt x="8839" y="11290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90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7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7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300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300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7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60"/>
                  <a:pt x="1201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7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543" y="13297"/>
                </a:moveTo>
                <a:lnTo>
                  <a:pt x="8327" y="14769"/>
                </a:lnTo>
                <a:cubicBezTo>
                  <a:pt x="8595" y="14882"/>
                  <a:pt x="9419" y="15330"/>
                  <a:pt x="9541" y="14500"/>
                </a:cubicBezTo>
                <a:cubicBezTo>
                  <a:pt x="9669" y="13634"/>
                  <a:pt x="8811" y="13410"/>
                  <a:pt x="8543" y="13297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90" y="9257"/>
                  <a:pt x="4909" y="8912"/>
                  <a:pt x="4909" y="8486"/>
                </a:cubicBezTo>
                <a:cubicBezTo>
                  <a:pt x="4909" y="8060"/>
                  <a:pt x="4690" y="7714"/>
                  <a:pt x="4418" y="7714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07" name="Shape 2807"/>
          <p:cNvSpPr/>
          <p:nvPr/>
        </p:nvSpPr>
        <p:spPr>
          <a:xfrm>
            <a:off x="4613686" y="1997893"/>
            <a:ext cx="279328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2150"/>
                </a:moveTo>
                <a:lnTo>
                  <a:pt x="17294" y="9450"/>
                </a:lnTo>
                <a:lnTo>
                  <a:pt x="19843" y="9450"/>
                </a:lnTo>
                <a:lnTo>
                  <a:pt x="19406" y="12150"/>
                </a:lnTo>
                <a:cubicBezTo>
                  <a:pt x="19406" y="12150"/>
                  <a:pt x="17075" y="12150"/>
                  <a:pt x="17075" y="12150"/>
                </a:cubicBezTo>
                <a:close/>
                <a:moveTo>
                  <a:pt x="18752" y="16200"/>
                </a:moveTo>
                <a:lnTo>
                  <a:pt x="16748" y="16200"/>
                </a:lnTo>
                <a:lnTo>
                  <a:pt x="16967" y="13500"/>
                </a:lnTo>
                <a:lnTo>
                  <a:pt x="19188" y="13500"/>
                </a:lnTo>
                <a:cubicBezTo>
                  <a:pt x="19188" y="13500"/>
                  <a:pt x="18752" y="16200"/>
                  <a:pt x="18752" y="16200"/>
                </a:cubicBezTo>
                <a:close/>
                <a:moveTo>
                  <a:pt x="17673" y="20250"/>
                </a:moveTo>
                <a:cubicBezTo>
                  <a:pt x="17131" y="20250"/>
                  <a:pt x="16691" y="19645"/>
                  <a:pt x="16691" y="18900"/>
                </a:cubicBezTo>
                <a:cubicBezTo>
                  <a:pt x="16691" y="18155"/>
                  <a:pt x="17131" y="17550"/>
                  <a:pt x="17673" y="17550"/>
                </a:cubicBezTo>
                <a:cubicBezTo>
                  <a:pt x="18215" y="17550"/>
                  <a:pt x="18655" y="18155"/>
                  <a:pt x="18655" y="18900"/>
                </a:cubicBezTo>
                <a:cubicBezTo>
                  <a:pt x="18655" y="19645"/>
                  <a:pt x="18215" y="20250"/>
                  <a:pt x="17673" y="20250"/>
                </a:cubicBezTo>
                <a:moveTo>
                  <a:pt x="16415" y="8100"/>
                </a:moveTo>
                <a:lnTo>
                  <a:pt x="13745" y="8100"/>
                </a:lnTo>
                <a:lnTo>
                  <a:pt x="13745" y="5400"/>
                </a:lnTo>
                <a:lnTo>
                  <a:pt x="16633" y="5400"/>
                </a:lnTo>
                <a:cubicBezTo>
                  <a:pt x="16633" y="5400"/>
                  <a:pt x="16415" y="8100"/>
                  <a:pt x="16415" y="8100"/>
                </a:cubicBezTo>
                <a:close/>
                <a:moveTo>
                  <a:pt x="16088" y="12150"/>
                </a:moveTo>
                <a:lnTo>
                  <a:pt x="13745" y="12150"/>
                </a:lnTo>
                <a:lnTo>
                  <a:pt x="13745" y="9450"/>
                </a:lnTo>
                <a:lnTo>
                  <a:pt x="16306" y="9450"/>
                </a:lnTo>
                <a:cubicBezTo>
                  <a:pt x="16306" y="9450"/>
                  <a:pt x="16088" y="12150"/>
                  <a:pt x="16088" y="12150"/>
                </a:cubicBezTo>
                <a:close/>
                <a:moveTo>
                  <a:pt x="15761" y="16200"/>
                </a:moveTo>
                <a:lnTo>
                  <a:pt x="13745" y="16200"/>
                </a:lnTo>
                <a:lnTo>
                  <a:pt x="13745" y="13500"/>
                </a:lnTo>
                <a:lnTo>
                  <a:pt x="15979" y="13500"/>
                </a:lnTo>
                <a:cubicBezTo>
                  <a:pt x="15979" y="13500"/>
                  <a:pt x="15761" y="16200"/>
                  <a:pt x="15761" y="16200"/>
                </a:cubicBezTo>
                <a:close/>
                <a:moveTo>
                  <a:pt x="12764" y="8100"/>
                </a:moveTo>
                <a:lnTo>
                  <a:pt x="10094" y="8100"/>
                </a:lnTo>
                <a:lnTo>
                  <a:pt x="9876" y="5400"/>
                </a:lnTo>
                <a:lnTo>
                  <a:pt x="12764" y="5400"/>
                </a:lnTo>
                <a:cubicBezTo>
                  <a:pt x="12764" y="5400"/>
                  <a:pt x="12764" y="8100"/>
                  <a:pt x="12764" y="8100"/>
                </a:cubicBezTo>
                <a:close/>
                <a:moveTo>
                  <a:pt x="12764" y="12150"/>
                </a:moveTo>
                <a:lnTo>
                  <a:pt x="10421" y="12150"/>
                </a:lnTo>
                <a:lnTo>
                  <a:pt x="10203" y="9450"/>
                </a:lnTo>
                <a:lnTo>
                  <a:pt x="12764" y="9450"/>
                </a:lnTo>
                <a:cubicBezTo>
                  <a:pt x="12764" y="9450"/>
                  <a:pt x="12764" y="12150"/>
                  <a:pt x="12764" y="12150"/>
                </a:cubicBezTo>
                <a:close/>
                <a:moveTo>
                  <a:pt x="12764" y="16200"/>
                </a:moveTo>
                <a:lnTo>
                  <a:pt x="10748" y="16200"/>
                </a:lnTo>
                <a:lnTo>
                  <a:pt x="10531" y="13500"/>
                </a:lnTo>
                <a:lnTo>
                  <a:pt x="12764" y="13500"/>
                </a:lnTo>
                <a:cubicBezTo>
                  <a:pt x="12764" y="13500"/>
                  <a:pt x="12764" y="16200"/>
                  <a:pt x="12764" y="16200"/>
                </a:cubicBezTo>
                <a:close/>
                <a:moveTo>
                  <a:pt x="8836" y="20250"/>
                </a:moveTo>
                <a:cubicBezTo>
                  <a:pt x="8294" y="20250"/>
                  <a:pt x="7855" y="19645"/>
                  <a:pt x="7855" y="18900"/>
                </a:cubicBezTo>
                <a:cubicBezTo>
                  <a:pt x="7855" y="18155"/>
                  <a:pt x="8294" y="17550"/>
                  <a:pt x="8836" y="17550"/>
                </a:cubicBezTo>
                <a:cubicBezTo>
                  <a:pt x="9379" y="17550"/>
                  <a:pt x="9818" y="18155"/>
                  <a:pt x="9818" y="18900"/>
                </a:cubicBezTo>
                <a:cubicBezTo>
                  <a:pt x="9818" y="19645"/>
                  <a:pt x="9379" y="20250"/>
                  <a:pt x="8836" y="20250"/>
                </a:cubicBezTo>
                <a:moveTo>
                  <a:pt x="7213" y="13500"/>
                </a:moveTo>
                <a:lnTo>
                  <a:pt x="9543" y="13500"/>
                </a:lnTo>
                <a:lnTo>
                  <a:pt x="9761" y="16200"/>
                </a:lnTo>
                <a:lnTo>
                  <a:pt x="7740" y="16200"/>
                </a:lnTo>
                <a:cubicBezTo>
                  <a:pt x="7740" y="16200"/>
                  <a:pt x="7213" y="13500"/>
                  <a:pt x="7213" y="13500"/>
                </a:cubicBezTo>
                <a:close/>
                <a:moveTo>
                  <a:pt x="6950" y="12150"/>
                </a:moveTo>
                <a:lnTo>
                  <a:pt x="6423" y="9450"/>
                </a:lnTo>
                <a:lnTo>
                  <a:pt x="9215" y="9450"/>
                </a:lnTo>
                <a:lnTo>
                  <a:pt x="9434" y="12150"/>
                </a:lnTo>
                <a:cubicBezTo>
                  <a:pt x="9434" y="12150"/>
                  <a:pt x="6950" y="12150"/>
                  <a:pt x="6950" y="12150"/>
                </a:cubicBezTo>
                <a:close/>
                <a:moveTo>
                  <a:pt x="5633" y="5400"/>
                </a:moveTo>
                <a:lnTo>
                  <a:pt x="8888" y="5400"/>
                </a:lnTo>
                <a:lnTo>
                  <a:pt x="9106" y="8100"/>
                </a:lnTo>
                <a:lnTo>
                  <a:pt x="6160" y="8100"/>
                </a:lnTo>
                <a:cubicBezTo>
                  <a:pt x="6160" y="8100"/>
                  <a:pt x="5633" y="5400"/>
                  <a:pt x="5633" y="5400"/>
                </a:cubicBezTo>
                <a:close/>
                <a:moveTo>
                  <a:pt x="17621" y="5400"/>
                </a:moveTo>
                <a:lnTo>
                  <a:pt x="20497" y="5400"/>
                </a:lnTo>
                <a:lnTo>
                  <a:pt x="20061" y="8100"/>
                </a:lnTo>
                <a:lnTo>
                  <a:pt x="17403" y="8100"/>
                </a:lnTo>
                <a:cubicBezTo>
                  <a:pt x="17403" y="8100"/>
                  <a:pt x="17621" y="5400"/>
                  <a:pt x="17621" y="5400"/>
                </a:cubicBezTo>
                <a:close/>
                <a:moveTo>
                  <a:pt x="19619" y="17038"/>
                </a:moveTo>
                <a:lnTo>
                  <a:pt x="19622" y="17038"/>
                </a:lnTo>
                <a:lnTo>
                  <a:pt x="21586" y="4889"/>
                </a:lnTo>
                <a:lnTo>
                  <a:pt x="21577" y="4886"/>
                </a:lnTo>
                <a:cubicBezTo>
                  <a:pt x="21586" y="4833"/>
                  <a:pt x="21600" y="4782"/>
                  <a:pt x="21600" y="4725"/>
                </a:cubicBezTo>
                <a:cubicBezTo>
                  <a:pt x="21600" y="4352"/>
                  <a:pt x="21380" y="4050"/>
                  <a:pt x="21109" y="4050"/>
                </a:cubicBezTo>
                <a:lnTo>
                  <a:pt x="5370" y="4050"/>
                </a:lnTo>
                <a:lnTo>
                  <a:pt x="4674" y="481"/>
                </a:lnTo>
                <a:lnTo>
                  <a:pt x="4667" y="484"/>
                </a:lnTo>
                <a:cubicBezTo>
                  <a:pt x="4605" y="207"/>
                  <a:pt x="4425" y="0"/>
                  <a:pt x="4203" y="0"/>
                </a:cubicBezTo>
                <a:lnTo>
                  <a:pt x="491" y="0"/>
                </a:lnTo>
                <a:cubicBezTo>
                  <a:pt x="220" y="0"/>
                  <a:pt x="0" y="302"/>
                  <a:pt x="0" y="675"/>
                </a:cubicBezTo>
                <a:cubicBezTo>
                  <a:pt x="0" y="1048"/>
                  <a:pt x="220" y="1350"/>
                  <a:pt x="491" y="1350"/>
                </a:cubicBezTo>
                <a:lnTo>
                  <a:pt x="3827" y="1350"/>
                </a:lnTo>
                <a:lnTo>
                  <a:pt x="6893" y="17069"/>
                </a:lnTo>
                <a:lnTo>
                  <a:pt x="6894" y="17069"/>
                </a:lnTo>
                <a:cubicBezTo>
                  <a:pt x="6936" y="17259"/>
                  <a:pt x="7037" y="17414"/>
                  <a:pt x="7168" y="17493"/>
                </a:cubicBezTo>
                <a:cubicBezTo>
                  <a:pt x="6984" y="17903"/>
                  <a:pt x="6873" y="18383"/>
                  <a:pt x="6873" y="18900"/>
                </a:cubicBezTo>
                <a:cubicBezTo>
                  <a:pt x="6873" y="20391"/>
                  <a:pt x="7752" y="21600"/>
                  <a:pt x="8836" y="21600"/>
                </a:cubicBezTo>
                <a:cubicBezTo>
                  <a:pt x="9921" y="21600"/>
                  <a:pt x="10800" y="20391"/>
                  <a:pt x="10800" y="18900"/>
                </a:cubicBezTo>
                <a:cubicBezTo>
                  <a:pt x="10800" y="18406"/>
                  <a:pt x="10696" y="17949"/>
                  <a:pt x="10528" y="17550"/>
                </a:cubicBezTo>
                <a:lnTo>
                  <a:pt x="15981" y="17550"/>
                </a:lnTo>
                <a:cubicBezTo>
                  <a:pt x="15813" y="17949"/>
                  <a:pt x="15709" y="18406"/>
                  <a:pt x="15709" y="18900"/>
                </a:cubicBezTo>
                <a:cubicBezTo>
                  <a:pt x="15709" y="20391"/>
                  <a:pt x="16588" y="21600"/>
                  <a:pt x="17673" y="21600"/>
                </a:cubicBezTo>
                <a:cubicBezTo>
                  <a:pt x="18757" y="21600"/>
                  <a:pt x="19636" y="20391"/>
                  <a:pt x="19636" y="18900"/>
                </a:cubicBezTo>
                <a:cubicBezTo>
                  <a:pt x="19636" y="18383"/>
                  <a:pt x="19525" y="17903"/>
                  <a:pt x="19341" y="17493"/>
                </a:cubicBezTo>
                <a:cubicBezTo>
                  <a:pt x="19479" y="17410"/>
                  <a:pt x="19581" y="17242"/>
                  <a:pt x="19619" y="17038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08" name="Shape 2808"/>
          <p:cNvSpPr/>
          <p:nvPr/>
        </p:nvSpPr>
        <p:spPr>
          <a:xfrm>
            <a:off x="5146947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5" y="14727"/>
                  <a:pt x="17075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6" y="9447"/>
                </a:lnTo>
                <a:lnTo>
                  <a:pt x="21577" y="9444"/>
                </a:lnTo>
                <a:cubicBezTo>
                  <a:pt x="21586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6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1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2907" y="7711"/>
                </a:moveTo>
                <a:cubicBezTo>
                  <a:pt x="12996" y="7800"/>
                  <a:pt x="13119" y="7855"/>
                  <a:pt x="13255" y="7855"/>
                </a:cubicBezTo>
                <a:cubicBezTo>
                  <a:pt x="13390" y="7855"/>
                  <a:pt x="13513" y="7800"/>
                  <a:pt x="13602" y="7711"/>
                </a:cubicBezTo>
                <a:lnTo>
                  <a:pt x="15565" y="5747"/>
                </a:lnTo>
                <a:cubicBezTo>
                  <a:pt x="15654" y="5658"/>
                  <a:pt x="15709" y="5536"/>
                  <a:pt x="15709" y="5400"/>
                </a:cubicBezTo>
                <a:cubicBezTo>
                  <a:pt x="15709" y="5129"/>
                  <a:pt x="15490" y="4910"/>
                  <a:pt x="15218" y="4910"/>
                </a:cubicBezTo>
                <a:cubicBezTo>
                  <a:pt x="15083" y="4910"/>
                  <a:pt x="14960" y="4964"/>
                  <a:pt x="14871" y="5053"/>
                </a:cubicBezTo>
                <a:lnTo>
                  <a:pt x="13745" y="6179"/>
                </a:lnTo>
                <a:lnTo>
                  <a:pt x="13745" y="491"/>
                </a:lnTo>
                <a:lnTo>
                  <a:pt x="13745" y="491"/>
                </a:lnTo>
                <a:cubicBezTo>
                  <a:pt x="13745" y="220"/>
                  <a:pt x="13526" y="0"/>
                  <a:pt x="13255" y="0"/>
                </a:cubicBezTo>
                <a:cubicBezTo>
                  <a:pt x="12983" y="0"/>
                  <a:pt x="12764" y="220"/>
                  <a:pt x="12764" y="491"/>
                </a:cubicBezTo>
                <a:lnTo>
                  <a:pt x="12764" y="6179"/>
                </a:lnTo>
                <a:lnTo>
                  <a:pt x="11638" y="5053"/>
                </a:lnTo>
                <a:cubicBezTo>
                  <a:pt x="11549" y="4964"/>
                  <a:pt x="11427" y="4910"/>
                  <a:pt x="11291" y="4910"/>
                </a:cubicBezTo>
                <a:cubicBezTo>
                  <a:pt x="11020" y="4910"/>
                  <a:pt x="10800" y="5129"/>
                  <a:pt x="10800" y="5400"/>
                </a:cubicBezTo>
                <a:cubicBezTo>
                  <a:pt x="10800" y="5536"/>
                  <a:pt x="10855" y="5658"/>
                  <a:pt x="10944" y="5747"/>
                </a:cubicBezTo>
                <a:cubicBezTo>
                  <a:pt x="10944" y="5747"/>
                  <a:pt x="12907" y="7711"/>
                  <a:pt x="12907" y="7711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09" name="Shape 2809"/>
          <p:cNvSpPr/>
          <p:nvPr/>
        </p:nvSpPr>
        <p:spPr>
          <a:xfrm>
            <a:off x="5680208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6" y="14727"/>
                  <a:pt x="17076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5" y="9447"/>
                </a:lnTo>
                <a:lnTo>
                  <a:pt x="21577" y="9444"/>
                </a:lnTo>
                <a:cubicBezTo>
                  <a:pt x="21587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5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2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1291" y="2945"/>
                </a:moveTo>
                <a:cubicBezTo>
                  <a:pt x="11427" y="2945"/>
                  <a:pt x="11549" y="2891"/>
                  <a:pt x="11638" y="2802"/>
                </a:cubicBezTo>
                <a:lnTo>
                  <a:pt x="12764" y="1676"/>
                </a:lnTo>
                <a:lnTo>
                  <a:pt x="12764" y="7364"/>
                </a:lnTo>
                <a:cubicBezTo>
                  <a:pt x="12764" y="7634"/>
                  <a:pt x="12983" y="7855"/>
                  <a:pt x="13255" y="7855"/>
                </a:cubicBezTo>
                <a:cubicBezTo>
                  <a:pt x="13526" y="7855"/>
                  <a:pt x="13745" y="7634"/>
                  <a:pt x="13745" y="7364"/>
                </a:cubicBezTo>
                <a:lnTo>
                  <a:pt x="13745" y="1676"/>
                </a:lnTo>
                <a:lnTo>
                  <a:pt x="14871" y="2802"/>
                </a:lnTo>
                <a:cubicBezTo>
                  <a:pt x="14959" y="2891"/>
                  <a:pt x="15082" y="2945"/>
                  <a:pt x="15218" y="2945"/>
                </a:cubicBezTo>
                <a:cubicBezTo>
                  <a:pt x="15490" y="2945"/>
                  <a:pt x="15709" y="2726"/>
                  <a:pt x="15709" y="2455"/>
                </a:cubicBezTo>
                <a:cubicBezTo>
                  <a:pt x="15709" y="2319"/>
                  <a:pt x="15654" y="2196"/>
                  <a:pt x="15565" y="2107"/>
                </a:cubicBezTo>
                <a:lnTo>
                  <a:pt x="13602" y="144"/>
                </a:lnTo>
                <a:cubicBezTo>
                  <a:pt x="13513" y="55"/>
                  <a:pt x="13390" y="0"/>
                  <a:pt x="13255" y="0"/>
                </a:cubicBezTo>
                <a:cubicBezTo>
                  <a:pt x="13118" y="0"/>
                  <a:pt x="12996" y="55"/>
                  <a:pt x="12907" y="144"/>
                </a:cubicBezTo>
                <a:lnTo>
                  <a:pt x="10944" y="2107"/>
                </a:lnTo>
                <a:cubicBezTo>
                  <a:pt x="10855" y="2196"/>
                  <a:pt x="10800" y="2319"/>
                  <a:pt x="10800" y="2455"/>
                </a:cubicBezTo>
                <a:cubicBezTo>
                  <a:pt x="10800" y="2726"/>
                  <a:pt x="11020" y="2945"/>
                  <a:pt x="11291" y="2945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10" name="Shape 2810"/>
          <p:cNvSpPr/>
          <p:nvPr/>
        </p:nvSpPr>
        <p:spPr>
          <a:xfrm>
            <a:off x="6229117" y="1439239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5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9327" y="3240"/>
                </a:moveTo>
                <a:lnTo>
                  <a:pt x="15015" y="3240"/>
                </a:lnTo>
                <a:lnTo>
                  <a:pt x="13889" y="4478"/>
                </a:lnTo>
                <a:cubicBezTo>
                  <a:pt x="13801" y="4577"/>
                  <a:pt x="13745" y="4711"/>
                  <a:pt x="13745" y="4860"/>
                </a:cubicBezTo>
                <a:cubicBezTo>
                  <a:pt x="13745" y="5159"/>
                  <a:pt x="13966" y="5400"/>
                  <a:pt x="14236" y="5400"/>
                </a:cubicBezTo>
                <a:cubicBezTo>
                  <a:pt x="14373" y="5400"/>
                  <a:pt x="14495" y="5340"/>
                  <a:pt x="14583" y="5242"/>
                </a:cubicBezTo>
                <a:lnTo>
                  <a:pt x="16547" y="3082"/>
                </a:lnTo>
                <a:cubicBezTo>
                  <a:pt x="16636" y="2984"/>
                  <a:pt x="16691" y="2849"/>
                  <a:pt x="16691" y="2700"/>
                </a:cubicBezTo>
                <a:cubicBezTo>
                  <a:pt x="16691" y="2552"/>
                  <a:pt x="16636" y="2417"/>
                  <a:pt x="16547" y="2318"/>
                </a:cubicBezTo>
                <a:lnTo>
                  <a:pt x="14583" y="158"/>
                </a:lnTo>
                <a:cubicBezTo>
                  <a:pt x="14495" y="61"/>
                  <a:pt x="14373" y="0"/>
                  <a:pt x="14236" y="0"/>
                </a:cubicBezTo>
                <a:cubicBezTo>
                  <a:pt x="13966" y="0"/>
                  <a:pt x="13745" y="242"/>
                  <a:pt x="13745" y="540"/>
                </a:cubicBezTo>
                <a:cubicBezTo>
                  <a:pt x="13745" y="689"/>
                  <a:pt x="13801" y="824"/>
                  <a:pt x="13889" y="922"/>
                </a:cubicBezTo>
                <a:lnTo>
                  <a:pt x="15015" y="2160"/>
                </a:lnTo>
                <a:lnTo>
                  <a:pt x="9327" y="2160"/>
                </a:lnTo>
                <a:cubicBezTo>
                  <a:pt x="9056" y="2160"/>
                  <a:pt x="8836" y="2402"/>
                  <a:pt x="8836" y="2700"/>
                </a:cubicBezTo>
                <a:cubicBezTo>
                  <a:pt x="8836" y="2999"/>
                  <a:pt x="9056" y="3240"/>
                  <a:pt x="9327" y="324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11" name="Shape 2811"/>
          <p:cNvSpPr/>
          <p:nvPr/>
        </p:nvSpPr>
        <p:spPr>
          <a:xfrm>
            <a:off x="6762379" y="1439239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944" y="5242"/>
                </a:moveTo>
                <a:cubicBezTo>
                  <a:pt x="11033" y="5340"/>
                  <a:pt x="11155" y="5400"/>
                  <a:pt x="11291" y="5400"/>
                </a:cubicBezTo>
                <a:cubicBezTo>
                  <a:pt x="11562" y="5400"/>
                  <a:pt x="11782" y="5159"/>
                  <a:pt x="11782" y="4860"/>
                </a:cubicBezTo>
                <a:cubicBezTo>
                  <a:pt x="11782" y="4711"/>
                  <a:pt x="11727" y="4577"/>
                  <a:pt x="11638" y="4478"/>
                </a:cubicBezTo>
                <a:lnTo>
                  <a:pt x="10512" y="3240"/>
                </a:lnTo>
                <a:lnTo>
                  <a:pt x="16200" y="3240"/>
                </a:lnTo>
                <a:cubicBezTo>
                  <a:pt x="16471" y="3240"/>
                  <a:pt x="16691" y="2999"/>
                  <a:pt x="16691" y="2700"/>
                </a:cubicBezTo>
                <a:cubicBezTo>
                  <a:pt x="16691" y="2402"/>
                  <a:pt x="16471" y="2160"/>
                  <a:pt x="16200" y="2160"/>
                </a:cubicBezTo>
                <a:lnTo>
                  <a:pt x="10512" y="2160"/>
                </a:lnTo>
                <a:lnTo>
                  <a:pt x="11638" y="922"/>
                </a:lnTo>
                <a:cubicBezTo>
                  <a:pt x="11727" y="824"/>
                  <a:pt x="11782" y="689"/>
                  <a:pt x="11782" y="540"/>
                </a:cubicBezTo>
                <a:cubicBezTo>
                  <a:pt x="11782" y="242"/>
                  <a:pt x="11562" y="0"/>
                  <a:pt x="11291" y="0"/>
                </a:cubicBezTo>
                <a:cubicBezTo>
                  <a:pt x="11155" y="0"/>
                  <a:pt x="11033" y="61"/>
                  <a:pt x="10944" y="158"/>
                </a:cubicBezTo>
                <a:lnTo>
                  <a:pt x="8980" y="2318"/>
                </a:lnTo>
                <a:cubicBezTo>
                  <a:pt x="8891" y="2417"/>
                  <a:pt x="8836" y="2552"/>
                  <a:pt x="8836" y="2700"/>
                </a:cubicBezTo>
                <a:cubicBezTo>
                  <a:pt x="8836" y="2849"/>
                  <a:pt x="8891" y="2984"/>
                  <a:pt x="8980" y="3082"/>
                </a:cubicBezTo>
                <a:cubicBezTo>
                  <a:pt x="8980" y="3082"/>
                  <a:pt x="10944" y="5242"/>
                  <a:pt x="10944" y="5242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12" name="Shape 2812"/>
          <p:cNvSpPr/>
          <p:nvPr/>
        </p:nvSpPr>
        <p:spPr>
          <a:xfrm>
            <a:off x="7295640" y="1439239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5" y="18643"/>
                  <a:pt x="19341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800" y="3780"/>
                </a:moveTo>
                <a:lnTo>
                  <a:pt x="12764" y="3780"/>
                </a:lnTo>
                <a:lnTo>
                  <a:pt x="12764" y="5940"/>
                </a:lnTo>
                <a:cubicBezTo>
                  <a:pt x="12764" y="6239"/>
                  <a:pt x="12984" y="6480"/>
                  <a:pt x="13255" y="6480"/>
                </a:cubicBezTo>
                <a:cubicBezTo>
                  <a:pt x="13526" y="6480"/>
                  <a:pt x="13745" y="6239"/>
                  <a:pt x="13745" y="5940"/>
                </a:cubicBezTo>
                <a:lnTo>
                  <a:pt x="13745" y="3780"/>
                </a:lnTo>
                <a:lnTo>
                  <a:pt x="15709" y="3780"/>
                </a:lnTo>
                <a:cubicBezTo>
                  <a:pt x="15980" y="3780"/>
                  <a:pt x="16200" y="3539"/>
                  <a:pt x="16200" y="3240"/>
                </a:cubicBezTo>
                <a:cubicBezTo>
                  <a:pt x="16200" y="2942"/>
                  <a:pt x="15980" y="2700"/>
                  <a:pt x="15709" y="2700"/>
                </a:cubicBezTo>
                <a:lnTo>
                  <a:pt x="13745" y="2700"/>
                </a:lnTo>
                <a:lnTo>
                  <a:pt x="13745" y="540"/>
                </a:lnTo>
                <a:cubicBezTo>
                  <a:pt x="13745" y="242"/>
                  <a:pt x="13526" y="0"/>
                  <a:pt x="13255" y="0"/>
                </a:cubicBezTo>
                <a:cubicBezTo>
                  <a:pt x="12984" y="0"/>
                  <a:pt x="12764" y="242"/>
                  <a:pt x="12764" y="540"/>
                </a:cubicBezTo>
                <a:lnTo>
                  <a:pt x="12764" y="2700"/>
                </a:lnTo>
                <a:lnTo>
                  <a:pt x="10800" y="2700"/>
                </a:lnTo>
                <a:cubicBezTo>
                  <a:pt x="10529" y="2700"/>
                  <a:pt x="10309" y="2942"/>
                  <a:pt x="10309" y="3240"/>
                </a:cubicBezTo>
                <a:cubicBezTo>
                  <a:pt x="10309" y="3539"/>
                  <a:pt x="10529" y="3780"/>
                  <a:pt x="10800" y="378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13" name="Shape 2813"/>
          <p:cNvSpPr/>
          <p:nvPr/>
        </p:nvSpPr>
        <p:spPr>
          <a:xfrm>
            <a:off x="7828901" y="1458284"/>
            <a:ext cx="279328" cy="2221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2960"/>
                </a:moveTo>
                <a:lnTo>
                  <a:pt x="17294" y="10491"/>
                </a:lnTo>
                <a:lnTo>
                  <a:pt x="19843" y="10491"/>
                </a:lnTo>
                <a:lnTo>
                  <a:pt x="19407" y="12960"/>
                </a:lnTo>
                <a:cubicBezTo>
                  <a:pt x="19407" y="12960"/>
                  <a:pt x="17076" y="12960"/>
                  <a:pt x="17076" y="12960"/>
                </a:cubicBezTo>
                <a:close/>
                <a:moveTo>
                  <a:pt x="18752" y="16663"/>
                </a:moveTo>
                <a:lnTo>
                  <a:pt x="16748" y="16663"/>
                </a:lnTo>
                <a:lnTo>
                  <a:pt x="16967" y="14194"/>
                </a:lnTo>
                <a:lnTo>
                  <a:pt x="19188" y="14194"/>
                </a:lnTo>
                <a:cubicBezTo>
                  <a:pt x="19188" y="14194"/>
                  <a:pt x="18752" y="16663"/>
                  <a:pt x="18752" y="16663"/>
                </a:cubicBezTo>
                <a:close/>
                <a:moveTo>
                  <a:pt x="17673" y="20366"/>
                </a:moveTo>
                <a:cubicBezTo>
                  <a:pt x="17131" y="20366"/>
                  <a:pt x="16691" y="19813"/>
                  <a:pt x="16691" y="19131"/>
                </a:cubicBezTo>
                <a:cubicBezTo>
                  <a:pt x="16691" y="18450"/>
                  <a:pt x="17131" y="17897"/>
                  <a:pt x="17673" y="17897"/>
                </a:cubicBezTo>
                <a:cubicBezTo>
                  <a:pt x="18215" y="17897"/>
                  <a:pt x="18655" y="18450"/>
                  <a:pt x="18655" y="19131"/>
                </a:cubicBezTo>
                <a:cubicBezTo>
                  <a:pt x="18655" y="19813"/>
                  <a:pt x="18215" y="20366"/>
                  <a:pt x="17673" y="20366"/>
                </a:cubicBezTo>
                <a:moveTo>
                  <a:pt x="16415" y="9257"/>
                </a:moveTo>
                <a:lnTo>
                  <a:pt x="13745" y="9257"/>
                </a:lnTo>
                <a:lnTo>
                  <a:pt x="13745" y="6789"/>
                </a:lnTo>
                <a:lnTo>
                  <a:pt x="16634" y="6789"/>
                </a:lnTo>
                <a:cubicBezTo>
                  <a:pt x="16634" y="6789"/>
                  <a:pt x="16415" y="9257"/>
                  <a:pt x="16415" y="9257"/>
                </a:cubicBezTo>
                <a:close/>
                <a:moveTo>
                  <a:pt x="16088" y="12960"/>
                </a:moveTo>
                <a:lnTo>
                  <a:pt x="13745" y="12960"/>
                </a:lnTo>
                <a:lnTo>
                  <a:pt x="13745" y="10491"/>
                </a:lnTo>
                <a:lnTo>
                  <a:pt x="16307" y="10491"/>
                </a:lnTo>
                <a:cubicBezTo>
                  <a:pt x="16307" y="10491"/>
                  <a:pt x="16088" y="12960"/>
                  <a:pt x="16088" y="12960"/>
                </a:cubicBezTo>
                <a:close/>
                <a:moveTo>
                  <a:pt x="15761" y="16663"/>
                </a:moveTo>
                <a:lnTo>
                  <a:pt x="13745" y="16663"/>
                </a:lnTo>
                <a:lnTo>
                  <a:pt x="13745" y="14194"/>
                </a:lnTo>
                <a:lnTo>
                  <a:pt x="15979" y="14194"/>
                </a:lnTo>
                <a:cubicBezTo>
                  <a:pt x="15979" y="14194"/>
                  <a:pt x="15761" y="16663"/>
                  <a:pt x="15761" y="16663"/>
                </a:cubicBezTo>
                <a:close/>
                <a:moveTo>
                  <a:pt x="12764" y="9257"/>
                </a:moveTo>
                <a:lnTo>
                  <a:pt x="10094" y="9257"/>
                </a:lnTo>
                <a:lnTo>
                  <a:pt x="9876" y="6789"/>
                </a:lnTo>
                <a:lnTo>
                  <a:pt x="12764" y="6789"/>
                </a:lnTo>
                <a:cubicBezTo>
                  <a:pt x="12764" y="6789"/>
                  <a:pt x="12764" y="9257"/>
                  <a:pt x="12764" y="9257"/>
                </a:cubicBezTo>
                <a:close/>
                <a:moveTo>
                  <a:pt x="12764" y="12960"/>
                </a:moveTo>
                <a:lnTo>
                  <a:pt x="10422" y="12960"/>
                </a:lnTo>
                <a:lnTo>
                  <a:pt x="10203" y="10491"/>
                </a:lnTo>
                <a:lnTo>
                  <a:pt x="12764" y="10491"/>
                </a:lnTo>
                <a:cubicBezTo>
                  <a:pt x="12764" y="10491"/>
                  <a:pt x="12764" y="12960"/>
                  <a:pt x="12764" y="12960"/>
                </a:cubicBezTo>
                <a:close/>
                <a:moveTo>
                  <a:pt x="12764" y="16663"/>
                </a:moveTo>
                <a:lnTo>
                  <a:pt x="10748" y="16663"/>
                </a:lnTo>
                <a:lnTo>
                  <a:pt x="10531" y="14194"/>
                </a:lnTo>
                <a:lnTo>
                  <a:pt x="12764" y="14194"/>
                </a:lnTo>
                <a:cubicBezTo>
                  <a:pt x="12764" y="14194"/>
                  <a:pt x="12764" y="16663"/>
                  <a:pt x="12764" y="16663"/>
                </a:cubicBezTo>
                <a:close/>
                <a:moveTo>
                  <a:pt x="8836" y="20366"/>
                </a:moveTo>
                <a:cubicBezTo>
                  <a:pt x="8294" y="20366"/>
                  <a:pt x="7855" y="19813"/>
                  <a:pt x="7855" y="19131"/>
                </a:cubicBezTo>
                <a:cubicBezTo>
                  <a:pt x="7855" y="18450"/>
                  <a:pt x="8294" y="17897"/>
                  <a:pt x="8836" y="17897"/>
                </a:cubicBezTo>
                <a:cubicBezTo>
                  <a:pt x="9379" y="17897"/>
                  <a:pt x="9818" y="18450"/>
                  <a:pt x="9818" y="19131"/>
                </a:cubicBezTo>
                <a:cubicBezTo>
                  <a:pt x="9818" y="19813"/>
                  <a:pt x="9379" y="20366"/>
                  <a:pt x="8836" y="20366"/>
                </a:cubicBezTo>
                <a:moveTo>
                  <a:pt x="7214" y="14194"/>
                </a:moveTo>
                <a:lnTo>
                  <a:pt x="9543" y="14194"/>
                </a:lnTo>
                <a:lnTo>
                  <a:pt x="9761" y="16663"/>
                </a:lnTo>
                <a:lnTo>
                  <a:pt x="7740" y="16663"/>
                </a:lnTo>
                <a:cubicBezTo>
                  <a:pt x="7740" y="16663"/>
                  <a:pt x="7214" y="14194"/>
                  <a:pt x="7214" y="14194"/>
                </a:cubicBezTo>
                <a:close/>
                <a:moveTo>
                  <a:pt x="6950" y="12960"/>
                </a:moveTo>
                <a:lnTo>
                  <a:pt x="6424" y="10491"/>
                </a:lnTo>
                <a:lnTo>
                  <a:pt x="9215" y="10491"/>
                </a:lnTo>
                <a:lnTo>
                  <a:pt x="9434" y="12960"/>
                </a:lnTo>
                <a:cubicBezTo>
                  <a:pt x="9434" y="12960"/>
                  <a:pt x="6950" y="12960"/>
                  <a:pt x="6950" y="12960"/>
                </a:cubicBezTo>
                <a:close/>
                <a:moveTo>
                  <a:pt x="5633" y="6789"/>
                </a:moveTo>
                <a:lnTo>
                  <a:pt x="8888" y="6789"/>
                </a:lnTo>
                <a:lnTo>
                  <a:pt x="9107" y="9257"/>
                </a:lnTo>
                <a:lnTo>
                  <a:pt x="6160" y="9257"/>
                </a:lnTo>
                <a:cubicBezTo>
                  <a:pt x="6160" y="9257"/>
                  <a:pt x="5633" y="6789"/>
                  <a:pt x="5633" y="6789"/>
                </a:cubicBezTo>
                <a:close/>
                <a:moveTo>
                  <a:pt x="17621" y="6789"/>
                </a:moveTo>
                <a:lnTo>
                  <a:pt x="20498" y="6789"/>
                </a:lnTo>
                <a:lnTo>
                  <a:pt x="20061" y="9257"/>
                </a:lnTo>
                <a:lnTo>
                  <a:pt x="17403" y="9257"/>
                </a:lnTo>
                <a:cubicBezTo>
                  <a:pt x="17403" y="9257"/>
                  <a:pt x="17621" y="6789"/>
                  <a:pt x="17621" y="6789"/>
                </a:cubicBezTo>
                <a:close/>
                <a:moveTo>
                  <a:pt x="19619" y="17429"/>
                </a:moveTo>
                <a:lnTo>
                  <a:pt x="19622" y="17429"/>
                </a:lnTo>
                <a:lnTo>
                  <a:pt x="21585" y="6321"/>
                </a:lnTo>
                <a:lnTo>
                  <a:pt x="21577" y="6318"/>
                </a:lnTo>
                <a:cubicBezTo>
                  <a:pt x="21586" y="6270"/>
                  <a:pt x="21600" y="6224"/>
                  <a:pt x="21600" y="6171"/>
                </a:cubicBezTo>
                <a:cubicBezTo>
                  <a:pt x="21600" y="5830"/>
                  <a:pt x="21380" y="5554"/>
                  <a:pt x="21109" y="5554"/>
                </a:cubicBezTo>
                <a:lnTo>
                  <a:pt x="5370" y="5554"/>
                </a:lnTo>
                <a:lnTo>
                  <a:pt x="4674" y="2291"/>
                </a:lnTo>
                <a:lnTo>
                  <a:pt x="4667" y="2294"/>
                </a:lnTo>
                <a:cubicBezTo>
                  <a:pt x="4606" y="2040"/>
                  <a:pt x="4426" y="1851"/>
                  <a:pt x="4204" y="1851"/>
                </a:cubicBezTo>
                <a:lnTo>
                  <a:pt x="491" y="1851"/>
                </a:lnTo>
                <a:cubicBezTo>
                  <a:pt x="220" y="1851"/>
                  <a:pt x="0" y="2127"/>
                  <a:pt x="0" y="2469"/>
                </a:cubicBezTo>
                <a:cubicBezTo>
                  <a:pt x="0" y="2810"/>
                  <a:pt x="220" y="3086"/>
                  <a:pt x="491" y="3086"/>
                </a:cubicBezTo>
                <a:lnTo>
                  <a:pt x="3827" y="3086"/>
                </a:lnTo>
                <a:lnTo>
                  <a:pt x="6893" y="17457"/>
                </a:lnTo>
                <a:lnTo>
                  <a:pt x="6894" y="17457"/>
                </a:lnTo>
                <a:cubicBezTo>
                  <a:pt x="6936" y="17631"/>
                  <a:pt x="7037" y="17772"/>
                  <a:pt x="7168" y="17845"/>
                </a:cubicBezTo>
                <a:cubicBezTo>
                  <a:pt x="6984" y="18220"/>
                  <a:pt x="6873" y="18658"/>
                  <a:pt x="6873" y="19131"/>
                </a:cubicBezTo>
                <a:cubicBezTo>
                  <a:pt x="6873" y="20495"/>
                  <a:pt x="7752" y="21600"/>
                  <a:pt x="8836" y="21600"/>
                </a:cubicBezTo>
                <a:cubicBezTo>
                  <a:pt x="9921" y="21600"/>
                  <a:pt x="10800" y="20495"/>
                  <a:pt x="10800" y="19131"/>
                </a:cubicBezTo>
                <a:cubicBezTo>
                  <a:pt x="10800" y="18680"/>
                  <a:pt x="10696" y="18262"/>
                  <a:pt x="10528" y="17897"/>
                </a:cubicBezTo>
                <a:lnTo>
                  <a:pt x="15982" y="17897"/>
                </a:lnTo>
                <a:cubicBezTo>
                  <a:pt x="15813" y="18262"/>
                  <a:pt x="15709" y="18680"/>
                  <a:pt x="15709" y="19131"/>
                </a:cubicBezTo>
                <a:cubicBezTo>
                  <a:pt x="15709" y="20495"/>
                  <a:pt x="16588" y="21600"/>
                  <a:pt x="17673" y="21600"/>
                </a:cubicBezTo>
                <a:cubicBezTo>
                  <a:pt x="18757" y="21600"/>
                  <a:pt x="19636" y="20495"/>
                  <a:pt x="19636" y="19131"/>
                </a:cubicBezTo>
                <a:cubicBezTo>
                  <a:pt x="19636" y="18658"/>
                  <a:pt x="19525" y="18220"/>
                  <a:pt x="19341" y="17845"/>
                </a:cubicBezTo>
                <a:cubicBezTo>
                  <a:pt x="19479" y="17769"/>
                  <a:pt x="19581" y="17615"/>
                  <a:pt x="19619" y="17429"/>
                </a:cubicBezTo>
                <a:moveTo>
                  <a:pt x="10800" y="1234"/>
                </a:moveTo>
                <a:lnTo>
                  <a:pt x="15709" y="1234"/>
                </a:lnTo>
                <a:cubicBezTo>
                  <a:pt x="15980" y="1234"/>
                  <a:pt x="16200" y="959"/>
                  <a:pt x="16200" y="617"/>
                </a:cubicBezTo>
                <a:cubicBezTo>
                  <a:pt x="16200" y="276"/>
                  <a:pt x="15980" y="0"/>
                  <a:pt x="15709" y="0"/>
                </a:cubicBezTo>
                <a:lnTo>
                  <a:pt x="10800" y="0"/>
                </a:lnTo>
                <a:cubicBezTo>
                  <a:pt x="10529" y="0"/>
                  <a:pt x="10309" y="276"/>
                  <a:pt x="10309" y="617"/>
                </a:cubicBezTo>
                <a:cubicBezTo>
                  <a:pt x="10309" y="959"/>
                  <a:pt x="10529" y="1234"/>
                  <a:pt x="10800" y="1234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14" name="Shape 2814"/>
          <p:cNvSpPr/>
          <p:nvPr/>
        </p:nvSpPr>
        <p:spPr>
          <a:xfrm>
            <a:off x="8387555" y="1426542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0800"/>
                </a:moveTo>
                <a:lnTo>
                  <a:pt x="13200" y="10800"/>
                </a:lnTo>
                <a:lnTo>
                  <a:pt x="13200" y="11782"/>
                </a:lnTo>
                <a:lnTo>
                  <a:pt x="14400" y="11782"/>
                </a:lnTo>
                <a:cubicBezTo>
                  <a:pt x="14400" y="11782"/>
                  <a:pt x="14400" y="10800"/>
                  <a:pt x="14400" y="10800"/>
                </a:cubicBezTo>
                <a:close/>
                <a:moveTo>
                  <a:pt x="15600" y="11782"/>
                </a:moveTo>
                <a:lnTo>
                  <a:pt x="16800" y="11782"/>
                </a:lnTo>
                <a:lnTo>
                  <a:pt x="16800" y="10800"/>
                </a:lnTo>
                <a:lnTo>
                  <a:pt x="15600" y="10800"/>
                </a:lnTo>
                <a:cubicBezTo>
                  <a:pt x="15600" y="10800"/>
                  <a:pt x="15600" y="11782"/>
                  <a:pt x="15600" y="11782"/>
                </a:cubicBezTo>
                <a:close/>
                <a:moveTo>
                  <a:pt x="15600" y="15709"/>
                </a:moveTo>
                <a:lnTo>
                  <a:pt x="19200" y="15709"/>
                </a:lnTo>
                <a:lnTo>
                  <a:pt x="19200" y="14727"/>
                </a:lnTo>
                <a:lnTo>
                  <a:pt x="15600" y="14727"/>
                </a:lnTo>
                <a:cubicBezTo>
                  <a:pt x="15600" y="14727"/>
                  <a:pt x="15600" y="15709"/>
                  <a:pt x="15600" y="15709"/>
                </a:cubicBezTo>
                <a:close/>
                <a:moveTo>
                  <a:pt x="14400" y="8836"/>
                </a:moveTo>
                <a:lnTo>
                  <a:pt x="13200" y="8836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8836"/>
                  <a:pt x="14400" y="8836"/>
                </a:cubicBezTo>
                <a:close/>
                <a:moveTo>
                  <a:pt x="16800" y="8836"/>
                </a:moveTo>
                <a:lnTo>
                  <a:pt x="15600" y="8836"/>
                </a:lnTo>
                <a:lnTo>
                  <a:pt x="15600" y="9818"/>
                </a:lnTo>
                <a:lnTo>
                  <a:pt x="16800" y="9818"/>
                </a:lnTo>
                <a:cubicBezTo>
                  <a:pt x="16800" y="9818"/>
                  <a:pt x="16800" y="8836"/>
                  <a:pt x="16800" y="8836"/>
                </a:cubicBezTo>
                <a:close/>
                <a:moveTo>
                  <a:pt x="19200" y="6873"/>
                </a:moveTo>
                <a:lnTo>
                  <a:pt x="13200" y="6873"/>
                </a:lnTo>
                <a:lnTo>
                  <a:pt x="13200" y="7855"/>
                </a:lnTo>
                <a:lnTo>
                  <a:pt x="19200" y="7855"/>
                </a:lnTo>
                <a:cubicBezTo>
                  <a:pt x="19200" y="7855"/>
                  <a:pt x="19200" y="6873"/>
                  <a:pt x="19200" y="6873"/>
                </a:cubicBezTo>
                <a:close/>
                <a:moveTo>
                  <a:pt x="18000" y="9818"/>
                </a:moveTo>
                <a:lnTo>
                  <a:pt x="19200" y="9818"/>
                </a:lnTo>
                <a:lnTo>
                  <a:pt x="19200" y="8836"/>
                </a:lnTo>
                <a:lnTo>
                  <a:pt x="18000" y="8836"/>
                </a:lnTo>
                <a:cubicBezTo>
                  <a:pt x="18000" y="8836"/>
                  <a:pt x="18000" y="9818"/>
                  <a:pt x="18000" y="9818"/>
                </a:cubicBezTo>
                <a:close/>
                <a:moveTo>
                  <a:pt x="18000" y="11782"/>
                </a:moveTo>
                <a:lnTo>
                  <a:pt x="19200" y="11782"/>
                </a:lnTo>
                <a:lnTo>
                  <a:pt x="19200" y="10800"/>
                </a:lnTo>
                <a:lnTo>
                  <a:pt x="18000" y="10800"/>
                </a:lnTo>
                <a:cubicBezTo>
                  <a:pt x="18000" y="10800"/>
                  <a:pt x="18000" y="11782"/>
                  <a:pt x="18000" y="11782"/>
                </a:cubicBezTo>
                <a:close/>
                <a:moveTo>
                  <a:pt x="15600" y="13745"/>
                </a:moveTo>
                <a:lnTo>
                  <a:pt x="16800" y="13745"/>
                </a:lnTo>
                <a:lnTo>
                  <a:pt x="16800" y="12764"/>
                </a:lnTo>
                <a:lnTo>
                  <a:pt x="15600" y="12764"/>
                </a:lnTo>
                <a:cubicBezTo>
                  <a:pt x="15600" y="12764"/>
                  <a:pt x="15600" y="13745"/>
                  <a:pt x="15600" y="13745"/>
                </a:cubicBezTo>
                <a:close/>
                <a:moveTo>
                  <a:pt x="18000" y="13745"/>
                </a:moveTo>
                <a:lnTo>
                  <a:pt x="19200" y="13745"/>
                </a:lnTo>
                <a:lnTo>
                  <a:pt x="19200" y="12764"/>
                </a:lnTo>
                <a:lnTo>
                  <a:pt x="18000" y="12764"/>
                </a:lnTo>
                <a:cubicBezTo>
                  <a:pt x="18000" y="12764"/>
                  <a:pt x="18000" y="13745"/>
                  <a:pt x="18000" y="13745"/>
                </a:cubicBezTo>
                <a:close/>
                <a:moveTo>
                  <a:pt x="20400" y="16691"/>
                </a:moveTo>
                <a:lnTo>
                  <a:pt x="1200" y="16691"/>
                </a:lnTo>
                <a:lnTo>
                  <a:pt x="1200" y="5891"/>
                </a:lnTo>
                <a:lnTo>
                  <a:pt x="20400" y="5891"/>
                </a:lnTo>
                <a:cubicBezTo>
                  <a:pt x="20400" y="5891"/>
                  <a:pt x="20400" y="16691"/>
                  <a:pt x="20400" y="166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17673"/>
                </a:lnTo>
                <a:lnTo>
                  <a:pt x="20400" y="17673"/>
                </a:lnTo>
                <a:cubicBezTo>
                  <a:pt x="20400" y="17673"/>
                  <a:pt x="20400" y="20618"/>
                  <a:pt x="20400" y="20618"/>
                </a:cubicBezTo>
                <a:close/>
                <a:moveTo>
                  <a:pt x="15000" y="4909"/>
                </a:moveTo>
                <a:lnTo>
                  <a:pt x="13800" y="4909"/>
                </a:lnTo>
                <a:lnTo>
                  <a:pt x="13800" y="2945"/>
                </a:lnTo>
                <a:lnTo>
                  <a:pt x="15000" y="2945"/>
                </a:lnTo>
                <a:cubicBezTo>
                  <a:pt x="15000" y="2945"/>
                  <a:pt x="15000" y="4909"/>
                  <a:pt x="15000" y="4909"/>
                </a:cubicBezTo>
                <a:close/>
                <a:moveTo>
                  <a:pt x="132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13200" y="1964"/>
                </a:lnTo>
                <a:cubicBezTo>
                  <a:pt x="13200" y="1964"/>
                  <a:pt x="13200" y="982"/>
                  <a:pt x="13200" y="982"/>
                </a:cubicBezTo>
                <a:close/>
                <a:moveTo>
                  <a:pt x="12000" y="1964"/>
                </a:moveTo>
                <a:lnTo>
                  <a:pt x="10800" y="1964"/>
                </a:lnTo>
                <a:lnTo>
                  <a:pt x="10800" y="982"/>
                </a:lnTo>
                <a:lnTo>
                  <a:pt x="12000" y="982"/>
                </a:lnTo>
                <a:cubicBezTo>
                  <a:pt x="12000" y="982"/>
                  <a:pt x="12000" y="1964"/>
                  <a:pt x="12000" y="1964"/>
                </a:cubicBezTo>
                <a:close/>
                <a:moveTo>
                  <a:pt x="20400" y="4909"/>
                </a:moveTo>
                <a:lnTo>
                  <a:pt x="16200" y="4909"/>
                </a:lnTo>
                <a:lnTo>
                  <a:pt x="16200" y="2945"/>
                </a:lnTo>
                <a:lnTo>
                  <a:pt x="18000" y="2945"/>
                </a:lnTo>
                <a:cubicBezTo>
                  <a:pt x="18662" y="2945"/>
                  <a:pt x="19200" y="2506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10800" y="0"/>
                </a:lnTo>
                <a:cubicBezTo>
                  <a:pt x="10138" y="0"/>
                  <a:pt x="9600" y="440"/>
                  <a:pt x="9600" y="982"/>
                </a:cubicBezTo>
                <a:lnTo>
                  <a:pt x="9600" y="1964"/>
                </a:lnTo>
                <a:cubicBezTo>
                  <a:pt x="9600" y="2506"/>
                  <a:pt x="10138" y="2945"/>
                  <a:pt x="10800" y="2945"/>
                </a:cubicBezTo>
                <a:lnTo>
                  <a:pt x="12600" y="2945"/>
                </a:lnTo>
                <a:lnTo>
                  <a:pt x="12600" y="4909"/>
                </a:lnTo>
                <a:lnTo>
                  <a:pt x="1200" y="4909"/>
                </a:lnTo>
                <a:cubicBezTo>
                  <a:pt x="538" y="4909"/>
                  <a:pt x="0" y="5349"/>
                  <a:pt x="0" y="5891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5891"/>
                </a:lnTo>
                <a:cubicBezTo>
                  <a:pt x="21600" y="5349"/>
                  <a:pt x="21062" y="4909"/>
                  <a:pt x="20400" y="4909"/>
                </a:cubicBezTo>
                <a:moveTo>
                  <a:pt x="3600" y="14727"/>
                </a:moveTo>
                <a:lnTo>
                  <a:pt x="2400" y="14727"/>
                </a:lnTo>
                <a:lnTo>
                  <a:pt x="2400" y="15709"/>
                </a:lnTo>
                <a:lnTo>
                  <a:pt x="3600" y="15709"/>
                </a:lnTo>
                <a:cubicBezTo>
                  <a:pt x="3600" y="15709"/>
                  <a:pt x="3600" y="14727"/>
                  <a:pt x="3600" y="14727"/>
                </a:cubicBezTo>
                <a:close/>
                <a:moveTo>
                  <a:pt x="4800" y="15709"/>
                </a:moveTo>
                <a:lnTo>
                  <a:pt x="6000" y="15709"/>
                </a:lnTo>
                <a:lnTo>
                  <a:pt x="6000" y="14727"/>
                </a:lnTo>
                <a:lnTo>
                  <a:pt x="4800" y="14727"/>
                </a:lnTo>
                <a:cubicBezTo>
                  <a:pt x="4800" y="14727"/>
                  <a:pt x="4800" y="15709"/>
                  <a:pt x="4800" y="15709"/>
                </a:cubicBezTo>
                <a:close/>
                <a:moveTo>
                  <a:pt x="9000" y="19636"/>
                </a:moveTo>
                <a:lnTo>
                  <a:pt x="12600" y="19636"/>
                </a:lnTo>
                <a:cubicBezTo>
                  <a:pt x="12931" y="19636"/>
                  <a:pt x="13200" y="19417"/>
                  <a:pt x="13200" y="19145"/>
                </a:cubicBezTo>
                <a:cubicBezTo>
                  <a:pt x="13200" y="18875"/>
                  <a:pt x="12931" y="18655"/>
                  <a:pt x="12600" y="18655"/>
                </a:cubicBezTo>
                <a:lnTo>
                  <a:pt x="9000" y="18655"/>
                </a:lnTo>
                <a:cubicBezTo>
                  <a:pt x="8669" y="18655"/>
                  <a:pt x="8400" y="18875"/>
                  <a:pt x="8400" y="19145"/>
                </a:cubicBezTo>
                <a:cubicBezTo>
                  <a:pt x="8400" y="19417"/>
                  <a:pt x="8669" y="19636"/>
                  <a:pt x="9000" y="19636"/>
                </a:cubicBezTo>
                <a:moveTo>
                  <a:pt x="7200" y="15709"/>
                </a:moveTo>
                <a:lnTo>
                  <a:pt x="8400" y="15709"/>
                </a:lnTo>
                <a:lnTo>
                  <a:pt x="8400" y="14727"/>
                </a:lnTo>
                <a:lnTo>
                  <a:pt x="7200" y="14727"/>
                </a:lnTo>
                <a:cubicBezTo>
                  <a:pt x="7200" y="14727"/>
                  <a:pt x="7200" y="15709"/>
                  <a:pt x="7200" y="15709"/>
                </a:cubicBezTo>
                <a:close/>
                <a:moveTo>
                  <a:pt x="14400" y="12764"/>
                </a:moveTo>
                <a:lnTo>
                  <a:pt x="13200" y="12764"/>
                </a:lnTo>
                <a:lnTo>
                  <a:pt x="13200" y="13745"/>
                </a:lnTo>
                <a:lnTo>
                  <a:pt x="14400" y="13745"/>
                </a:lnTo>
                <a:cubicBezTo>
                  <a:pt x="14400" y="13745"/>
                  <a:pt x="14400" y="12764"/>
                  <a:pt x="14400" y="12764"/>
                </a:cubicBezTo>
                <a:close/>
                <a:moveTo>
                  <a:pt x="10800" y="12764"/>
                </a:moveTo>
                <a:lnTo>
                  <a:pt x="3600" y="12764"/>
                </a:lnTo>
                <a:lnTo>
                  <a:pt x="3600" y="7855"/>
                </a:lnTo>
                <a:lnTo>
                  <a:pt x="10800" y="7855"/>
                </a:lnTo>
                <a:cubicBezTo>
                  <a:pt x="10800" y="7855"/>
                  <a:pt x="10800" y="12764"/>
                  <a:pt x="10800" y="12764"/>
                </a:cubicBezTo>
                <a:close/>
                <a:moveTo>
                  <a:pt x="12000" y="6873"/>
                </a:moveTo>
                <a:lnTo>
                  <a:pt x="2400" y="6873"/>
                </a:lnTo>
                <a:lnTo>
                  <a:pt x="2400" y="13745"/>
                </a:lnTo>
                <a:lnTo>
                  <a:pt x="12000" y="13745"/>
                </a:lnTo>
                <a:cubicBezTo>
                  <a:pt x="12000" y="13745"/>
                  <a:pt x="12000" y="6873"/>
                  <a:pt x="12000" y="6873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15" name="Shape 2815"/>
          <p:cNvSpPr/>
          <p:nvPr/>
        </p:nvSpPr>
        <p:spPr>
          <a:xfrm>
            <a:off x="8908119" y="1426542"/>
            <a:ext cx="253935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7" y="20618"/>
                </a:moveTo>
                <a:lnTo>
                  <a:pt x="1300" y="19636"/>
                </a:lnTo>
                <a:lnTo>
                  <a:pt x="20300" y="19636"/>
                </a:lnTo>
                <a:lnTo>
                  <a:pt x="20443" y="20618"/>
                </a:lnTo>
                <a:cubicBezTo>
                  <a:pt x="20443" y="20618"/>
                  <a:pt x="1157" y="20618"/>
                  <a:pt x="1157" y="20618"/>
                </a:cubicBezTo>
                <a:close/>
                <a:moveTo>
                  <a:pt x="3172" y="6873"/>
                </a:moveTo>
                <a:lnTo>
                  <a:pt x="6480" y="6873"/>
                </a:lnTo>
                <a:lnTo>
                  <a:pt x="6480" y="8973"/>
                </a:lnTo>
                <a:cubicBezTo>
                  <a:pt x="6158" y="9143"/>
                  <a:pt x="5940" y="9456"/>
                  <a:pt x="5940" y="9818"/>
                </a:cubicBezTo>
                <a:cubicBezTo>
                  <a:pt x="5940" y="10360"/>
                  <a:pt x="6424" y="10800"/>
                  <a:pt x="7020" y="10800"/>
                </a:cubicBezTo>
                <a:cubicBezTo>
                  <a:pt x="7616" y="10800"/>
                  <a:pt x="8100" y="10360"/>
                  <a:pt x="8100" y="9818"/>
                </a:cubicBezTo>
                <a:cubicBezTo>
                  <a:pt x="8100" y="9456"/>
                  <a:pt x="7882" y="9143"/>
                  <a:pt x="7560" y="8973"/>
                </a:cubicBezTo>
                <a:lnTo>
                  <a:pt x="7560" y="6873"/>
                </a:lnTo>
                <a:lnTo>
                  <a:pt x="14040" y="6873"/>
                </a:lnTo>
                <a:lnTo>
                  <a:pt x="14040" y="8973"/>
                </a:lnTo>
                <a:cubicBezTo>
                  <a:pt x="13718" y="9143"/>
                  <a:pt x="13500" y="9456"/>
                  <a:pt x="13500" y="9818"/>
                </a:cubicBezTo>
                <a:cubicBezTo>
                  <a:pt x="13500" y="10360"/>
                  <a:pt x="13984" y="10800"/>
                  <a:pt x="14580" y="10800"/>
                </a:cubicBezTo>
                <a:cubicBezTo>
                  <a:pt x="15176" y="10800"/>
                  <a:pt x="15660" y="10360"/>
                  <a:pt x="15660" y="9818"/>
                </a:cubicBezTo>
                <a:cubicBezTo>
                  <a:pt x="15660" y="9456"/>
                  <a:pt x="15442" y="9143"/>
                  <a:pt x="15120" y="8973"/>
                </a:cubicBezTo>
                <a:lnTo>
                  <a:pt x="15120" y="6873"/>
                </a:lnTo>
                <a:lnTo>
                  <a:pt x="18428" y="6873"/>
                </a:lnTo>
                <a:lnTo>
                  <a:pt x="20155" y="18655"/>
                </a:lnTo>
                <a:lnTo>
                  <a:pt x="1445" y="18655"/>
                </a:lnTo>
                <a:cubicBezTo>
                  <a:pt x="1445" y="18655"/>
                  <a:pt x="3172" y="6873"/>
                  <a:pt x="3172" y="6873"/>
                </a:cubicBezTo>
                <a:close/>
                <a:moveTo>
                  <a:pt x="7560" y="3927"/>
                </a:moveTo>
                <a:cubicBezTo>
                  <a:pt x="7560" y="2301"/>
                  <a:pt x="9011" y="982"/>
                  <a:pt x="10800" y="982"/>
                </a:cubicBezTo>
                <a:cubicBezTo>
                  <a:pt x="12590" y="982"/>
                  <a:pt x="14040" y="2301"/>
                  <a:pt x="14040" y="3927"/>
                </a:cubicBezTo>
                <a:lnTo>
                  <a:pt x="14040" y="5891"/>
                </a:lnTo>
                <a:lnTo>
                  <a:pt x="7560" y="5891"/>
                </a:lnTo>
                <a:cubicBezTo>
                  <a:pt x="7560" y="5891"/>
                  <a:pt x="7560" y="3927"/>
                  <a:pt x="7560" y="3927"/>
                </a:cubicBezTo>
                <a:close/>
                <a:moveTo>
                  <a:pt x="21586" y="21045"/>
                </a:moveTo>
                <a:lnTo>
                  <a:pt x="21595" y="21044"/>
                </a:lnTo>
                <a:lnTo>
                  <a:pt x="19435" y="6317"/>
                </a:lnTo>
                <a:lnTo>
                  <a:pt x="19426" y="6318"/>
                </a:lnTo>
                <a:cubicBezTo>
                  <a:pt x="19390" y="6079"/>
                  <a:pt x="19173" y="5891"/>
                  <a:pt x="18900" y="5891"/>
                </a:cubicBezTo>
                <a:lnTo>
                  <a:pt x="15120" y="5891"/>
                </a:lnTo>
                <a:lnTo>
                  <a:pt x="15120" y="3927"/>
                </a:lnTo>
                <a:cubicBezTo>
                  <a:pt x="15120" y="1758"/>
                  <a:pt x="13186" y="0"/>
                  <a:pt x="10800" y="0"/>
                </a:cubicBezTo>
                <a:cubicBezTo>
                  <a:pt x="8414" y="0"/>
                  <a:pt x="6480" y="1758"/>
                  <a:pt x="6480" y="3927"/>
                </a:cubicBezTo>
                <a:lnTo>
                  <a:pt x="6480" y="5891"/>
                </a:lnTo>
                <a:lnTo>
                  <a:pt x="2700" y="5891"/>
                </a:lnTo>
                <a:cubicBezTo>
                  <a:pt x="2427" y="5891"/>
                  <a:pt x="2210" y="6079"/>
                  <a:pt x="2174" y="6318"/>
                </a:cubicBezTo>
                <a:lnTo>
                  <a:pt x="2165" y="6317"/>
                </a:lnTo>
                <a:lnTo>
                  <a:pt x="5" y="21044"/>
                </a:lnTo>
                <a:lnTo>
                  <a:pt x="14" y="21045"/>
                </a:lnTo>
                <a:cubicBezTo>
                  <a:pt x="11" y="21067"/>
                  <a:pt x="0" y="21087"/>
                  <a:pt x="0" y="21109"/>
                </a:cubicBezTo>
                <a:cubicBezTo>
                  <a:pt x="0" y="21381"/>
                  <a:pt x="242" y="21600"/>
                  <a:pt x="540" y="21600"/>
                </a:cubicBezTo>
                <a:lnTo>
                  <a:pt x="21060" y="21600"/>
                </a:lnTo>
                <a:cubicBezTo>
                  <a:pt x="21358" y="21600"/>
                  <a:pt x="21600" y="21381"/>
                  <a:pt x="21600" y="21109"/>
                </a:cubicBezTo>
                <a:cubicBezTo>
                  <a:pt x="21600" y="21087"/>
                  <a:pt x="21589" y="21067"/>
                  <a:pt x="21586" y="21045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16" name="Shape 2816"/>
          <p:cNvSpPr/>
          <p:nvPr/>
        </p:nvSpPr>
        <p:spPr>
          <a:xfrm>
            <a:off x="9422336" y="1426542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87" y="18100"/>
                </a:moveTo>
                <a:lnTo>
                  <a:pt x="21596" y="18099"/>
                </a:lnTo>
                <a:lnTo>
                  <a:pt x="20614" y="5335"/>
                </a:lnTo>
                <a:lnTo>
                  <a:pt x="20605" y="5337"/>
                </a:lnTo>
                <a:cubicBezTo>
                  <a:pt x="20573" y="5097"/>
                  <a:pt x="20376" y="4909"/>
                  <a:pt x="20127" y="4909"/>
                </a:cubicBezTo>
                <a:lnTo>
                  <a:pt x="16691" y="4909"/>
                </a:lnTo>
                <a:lnTo>
                  <a:pt x="16691" y="3927"/>
                </a:lnTo>
                <a:cubicBezTo>
                  <a:pt x="16691" y="1758"/>
                  <a:pt x="14932" y="0"/>
                  <a:pt x="12764" y="0"/>
                </a:cubicBezTo>
                <a:cubicBezTo>
                  <a:pt x="11300" y="0"/>
                  <a:pt x="10025" y="803"/>
                  <a:pt x="9350" y="1991"/>
                </a:cubicBezTo>
                <a:cubicBezTo>
                  <a:pt x="9705" y="2027"/>
                  <a:pt x="10048" y="2105"/>
                  <a:pt x="10377" y="2214"/>
                </a:cubicBezTo>
                <a:cubicBezTo>
                  <a:pt x="10911" y="1470"/>
                  <a:pt x="11778" y="982"/>
                  <a:pt x="12764" y="982"/>
                </a:cubicBezTo>
                <a:cubicBezTo>
                  <a:pt x="14390" y="982"/>
                  <a:pt x="15709" y="2301"/>
                  <a:pt x="15709" y="3927"/>
                </a:cubicBezTo>
                <a:lnTo>
                  <a:pt x="15709" y="4909"/>
                </a:lnTo>
                <a:lnTo>
                  <a:pt x="13337" y="4909"/>
                </a:lnTo>
                <a:cubicBezTo>
                  <a:pt x="13474" y="5221"/>
                  <a:pt x="13581" y="5549"/>
                  <a:pt x="13651" y="5891"/>
                </a:cubicBezTo>
                <a:lnTo>
                  <a:pt x="15709" y="5891"/>
                </a:lnTo>
                <a:lnTo>
                  <a:pt x="15709" y="6873"/>
                </a:lnTo>
                <a:lnTo>
                  <a:pt x="16204" y="6873"/>
                </a:lnTo>
                <a:cubicBezTo>
                  <a:pt x="16375" y="6873"/>
                  <a:pt x="16537" y="6905"/>
                  <a:pt x="16691" y="6961"/>
                </a:cubicBezTo>
                <a:lnTo>
                  <a:pt x="16691" y="5891"/>
                </a:lnTo>
                <a:lnTo>
                  <a:pt x="19674" y="5891"/>
                </a:lnTo>
                <a:lnTo>
                  <a:pt x="20429" y="15709"/>
                </a:lnTo>
                <a:lnTo>
                  <a:pt x="18247" y="15709"/>
                </a:lnTo>
                <a:lnTo>
                  <a:pt x="18323" y="16691"/>
                </a:lnTo>
                <a:lnTo>
                  <a:pt x="20504" y="16691"/>
                </a:lnTo>
                <a:lnTo>
                  <a:pt x="20580" y="17673"/>
                </a:lnTo>
                <a:lnTo>
                  <a:pt x="18398" y="17673"/>
                </a:lnTo>
                <a:lnTo>
                  <a:pt x="18474" y="18655"/>
                </a:lnTo>
                <a:lnTo>
                  <a:pt x="21109" y="18655"/>
                </a:lnTo>
                <a:cubicBezTo>
                  <a:pt x="21380" y="18655"/>
                  <a:pt x="21600" y="18435"/>
                  <a:pt x="21600" y="18164"/>
                </a:cubicBezTo>
                <a:cubicBezTo>
                  <a:pt x="21600" y="18141"/>
                  <a:pt x="21590" y="18122"/>
                  <a:pt x="21587" y="18100"/>
                </a:cubicBezTo>
                <a:moveTo>
                  <a:pt x="1020" y="20618"/>
                </a:moveTo>
                <a:lnTo>
                  <a:pt x="1096" y="19636"/>
                </a:lnTo>
                <a:lnTo>
                  <a:pt x="16577" y="19636"/>
                </a:lnTo>
                <a:lnTo>
                  <a:pt x="16653" y="20618"/>
                </a:lnTo>
                <a:cubicBezTo>
                  <a:pt x="16653" y="20618"/>
                  <a:pt x="1020" y="20618"/>
                  <a:pt x="1020" y="20618"/>
                </a:cubicBezTo>
                <a:close/>
                <a:moveTo>
                  <a:pt x="1926" y="8836"/>
                </a:moveTo>
                <a:lnTo>
                  <a:pt x="4909" y="8836"/>
                </a:lnTo>
                <a:lnTo>
                  <a:pt x="4909" y="10936"/>
                </a:lnTo>
                <a:cubicBezTo>
                  <a:pt x="4617" y="11106"/>
                  <a:pt x="4418" y="11420"/>
                  <a:pt x="4418" y="11782"/>
                </a:cubicBezTo>
                <a:cubicBezTo>
                  <a:pt x="4418" y="12324"/>
                  <a:pt x="4858" y="12764"/>
                  <a:pt x="5400" y="12764"/>
                </a:cubicBezTo>
                <a:cubicBezTo>
                  <a:pt x="5942" y="12764"/>
                  <a:pt x="6382" y="12324"/>
                  <a:pt x="6382" y="11782"/>
                </a:cubicBezTo>
                <a:cubicBezTo>
                  <a:pt x="6382" y="11420"/>
                  <a:pt x="6183" y="11106"/>
                  <a:pt x="5891" y="10936"/>
                </a:cubicBezTo>
                <a:lnTo>
                  <a:pt x="5891" y="8836"/>
                </a:lnTo>
                <a:lnTo>
                  <a:pt x="11782" y="8836"/>
                </a:lnTo>
                <a:lnTo>
                  <a:pt x="11782" y="10936"/>
                </a:lnTo>
                <a:cubicBezTo>
                  <a:pt x="11489" y="11106"/>
                  <a:pt x="11291" y="11420"/>
                  <a:pt x="11291" y="11782"/>
                </a:cubicBezTo>
                <a:cubicBezTo>
                  <a:pt x="11291" y="12324"/>
                  <a:pt x="11731" y="12764"/>
                  <a:pt x="12273" y="12764"/>
                </a:cubicBezTo>
                <a:cubicBezTo>
                  <a:pt x="12815" y="12764"/>
                  <a:pt x="13255" y="12324"/>
                  <a:pt x="13255" y="11782"/>
                </a:cubicBezTo>
                <a:cubicBezTo>
                  <a:pt x="13255" y="11420"/>
                  <a:pt x="13056" y="11106"/>
                  <a:pt x="12764" y="10936"/>
                </a:cubicBezTo>
                <a:lnTo>
                  <a:pt x="12764" y="8836"/>
                </a:lnTo>
                <a:lnTo>
                  <a:pt x="15746" y="8836"/>
                </a:lnTo>
                <a:lnTo>
                  <a:pt x="16502" y="18655"/>
                </a:lnTo>
                <a:lnTo>
                  <a:pt x="1172" y="18655"/>
                </a:lnTo>
                <a:cubicBezTo>
                  <a:pt x="1172" y="18655"/>
                  <a:pt x="1926" y="8836"/>
                  <a:pt x="1926" y="8836"/>
                </a:cubicBezTo>
                <a:close/>
                <a:moveTo>
                  <a:pt x="5891" y="6873"/>
                </a:moveTo>
                <a:cubicBezTo>
                  <a:pt x="5891" y="5246"/>
                  <a:pt x="7210" y="3927"/>
                  <a:pt x="8836" y="3927"/>
                </a:cubicBezTo>
                <a:cubicBezTo>
                  <a:pt x="10463" y="3927"/>
                  <a:pt x="11782" y="5246"/>
                  <a:pt x="11782" y="6873"/>
                </a:cubicBezTo>
                <a:lnTo>
                  <a:pt x="11782" y="7855"/>
                </a:lnTo>
                <a:lnTo>
                  <a:pt x="5891" y="7855"/>
                </a:lnTo>
                <a:cubicBezTo>
                  <a:pt x="5891" y="7855"/>
                  <a:pt x="5891" y="6873"/>
                  <a:pt x="5891" y="6873"/>
                </a:cubicBezTo>
                <a:close/>
                <a:moveTo>
                  <a:pt x="17668" y="21044"/>
                </a:moveTo>
                <a:lnTo>
                  <a:pt x="16687" y="8281"/>
                </a:lnTo>
                <a:lnTo>
                  <a:pt x="16678" y="8282"/>
                </a:lnTo>
                <a:cubicBezTo>
                  <a:pt x="16646" y="8043"/>
                  <a:pt x="16448" y="7855"/>
                  <a:pt x="16200" y="7855"/>
                </a:cubicBezTo>
                <a:lnTo>
                  <a:pt x="12764" y="7855"/>
                </a:lnTo>
                <a:lnTo>
                  <a:pt x="12764" y="6873"/>
                </a:lnTo>
                <a:cubicBezTo>
                  <a:pt x="12764" y="4704"/>
                  <a:pt x="11005" y="2945"/>
                  <a:pt x="8836" y="2945"/>
                </a:cubicBezTo>
                <a:cubicBezTo>
                  <a:pt x="6668" y="2945"/>
                  <a:pt x="4909" y="4704"/>
                  <a:pt x="4909" y="6873"/>
                </a:cubicBezTo>
                <a:lnTo>
                  <a:pt x="4909" y="7855"/>
                </a:lnTo>
                <a:lnTo>
                  <a:pt x="1473" y="7855"/>
                </a:lnTo>
                <a:cubicBezTo>
                  <a:pt x="1224" y="7855"/>
                  <a:pt x="1027" y="8043"/>
                  <a:pt x="995" y="8282"/>
                </a:cubicBezTo>
                <a:lnTo>
                  <a:pt x="986" y="8281"/>
                </a:lnTo>
                <a:lnTo>
                  <a:pt x="4" y="21044"/>
                </a:lnTo>
                <a:lnTo>
                  <a:pt x="13" y="21045"/>
                </a:lnTo>
                <a:cubicBezTo>
                  <a:pt x="10" y="21067"/>
                  <a:pt x="0" y="21087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1"/>
                  <a:pt x="17673" y="21109"/>
                </a:cubicBezTo>
                <a:cubicBezTo>
                  <a:pt x="17673" y="21087"/>
                  <a:pt x="17663" y="21067"/>
                  <a:pt x="17660" y="21045"/>
                </a:cubicBezTo>
                <a:cubicBezTo>
                  <a:pt x="17660" y="21045"/>
                  <a:pt x="17668" y="21044"/>
                  <a:pt x="17668" y="21044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17" name="Shape 2817"/>
          <p:cNvSpPr/>
          <p:nvPr/>
        </p:nvSpPr>
        <p:spPr>
          <a:xfrm>
            <a:off x="9961945" y="1451935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982" y="9600"/>
                </a:lnTo>
                <a:lnTo>
                  <a:pt x="982" y="8400"/>
                </a:lnTo>
                <a:lnTo>
                  <a:pt x="20618" y="8400"/>
                </a:lnTo>
                <a:cubicBezTo>
                  <a:pt x="20618" y="8400"/>
                  <a:pt x="20618" y="9600"/>
                  <a:pt x="20618" y="9600"/>
                </a:cubicBezTo>
                <a:close/>
                <a:moveTo>
                  <a:pt x="19006" y="13200"/>
                </a:moveTo>
                <a:lnTo>
                  <a:pt x="15735" y="13200"/>
                </a:lnTo>
                <a:lnTo>
                  <a:pt x="16045" y="10800"/>
                </a:lnTo>
                <a:lnTo>
                  <a:pt x="19419" y="10800"/>
                </a:lnTo>
                <a:cubicBezTo>
                  <a:pt x="19419" y="10800"/>
                  <a:pt x="19006" y="13200"/>
                  <a:pt x="19006" y="13200"/>
                </a:cubicBezTo>
                <a:close/>
                <a:moveTo>
                  <a:pt x="18386" y="16800"/>
                </a:moveTo>
                <a:lnTo>
                  <a:pt x="15270" y="16800"/>
                </a:lnTo>
                <a:lnTo>
                  <a:pt x="15580" y="14400"/>
                </a:lnTo>
                <a:lnTo>
                  <a:pt x="18799" y="14400"/>
                </a:lnTo>
                <a:cubicBezTo>
                  <a:pt x="18799" y="14400"/>
                  <a:pt x="18386" y="16800"/>
                  <a:pt x="18386" y="16800"/>
                </a:cubicBezTo>
                <a:close/>
                <a:moveTo>
                  <a:pt x="17766" y="20400"/>
                </a:moveTo>
                <a:lnTo>
                  <a:pt x="14805" y="20400"/>
                </a:lnTo>
                <a:lnTo>
                  <a:pt x="15115" y="18000"/>
                </a:lnTo>
                <a:lnTo>
                  <a:pt x="18179" y="18000"/>
                </a:lnTo>
                <a:cubicBezTo>
                  <a:pt x="18179" y="18000"/>
                  <a:pt x="17766" y="20400"/>
                  <a:pt x="17766" y="20400"/>
                </a:cubicBezTo>
                <a:close/>
                <a:moveTo>
                  <a:pt x="11291" y="13200"/>
                </a:moveTo>
                <a:lnTo>
                  <a:pt x="11291" y="10800"/>
                </a:lnTo>
                <a:lnTo>
                  <a:pt x="15063" y="10800"/>
                </a:lnTo>
                <a:lnTo>
                  <a:pt x="14753" y="13200"/>
                </a:lnTo>
                <a:cubicBezTo>
                  <a:pt x="14753" y="13200"/>
                  <a:pt x="11291" y="13200"/>
                  <a:pt x="11291" y="13200"/>
                </a:cubicBezTo>
                <a:close/>
                <a:moveTo>
                  <a:pt x="14289" y="16800"/>
                </a:moveTo>
                <a:lnTo>
                  <a:pt x="11291" y="16800"/>
                </a:lnTo>
                <a:lnTo>
                  <a:pt x="11291" y="14400"/>
                </a:lnTo>
                <a:lnTo>
                  <a:pt x="14598" y="14400"/>
                </a:lnTo>
                <a:cubicBezTo>
                  <a:pt x="14598" y="14400"/>
                  <a:pt x="14289" y="16800"/>
                  <a:pt x="14289" y="16800"/>
                </a:cubicBezTo>
                <a:close/>
                <a:moveTo>
                  <a:pt x="13823" y="20400"/>
                </a:moveTo>
                <a:lnTo>
                  <a:pt x="11291" y="20400"/>
                </a:lnTo>
                <a:lnTo>
                  <a:pt x="11291" y="18000"/>
                </a:lnTo>
                <a:lnTo>
                  <a:pt x="14133" y="18000"/>
                </a:lnTo>
                <a:cubicBezTo>
                  <a:pt x="14133" y="18000"/>
                  <a:pt x="13823" y="20400"/>
                  <a:pt x="13823" y="20400"/>
                </a:cubicBezTo>
                <a:close/>
                <a:moveTo>
                  <a:pt x="10309" y="13200"/>
                </a:moveTo>
                <a:lnTo>
                  <a:pt x="6847" y="13200"/>
                </a:lnTo>
                <a:lnTo>
                  <a:pt x="6537" y="10800"/>
                </a:lnTo>
                <a:lnTo>
                  <a:pt x="10309" y="10800"/>
                </a:lnTo>
                <a:cubicBezTo>
                  <a:pt x="10309" y="10800"/>
                  <a:pt x="10309" y="13200"/>
                  <a:pt x="10309" y="13200"/>
                </a:cubicBezTo>
                <a:close/>
                <a:moveTo>
                  <a:pt x="10309" y="16800"/>
                </a:moveTo>
                <a:lnTo>
                  <a:pt x="7311" y="16800"/>
                </a:lnTo>
                <a:lnTo>
                  <a:pt x="7002" y="14400"/>
                </a:lnTo>
                <a:lnTo>
                  <a:pt x="10309" y="14400"/>
                </a:lnTo>
                <a:cubicBezTo>
                  <a:pt x="10309" y="14400"/>
                  <a:pt x="10309" y="16800"/>
                  <a:pt x="10309" y="16800"/>
                </a:cubicBezTo>
                <a:close/>
                <a:moveTo>
                  <a:pt x="10309" y="20400"/>
                </a:moveTo>
                <a:lnTo>
                  <a:pt x="7777" y="20400"/>
                </a:lnTo>
                <a:lnTo>
                  <a:pt x="7467" y="18000"/>
                </a:lnTo>
                <a:lnTo>
                  <a:pt x="10309" y="18000"/>
                </a:lnTo>
                <a:cubicBezTo>
                  <a:pt x="10309" y="18000"/>
                  <a:pt x="10309" y="20400"/>
                  <a:pt x="10309" y="20400"/>
                </a:cubicBezTo>
                <a:close/>
                <a:moveTo>
                  <a:pt x="3834" y="20400"/>
                </a:moveTo>
                <a:lnTo>
                  <a:pt x="3421" y="18000"/>
                </a:lnTo>
                <a:lnTo>
                  <a:pt x="6485" y="18000"/>
                </a:lnTo>
                <a:lnTo>
                  <a:pt x="6795" y="20400"/>
                </a:lnTo>
                <a:cubicBezTo>
                  <a:pt x="6795" y="20400"/>
                  <a:pt x="3834" y="20400"/>
                  <a:pt x="3834" y="20400"/>
                </a:cubicBezTo>
                <a:close/>
                <a:moveTo>
                  <a:pt x="2801" y="14400"/>
                </a:moveTo>
                <a:lnTo>
                  <a:pt x="6020" y="14400"/>
                </a:lnTo>
                <a:lnTo>
                  <a:pt x="6330" y="16800"/>
                </a:lnTo>
                <a:lnTo>
                  <a:pt x="3214" y="16800"/>
                </a:lnTo>
                <a:cubicBezTo>
                  <a:pt x="3214" y="16800"/>
                  <a:pt x="2801" y="14400"/>
                  <a:pt x="2801" y="14400"/>
                </a:cubicBezTo>
                <a:close/>
                <a:moveTo>
                  <a:pt x="2181" y="10800"/>
                </a:moveTo>
                <a:lnTo>
                  <a:pt x="5555" y="10800"/>
                </a:lnTo>
                <a:lnTo>
                  <a:pt x="5865" y="13200"/>
                </a:lnTo>
                <a:lnTo>
                  <a:pt x="2594" y="13200"/>
                </a:lnTo>
                <a:cubicBezTo>
                  <a:pt x="2594" y="13200"/>
                  <a:pt x="2181" y="10800"/>
                  <a:pt x="2181" y="10800"/>
                </a:cubicBezTo>
                <a:close/>
                <a:moveTo>
                  <a:pt x="10800" y="1320"/>
                </a:moveTo>
                <a:lnTo>
                  <a:pt x="17616" y="7200"/>
                </a:lnTo>
                <a:lnTo>
                  <a:pt x="3984" y="7200"/>
                </a:lnTo>
                <a:cubicBezTo>
                  <a:pt x="3984" y="7200"/>
                  <a:pt x="10800" y="1320"/>
                  <a:pt x="10800" y="1320"/>
                </a:cubicBezTo>
                <a:close/>
                <a:moveTo>
                  <a:pt x="20618" y="7200"/>
                </a:moveTo>
                <a:lnTo>
                  <a:pt x="19284" y="7200"/>
                </a:lnTo>
                <a:lnTo>
                  <a:pt x="11157" y="188"/>
                </a:lnTo>
                <a:lnTo>
                  <a:pt x="11155" y="190"/>
                </a:lnTo>
                <a:cubicBezTo>
                  <a:pt x="11066" y="74"/>
                  <a:pt x="10941" y="0"/>
                  <a:pt x="10800" y="0"/>
                </a:cubicBezTo>
                <a:cubicBezTo>
                  <a:pt x="10659" y="0"/>
                  <a:pt x="10534" y="74"/>
                  <a:pt x="10445" y="190"/>
                </a:cubicBezTo>
                <a:lnTo>
                  <a:pt x="10443" y="188"/>
                </a:lnTo>
                <a:lnTo>
                  <a:pt x="2316" y="7200"/>
                </a:lnTo>
                <a:lnTo>
                  <a:pt x="982" y="7200"/>
                </a:lnTo>
                <a:cubicBezTo>
                  <a:pt x="439" y="7200"/>
                  <a:pt x="0" y="7738"/>
                  <a:pt x="0" y="8400"/>
                </a:cubicBezTo>
                <a:lnTo>
                  <a:pt x="0" y="9600"/>
                </a:lnTo>
                <a:cubicBezTo>
                  <a:pt x="0" y="10262"/>
                  <a:pt x="439" y="10800"/>
                  <a:pt x="982" y="10800"/>
                </a:cubicBezTo>
                <a:lnTo>
                  <a:pt x="1178" y="10800"/>
                </a:lnTo>
                <a:lnTo>
                  <a:pt x="2960" y="21145"/>
                </a:lnTo>
                <a:lnTo>
                  <a:pt x="2969" y="21143"/>
                </a:lnTo>
                <a:cubicBezTo>
                  <a:pt x="3023" y="2140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03"/>
                  <a:pt x="18631" y="21143"/>
                </a:cubicBezTo>
                <a:lnTo>
                  <a:pt x="18640" y="21145"/>
                </a:lnTo>
                <a:lnTo>
                  <a:pt x="20422" y="10800"/>
                </a:ln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8400"/>
                </a:lnTo>
                <a:cubicBezTo>
                  <a:pt x="21600" y="7738"/>
                  <a:pt x="21160" y="7200"/>
                  <a:pt x="20618" y="720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18" name="Shape 2818"/>
          <p:cNvSpPr/>
          <p:nvPr/>
        </p:nvSpPr>
        <p:spPr>
          <a:xfrm>
            <a:off x="10495206" y="1439239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10453" y="7402"/>
                </a:moveTo>
                <a:cubicBezTo>
                  <a:pt x="10542" y="7500"/>
                  <a:pt x="10665" y="7560"/>
                  <a:pt x="10800" y="7560"/>
                </a:cubicBezTo>
                <a:cubicBezTo>
                  <a:pt x="10936" y="7560"/>
                  <a:pt x="11058" y="7500"/>
                  <a:pt x="11147" y="7402"/>
                </a:cubicBezTo>
                <a:lnTo>
                  <a:pt x="13111" y="5242"/>
                </a:lnTo>
                <a:cubicBezTo>
                  <a:pt x="13200" y="5144"/>
                  <a:pt x="13255" y="5009"/>
                  <a:pt x="13255" y="4860"/>
                </a:cubicBezTo>
                <a:cubicBezTo>
                  <a:pt x="13255" y="4562"/>
                  <a:pt x="13035" y="4320"/>
                  <a:pt x="12764" y="4320"/>
                </a:cubicBezTo>
                <a:cubicBezTo>
                  <a:pt x="12628" y="4320"/>
                  <a:pt x="12506" y="4381"/>
                  <a:pt x="12417" y="4478"/>
                </a:cubicBezTo>
                <a:lnTo>
                  <a:pt x="11291" y="57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5716"/>
                </a:lnTo>
                <a:lnTo>
                  <a:pt x="9183" y="4478"/>
                </a:lnTo>
                <a:cubicBezTo>
                  <a:pt x="9095" y="4381"/>
                  <a:pt x="8972" y="4320"/>
                  <a:pt x="8836" y="4320"/>
                </a:cubicBezTo>
                <a:cubicBezTo>
                  <a:pt x="8565" y="4320"/>
                  <a:pt x="8345" y="4562"/>
                  <a:pt x="8345" y="4860"/>
                </a:cubicBezTo>
                <a:cubicBezTo>
                  <a:pt x="8345" y="5009"/>
                  <a:pt x="8400" y="5144"/>
                  <a:pt x="8489" y="5242"/>
                </a:cubicBezTo>
                <a:cubicBezTo>
                  <a:pt x="8489" y="5242"/>
                  <a:pt x="10453" y="7402"/>
                  <a:pt x="10453" y="7402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19" name="Shape 2819"/>
          <p:cNvSpPr/>
          <p:nvPr/>
        </p:nvSpPr>
        <p:spPr>
          <a:xfrm>
            <a:off x="11028467" y="1439239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836" y="3240"/>
                </a:moveTo>
                <a:cubicBezTo>
                  <a:pt x="8972" y="3240"/>
                  <a:pt x="9095" y="3179"/>
                  <a:pt x="9183" y="3082"/>
                </a:cubicBezTo>
                <a:lnTo>
                  <a:pt x="10309" y="1844"/>
                </a:lnTo>
                <a:lnTo>
                  <a:pt x="10309" y="7020"/>
                </a:lnTo>
                <a:cubicBezTo>
                  <a:pt x="10309" y="7318"/>
                  <a:pt x="10529" y="7560"/>
                  <a:pt x="10800" y="7560"/>
                </a:cubicBezTo>
                <a:cubicBezTo>
                  <a:pt x="11071" y="7560"/>
                  <a:pt x="11291" y="7318"/>
                  <a:pt x="11291" y="7020"/>
                </a:cubicBezTo>
                <a:lnTo>
                  <a:pt x="11291" y="1844"/>
                </a:lnTo>
                <a:lnTo>
                  <a:pt x="12417" y="3082"/>
                </a:lnTo>
                <a:cubicBezTo>
                  <a:pt x="12505" y="3179"/>
                  <a:pt x="12628" y="3240"/>
                  <a:pt x="12764" y="3240"/>
                </a:cubicBezTo>
                <a:cubicBezTo>
                  <a:pt x="13035" y="3240"/>
                  <a:pt x="13255" y="2998"/>
                  <a:pt x="13255" y="2700"/>
                </a:cubicBezTo>
                <a:cubicBezTo>
                  <a:pt x="13255" y="2551"/>
                  <a:pt x="13199" y="2416"/>
                  <a:pt x="13111" y="231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0"/>
                  <a:pt x="10453" y="158"/>
                </a:cubicBezTo>
                <a:lnTo>
                  <a:pt x="8489" y="2318"/>
                </a:lnTo>
                <a:cubicBezTo>
                  <a:pt x="8400" y="2416"/>
                  <a:pt x="8345" y="2551"/>
                  <a:pt x="8345" y="2700"/>
                </a:cubicBezTo>
                <a:cubicBezTo>
                  <a:pt x="8345" y="2998"/>
                  <a:pt x="8565" y="3240"/>
                  <a:pt x="8836" y="324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20" name="Shape 2820"/>
          <p:cNvSpPr/>
          <p:nvPr/>
        </p:nvSpPr>
        <p:spPr>
          <a:xfrm>
            <a:off x="6229117" y="1972500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507" y="3082"/>
                </a:moveTo>
                <a:lnTo>
                  <a:pt x="7507" y="3082"/>
                </a:lnTo>
                <a:lnTo>
                  <a:pt x="9471" y="5242"/>
                </a:lnTo>
                <a:cubicBezTo>
                  <a:pt x="9560" y="5340"/>
                  <a:pt x="9683" y="5400"/>
                  <a:pt x="9818" y="5400"/>
                </a:cubicBezTo>
                <a:cubicBezTo>
                  <a:pt x="10089" y="5400"/>
                  <a:pt x="10309" y="5158"/>
                  <a:pt x="10309" y="4860"/>
                </a:cubicBezTo>
                <a:cubicBezTo>
                  <a:pt x="10309" y="4712"/>
                  <a:pt x="10254" y="4577"/>
                  <a:pt x="10165" y="4478"/>
                </a:cubicBezTo>
                <a:lnTo>
                  <a:pt x="9040" y="3240"/>
                </a:lnTo>
                <a:lnTo>
                  <a:pt x="13745" y="3240"/>
                </a:lnTo>
                <a:lnTo>
                  <a:pt x="13745" y="3240"/>
                </a:lnTo>
                <a:cubicBezTo>
                  <a:pt x="14016" y="3240"/>
                  <a:pt x="14236" y="2998"/>
                  <a:pt x="14236" y="2700"/>
                </a:cubicBezTo>
                <a:cubicBezTo>
                  <a:pt x="14236" y="2402"/>
                  <a:pt x="14016" y="2160"/>
                  <a:pt x="13745" y="2160"/>
                </a:cubicBezTo>
                <a:lnTo>
                  <a:pt x="9040" y="2160"/>
                </a:lnTo>
                <a:lnTo>
                  <a:pt x="10165" y="922"/>
                </a:lnTo>
                <a:cubicBezTo>
                  <a:pt x="10254" y="824"/>
                  <a:pt x="10309" y="689"/>
                  <a:pt x="10309" y="540"/>
                </a:cubicBezTo>
                <a:cubicBezTo>
                  <a:pt x="10309" y="242"/>
                  <a:pt x="10089" y="0"/>
                  <a:pt x="9818" y="0"/>
                </a:cubicBezTo>
                <a:cubicBezTo>
                  <a:pt x="9683" y="0"/>
                  <a:pt x="9560" y="61"/>
                  <a:pt x="9471" y="158"/>
                </a:cubicBezTo>
                <a:lnTo>
                  <a:pt x="7507" y="2318"/>
                </a:lnTo>
                <a:lnTo>
                  <a:pt x="7507" y="2318"/>
                </a:lnTo>
                <a:cubicBezTo>
                  <a:pt x="7419" y="2417"/>
                  <a:pt x="7364" y="2552"/>
                  <a:pt x="7364" y="2700"/>
                </a:cubicBezTo>
                <a:cubicBezTo>
                  <a:pt x="7364" y="2849"/>
                  <a:pt x="7419" y="2984"/>
                  <a:pt x="7507" y="3082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21" name="Shape 2821"/>
          <p:cNvSpPr/>
          <p:nvPr/>
        </p:nvSpPr>
        <p:spPr>
          <a:xfrm>
            <a:off x="6762379" y="1972500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855" y="3240"/>
                </a:moveTo>
                <a:lnTo>
                  <a:pt x="7855" y="3240"/>
                </a:lnTo>
                <a:lnTo>
                  <a:pt x="12560" y="3240"/>
                </a:lnTo>
                <a:lnTo>
                  <a:pt x="11435" y="4478"/>
                </a:lnTo>
                <a:cubicBezTo>
                  <a:pt x="11346" y="4577"/>
                  <a:pt x="11291" y="4712"/>
                  <a:pt x="11291" y="4860"/>
                </a:cubicBezTo>
                <a:cubicBezTo>
                  <a:pt x="11291" y="5158"/>
                  <a:pt x="11511" y="5400"/>
                  <a:pt x="11782" y="5400"/>
                </a:cubicBezTo>
                <a:cubicBezTo>
                  <a:pt x="11917" y="5400"/>
                  <a:pt x="12040" y="5340"/>
                  <a:pt x="12129" y="5242"/>
                </a:cubicBezTo>
                <a:lnTo>
                  <a:pt x="14093" y="3082"/>
                </a:lnTo>
                <a:cubicBezTo>
                  <a:pt x="14181" y="2984"/>
                  <a:pt x="14236" y="2849"/>
                  <a:pt x="14236" y="2700"/>
                </a:cubicBezTo>
                <a:cubicBezTo>
                  <a:pt x="14236" y="2552"/>
                  <a:pt x="14181" y="2417"/>
                  <a:pt x="14093" y="2318"/>
                </a:cubicBezTo>
                <a:lnTo>
                  <a:pt x="12129" y="158"/>
                </a:lnTo>
                <a:cubicBezTo>
                  <a:pt x="12040" y="61"/>
                  <a:pt x="11917" y="0"/>
                  <a:pt x="11782" y="0"/>
                </a:cubicBezTo>
                <a:cubicBezTo>
                  <a:pt x="11511" y="0"/>
                  <a:pt x="11291" y="242"/>
                  <a:pt x="11291" y="540"/>
                </a:cubicBezTo>
                <a:cubicBezTo>
                  <a:pt x="11291" y="689"/>
                  <a:pt x="11346" y="824"/>
                  <a:pt x="11435" y="922"/>
                </a:cubicBezTo>
                <a:lnTo>
                  <a:pt x="12560" y="2160"/>
                </a:lnTo>
                <a:lnTo>
                  <a:pt x="7855" y="2160"/>
                </a:lnTo>
                <a:cubicBezTo>
                  <a:pt x="7584" y="2160"/>
                  <a:pt x="7364" y="2402"/>
                  <a:pt x="7364" y="2700"/>
                </a:cubicBezTo>
                <a:cubicBezTo>
                  <a:pt x="7364" y="2998"/>
                  <a:pt x="7584" y="3240"/>
                  <a:pt x="7855" y="324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22" name="Shape 2822"/>
          <p:cNvSpPr/>
          <p:nvPr/>
        </p:nvSpPr>
        <p:spPr>
          <a:xfrm>
            <a:off x="7295640" y="1972500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345" y="3780"/>
                </a:moveTo>
                <a:lnTo>
                  <a:pt x="10309" y="3780"/>
                </a:lnTo>
                <a:lnTo>
                  <a:pt x="10309" y="5940"/>
                </a:lnTo>
                <a:cubicBezTo>
                  <a:pt x="10309" y="6238"/>
                  <a:pt x="10529" y="6480"/>
                  <a:pt x="10800" y="6480"/>
                </a:cubicBezTo>
                <a:cubicBezTo>
                  <a:pt x="11071" y="6480"/>
                  <a:pt x="11291" y="6238"/>
                  <a:pt x="11291" y="5940"/>
                </a:cubicBezTo>
                <a:lnTo>
                  <a:pt x="11291" y="3780"/>
                </a:lnTo>
                <a:lnTo>
                  <a:pt x="13255" y="3780"/>
                </a:lnTo>
                <a:cubicBezTo>
                  <a:pt x="13525" y="3780"/>
                  <a:pt x="13745" y="3538"/>
                  <a:pt x="13745" y="3240"/>
                </a:cubicBezTo>
                <a:cubicBezTo>
                  <a:pt x="13745" y="2942"/>
                  <a:pt x="13525" y="2700"/>
                  <a:pt x="13255" y="2700"/>
                </a:cubicBezTo>
                <a:lnTo>
                  <a:pt x="11291" y="2700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2700"/>
                </a:lnTo>
                <a:lnTo>
                  <a:pt x="8345" y="2700"/>
                </a:lnTo>
                <a:cubicBezTo>
                  <a:pt x="8075" y="2700"/>
                  <a:pt x="7855" y="2942"/>
                  <a:pt x="7855" y="3240"/>
                </a:cubicBezTo>
                <a:cubicBezTo>
                  <a:pt x="7855" y="3538"/>
                  <a:pt x="8075" y="3780"/>
                  <a:pt x="8345" y="378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23" name="Shape 2823"/>
          <p:cNvSpPr/>
          <p:nvPr/>
        </p:nvSpPr>
        <p:spPr>
          <a:xfrm>
            <a:off x="7828901" y="1991545"/>
            <a:ext cx="279328" cy="2221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257"/>
                </a:moveTo>
                <a:lnTo>
                  <a:pt x="982" y="9257"/>
                </a:lnTo>
                <a:lnTo>
                  <a:pt x="982" y="8023"/>
                </a:lnTo>
                <a:lnTo>
                  <a:pt x="20618" y="8023"/>
                </a:lnTo>
                <a:cubicBezTo>
                  <a:pt x="20618" y="8023"/>
                  <a:pt x="20618" y="9257"/>
                  <a:pt x="20618" y="9257"/>
                </a:cubicBezTo>
                <a:close/>
                <a:moveTo>
                  <a:pt x="19006" y="12960"/>
                </a:moveTo>
                <a:lnTo>
                  <a:pt x="15735" y="12960"/>
                </a:lnTo>
                <a:lnTo>
                  <a:pt x="16045" y="10491"/>
                </a:lnTo>
                <a:lnTo>
                  <a:pt x="19419" y="10491"/>
                </a:lnTo>
                <a:cubicBezTo>
                  <a:pt x="19419" y="10491"/>
                  <a:pt x="19006" y="12960"/>
                  <a:pt x="19006" y="12960"/>
                </a:cubicBezTo>
                <a:close/>
                <a:moveTo>
                  <a:pt x="18386" y="16663"/>
                </a:moveTo>
                <a:lnTo>
                  <a:pt x="15270" y="16663"/>
                </a:lnTo>
                <a:lnTo>
                  <a:pt x="15580" y="14194"/>
                </a:lnTo>
                <a:lnTo>
                  <a:pt x="18799" y="14194"/>
                </a:lnTo>
                <a:cubicBezTo>
                  <a:pt x="18799" y="14194"/>
                  <a:pt x="18386" y="16663"/>
                  <a:pt x="18386" y="16663"/>
                </a:cubicBezTo>
                <a:close/>
                <a:moveTo>
                  <a:pt x="17765" y="20366"/>
                </a:moveTo>
                <a:lnTo>
                  <a:pt x="14805" y="20366"/>
                </a:lnTo>
                <a:lnTo>
                  <a:pt x="15115" y="17897"/>
                </a:lnTo>
                <a:lnTo>
                  <a:pt x="18179" y="17897"/>
                </a:lnTo>
                <a:cubicBezTo>
                  <a:pt x="18179" y="17897"/>
                  <a:pt x="17765" y="20366"/>
                  <a:pt x="17765" y="20366"/>
                </a:cubicBezTo>
                <a:close/>
                <a:moveTo>
                  <a:pt x="11291" y="12960"/>
                </a:moveTo>
                <a:lnTo>
                  <a:pt x="11291" y="10491"/>
                </a:lnTo>
                <a:lnTo>
                  <a:pt x="15063" y="10491"/>
                </a:lnTo>
                <a:lnTo>
                  <a:pt x="14753" y="12960"/>
                </a:lnTo>
                <a:cubicBezTo>
                  <a:pt x="14753" y="12960"/>
                  <a:pt x="11291" y="12960"/>
                  <a:pt x="11291" y="12960"/>
                </a:cubicBezTo>
                <a:close/>
                <a:moveTo>
                  <a:pt x="14288" y="16663"/>
                </a:moveTo>
                <a:lnTo>
                  <a:pt x="11291" y="16663"/>
                </a:lnTo>
                <a:lnTo>
                  <a:pt x="11291" y="14194"/>
                </a:lnTo>
                <a:lnTo>
                  <a:pt x="14598" y="14194"/>
                </a:lnTo>
                <a:cubicBezTo>
                  <a:pt x="14598" y="14194"/>
                  <a:pt x="14288" y="16663"/>
                  <a:pt x="14288" y="16663"/>
                </a:cubicBezTo>
                <a:close/>
                <a:moveTo>
                  <a:pt x="13823" y="20366"/>
                </a:moveTo>
                <a:lnTo>
                  <a:pt x="11291" y="20366"/>
                </a:lnTo>
                <a:lnTo>
                  <a:pt x="11291" y="17897"/>
                </a:lnTo>
                <a:lnTo>
                  <a:pt x="14133" y="17897"/>
                </a:lnTo>
                <a:cubicBezTo>
                  <a:pt x="14133" y="17897"/>
                  <a:pt x="13823" y="20366"/>
                  <a:pt x="13823" y="20366"/>
                </a:cubicBezTo>
                <a:close/>
                <a:moveTo>
                  <a:pt x="10309" y="12960"/>
                </a:moveTo>
                <a:lnTo>
                  <a:pt x="6847" y="12960"/>
                </a:lnTo>
                <a:lnTo>
                  <a:pt x="6537" y="10491"/>
                </a:lnTo>
                <a:lnTo>
                  <a:pt x="10309" y="10491"/>
                </a:lnTo>
                <a:cubicBezTo>
                  <a:pt x="10309" y="10491"/>
                  <a:pt x="10309" y="12960"/>
                  <a:pt x="10309" y="12960"/>
                </a:cubicBezTo>
                <a:close/>
                <a:moveTo>
                  <a:pt x="10309" y="16663"/>
                </a:moveTo>
                <a:lnTo>
                  <a:pt x="7312" y="16663"/>
                </a:lnTo>
                <a:lnTo>
                  <a:pt x="7002" y="14194"/>
                </a:lnTo>
                <a:lnTo>
                  <a:pt x="10309" y="14194"/>
                </a:lnTo>
                <a:cubicBezTo>
                  <a:pt x="10309" y="14194"/>
                  <a:pt x="10309" y="16663"/>
                  <a:pt x="10309" y="16663"/>
                </a:cubicBezTo>
                <a:close/>
                <a:moveTo>
                  <a:pt x="10309" y="20366"/>
                </a:moveTo>
                <a:lnTo>
                  <a:pt x="7777" y="20366"/>
                </a:lnTo>
                <a:lnTo>
                  <a:pt x="7467" y="17897"/>
                </a:lnTo>
                <a:lnTo>
                  <a:pt x="10309" y="17897"/>
                </a:lnTo>
                <a:cubicBezTo>
                  <a:pt x="10309" y="17897"/>
                  <a:pt x="10309" y="20366"/>
                  <a:pt x="10309" y="20366"/>
                </a:cubicBezTo>
                <a:close/>
                <a:moveTo>
                  <a:pt x="3834" y="20366"/>
                </a:moveTo>
                <a:lnTo>
                  <a:pt x="3421" y="17897"/>
                </a:lnTo>
                <a:lnTo>
                  <a:pt x="6485" y="17897"/>
                </a:lnTo>
                <a:lnTo>
                  <a:pt x="6795" y="20366"/>
                </a:lnTo>
                <a:cubicBezTo>
                  <a:pt x="6795" y="20366"/>
                  <a:pt x="3834" y="20366"/>
                  <a:pt x="3834" y="20366"/>
                </a:cubicBezTo>
                <a:close/>
                <a:moveTo>
                  <a:pt x="2801" y="14194"/>
                </a:moveTo>
                <a:lnTo>
                  <a:pt x="6020" y="14194"/>
                </a:lnTo>
                <a:lnTo>
                  <a:pt x="6330" y="16663"/>
                </a:lnTo>
                <a:lnTo>
                  <a:pt x="3214" y="16663"/>
                </a:lnTo>
                <a:cubicBezTo>
                  <a:pt x="3214" y="16663"/>
                  <a:pt x="2801" y="14194"/>
                  <a:pt x="2801" y="14194"/>
                </a:cubicBezTo>
                <a:close/>
                <a:moveTo>
                  <a:pt x="2181" y="10491"/>
                </a:moveTo>
                <a:lnTo>
                  <a:pt x="5555" y="10491"/>
                </a:lnTo>
                <a:lnTo>
                  <a:pt x="5865" y="12960"/>
                </a:lnTo>
                <a:lnTo>
                  <a:pt x="2594" y="12960"/>
                </a:lnTo>
                <a:cubicBezTo>
                  <a:pt x="2594" y="12960"/>
                  <a:pt x="2181" y="10491"/>
                  <a:pt x="2181" y="10491"/>
                </a:cubicBezTo>
                <a:close/>
                <a:moveTo>
                  <a:pt x="20618" y="6789"/>
                </a:moveTo>
                <a:lnTo>
                  <a:pt x="982" y="6789"/>
                </a:lnTo>
                <a:cubicBezTo>
                  <a:pt x="440" y="6789"/>
                  <a:pt x="0" y="7342"/>
                  <a:pt x="0" y="8023"/>
                </a:cubicBezTo>
                <a:lnTo>
                  <a:pt x="0" y="9257"/>
                </a:lnTo>
                <a:cubicBezTo>
                  <a:pt x="0" y="9939"/>
                  <a:pt x="440" y="10491"/>
                  <a:pt x="982" y="10491"/>
                </a:cubicBezTo>
                <a:lnTo>
                  <a:pt x="1178" y="10491"/>
                </a:lnTo>
                <a:lnTo>
                  <a:pt x="2960" y="21133"/>
                </a:lnTo>
                <a:lnTo>
                  <a:pt x="2969" y="21130"/>
                </a:lnTo>
                <a:cubicBezTo>
                  <a:pt x="3023" y="21398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398"/>
                  <a:pt x="18631" y="21130"/>
                </a:cubicBezTo>
                <a:lnTo>
                  <a:pt x="18640" y="21133"/>
                </a:lnTo>
                <a:lnTo>
                  <a:pt x="20422" y="10491"/>
                </a:lnTo>
                <a:lnTo>
                  <a:pt x="20618" y="10491"/>
                </a:lnTo>
                <a:cubicBezTo>
                  <a:pt x="21160" y="10491"/>
                  <a:pt x="21600" y="9939"/>
                  <a:pt x="21600" y="9257"/>
                </a:cubicBezTo>
                <a:lnTo>
                  <a:pt x="21600" y="8023"/>
                </a:lnTo>
                <a:cubicBezTo>
                  <a:pt x="21600" y="7342"/>
                  <a:pt x="21160" y="6789"/>
                  <a:pt x="20618" y="6789"/>
                </a:cubicBezTo>
                <a:moveTo>
                  <a:pt x="8345" y="1234"/>
                </a:moveTo>
                <a:lnTo>
                  <a:pt x="13255" y="1234"/>
                </a:lnTo>
                <a:cubicBezTo>
                  <a:pt x="13525" y="1234"/>
                  <a:pt x="13745" y="958"/>
                  <a:pt x="13745" y="617"/>
                </a:cubicBezTo>
                <a:cubicBezTo>
                  <a:pt x="13745" y="276"/>
                  <a:pt x="13525" y="0"/>
                  <a:pt x="13255" y="0"/>
                </a:cubicBezTo>
                <a:lnTo>
                  <a:pt x="8345" y="0"/>
                </a:lnTo>
                <a:cubicBezTo>
                  <a:pt x="8075" y="0"/>
                  <a:pt x="7855" y="276"/>
                  <a:pt x="7855" y="617"/>
                </a:cubicBezTo>
                <a:cubicBezTo>
                  <a:pt x="7855" y="958"/>
                  <a:pt x="8075" y="1234"/>
                  <a:pt x="8345" y="1234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24" name="Shape 2824"/>
          <p:cNvSpPr/>
          <p:nvPr/>
        </p:nvSpPr>
        <p:spPr>
          <a:xfrm>
            <a:off x="8362162" y="1959803"/>
            <a:ext cx="279328" cy="2792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88" extrusionOk="0">
                <a:moveTo>
                  <a:pt x="10309" y="9720"/>
                </a:moveTo>
                <a:lnTo>
                  <a:pt x="9327" y="9720"/>
                </a:lnTo>
                <a:cubicBezTo>
                  <a:pt x="9056" y="9720"/>
                  <a:pt x="8836" y="9937"/>
                  <a:pt x="8836" y="10206"/>
                </a:cubicBezTo>
                <a:cubicBezTo>
                  <a:pt x="8836" y="10475"/>
                  <a:pt x="9056" y="10692"/>
                  <a:pt x="9327" y="10692"/>
                </a:cubicBezTo>
                <a:lnTo>
                  <a:pt x="10309" y="10692"/>
                </a:lnTo>
                <a:cubicBezTo>
                  <a:pt x="10580" y="10692"/>
                  <a:pt x="10800" y="10475"/>
                  <a:pt x="10800" y="10206"/>
                </a:cubicBezTo>
                <a:cubicBezTo>
                  <a:pt x="10800" y="9937"/>
                  <a:pt x="10580" y="9720"/>
                  <a:pt x="10309" y="9720"/>
                </a:cubicBezTo>
                <a:moveTo>
                  <a:pt x="13255" y="18471"/>
                </a:moveTo>
                <a:lnTo>
                  <a:pt x="12273" y="18471"/>
                </a:lnTo>
                <a:cubicBezTo>
                  <a:pt x="12002" y="18471"/>
                  <a:pt x="11782" y="18689"/>
                  <a:pt x="11782" y="18957"/>
                </a:cubicBezTo>
                <a:cubicBezTo>
                  <a:pt x="11782" y="19226"/>
                  <a:pt x="12002" y="19443"/>
                  <a:pt x="12273" y="19443"/>
                </a:cubicBezTo>
                <a:lnTo>
                  <a:pt x="13255" y="19443"/>
                </a:lnTo>
                <a:cubicBezTo>
                  <a:pt x="13525" y="19443"/>
                  <a:pt x="13745" y="19226"/>
                  <a:pt x="13745" y="18957"/>
                </a:cubicBezTo>
                <a:cubicBezTo>
                  <a:pt x="13745" y="18689"/>
                  <a:pt x="13525" y="18471"/>
                  <a:pt x="13255" y="18471"/>
                </a:cubicBezTo>
                <a:moveTo>
                  <a:pt x="10309" y="18471"/>
                </a:moveTo>
                <a:lnTo>
                  <a:pt x="9327" y="18471"/>
                </a:lnTo>
                <a:cubicBezTo>
                  <a:pt x="9056" y="18471"/>
                  <a:pt x="8836" y="18689"/>
                  <a:pt x="8836" y="18957"/>
                </a:cubicBezTo>
                <a:cubicBezTo>
                  <a:pt x="8836" y="19226"/>
                  <a:pt x="9056" y="19443"/>
                  <a:pt x="9327" y="19443"/>
                </a:cubicBezTo>
                <a:lnTo>
                  <a:pt x="10309" y="19443"/>
                </a:lnTo>
                <a:cubicBezTo>
                  <a:pt x="10580" y="19443"/>
                  <a:pt x="10800" y="19226"/>
                  <a:pt x="10800" y="18957"/>
                </a:cubicBezTo>
                <a:cubicBezTo>
                  <a:pt x="10800" y="18689"/>
                  <a:pt x="10580" y="18471"/>
                  <a:pt x="10309" y="18471"/>
                </a:cubicBezTo>
                <a:moveTo>
                  <a:pt x="20618" y="15554"/>
                </a:moveTo>
                <a:cubicBezTo>
                  <a:pt x="20618" y="16091"/>
                  <a:pt x="20178" y="16526"/>
                  <a:pt x="19636" y="16526"/>
                </a:cubicBezTo>
                <a:lnTo>
                  <a:pt x="16691" y="16526"/>
                </a:lnTo>
                <a:cubicBezTo>
                  <a:pt x="16149" y="16526"/>
                  <a:pt x="15709" y="16091"/>
                  <a:pt x="15709" y="15554"/>
                </a:cubicBezTo>
                <a:lnTo>
                  <a:pt x="15709" y="13609"/>
                </a:lnTo>
                <a:cubicBezTo>
                  <a:pt x="15709" y="13073"/>
                  <a:pt x="16149" y="12637"/>
                  <a:pt x="16691" y="12637"/>
                </a:cubicBezTo>
                <a:lnTo>
                  <a:pt x="19636" y="12637"/>
                </a:lnTo>
                <a:cubicBezTo>
                  <a:pt x="20178" y="12637"/>
                  <a:pt x="20618" y="13073"/>
                  <a:pt x="20618" y="13609"/>
                </a:cubicBezTo>
                <a:cubicBezTo>
                  <a:pt x="20618" y="13609"/>
                  <a:pt x="20618" y="15554"/>
                  <a:pt x="20618" y="15554"/>
                </a:cubicBezTo>
                <a:close/>
                <a:moveTo>
                  <a:pt x="18655" y="19443"/>
                </a:moveTo>
                <a:cubicBezTo>
                  <a:pt x="18655" y="19980"/>
                  <a:pt x="18215" y="20416"/>
                  <a:pt x="17673" y="20416"/>
                </a:cubicBezTo>
                <a:lnTo>
                  <a:pt x="1964" y="20416"/>
                </a:lnTo>
                <a:cubicBezTo>
                  <a:pt x="1422" y="20416"/>
                  <a:pt x="982" y="19980"/>
                  <a:pt x="982" y="19443"/>
                </a:cubicBezTo>
                <a:lnTo>
                  <a:pt x="982" y="9720"/>
                </a:lnTo>
                <a:cubicBezTo>
                  <a:pt x="982" y="9183"/>
                  <a:pt x="1422" y="8747"/>
                  <a:pt x="1964" y="8747"/>
                </a:cubicBezTo>
                <a:lnTo>
                  <a:pt x="17673" y="8747"/>
                </a:lnTo>
                <a:cubicBezTo>
                  <a:pt x="18215" y="8747"/>
                  <a:pt x="18655" y="9183"/>
                  <a:pt x="18655" y="9720"/>
                </a:cubicBezTo>
                <a:lnTo>
                  <a:pt x="18655" y="11664"/>
                </a:lnTo>
                <a:lnTo>
                  <a:pt x="16691" y="11664"/>
                </a:lnTo>
                <a:cubicBezTo>
                  <a:pt x="15606" y="11664"/>
                  <a:pt x="14727" y="12535"/>
                  <a:pt x="14727" y="13609"/>
                </a:cubicBezTo>
                <a:lnTo>
                  <a:pt x="14727" y="15554"/>
                </a:lnTo>
                <a:cubicBezTo>
                  <a:pt x="14727" y="16628"/>
                  <a:pt x="15606" y="17499"/>
                  <a:pt x="16691" y="17499"/>
                </a:cubicBezTo>
                <a:lnTo>
                  <a:pt x="18655" y="17499"/>
                </a:lnTo>
                <a:cubicBezTo>
                  <a:pt x="18655" y="17499"/>
                  <a:pt x="18655" y="19443"/>
                  <a:pt x="18655" y="19443"/>
                </a:cubicBezTo>
                <a:close/>
                <a:moveTo>
                  <a:pt x="982" y="7775"/>
                </a:moveTo>
                <a:cubicBezTo>
                  <a:pt x="982" y="7238"/>
                  <a:pt x="1422" y="6803"/>
                  <a:pt x="1964" y="6803"/>
                </a:cubicBezTo>
                <a:lnTo>
                  <a:pt x="2555" y="6803"/>
                </a:lnTo>
                <a:lnTo>
                  <a:pt x="2817" y="7775"/>
                </a:lnTo>
                <a:lnTo>
                  <a:pt x="1964" y="7775"/>
                </a:lnTo>
                <a:cubicBezTo>
                  <a:pt x="1604" y="7775"/>
                  <a:pt x="1271" y="7878"/>
                  <a:pt x="982" y="8045"/>
                </a:cubicBezTo>
                <a:cubicBezTo>
                  <a:pt x="982" y="8045"/>
                  <a:pt x="982" y="7775"/>
                  <a:pt x="982" y="7775"/>
                </a:cubicBezTo>
                <a:close/>
                <a:moveTo>
                  <a:pt x="3721" y="3600"/>
                </a:moveTo>
                <a:lnTo>
                  <a:pt x="13629" y="1005"/>
                </a:lnTo>
                <a:cubicBezTo>
                  <a:pt x="14152" y="866"/>
                  <a:pt x="14690" y="1174"/>
                  <a:pt x="14831" y="1693"/>
                </a:cubicBezTo>
                <a:lnTo>
                  <a:pt x="15085" y="2631"/>
                </a:lnTo>
                <a:lnTo>
                  <a:pt x="3281" y="5731"/>
                </a:lnTo>
                <a:lnTo>
                  <a:pt x="3026" y="4791"/>
                </a:lnTo>
                <a:cubicBezTo>
                  <a:pt x="2886" y="4272"/>
                  <a:pt x="3197" y="3739"/>
                  <a:pt x="3721" y="3600"/>
                </a:cubicBezTo>
                <a:moveTo>
                  <a:pt x="15847" y="5448"/>
                </a:moveTo>
                <a:lnTo>
                  <a:pt x="16476" y="7775"/>
                </a:lnTo>
                <a:lnTo>
                  <a:pt x="6989" y="7775"/>
                </a:lnTo>
                <a:cubicBezTo>
                  <a:pt x="6989" y="7775"/>
                  <a:pt x="15847" y="5448"/>
                  <a:pt x="15847" y="5448"/>
                </a:cubicBezTo>
                <a:close/>
                <a:moveTo>
                  <a:pt x="17673" y="6803"/>
                </a:moveTo>
                <a:cubicBezTo>
                  <a:pt x="18215" y="6803"/>
                  <a:pt x="18655" y="7238"/>
                  <a:pt x="18655" y="7775"/>
                </a:cubicBezTo>
                <a:lnTo>
                  <a:pt x="18655" y="8045"/>
                </a:lnTo>
                <a:cubicBezTo>
                  <a:pt x="18365" y="7878"/>
                  <a:pt x="18032" y="7775"/>
                  <a:pt x="17673" y="7775"/>
                </a:cubicBezTo>
                <a:lnTo>
                  <a:pt x="17493" y="7775"/>
                </a:lnTo>
                <a:lnTo>
                  <a:pt x="17230" y="6803"/>
                </a:lnTo>
                <a:cubicBezTo>
                  <a:pt x="17230" y="6803"/>
                  <a:pt x="17673" y="6803"/>
                  <a:pt x="17673" y="6803"/>
                </a:cubicBezTo>
                <a:close/>
                <a:moveTo>
                  <a:pt x="19636" y="11664"/>
                </a:moveTo>
                <a:lnTo>
                  <a:pt x="19636" y="7775"/>
                </a:lnTo>
                <a:cubicBezTo>
                  <a:pt x="19636" y="6701"/>
                  <a:pt x="18757" y="5830"/>
                  <a:pt x="17673" y="5830"/>
                </a:cubicBezTo>
                <a:lnTo>
                  <a:pt x="16967" y="5830"/>
                </a:lnTo>
                <a:lnTo>
                  <a:pt x="15779" y="1441"/>
                </a:lnTo>
                <a:cubicBezTo>
                  <a:pt x="15498" y="404"/>
                  <a:pt x="14422" y="-212"/>
                  <a:pt x="13374" y="66"/>
                </a:cubicBezTo>
                <a:lnTo>
                  <a:pt x="3467" y="2660"/>
                </a:lnTo>
                <a:cubicBezTo>
                  <a:pt x="2419" y="2939"/>
                  <a:pt x="1798" y="4005"/>
                  <a:pt x="2078" y="5042"/>
                </a:cubicBezTo>
                <a:lnTo>
                  <a:pt x="2291" y="5830"/>
                </a:lnTo>
                <a:lnTo>
                  <a:pt x="1964" y="5830"/>
                </a:lnTo>
                <a:cubicBezTo>
                  <a:pt x="879" y="5830"/>
                  <a:pt x="0" y="6701"/>
                  <a:pt x="0" y="7775"/>
                </a:cubicBezTo>
                <a:lnTo>
                  <a:pt x="0" y="19443"/>
                </a:lnTo>
                <a:cubicBezTo>
                  <a:pt x="0" y="20517"/>
                  <a:pt x="879" y="21388"/>
                  <a:pt x="1964" y="21388"/>
                </a:cubicBezTo>
                <a:lnTo>
                  <a:pt x="17673" y="21388"/>
                </a:lnTo>
                <a:cubicBezTo>
                  <a:pt x="18757" y="21388"/>
                  <a:pt x="19636" y="20517"/>
                  <a:pt x="19636" y="19443"/>
                </a:cubicBezTo>
                <a:lnTo>
                  <a:pt x="19636" y="17499"/>
                </a:lnTo>
                <a:cubicBezTo>
                  <a:pt x="20721" y="17499"/>
                  <a:pt x="21600" y="16628"/>
                  <a:pt x="21600" y="15554"/>
                </a:cubicBezTo>
                <a:lnTo>
                  <a:pt x="21600" y="13609"/>
                </a:lnTo>
                <a:cubicBezTo>
                  <a:pt x="21600" y="12535"/>
                  <a:pt x="20721" y="11664"/>
                  <a:pt x="19636" y="11664"/>
                </a:cubicBezTo>
                <a:moveTo>
                  <a:pt x="13255" y="9720"/>
                </a:moveTo>
                <a:lnTo>
                  <a:pt x="12273" y="9720"/>
                </a:lnTo>
                <a:cubicBezTo>
                  <a:pt x="12002" y="9720"/>
                  <a:pt x="11782" y="9937"/>
                  <a:pt x="11782" y="10206"/>
                </a:cubicBezTo>
                <a:cubicBezTo>
                  <a:pt x="11782" y="10475"/>
                  <a:pt x="12002" y="10692"/>
                  <a:pt x="12273" y="10692"/>
                </a:cubicBezTo>
                <a:lnTo>
                  <a:pt x="13255" y="10692"/>
                </a:lnTo>
                <a:cubicBezTo>
                  <a:pt x="13525" y="10692"/>
                  <a:pt x="13745" y="10475"/>
                  <a:pt x="13745" y="10206"/>
                </a:cubicBezTo>
                <a:cubicBezTo>
                  <a:pt x="13745" y="9937"/>
                  <a:pt x="13525" y="9720"/>
                  <a:pt x="13255" y="9720"/>
                </a:cubicBezTo>
                <a:moveTo>
                  <a:pt x="7364" y="9720"/>
                </a:moveTo>
                <a:lnTo>
                  <a:pt x="6382" y="9720"/>
                </a:lnTo>
                <a:cubicBezTo>
                  <a:pt x="6111" y="9720"/>
                  <a:pt x="5891" y="9937"/>
                  <a:pt x="5891" y="10206"/>
                </a:cubicBezTo>
                <a:cubicBezTo>
                  <a:pt x="5891" y="10475"/>
                  <a:pt x="6111" y="10692"/>
                  <a:pt x="6382" y="10692"/>
                </a:cubicBezTo>
                <a:lnTo>
                  <a:pt x="7364" y="10692"/>
                </a:lnTo>
                <a:cubicBezTo>
                  <a:pt x="7634" y="10692"/>
                  <a:pt x="7855" y="10475"/>
                  <a:pt x="7855" y="10206"/>
                </a:cubicBezTo>
                <a:cubicBezTo>
                  <a:pt x="7855" y="9937"/>
                  <a:pt x="7634" y="9720"/>
                  <a:pt x="7364" y="9720"/>
                </a:cubicBezTo>
                <a:moveTo>
                  <a:pt x="17182" y="14095"/>
                </a:moveTo>
                <a:cubicBezTo>
                  <a:pt x="16911" y="14095"/>
                  <a:pt x="16691" y="14313"/>
                  <a:pt x="16691" y="14581"/>
                </a:cubicBezTo>
                <a:cubicBezTo>
                  <a:pt x="16691" y="14850"/>
                  <a:pt x="16911" y="15068"/>
                  <a:pt x="17182" y="15068"/>
                </a:cubicBezTo>
                <a:cubicBezTo>
                  <a:pt x="17453" y="15068"/>
                  <a:pt x="17673" y="14850"/>
                  <a:pt x="17673" y="14581"/>
                </a:cubicBezTo>
                <a:cubicBezTo>
                  <a:pt x="17673" y="14313"/>
                  <a:pt x="17453" y="14095"/>
                  <a:pt x="17182" y="14095"/>
                </a:cubicBezTo>
                <a:moveTo>
                  <a:pt x="16200" y="18471"/>
                </a:moveTo>
                <a:lnTo>
                  <a:pt x="15218" y="18471"/>
                </a:lnTo>
                <a:cubicBezTo>
                  <a:pt x="14947" y="18471"/>
                  <a:pt x="14727" y="18689"/>
                  <a:pt x="14727" y="18957"/>
                </a:cubicBezTo>
                <a:cubicBezTo>
                  <a:pt x="14727" y="19226"/>
                  <a:pt x="14947" y="19443"/>
                  <a:pt x="15218" y="19443"/>
                </a:cubicBezTo>
                <a:lnTo>
                  <a:pt x="16200" y="19443"/>
                </a:lnTo>
                <a:cubicBezTo>
                  <a:pt x="16471" y="19443"/>
                  <a:pt x="16691" y="19226"/>
                  <a:pt x="16691" y="18957"/>
                </a:cubicBezTo>
                <a:cubicBezTo>
                  <a:pt x="16691" y="18689"/>
                  <a:pt x="16471" y="18471"/>
                  <a:pt x="16200" y="18471"/>
                </a:cubicBezTo>
                <a:moveTo>
                  <a:pt x="15218" y="10692"/>
                </a:moveTo>
                <a:lnTo>
                  <a:pt x="16200" y="10692"/>
                </a:lnTo>
                <a:cubicBezTo>
                  <a:pt x="16471" y="10692"/>
                  <a:pt x="16691" y="10475"/>
                  <a:pt x="16691" y="10206"/>
                </a:cubicBezTo>
                <a:cubicBezTo>
                  <a:pt x="16691" y="9937"/>
                  <a:pt x="16471" y="9720"/>
                  <a:pt x="16200" y="9720"/>
                </a:cubicBezTo>
                <a:lnTo>
                  <a:pt x="15218" y="9720"/>
                </a:lnTo>
                <a:cubicBezTo>
                  <a:pt x="14947" y="9720"/>
                  <a:pt x="14727" y="9937"/>
                  <a:pt x="14727" y="10206"/>
                </a:cubicBezTo>
                <a:cubicBezTo>
                  <a:pt x="14727" y="10475"/>
                  <a:pt x="14947" y="10692"/>
                  <a:pt x="15218" y="10692"/>
                </a:cubicBezTo>
                <a:moveTo>
                  <a:pt x="4418" y="18471"/>
                </a:moveTo>
                <a:lnTo>
                  <a:pt x="3436" y="18471"/>
                </a:lnTo>
                <a:cubicBezTo>
                  <a:pt x="3166" y="18471"/>
                  <a:pt x="2945" y="18689"/>
                  <a:pt x="2945" y="18957"/>
                </a:cubicBezTo>
                <a:cubicBezTo>
                  <a:pt x="2945" y="19226"/>
                  <a:pt x="3166" y="19443"/>
                  <a:pt x="3436" y="19443"/>
                </a:cubicBezTo>
                <a:lnTo>
                  <a:pt x="4418" y="19443"/>
                </a:lnTo>
                <a:cubicBezTo>
                  <a:pt x="4689" y="19443"/>
                  <a:pt x="4909" y="19226"/>
                  <a:pt x="4909" y="18957"/>
                </a:cubicBezTo>
                <a:cubicBezTo>
                  <a:pt x="4909" y="18689"/>
                  <a:pt x="4689" y="18471"/>
                  <a:pt x="4418" y="18471"/>
                </a:cubicBezTo>
                <a:moveTo>
                  <a:pt x="7364" y="18471"/>
                </a:moveTo>
                <a:lnTo>
                  <a:pt x="6382" y="18471"/>
                </a:lnTo>
                <a:cubicBezTo>
                  <a:pt x="6111" y="18471"/>
                  <a:pt x="5891" y="18689"/>
                  <a:pt x="5891" y="18957"/>
                </a:cubicBezTo>
                <a:cubicBezTo>
                  <a:pt x="5891" y="19226"/>
                  <a:pt x="6111" y="19443"/>
                  <a:pt x="6382" y="19443"/>
                </a:cubicBezTo>
                <a:lnTo>
                  <a:pt x="7364" y="19443"/>
                </a:lnTo>
                <a:cubicBezTo>
                  <a:pt x="7634" y="19443"/>
                  <a:pt x="7855" y="19226"/>
                  <a:pt x="7855" y="18957"/>
                </a:cubicBezTo>
                <a:cubicBezTo>
                  <a:pt x="7855" y="18689"/>
                  <a:pt x="7634" y="18471"/>
                  <a:pt x="7364" y="18471"/>
                </a:cubicBezTo>
                <a:moveTo>
                  <a:pt x="4418" y="9720"/>
                </a:moveTo>
                <a:lnTo>
                  <a:pt x="3436" y="9720"/>
                </a:lnTo>
                <a:cubicBezTo>
                  <a:pt x="3166" y="9720"/>
                  <a:pt x="2945" y="9937"/>
                  <a:pt x="2945" y="10206"/>
                </a:cubicBezTo>
                <a:cubicBezTo>
                  <a:pt x="2945" y="10475"/>
                  <a:pt x="3166" y="10692"/>
                  <a:pt x="3436" y="10692"/>
                </a:cubicBezTo>
                <a:lnTo>
                  <a:pt x="4418" y="10692"/>
                </a:lnTo>
                <a:cubicBezTo>
                  <a:pt x="4689" y="10692"/>
                  <a:pt x="4909" y="10475"/>
                  <a:pt x="4909" y="10206"/>
                </a:cubicBezTo>
                <a:cubicBezTo>
                  <a:pt x="4909" y="9937"/>
                  <a:pt x="4689" y="9720"/>
                  <a:pt x="4418" y="972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25" name="Shape 2825"/>
          <p:cNvSpPr/>
          <p:nvPr/>
        </p:nvSpPr>
        <p:spPr>
          <a:xfrm>
            <a:off x="8895423" y="1997893"/>
            <a:ext cx="279328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17550"/>
                </a:moveTo>
                <a:lnTo>
                  <a:pt x="12273" y="17550"/>
                </a:lnTo>
                <a:cubicBezTo>
                  <a:pt x="12001" y="17550"/>
                  <a:pt x="11782" y="17853"/>
                  <a:pt x="11782" y="18225"/>
                </a:cubicBezTo>
                <a:cubicBezTo>
                  <a:pt x="11782" y="18598"/>
                  <a:pt x="12001" y="18900"/>
                  <a:pt x="12273" y="18900"/>
                </a:cubicBezTo>
                <a:lnTo>
                  <a:pt x="13255" y="18900"/>
                </a:lnTo>
                <a:cubicBezTo>
                  <a:pt x="13526" y="18900"/>
                  <a:pt x="13745" y="18598"/>
                  <a:pt x="13745" y="18225"/>
                </a:cubicBezTo>
                <a:cubicBezTo>
                  <a:pt x="13745" y="17853"/>
                  <a:pt x="13526" y="17550"/>
                  <a:pt x="13255" y="17550"/>
                </a:cubicBezTo>
                <a:moveTo>
                  <a:pt x="10309" y="5400"/>
                </a:moveTo>
                <a:lnTo>
                  <a:pt x="9327" y="5400"/>
                </a:lnTo>
                <a:cubicBezTo>
                  <a:pt x="9056" y="5400"/>
                  <a:pt x="8836" y="5702"/>
                  <a:pt x="8836" y="6075"/>
                </a:cubicBezTo>
                <a:cubicBezTo>
                  <a:pt x="8836" y="6448"/>
                  <a:pt x="9056" y="6750"/>
                  <a:pt x="9327" y="6750"/>
                </a:cubicBezTo>
                <a:lnTo>
                  <a:pt x="10309" y="6750"/>
                </a:lnTo>
                <a:cubicBezTo>
                  <a:pt x="10580" y="6750"/>
                  <a:pt x="10800" y="6448"/>
                  <a:pt x="10800" y="6075"/>
                </a:cubicBezTo>
                <a:cubicBezTo>
                  <a:pt x="10800" y="5702"/>
                  <a:pt x="10580" y="5400"/>
                  <a:pt x="10309" y="5400"/>
                </a:cubicBezTo>
                <a:moveTo>
                  <a:pt x="16200" y="17550"/>
                </a:moveTo>
                <a:lnTo>
                  <a:pt x="15218" y="17550"/>
                </a:lnTo>
                <a:cubicBezTo>
                  <a:pt x="14947" y="17550"/>
                  <a:pt x="14727" y="17853"/>
                  <a:pt x="14727" y="18225"/>
                </a:cubicBezTo>
                <a:cubicBezTo>
                  <a:pt x="14727" y="18598"/>
                  <a:pt x="14947" y="18900"/>
                  <a:pt x="15218" y="18900"/>
                </a:cubicBezTo>
                <a:lnTo>
                  <a:pt x="16200" y="18900"/>
                </a:lnTo>
                <a:cubicBezTo>
                  <a:pt x="16471" y="18900"/>
                  <a:pt x="16691" y="18598"/>
                  <a:pt x="16691" y="18225"/>
                </a:cubicBezTo>
                <a:cubicBezTo>
                  <a:pt x="16691" y="17853"/>
                  <a:pt x="16471" y="17550"/>
                  <a:pt x="16200" y="17550"/>
                </a:cubicBezTo>
                <a:moveTo>
                  <a:pt x="13255" y="5400"/>
                </a:moveTo>
                <a:lnTo>
                  <a:pt x="12273" y="5400"/>
                </a:lnTo>
                <a:cubicBezTo>
                  <a:pt x="12001" y="5400"/>
                  <a:pt x="11782" y="5702"/>
                  <a:pt x="11782" y="6075"/>
                </a:cubicBezTo>
                <a:cubicBezTo>
                  <a:pt x="11782" y="6448"/>
                  <a:pt x="12001" y="6750"/>
                  <a:pt x="12273" y="6750"/>
                </a:cubicBezTo>
                <a:lnTo>
                  <a:pt x="13255" y="6750"/>
                </a:lnTo>
                <a:cubicBezTo>
                  <a:pt x="13526" y="6750"/>
                  <a:pt x="13745" y="6448"/>
                  <a:pt x="13745" y="6075"/>
                </a:cubicBezTo>
                <a:cubicBezTo>
                  <a:pt x="13745" y="5702"/>
                  <a:pt x="13526" y="5400"/>
                  <a:pt x="13255" y="5400"/>
                </a:cubicBezTo>
                <a:moveTo>
                  <a:pt x="10309" y="17550"/>
                </a:moveTo>
                <a:lnTo>
                  <a:pt x="9327" y="17550"/>
                </a:lnTo>
                <a:cubicBezTo>
                  <a:pt x="9056" y="17550"/>
                  <a:pt x="8836" y="17853"/>
                  <a:pt x="8836" y="18225"/>
                </a:cubicBezTo>
                <a:cubicBezTo>
                  <a:pt x="8836" y="18598"/>
                  <a:pt x="9056" y="18900"/>
                  <a:pt x="9327" y="18900"/>
                </a:cubicBezTo>
                <a:lnTo>
                  <a:pt x="10309" y="18900"/>
                </a:lnTo>
                <a:cubicBezTo>
                  <a:pt x="10580" y="18900"/>
                  <a:pt x="10800" y="18598"/>
                  <a:pt x="10800" y="18225"/>
                </a:cubicBezTo>
                <a:cubicBezTo>
                  <a:pt x="10800" y="17853"/>
                  <a:pt x="10580" y="17550"/>
                  <a:pt x="10309" y="17550"/>
                </a:cubicBezTo>
                <a:moveTo>
                  <a:pt x="4418" y="17550"/>
                </a:moveTo>
                <a:lnTo>
                  <a:pt x="3436" y="17550"/>
                </a:lnTo>
                <a:cubicBezTo>
                  <a:pt x="3165" y="17550"/>
                  <a:pt x="2945" y="17853"/>
                  <a:pt x="2945" y="18225"/>
                </a:cubicBezTo>
                <a:cubicBezTo>
                  <a:pt x="2945" y="18598"/>
                  <a:pt x="3165" y="18900"/>
                  <a:pt x="3436" y="18900"/>
                </a:cubicBezTo>
                <a:lnTo>
                  <a:pt x="4418" y="18900"/>
                </a:lnTo>
                <a:cubicBezTo>
                  <a:pt x="4690" y="18900"/>
                  <a:pt x="4909" y="18598"/>
                  <a:pt x="4909" y="18225"/>
                </a:cubicBezTo>
                <a:cubicBezTo>
                  <a:pt x="4909" y="17853"/>
                  <a:pt x="4690" y="17550"/>
                  <a:pt x="4418" y="17550"/>
                </a:cubicBezTo>
                <a:moveTo>
                  <a:pt x="15218" y="6750"/>
                </a:moveTo>
                <a:lnTo>
                  <a:pt x="16200" y="6750"/>
                </a:lnTo>
                <a:cubicBezTo>
                  <a:pt x="16471" y="6750"/>
                  <a:pt x="16691" y="6448"/>
                  <a:pt x="16691" y="6075"/>
                </a:cubicBezTo>
                <a:cubicBezTo>
                  <a:pt x="16691" y="5702"/>
                  <a:pt x="16471" y="5400"/>
                  <a:pt x="16200" y="5400"/>
                </a:cubicBezTo>
                <a:lnTo>
                  <a:pt x="15218" y="5400"/>
                </a:lnTo>
                <a:cubicBezTo>
                  <a:pt x="14947" y="5400"/>
                  <a:pt x="14727" y="5702"/>
                  <a:pt x="14727" y="6075"/>
                </a:cubicBezTo>
                <a:cubicBezTo>
                  <a:pt x="14727" y="6448"/>
                  <a:pt x="14947" y="6750"/>
                  <a:pt x="15218" y="6750"/>
                </a:cubicBezTo>
                <a:moveTo>
                  <a:pt x="20618" y="13500"/>
                </a:moveTo>
                <a:cubicBezTo>
                  <a:pt x="20618" y="14245"/>
                  <a:pt x="20178" y="14850"/>
                  <a:pt x="19636" y="14850"/>
                </a:cubicBezTo>
                <a:lnTo>
                  <a:pt x="16691" y="14850"/>
                </a:lnTo>
                <a:cubicBezTo>
                  <a:pt x="16149" y="14850"/>
                  <a:pt x="15709" y="14245"/>
                  <a:pt x="15709" y="13500"/>
                </a:cubicBezTo>
                <a:lnTo>
                  <a:pt x="15709" y="10800"/>
                </a:lnTo>
                <a:cubicBezTo>
                  <a:pt x="15709" y="10055"/>
                  <a:pt x="16149" y="9450"/>
                  <a:pt x="16691" y="9450"/>
                </a:cubicBezTo>
                <a:lnTo>
                  <a:pt x="19636" y="9450"/>
                </a:lnTo>
                <a:cubicBezTo>
                  <a:pt x="20178" y="9450"/>
                  <a:pt x="20618" y="10055"/>
                  <a:pt x="20618" y="10800"/>
                </a:cubicBezTo>
                <a:cubicBezTo>
                  <a:pt x="20618" y="10800"/>
                  <a:pt x="20618" y="13500"/>
                  <a:pt x="20618" y="13500"/>
                </a:cubicBezTo>
                <a:close/>
                <a:moveTo>
                  <a:pt x="18655" y="18900"/>
                </a:moveTo>
                <a:cubicBezTo>
                  <a:pt x="18655" y="19645"/>
                  <a:pt x="18214" y="20250"/>
                  <a:pt x="17673" y="20250"/>
                </a:cubicBezTo>
                <a:lnTo>
                  <a:pt x="1964" y="20250"/>
                </a:lnTo>
                <a:cubicBezTo>
                  <a:pt x="1422" y="20250"/>
                  <a:pt x="982" y="19645"/>
                  <a:pt x="982" y="18900"/>
                </a:cubicBezTo>
                <a:lnTo>
                  <a:pt x="982" y="5400"/>
                </a:lnTo>
                <a:cubicBezTo>
                  <a:pt x="982" y="4655"/>
                  <a:pt x="1422" y="4050"/>
                  <a:pt x="1964" y="4050"/>
                </a:cubicBezTo>
                <a:lnTo>
                  <a:pt x="17673" y="4050"/>
                </a:lnTo>
                <a:cubicBezTo>
                  <a:pt x="18214" y="4050"/>
                  <a:pt x="18655" y="4655"/>
                  <a:pt x="18655" y="5400"/>
                </a:cubicBezTo>
                <a:lnTo>
                  <a:pt x="18655" y="8100"/>
                </a:lnTo>
                <a:lnTo>
                  <a:pt x="16691" y="8100"/>
                </a:lnTo>
                <a:cubicBezTo>
                  <a:pt x="15606" y="8100"/>
                  <a:pt x="14727" y="9309"/>
                  <a:pt x="14727" y="10800"/>
                </a:cubicBezTo>
                <a:lnTo>
                  <a:pt x="14727" y="13500"/>
                </a:lnTo>
                <a:cubicBezTo>
                  <a:pt x="14727" y="14991"/>
                  <a:pt x="15606" y="16200"/>
                  <a:pt x="16691" y="16200"/>
                </a:cubicBezTo>
                <a:lnTo>
                  <a:pt x="18655" y="16200"/>
                </a:lnTo>
                <a:cubicBezTo>
                  <a:pt x="18655" y="16200"/>
                  <a:pt x="18655" y="18900"/>
                  <a:pt x="18655" y="18900"/>
                </a:cubicBezTo>
                <a:close/>
                <a:moveTo>
                  <a:pt x="982" y="2700"/>
                </a:moveTo>
                <a:cubicBezTo>
                  <a:pt x="982" y="1955"/>
                  <a:pt x="1422" y="1350"/>
                  <a:pt x="1964" y="1350"/>
                </a:cubicBezTo>
                <a:lnTo>
                  <a:pt x="17673" y="1350"/>
                </a:lnTo>
                <a:cubicBezTo>
                  <a:pt x="18214" y="1350"/>
                  <a:pt x="18655" y="1955"/>
                  <a:pt x="18655" y="2700"/>
                </a:cubicBezTo>
                <a:lnTo>
                  <a:pt x="18655" y="3075"/>
                </a:lnTo>
                <a:cubicBezTo>
                  <a:pt x="18365" y="2842"/>
                  <a:pt x="18032" y="2700"/>
                  <a:pt x="17673" y="2700"/>
                </a:cubicBezTo>
                <a:lnTo>
                  <a:pt x="1964" y="2700"/>
                </a:lnTo>
                <a:cubicBezTo>
                  <a:pt x="1604" y="2700"/>
                  <a:pt x="1271" y="2842"/>
                  <a:pt x="982" y="3075"/>
                </a:cubicBezTo>
                <a:cubicBezTo>
                  <a:pt x="982" y="3075"/>
                  <a:pt x="982" y="2700"/>
                  <a:pt x="982" y="2700"/>
                </a:cubicBezTo>
                <a:close/>
                <a:moveTo>
                  <a:pt x="19636" y="8100"/>
                </a:moveTo>
                <a:lnTo>
                  <a:pt x="19636" y="2700"/>
                </a:lnTo>
                <a:cubicBezTo>
                  <a:pt x="19636" y="1209"/>
                  <a:pt x="18757" y="0"/>
                  <a:pt x="17673" y="0"/>
                </a:cubicBez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391"/>
                  <a:pt x="19636" y="18900"/>
                </a:cubicBezTo>
                <a:lnTo>
                  <a:pt x="19636" y="16200"/>
                </a:lnTo>
                <a:cubicBezTo>
                  <a:pt x="20721" y="16200"/>
                  <a:pt x="21600" y="14991"/>
                  <a:pt x="21600" y="13500"/>
                </a:cubicBezTo>
                <a:lnTo>
                  <a:pt x="21600" y="10800"/>
                </a:lnTo>
                <a:cubicBezTo>
                  <a:pt x="21600" y="9309"/>
                  <a:pt x="20721" y="8100"/>
                  <a:pt x="19636" y="8100"/>
                </a:cubicBezTo>
                <a:moveTo>
                  <a:pt x="17182" y="11475"/>
                </a:moveTo>
                <a:cubicBezTo>
                  <a:pt x="16910" y="11475"/>
                  <a:pt x="16691" y="11777"/>
                  <a:pt x="16691" y="12150"/>
                </a:cubicBezTo>
                <a:cubicBezTo>
                  <a:pt x="16691" y="12523"/>
                  <a:pt x="16910" y="12825"/>
                  <a:pt x="17182" y="12825"/>
                </a:cubicBezTo>
                <a:cubicBezTo>
                  <a:pt x="17453" y="12825"/>
                  <a:pt x="17673" y="12523"/>
                  <a:pt x="17673" y="12150"/>
                </a:cubicBezTo>
                <a:cubicBezTo>
                  <a:pt x="17673" y="11777"/>
                  <a:pt x="17453" y="11475"/>
                  <a:pt x="17182" y="11475"/>
                </a:cubicBezTo>
                <a:moveTo>
                  <a:pt x="7364" y="17550"/>
                </a:moveTo>
                <a:lnTo>
                  <a:pt x="6382" y="17550"/>
                </a:lnTo>
                <a:cubicBezTo>
                  <a:pt x="6110" y="17550"/>
                  <a:pt x="5891" y="17853"/>
                  <a:pt x="5891" y="18225"/>
                </a:cubicBezTo>
                <a:cubicBezTo>
                  <a:pt x="5891" y="18598"/>
                  <a:pt x="6110" y="18900"/>
                  <a:pt x="6382" y="18900"/>
                </a:cubicBezTo>
                <a:lnTo>
                  <a:pt x="7364" y="18900"/>
                </a:lnTo>
                <a:cubicBezTo>
                  <a:pt x="7635" y="18900"/>
                  <a:pt x="7855" y="18598"/>
                  <a:pt x="7855" y="18225"/>
                </a:cubicBezTo>
                <a:cubicBezTo>
                  <a:pt x="7855" y="17853"/>
                  <a:pt x="7635" y="17550"/>
                  <a:pt x="7364" y="17550"/>
                </a:cubicBezTo>
                <a:moveTo>
                  <a:pt x="7364" y="5400"/>
                </a:moveTo>
                <a:lnTo>
                  <a:pt x="6382" y="5400"/>
                </a:lnTo>
                <a:cubicBezTo>
                  <a:pt x="6110" y="5400"/>
                  <a:pt x="5891" y="5702"/>
                  <a:pt x="5891" y="6075"/>
                </a:cubicBezTo>
                <a:cubicBezTo>
                  <a:pt x="5891" y="6448"/>
                  <a:pt x="6110" y="6750"/>
                  <a:pt x="6382" y="6750"/>
                </a:cubicBezTo>
                <a:lnTo>
                  <a:pt x="7364" y="6750"/>
                </a:lnTo>
                <a:cubicBezTo>
                  <a:pt x="7635" y="6750"/>
                  <a:pt x="7855" y="6448"/>
                  <a:pt x="7855" y="6075"/>
                </a:cubicBezTo>
                <a:cubicBezTo>
                  <a:pt x="7855" y="5702"/>
                  <a:pt x="7635" y="5400"/>
                  <a:pt x="7364" y="5400"/>
                </a:cubicBezTo>
                <a:moveTo>
                  <a:pt x="4418" y="5400"/>
                </a:moveTo>
                <a:lnTo>
                  <a:pt x="3436" y="5400"/>
                </a:lnTo>
                <a:cubicBezTo>
                  <a:pt x="3165" y="5400"/>
                  <a:pt x="2945" y="5702"/>
                  <a:pt x="2945" y="6075"/>
                </a:cubicBezTo>
                <a:cubicBezTo>
                  <a:pt x="2945" y="6448"/>
                  <a:pt x="3165" y="6750"/>
                  <a:pt x="3436" y="6750"/>
                </a:cubicBezTo>
                <a:lnTo>
                  <a:pt x="4418" y="6750"/>
                </a:lnTo>
                <a:cubicBezTo>
                  <a:pt x="4690" y="6750"/>
                  <a:pt x="4909" y="6448"/>
                  <a:pt x="4909" y="6075"/>
                </a:cubicBezTo>
                <a:cubicBezTo>
                  <a:pt x="4909" y="5702"/>
                  <a:pt x="4690" y="5400"/>
                  <a:pt x="4418" y="540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26" name="Shape 2826"/>
          <p:cNvSpPr/>
          <p:nvPr/>
        </p:nvSpPr>
        <p:spPr>
          <a:xfrm>
            <a:off x="9428684" y="1985196"/>
            <a:ext cx="279328" cy="2287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7214"/>
                </a:moveTo>
                <a:lnTo>
                  <a:pt x="9327" y="7214"/>
                </a:lnTo>
                <a:cubicBezTo>
                  <a:pt x="9056" y="7214"/>
                  <a:pt x="8836" y="7482"/>
                  <a:pt x="8836" y="7813"/>
                </a:cubicBezTo>
                <a:cubicBezTo>
                  <a:pt x="8836" y="8145"/>
                  <a:pt x="9056" y="8413"/>
                  <a:pt x="9327" y="8413"/>
                </a:cubicBezTo>
                <a:lnTo>
                  <a:pt x="10309" y="8413"/>
                </a:lnTo>
                <a:cubicBezTo>
                  <a:pt x="10580" y="8413"/>
                  <a:pt x="10800" y="8145"/>
                  <a:pt x="10800" y="7813"/>
                </a:cubicBezTo>
                <a:cubicBezTo>
                  <a:pt x="10800" y="7482"/>
                  <a:pt x="10580" y="7214"/>
                  <a:pt x="10309" y="7214"/>
                </a:cubicBezTo>
                <a:moveTo>
                  <a:pt x="7364" y="7214"/>
                </a:moveTo>
                <a:lnTo>
                  <a:pt x="6382" y="7214"/>
                </a:lnTo>
                <a:cubicBezTo>
                  <a:pt x="6110" y="7214"/>
                  <a:pt x="5891" y="7482"/>
                  <a:pt x="5891" y="7813"/>
                </a:cubicBezTo>
                <a:cubicBezTo>
                  <a:pt x="5891" y="8145"/>
                  <a:pt x="6110" y="8413"/>
                  <a:pt x="6382" y="8413"/>
                </a:cubicBezTo>
                <a:lnTo>
                  <a:pt x="7364" y="8413"/>
                </a:lnTo>
                <a:cubicBezTo>
                  <a:pt x="7635" y="8413"/>
                  <a:pt x="7855" y="8145"/>
                  <a:pt x="7855" y="7813"/>
                </a:cubicBezTo>
                <a:cubicBezTo>
                  <a:pt x="7855" y="7482"/>
                  <a:pt x="7635" y="7214"/>
                  <a:pt x="7364" y="7214"/>
                </a:cubicBezTo>
                <a:moveTo>
                  <a:pt x="10309" y="18004"/>
                </a:moveTo>
                <a:lnTo>
                  <a:pt x="9327" y="18004"/>
                </a:lnTo>
                <a:cubicBezTo>
                  <a:pt x="9056" y="18004"/>
                  <a:pt x="8836" y="18272"/>
                  <a:pt x="8836" y="18603"/>
                </a:cubicBezTo>
                <a:cubicBezTo>
                  <a:pt x="8836" y="18935"/>
                  <a:pt x="9056" y="19202"/>
                  <a:pt x="9327" y="19202"/>
                </a:cubicBezTo>
                <a:lnTo>
                  <a:pt x="10309" y="19202"/>
                </a:lnTo>
                <a:cubicBezTo>
                  <a:pt x="10580" y="19202"/>
                  <a:pt x="10800" y="18935"/>
                  <a:pt x="10800" y="18603"/>
                </a:cubicBezTo>
                <a:cubicBezTo>
                  <a:pt x="10800" y="18272"/>
                  <a:pt x="10580" y="18004"/>
                  <a:pt x="10309" y="18004"/>
                </a:cubicBezTo>
                <a:moveTo>
                  <a:pt x="13255" y="18004"/>
                </a:moveTo>
                <a:lnTo>
                  <a:pt x="12273" y="18004"/>
                </a:lnTo>
                <a:cubicBezTo>
                  <a:pt x="12001" y="18004"/>
                  <a:pt x="11782" y="18272"/>
                  <a:pt x="11782" y="18603"/>
                </a:cubicBezTo>
                <a:cubicBezTo>
                  <a:pt x="11782" y="18935"/>
                  <a:pt x="12001" y="19202"/>
                  <a:pt x="12273" y="19202"/>
                </a:cubicBezTo>
                <a:lnTo>
                  <a:pt x="13255" y="19202"/>
                </a:lnTo>
                <a:cubicBezTo>
                  <a:pt x="13526" y="19202"/>
                  <a:pt x="13745" y="18935"/>
                  <a:pt x="13745" y="18603"/>
                </a:cubicBezTo>
                <a:cubicBezTo>
                  <a:pt x="13745" y="18272"/>
                  <a:pt x="13526" y="18004"/>
                  <a:pt x="13255" y="18004"/>
                </a:cubicBezTo>
                <a:moveTo>
                  <a:pt x="20618" y="14407"/>
                </a:moveTo>
                <a:cubicBezTo>
                  <a:pt x="20618" y="15069"/>
                  <a:pt x="20178" y="15606"/>
                  <a:pt x="19636" y="15606"/>
                </a:cubicBezTo>
                <a:lnTo>
                  <a:pt x="16691" y="15606"/>
                </a:lnTo>
                <a:cubicBezTo>
                  <a:pt x="16148" y="15606"/>
                  <a:pt x="15709" y="15069"/>
                  <a:pt x="15709" y="14407"/>
                </a:cubicBezTo>
                <a:lnTo>
                  <a:pt x="15709" y="12009"/>
                </a:lnTo>
                <a:cubicBezTo>
                  <a:pt x="15709" y="11348"/>
                  <a:pt x="16148" y="10811"/>
                  <a:pt x="16691" y="10811"/>
                </a:cubicBezTo>
                <a:lnTo>
                  <a:pt x="19636" y="10811"/>
                </a:lnTo>
                <a:cubicBezTo>
                  <a:pt x="20178" y="10811"/>
                  <a:pt x="20618" y="11348"/>
                  <a:pt x="20618" y="12009"/>
                </a:cubicBezTo>
                <a:cubicBezTo>
                  <a:pt x="20618" y="12009"/>
                  <a:pt x="20618" y="14407"/>
                  <a:pt x="20618" y="14407"/>
                </a:cubicBezTo>
                <a:close/>
                <a:moveTo>
                  <a:pt x="18655" y="19202"/>
                </a:moveTo>
                <a:cubicBezTo>
                  <a:pt x="18655" y="19864"/>
                  <a:pt x="18214" y="20401"/>
                  <a:pt x="17673" y="20401"/>
                </a:cubicBezTo>
                <a:lnTo>
                  <a:pt x="1964" y="20401"/>
                </a:lnTo>
                <a:cubicBezTo>
                  <a:pt x="1421" y="20401"/>
                  <a:pt x="982" y="19864"/>
                  <a:pt x="982" y="19202"/>
                </a:cubicBezTo>
                <a:lnTo>
                  <a:pt x="982" y="7214"/>
                </a:lnTo>
                <a:cubicBezTo>
                  <a:pt x="982" y="6553"/>
                  <a:pt x="1421" y="6015"/>
                  <a:pt x="1964" y="6015"/>
                </a:cubicBezTo>
                <a:lnTo>
                  <a:pt x="17673" y="6015"/>
                </a:lnTo>
                <a:cubicBezTo>
                  <a:pt x="18214" y="6015"/>
                  <a:pt x="18655" y="6553"/>
                  <a:pt x="18655" y="7214"/>
                </a:cubicBezTo>
                <a:lnTo>
                  <a:pt x="18655" y="9612"/>
                </a:lnTo>
                <a:lnTo>
                  <a:pt x="16691" y="9612"/>
                </a:lnTo>
                <a:cubicBezTo>
                  <a:pt x="15606" y="9612"/>
                  <a:pt x="14727" y="10685"/>
                  <a:pt x="14727" y="12009"/>
                </a:cubicBezTo>
                <a:lnTo>
                  <a:pt x="14727" y="14407"/>
                </a:lnTo>
                <a:cubicBezTo>
                  <a:pt x="14727" y="15731"/>
                  <a:pt x="15606" y="16805"/>
                  <a:pt x="16691" y="16805"/>
                </a:cubicBezTo>
                <a:lnTo>
                  <a:pt x="18655" y="16805"/>
                </a:lnTo>
                <a:cubicBezTo>
                  <a:pt x="18655" y="16805"/>
                  <a:pt x="18655" y="19202"/>
                  <a:pt x="18655" y="19202"/>
                </a:cubicBezTo>
                <a:close/>
                <a:moveTo>
                  <a:pt x="982" y="4816"/>
                </a:moveTo>
                <a:cubicBezTo>
                  <a:pt x="982" y="4155"/>
                  <a:pt x="1420" y="3618"/>
                  <a:pt x="1963" y="3618"/>
                </a:cubicBezTo>
                <a:lnTo>
                  <a:pt x="1692" y="4850"/>
                </a:lnTo>
                <a:cubicBezTo>
                  <a:pt x="1436" y="4894"/>
                  <a:pt x="1197" y="4996"/>
                  <a:pt x="982" y="5149"/>
                </a:cubicBezTo>
                <a:cubicBezTo>
                  <a:pt x="982" y="5149"/>
                  <a:pt x="982" y="4816"/>
                  <a:pt x="982" y="4816"/>
                </a:cubicBezTo>
                <a:close/>
                <a:moveTo>
                  <a:pt x="3451" y="1468"/>
                </a:moveTo>
                <a:lnTo>
                  <a:pt x="13684" y="4816"/>
                </a:lnTo>
                <a:lnTo>
                  <a:pt x="2716" y="4816"/>
                </a:lnTo>
                <a:cubicBezTo>
                  <a:pt x="2716" y="4816"/>
                  <a:pt x="3451" y="1468"/>
                  <a:pt x="3451" y="1468"/>
                </a:cubicBezTo>
                <a:close/>
                <a:moveTo>
                  <a:pt x="16776" y="2582"/>
                </a:moveTo>
                <a:lnTo>
                  <a:pt x="16982" y="4654"/>
                </a:lnTo>
                <a:lnTo>
                  <a:pt x="12560" y="3208"/>
                </a:lnTo>
                <a:cubicBezTo>
                  <a:pt x="12560" y="3208"/>
                  <a:pt x="16776" y="2582"/>
                  <a:pt x="16776" y="2582"/>
                </a:cubicBezTo>
                <a:close/>
                <a:moveTo>
                  <a:pt x="18655" y="4816"/>
                </a:moveTo>
                <a:lnTo>
                  <a:pt x="18655" y="5149"/>
                </a:lnTo>
                <a:cubicBezTo>
                  <a:pt x="18453" y="5005"/>
                  <a:pt x="18231" y="4904"/>
                  <a:pt x="17992" y="4856"/>
                </a:cubicBezTo>
                <a:lnTo>
                  <a:pt x="17871" y="3642"/>
                </a:lnTo>
                <a:cubicBezTo>
                  <a:pt x="18318" y="3754"/>
                  <a:pt x="18655" y="4237"/>
                  <a:pt x="18655" y="4816"/>
                </a:cubicBezTo>
                <a:moveTo>
                  <a:pt x="19636" y="9612"/>
                </a:moveTo>
                <a:lnTo>
                  <a:pt x="19636" y="4816"/>
                </a:lnTo>
                <a:cubicBezTo>
                  <a:pt x="19636" y="3525"/>
                  <a:pt x="18798" y="2479"/>
                  <a:pt x="17750" y="2428"/>
                </a:cubicBezTo>
                <a:lnTo>
                  <a:pt x="17633" y="1247"/>
                </a:lnTo>
                <a:lnTo>
                  <a:pt x="10020" y="2377"/>
                </a:lnTo>
                <a:lnTo>
                  <a:pt x="2757" y="0"/>
                </a:lnTo>
                <a:lnTo>
                  <a:pt x="2226" y="2419"/>
                </a:lnTo>
                <a:lnTo>
                  <a:pt x="1964" y="2419"/>
                </a:lnTo>
                <a:cubicBezTo>
                  <a:pt x="879" y="2419"/>
                  <a:pt x="0" y="3492"/>
                  <a:pt x="0" y="4816"/>
                </a:cubicBezTo>
                <a:lnTo>
                  <a:pt x="0" y="19202"/>
                </a:lnTo>
                <a:cubicBezTo>
                  <a:pt x="0" y="20526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526"/>
                  <a:pt x="19636" y="19202"/>
                </a:cubicBezTo>
                <a:lnTo>
                  <a:pt x="19636" y="16805"/>
                </a:lnTo>
                <a:cubicBezTo>
                  <a:pt x="20721" y="16805"/>
                  <a:pt x="21600" y="15731"/>
                  <a:pt x="21600" y="14407"/>
                </a:cubicBezTo>
                <a:lnTo>
                  <a:pt x="21600" y="12009"/>
                </a:lnTo>
                <a:cubicBezTo>
                  <a:pt x="21600" y="10685"/>
                  <a:pt x="20721" y="9612"/>
                  <a:pt x="19636" y="9612"/>
                </a:cubicBezTo>
                <a:moveTo>
                  <a:pt x="13255" y="7214"/>
                </a:moveTo>
                <a:lnTo>
                  <a:pt x="12273" y="7214"/>
                </a:lnTo>
                <a:cubicBezTo>
                  <a:pt x="12001" y="7214"/>
                  <a:pt x="11782" y="7482"/>
                  <a:pt x="11782" y="7813"/>
                </a:cubicBezTo>
                <a:cubicBezTo>
                  <a:pt x="11782" y="8145"/>
                  <a:pt x="12001" y="8413"/>
                  <a:pt x="12273" y="8413"/>
                </a:cubicBezTo>
                <a:lnTo>
                  <a:pt x="13255" y="8413"/>
                </a:lnTo>
                <a:cubicBezTo>
                  <a:pt x="13526" y="8413"/>
                  <a:pt x="13745" y="8145"/>
                  <a:pt x="13745" y="7813"/>
                </a:cubicBezTo>
                <a:cubicBezTo>
                  <a:pt x="13745" y="7482"/>
                  <a:pt x="13526" y="7214"/>
                  <a:pt x="13255" y="7214"/>
                </a:cubicBezTo>
                <a:moveTo>
                  <a:pt x="16200" y="18004"/>
                </a:moveTo>
                <a:lnTo>
                  <a:pt x="15218" y="18004"/>
                </a:lnTo>
                <a:cubicBezTo>
                  <a:pt x="14947" y="18004"/>
                  <a:pt x="14727" y="18272"/>
                  <a:pt x="14727" y="18603"/>
                </a:cubicBezTo>
                <a:cubicBezTo>
                  <a:pt x="14727" y="18935"/>
                  <a:pt x="14947" y="19202"/>
                  <a:pt x="15218" y="19202"/>
                </a:cubicBezTo>
                <a:lnTo>
                  <a:pt x="16200" y="19202"/>
                </a:lnTo>
                <a:cubicBezTo>
                  <a:pt x="16471" y="19202"/>
                  <a:pt x="16691" y="18935"/>
                  <a:pt x="16691" y="18603"/>
                </a:cubicBezTo>
                <a:cubicBezTo>
                  <a:pt x="16691" y="18272"/>
                  <a:pt x="16471" y="18004"/>
                  <a:pt x="16200" y="18004"/>
                </a:cubicBezTo>
                <a:moveTo>
                  <a:pt x="17182" y="12609"/>
                </a:moveTo>
                <a:cubicBezTo>
                  <a:pt x="16910" y="12609"/>
                  <a:pt x="16691" y="12877"/>
                  <a:pt x="16691" y="13208"/>
                </a:cubicBezTo>
                <a:cubicBezTo>
                  <a:pt x="16691" y="13540"/>
                  <a:pt x="16910" y="13808"/>
                  <a:pt x="17182" y="13808"/>
                </a:cubicBezTo>
                <a:cubicBezTo>
                  <a:pt x="17453" y="13808"/>
                  <a:pt x="17673" y="13540"/>
                  <a:pt x="17673" y="13208"/>
                </a:cubicBezTo>
                <a:cubicBezTo>
                  <a:pt x="17673" y="12877"/>
                  <a:pt x="17453" y="12609"/>
                  <a:pt x="17182" y="12609"/>
                </a:cubicBezTo>
                <a:moveTo>
                  <a:pt x="4418" y="7214"/>
                </a:moveTo>
                <a:lnTo>
                  <a:pt x="3436" y="7214"/>
                </a:lnTo>
                <a:cubicBezTo>
                  <a:pt x="3165" y="7214"/>
                  <a:pt x="2945" y="7482"/>
                  <a:pt x="2945" y="7813"/>
                </a:cubicBezTo>
                <a:cubicBezTo>
                  <a:pt x="2945" y="8145"/>
                  <a:pt x="3165" y="8413"/>
                  <a:pt x="3436" y="8413"/>
                </a:cubicBezTo>
                <a:lnTo>
                  <a:pt x="4418" y="8413"/>
                </a:lnTo>
                <a:cubicBezTo>
                  <a:pt x="4690" y="8413"/>
                  <a:pt x="4909" y="8145"/>
                  <a:pt x="4909" y="7813"/>
                </a:cubicBezTo>
                <a:cubicBezTo>
                  <a:pt x="4909" y="7482"/>
                  <a:pt x="4690" y="7214"/>
                  <a:pt x="4418" y="7214"/>
                </a:cubicBezTo>
                <a:moveTo>
                  <a:pt x="15218" y="8413"/>
                </a:moveTo>
                <a:lnTo>
                  <a:pt x="16200" y="8413"/>
                </a:lnTo>
                <a:cubicBezTo>
                  <a:pt x="16471" y="8413"/>
                  <a:pt x="16691" y="8145"/>
                  <a:pt x="16691" y="7813"/>
                </a:cubicBezTo>
                <a:cubicBezTo>
                  <a:pt x="16691" y="7482"/>
                  <a:pt x="16471" y="7214"/>
                  <a:pt x="16200" y="7214"/>
                </a:cubicBezTo>
                <a:lnTo>
                  <a:pt x="15218" y="7214"/>
                </a:lnTo>
                <a:cubicBezTo>
                  <a:pt x="14947" y="7214"/>
                  <a:pt x="14727" y="7482"/>
                  <a:pt x="14727" y="7813"/>
                </a:cubicBezTo>
                <a:cubicBezTo>
                  <a:pt x="14727" y="8145"/>
                  <a:pt x="14947" y="8413"/>
                  <a:pt x="15218" y="8413"/>
                </a:cubicBezTo>
                <a:moveTo>
                  <a:pt x="7364" y="18004"/>
                </a:moveTo>
                <a:lnTo>
                  <a:pt x="6382" y="18004"/>
                </a:lnTo>
                <a:cubicBezTo>
                  <a:pt x="6110" y="18004"/>
                  <a:pt x="5891" y="18272"/>
                  <a:pt x="5891" y="18603"/>
                </a:cubicBezTo>
                <a:cubicBezTo>
                  <a:pt x="5891" y="18935"/>
                  <a:pt x="6110" y="19202"/>
                  <a:pt x="6382" y="19202"/>
                </a:cubicBezTo>
                <a:lnTo>
                  <a:pt x="7364" y="19202"/>
                </a:lnTo>
                <a:cubicBezTo>
                  <a:pt x="7635" y="19202"/>
                  <a:pt x="7855" y="18935"/>
                  <a:pt x="7855" y="18603"/>
                </a:cubicBezTo>
                <a:cubicBezTo>
                  <a:pt x="7855" y="18272"/>
                  <a:pt x="7635" y="18004"/>
                  <a:pt x="7364" y="18004"/>
                </a:cubicBezTo>
                <a:moveTo>
                  <a:pt x="4418" y="18004"/>
                </a:moveTo>
                <a:lnTo>
                  <a:pt x="3436" y="18004"/>
                </a:lnTo>
                <a:cubicBezTo>
                  <a:pt x="3165" y="18004"/>
                  <a:pt x="2945" y="18272"/>
                  <a:pt x="2945" y="18603"/>
                </a:cubicBezTo>
                <a:cubicBezTo>
                  <a:pt x="2945" y="18935"/>
                  <a:pt x="3165" y="19202"/>
                  <a:pt x="3436" y="19202"/>
                </a:cubicBezTo>
                <a:lnTo>
                  <a:pt x="4418" y="19202"/>
                </a:lnTo>
                <a:cubicBezTo>
                  <a:pt x="4690" y="19202"/>
                  <a:pt x="4909" y="18935"/>
                  <a:pt x="4909" y="18603"/>
                </a:cubicBezTo>
                <a:cubicBezTo>
                  <a:pt x="4909" y="18272"/>
                  <a:pt x="4690" y="18004"/>
                  <a:pt x="4418" y="18004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27" name="Shape 2827"/>
          <p:cNvSpPr/>
          <p:nvPr/>
        </p:nvSpPr>
        <p:spPr>
          <a:xfrm>
            <a:off x="10000035" y="1959803"/>
            <a:ext cx="20314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00" y="9818"/>
                </a:moveTo>
                <a:lnTo>
                  <a:pt x="2700" y="9818"/>
                </a:lnTo>
                <a:lnTo>
                  <a:pt x="2700" y="10800"/>
                </a:lnTo>
                <a:lnTo>
                  <a:pt x="13500" y="10800"/>
                </a:lnTo>
                <a:cubicBezTo>
                  <a:pt x="13500" y="10800"/>
                  <a:pt x="13500" y="9818"/>
                  <a:pt x="13500" y="9818"/>
                </a:cubicBezTo>
                <a:close/>
                <a:moveTo>
                  <a:pt x="18900" y="11782"/>
                </a:moveTo>
                <a:lnTo>
                  <a:pt x="2700" y="11782"/>
                </a:lnTo>
                <a:lnTo>
                  <a:pt x="2700" y="12764"/>
                </a:lnTo>
                <a:lnTo>
                  <a:pt x="18900" y="12764"/>
                </a:lnTo>
                <a:cubicBezTo>
                  <a:pt x="18900" y="12764"/>
                  <a:pt x="18900" y="11782"/>
                  <a:pt x="18900" y="11782"/>
                </a:cubicBezTo>
                <a:close/>
                <a:moveTo>
                  <a:pt x="4050" y="1964"/>
                </a:moveTo>
                <a:lnTo>
                  <a:pt x="2700" y="1964"/>
                </a:lnTo>
                <a:lnTo>
                  <a:pt x="2700" y="7855"/>
                </a:lnTo>
                <a:lnTo>
                  <a:pt x="4050" y="7855"/>
                </a:lnTo>
                <a:cubicBezTo>
                  <a:pt x="4050" y="7855"/>
                  <a:pt x="4050" y="1964"/>
                  <a:pt x="4050" y="1964"/>
                </a:cubicBezTo>
                <a:close/>
                <a:moveTo>
                  <a:pt x="18900" y="13745"/>
                </a:moveTo>
                <a:lnTo>
                  <a:pt x="2700" y="13745"/>
                </a:lnTo>
                <a:lnTo>
                  <a:pt x="2700" y="14727"/>
                </a:lnTo>
                <a:lnTo>
                  <a:pt x="18900" y="14727"/>
                </a:lnTo>
                <a:cubicBezTo>
                  <a:pt x="18900" y="14727"/>
                  <a:pt x="18900" y="13745"/>
                  <a:pt x="18900" y="13745"/>
                </a:cubicBezTo>
                <a:close/>
                <a:moveTo>
                  <a:pt x="16200" y="15709"/>
                </a:moveTo>
                <a:lnTo>
                  <a:pt x="2700" y="15709"/>
                </a:lnTo>
                <a:lnTo>
                  <a:pt x="2700" y="16691"/>
                </a:lnTo>
                <a:lnTo>
                  <a:pt x="16200" y="16691"/>
                </a:lnTo>
                <a:cubicBezTo>
                  <a:pt x="16200" y="16691"/>
                  <a:pt x="16200" y="15709"/>
                  <a:pt x="16200" y="15709"/>
                </a:cubicBezTo>
                <a:close/>
                <a:moveTo>
                  <a:pt x="20250" y="19924"/>
                </a:moveTo>
                <a:lnTo>
                  <a:pt x="18702" y="18798"/>
                </a:lnTo>
                <a:cubicBezTo>
                  <a:pt x="18580" y="18710"/>
                  <a:pt x="18412" y="18655"/>
                  <a:pt x="18225" y="18655"/>
                </a:cubicBezTo>
                <a:cubicBezTo>
                  <a:pt x="18039" y="18655"/>
                  <a:pt x="17870" y="18710"/>
                  <a:pt x="17748" y="18798"/>
                </a:cubicBezTo>
                <a:lnTo>
                  <a:pt x="15525" y="20415"/>
                </a:lnTo>
                <a:lnTo>
                  <a:pt x="13302" y="18798"/>
                </a:lnTo>
                <a:cubicBezTo>
                  <a:pt x="13180" y="18710"/>
                  <a:pt x="13012" y="18655"/>
                  <a:pt x="12825" y="18655"/>
                </a:cubicBezTo>
                <a:cubicBezTo>
                  <a:pt x="12604" y="18655"/>
                  <a:pt x="12418" y="18737"/>
                  <a:pt x="12294" y="18856"/>
                </a:cubicBezTo>
                <a:lnTo>
                  <a:pt x="12285" y="18851"/>
                </a:lnTo>
                <a:lnTo>
                  <a:pt x="10800" y="20291"/>
                </a:lnTo>
                <a:lnTo>
                  <a:pt x="9315" y="18851"/>
                </a:lnTo>
                <a:lnTo>
                  <a:pt x="9306" y="18856"/>
                </a:lnTo>
                <a:cubicBezTo>
                  <a:pt x="9182" y="18737"/>
                  <a:pt x="8996" y="18655"/>
                  <a:pt x="8775" y="18655"/>
                </a:cubicBezTo>
                <a:cubicBezTo>
                  <a:pt x="8589" y="18655"/>
                  <a:pt x="8420" y="18710"/>
                  <a:pt x="8298" y="18798"/>
                </a:cubicBezTo>
                <a:lnTo>
                  <a:pt x="6075" y="20415"/>
                </a:lnTo>
                <a:lnTo>
                  <a:pt x="3852" y="18798"/>
                </a:lnTo>
                <a:cubicBezTo>
                  <a:pt x="3730" y="18710"/>
                  <a:pt x="3562" y="18655"/>
                  <a:pt x="3375" y="18655"/>
                </a:cubicBezTo>
                <a:cubicBezTo>
                  <a:pt x="3188" y="18655"/>
                  <a:pt x="3020" y="18710"/>
                  <a:pt x="2898" y="18798"/>
                </a:cubicBezTo>
                <a:lnTo>
                  <a:pt x="1350" y="19924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19924"/>
                  <a:pt x="20250" y="19924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62" y="21600"/>
                  <a:pt x="1031" y="21545"/>
                  <a:pt x="1152" y="21456"/>
                </a:cubicBezTo>
                <a:lnTo>
                  <a:pt x="3375" y="19840"/>
                </a:lnTo>
                <a:lnTo>
                  <a:pt x="5598" y="21456"/>
                </a:lnTo>
                <a:cubicBezTo>
                  <a:pt x="5720" y="21545"/>
                  <a:pt x="5888" y="21600"/>
                  <a:pt x="6075" y="21600"/>
                </a:cubicBezTo>
                <a:cubicBezTo>
                  <a:pt x="6262" y="21600"/>
                  <a:pt x="6431" y="21545"/>
                  <a:pt x="6552" y="21456"/>
                </a:cubicBezTo>
                <a:lnTo>
                  <a:pt x="8702" y="19893"/>
                </a:lnTo>
                <a:lnTo>
                  <a:pt x="10260" y="21404"/>
                </a:lnTo>
                <a:lnTo>
                  <a:pt x="10269" y="21399"/>
                </a:lnTo>
                <a:cubicBezTo>
                  <a:pt x="10393" y="21518"/>
                  <a:pt x="10579" y="21600"/>
                  <a:pt x="10800" y="21600"/>
                </a:cubicBezTo>
                <a:cubicBezTo>
                  <a:pt x="11021" y="21600"/>
                  <a:pt x="11207" y="21518"/>
                  <a:pt x="11331" y="21399"/>
                </a:cubicBezTo>
                <a:lnTo>
                  <a:pt x="11340" y="21404"/>
                </a:lnTo>
                <a:lnTo>
                  <a:pt x="12898" y="19893"/>
                </a:lnTo>
                <a:lnTo>
                  <a:pt x="15048" y="21456"/>
                </a:lnTo>
                <a:cubicBezTo>
                  <a:pt x="15170" y="21545"/>
                  <a:pt x="15338" y="21600"/>
                  <a:pt x="15525" y="21600"/>
                </a:cubicBezTo>
                <a:cubicBezTo>
                  <a:pt x="15712" y="21600"/>
                  <a:pt x="15881" y="21545"/>
                  <a:pt x="16002" y="21456"/>
                </a:cubicBezTo>
                <a:lnTo>
                  <a:pt x="18225" y="19840"/>
                </a:lnTo>
                <a:lnTo>
                  <a:pt x="20448" y="21456"/>
                </a:lnTo>
                <a:cubicBezTo>
                  <a:pt x="20570" y="21545"/>
                  <a:pt x="2073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16200" y="1964"/>
                </a:moveTo>
                <a:lnTo>
                  <a:pt x="14850" y="1964"/>
                </a:lnTo>
                <a:lnTo>
                  <a:pt x="14850" y="7855"/>
                </a:lnTo>
                <a:lnTo>
                  <a:pt x="16200" y="7855"/>
                </a:lnTo>
                <a:cubicBezTo>
                  <a:pt x="16200" y="7855"/>
                  <a:pt x="16200" y="1964"/>
                  <a:pt x="16200" y="1964"/>
                </a:cubicBezTo>
                <a:close/>
                <a:moveTo>
                  <a:pt x="18900" y="1964"/>
                </a:moveTo>
                <a:lnTo>
                  <a:pt x="17550" y="1964"/>
                </a:lnTo>
                <a:lnTo>
                  <a:pt x="17550" y="7855"/>
                </a:lnTo>
                <a:lnTo>
                  <a:pt x="18900" y="7855"/>
                </a:lnTo>
                <a:cubicBezTo>
                  <a:pt x="18900" y="7855"/>
                  <a:pt x="18900" y="1964"/>
                  <a:pt x="18900" y="1964"/>
                </a:cubicBezTo>
                <a:close/>
                <a:moveTo>
                  <a:pt x="10800" y="1964"/>
                </a:moveTo>
                <a:lnTo>
                  <a:pt x="9450" y="1964"/>
                </a:lnTo>
                <a:lnTo>
                  <a:pt x="9450" y="7855"/>
                </a:lnTo>
                <a:lnTo>
                  <a:pt x="10800" y="7855"/>
                </a:lnTo>
                <a:cubicBezTo>
                  <a:pt x="10800" y="7855"/>
                  <a:pt x="10800" y="1964"/>
                  <a:pt x="10800" y="1964"/>
                </a:cubicBezTo>
                <a:close/>
                <a:moveTo>
                  <a:pt x="8100" y="1964"/>
                </a:moveTo>
                <a:lnTo>
                  <a:pt x="5400" y="1964"/>
                </a:lnTo>
                <a:lnTo>
                  <a:pt x="5400" y="7855"/>
                </a:lnTo>
                <a:lnTo>
                  <a:pt x="8100" y="7855"/>
                </a:lnTo>
                <a:cubicBezTo>
                  <a:pt x="8100" y="7855"/>
                  <a:pt x="8100" y="1964"/>
                  <a:pt x="8100" y="1964"/>
                </a:cubicBezTo>
                <a:close/>
                <a:moveTo>
                  <a:pt x="13500" y="1964"/>
                </a:moveTo>
                <a:lnTo>
                  <a:pt x="12150" y="1964"/>
                </a:lnTo>
                <a:lnTo>
                  <a:pt x="12150" y="7855"/>
                </a:lnTo>
                <a:lnTo>
                  <a:pt x="13500" y="7855"/>
                </a:lnTo>
                <a:cubicBezTo>
                  <a:pt x="13500" y="7855"/>
                  <a:pt x="13500" y="1964"/>
                  <a:pt x="13500" y="1964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28" name="Shape 2828"/>
          <p:cNvSpPr/>
          <p:nvPr/>
        </p:nvSpPr>
        <p:spPr>
          <a:xfrm>
            <a:off x="10520599" y="1959803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2400" y="13745"/>
                </a:lnTo>
                <a:lnTo>
                  <a:pt x="2400" y="14727"/>
                </a:lnTo>
                <a:lnTo>
                  <a:pt x="14400" y="14727"/>
                </a:lnTo>
                <a:cubicBezTo>
                  <a:pt x="14400" y="14727"/>
                  <a:pt x="14400" y="13745"/>
                  <a:pt x="14400" y="13745"/>
                </a:cubicBezTo>
                <a:close/>
                <a:moveTo>
                  <a:pt x="15600" y="20092"/>
                </a:moveTo>
                <a:lnTo>
                  <a:pt x="13624" y="18798"/>
                </a:lnTo>
                <a:cubicBezTo>
                  <a:pt x="13515" y="18710"/>
                  <a:pt x="13366" y="18655"/>
                  <a:pt x="13200" y="18655"/>
                </a:cubicBezTo>
                <a:cubicBezTo>
                  <a:pt x="13035" y="18655"/>
                  <a:pt x="12885" y="18710"/>
                  <a:pt x="12776" y="18798"/>
                </a:cubicBezTo>
                <a:lnTo>
                  <a:pt x="10800" y="20415"/>
                </a:lnTo>
                <a:lnTo>
                  <a:pt x="8824" y="18798"/>
                </a:lnTo>
                <a:cubicBezTo>
                  <a:pt x="8716" y="18710"/>
                  <a:pt x="8566" y="18655"/>
                  <a:pt x="8400" y="18655"/>
                </a:cubicBezTo>
                <a:cubicBezTo>
                  <a:pt x="8235" y="18655"/>
                  <a:pt x="8085" y="18710"/>
                  <a:pt x="7976" y="18798"/>
                </a:cubicBezTo>
                <a:lnTo>
                  <a:pt x="6000" y="20415"/>
                </a:lnTo>
                <a:lnTo>
                  <a:pt x="4024" y="18798"/>
                </a:lnTo>
                <a:cubicBezTo>
                  <a:pt x="3915" y="18710"/>
                  <a:pt x="3766" y="18655"/>
                  <a:pt x="3600" y="18655"/>
                </a:cubicBezTo>
                <a:cubicBezTo>
                  <a:pt x="3435" y="18655"/>
                  <a:pt x="3285" y="18710"/>
                  <a:pt x="3176" y="18798"/>
                </a:cubicBezTo>
                <a:lnTo>
                  <a:pt x="1200" y="20092"/>
                </a:lnTo>
                <a:lnTo>
                  <a:pt x="1200" y="3927"/>
                </a:lnTo>
                <a:lnTo>
                  <a:pt x="15600" y="3927"/>
                </a:lnTo>
                <a:cubicBezTo>
                  <a:pt x="15600" y="3927"/>
                  <a:pt x="15600" y="20092"/>
                  <a:pt x="15600" y="20092"/>
                </a:cubicBezTo>
                <a:close/>
                <a:moveTo>
                  <a:pt x="16200" y="2945"/>
                </a:moveTo>
                <a:lnTo>
                  <a:pt x="600" y="2945"/>
                </a:lnTo>
                <a:cubicBezTo>
                  <a:pt x="268" y="2945"/>
                  <a:pt x="0" y="3165"/>
                  <a:pt x="0" y="3436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766" y="21600"/>
                  <a:pt x="916" y="21545"/>
                  <a:pt x="1024" y="21456"/>
                </a:cubicBezTo>
                <a:lnTo>
                  <a:pt x="3553" y="19801"/>
                </a:lnTo>
                <a:lnTo>
                  <a:pt x="5576" y="21456"/>
                </a:lnTo>
                <a:cubicBezTo>
                  <a:pt x="5684" y="21545"/>
                  <a:pt x="5834" y="21600"/>
                  <a:pt x="6000" y="21600"/>
                </a:cubicBezTo>
                <a:cubicBezTo>
                  <a:pt x="6166" y="21600"/>
                  <a:pt x="6316" y="21545"/>
                  <a:pt x="6424" y="21456"/>
                </a:cubicBezTo>
                <a:lnTo>
                  <a:pt x="8400" y="19840"/>
                </a:lnTo>
                <a:lnTo>
                  <a:pt x="10376" y="21456"/>
                </a:lnTo>
                <a:cubicBezTo>
                  <a:pt x="10484" y="21545"/>
                  <a:pt x="10634" y="21600"/>
                  <a:pt x="10800" y="21600"/>
                </a:cubicBezTo>
                <a:cubicBezTo>
                  <a:pt x="10966" y="21600"/>
                  <a:pt x="11116" y="21545"/>
                  <a:pt x="11224" y="21456"/>
                </a:cubicBezTo>
                <a:lnTo>
                  <a:pt x="13247" y="19801"/>
                </a:lnTo>
                <a:lnTo>
                  <a:pt x="15776" y="21456"/>
                </a:lnTo>
                <a:cubicBezTo>
                  <a:pt x="15884" y="21545"/>
                  <a:pt x="16034" y="21600"/>
                  <a:pt x="16200" y="21600"/>
                </a:cubicBezTo>
                <a:cubicBezTo>
                  <a:pt x="16532" y="21600"/>
                  <a:pt x="16800" y="21380"/>
                  <a:pt x="16800" y="21109"/>
                </a:cubicBezTo>
                <a:lnTo>
                  <a:pt x="16800" y="3436"/>
                </a:lnTo>
                <a:cubicBezTo>
                  <a:pt x="16800" y="3165"/>
                  <a:pt x="16532" y="2945"/>
                  <a:pt x="16200" y="2945"/>
                </a:cubicBezTo>
                <a:moveTo>
                  <a:pt x="8400" y="11782"/>
                </a:moveTo>
                <a:lnTo>
                  <a:pt x="2400" y="11782"/>
                </a:lnTo>
                <a:lnTo>
                  <a:pt x="2400" y="12764"/>
                </a:lnTo>
                <a:lnTo>
                  <a:pt x="8400" y="12764"/>
                </a:lnTo>
                <a:cubicBezTo>
                  <a:pt x="8400" y="12764"/>
                  <a:pt x="8400" y="11782"/>
                  <a:pt x="8400" y="11782"/>
                </a:cubicBezTo>
                <a:close/>
                <a:moveTo>
                  <a:pt x="21000" y="0"/>
                </a:moveTo>
                <a:lnTo>
                  <a:pt x="5400" y="0"/>
                </a:lnTo>
                <a:cubicBezTo>
                  <a:pt x="5068" y="0"/>
                  <a:pt x="4800" y="220"/>
                  <a:pt x="4800" y="491"/>
                </a:cubicBezTo>
                <a:lnTo>
                  <a:pt x="4800" y="1964"/>
                </a:lnTo>
                <a:lnTo>
                  <a:pt x="6000" y="1964"/>
                </a:lnTo>
                <a:lnTo>
                  <a:pt x="6000" y="982"/>
                </a:lnTo>
                <a:lnTo>
                  <a:pt x="20400" y="982"/>
                </a:lnTo>
                <a:lnTo>
                  <a:pt x="20400" y="17146"/>
                </a:lnTo>
                <a:lnTo>
                  <a:pt x="18424" y="15853"/>
                </a:lnTo>
                <a:cubicBezTo>
                  <a:pt x="18316" y="15764"/>
                  <a:pt x="18166" y="15709"/>
                  <a:pt x="18000" y="15709"/>
                </a:cubicBezTo>
                <a:lnTo>
                  <a:pt x="18000" y="16894"/>
                </a:lnTo>
                <a:lnTo>
                  <a:pt x="18047" y="16856"/>
                </a:lnTo>
                <a:lnTo>
                  <a:pt x="20576" y="18511"/>
                </a:lnTo>
                <a:cubicBezTo>
                  <a:pt x="20684" y="18599"/>
                  <a:pt x="20834" y="18655"/>
                  <a:pt x="21000" y="18655"/>
                </a:cubicBezTo>
                <a:cubicBezTo>
                  <a:pt x="21332" y="18655"/>
                  <a:pt x="21600" y="18435"/>
                  <a:pt x="21600" y="18164"/>
                </a:cubicBezTo>
                <a:lnTo>
                  <a:pt x="21600" y="491"/>
                </a:lnTo>
                <a:cubicBezTo>
                  <a:pt x="21600" y="220"/>
                  <a:pt x="21332" y="0"/>
                  <a:pt x="21000" y="0"/>
                </a:cubicBezTo>
                <a:moveTo>
                  <a:pt x="10800" y="15709"/>
                </a:moveTo>
                <a:lnTo>
                  <a:pt x="2400" y="15709"/>
                </a:lnTo>
                <a:lnTo>
                  <a:pt x="2400" y="16691"/>
                </a:lnTo>
                <a:lnTo>
                  <a:pt x="10800" y="16691"/>
                </a:lnTo>
                <a:cubicBezTo>
                  <a:pt x="10800" y="16691"/>
                  <a:pt x="10800" y="15709"/>
                  <a:pt x="10800" y="15709"/>
                </a:cubicBezTo>
                <a:close/>
                <a:moveTo>
                  <a:pt x="12000" y="4909"/>
                </a:moveTo>
                <a:lnTo>
                  <a:pt x="10800" y="4909"/>
                </a:lnTo>
                <a:lnTo>
                  <a:pt x="10800" y="9818"/>
                </a:lnTo>
                <a:lnTo>
                  <a:pt x="12000" y="9818"/>
                </a:lnTo>
                <a:cubicBezTo>
                  <a:pt x="12000" y="9818"/>
                  <a:pt x="12000" y="4909"/>
                  <a:pt x="12000" y="4909"/>
                </a:cubicBezTo>
                <a:close/>
                <a:moveTo>
                  <a:pt x="14400" y="4909"/>
                </a:moveTo>
                <a:lnTo>
                  <a:pt x="13200" y="4909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4909"/>
                  <a:pt x="14400" y="4909"/>
                </a:cubicBezTo>
                <a:close/>
                <a:moveTo>
                  <a:pt x="7200" y="4909"/>
                </a:moveTo>
                <a:lnTo>
                  <a:pt x="4800" y="4909"/>
                </a:lnTo>
                <a:lnTo>
                  <a:pt x="4800" y="9818"/>
                </a:lnTo>
                <a:lnTo>
                  <a:pt x="7200" y="9818"/>
                </a:lnTo>
                <a:cubicBezTo>
                  <a:pt x="7200" y="9818"/>
                  <a:pt x="7200" y="4909"/>
                  <a:pt x="7200" y="4909"/>
                </a:cubicBezTo>
                <a:close/>
                <a:moveTo>
                  <a:pt x="3600" y="4909"/>
                </a:moveTo>
                <a:lnTo>
                  <a:pt x="2400" y="4909"/>
                </a:lnTo>
                <a:lnTo>
                  <a:pt x="2400" y="9818"/>
                </a:lnTo>
                <a:lnTo>
                  <a:pt x="3600" y="9818"/>
                </a:lnTo>
                <a:cubicBezTo>
                  <a:pt x="3600" y="9818"/>
                  <a:pt x="3600" y="4909"/>
                  <a:pt x="3600" y="4909"/>
                </a:cubicBezTo>
                <a:close/>
                <a:moveTo>
                  <a:pt x="9600" y="4909"/>
                </a:moveTo>
                <a:lnTo>
                  <a:pt x="8400" y="4909"/>
                </a:lnTo>
                <a:lnTo>
                  <a:pt x="8400" y="9818"/>
                </a:lnTo>
                <a:lnTo>
                  <a:pt x="9600" y="9818"/>
                </a:lnTo>
                <a:cubicBezTo>
                  <a:pt x="9600" y="9818"/>
                  <a:pt x="9600" y="4909"/>
                  <a:pt x="9600" y="4909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29" name="Shape 2829"/>
          <p:cNvSpPr/>
          <p:nvPr/>
        </p:nvSpPr>
        <p:spPr>
          <a:xfrm>
            <a:off x="11028467" y="1959803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2764"/>
                </a:moveTo>
                <a:cubicBezTo>
                  <a:pt x="10529" y="12764"/>
                  <a:pt x="10309" y="12544"/>
                  <a:pt x="10309" y="12273"/>
                </a:cubicBezTo>
                <a:cubicBezTo>
                  <a:pt x="10309" y="12001"/>
                  <a:pt x="10529" y="11782"/>
                  <a:pt x="10800" y="11782"/>
                </a:cubicBezTo>
                <a:cubicBezTo>
                  <a:pt x="11071" y="11782"/>
                  <a:pt x="11291" y="12001"/>
                  <a:pt x="11291" y="12273"/>
                </a:cubicBezTo>
                <a:cubicBezTo>
                  <a:pt x="11291" y="12544"/>
                  <a:pt x="11071" y="12764"/>
                  <a:pt x="10800" y="12764"/>
                </a:cubicBezTo>
                <a:moveTo>
                  <a:pt x="10800" y="10800"/>
                </a:moveTo>
                <a:cubicBezTo>
                  <a:pt x="9987" y="10800"/>
                  <a:pt x="9327" y="11460"/>
                  <a:pt x="9327" y="12273"/>
                </a:cubicBezTo>
                <a:cubicBezTo>
                  <a:pt x="9327" y="13086"/>
                  <a:pt x="9987" y="13745"/>
                  <a:pt x="10800" y="13745"/>
                </a:cubicBezTo>
                <a:cubicBezTo>
                  <a:pt x="11613" y="13745"/>
                  <a:pt x="12273" y="13086"/>
                  <a:pt x="12273" y="12273"/>
                </a:cubicBezTo>
                <a:cubicBezTo>
                  <a:pt x="12273" y="11460"/>
                  <a:pt x="11613" y="10800"/>
                  <a:pt x="10800" y="10800"/>
                </a:cubicBezTo>
                <a:moveTo>
                  <a:pt x="20469" y="11563"/>
                </a:moveTo>
                <a:lnTo>
                  <a:pt x="19745" y="13686"/>
                </a:lnTo>
                <a:cubicBezTo>
                  <a:pt x="17492" y="14931"/>
                  <a:pt x="14436" y="15709"/>
                  <a:pt x="11045" y="15709"/>
                </a:cubicBezTo>
                <a:cubicBezTo>
                  <a:pt x="7337" y="15709"/>
                  <a:pt x="4024" y="14783"/>
                  <a:pt x="1732" y="13326"/>
                </a:cubicBezTo>
                <a:lnTo>
                  <a:pt x="1132" y="11568"/>
                </a:lnTo>
                <a:cubicBezTo>
                  <a:pt x="1132" y="11568"/>
                  <a:pt x="982" y="11171"/>
                  <a:pt x="982" y="10800"/>
                </a:cubicBezTo>
                <a:cubicBezTo>
                  <a:pt x="982" y="9718"/>
                  <a:pt x="1863" y="8836"/>
                  <a:pt x="2945" y="8836"/>
                </a:cubicBezTo>
                <a:lnTo>
                  <a:pt x="18655" y="8836"/>
                </a:lnTo>
                <a:cubicBezTo>
                  <a:pt x="19738" y="8836"/>
                  <a:pt x="20618" y="9718"/>
                  <a:pt x="20618" y="10800"/>
                </a:cubicBezTo>
                <a:cubicBezTo>
                  <a:pt x="20618" y="11173"/>
                  <a:pt x="20469" y="11563"/>
                  <a:pt x="20469" y="11563"/>
                </a:cubicBezTo>
                <a:moveTo>
                  <a:pt x="17640" y="19860"/>
                </a:moveTo>
                <a:cubicBezTo>
                  <a:pt x="17636" y="19861"/>
                  <a:pt x="17438" y="20618"/>
                  <a:pt x="16691" y="20618"/>
                </a:cubicBezTo>
                <a:lnTo>
                  <a:pt x="4909" y="20618"/>
                </a:lnTo>
                <a:cubicBezTo>
                  <a:pt x="4169" y="20618"/>
                  <a:pt x="3960" y="19860"/>
                  <a:pt x="3960" y="19860"/>
                </a:cubicBezTo>
                <a:lnTo>
                  <a:pt x="2196" y="14687"/>
                </a:lnTo>
                <a:cubicBezTo>
                  <a:pt x="4567" y="15928"/>
                  <a:pt x="7651" y="16691"/>
                  <a:pt x="11045" y="16691"/>
                </a:cubicBezTo>
                <a:cubicBezTo>
                  <a:pt x="14163" y="16691"/>
                  <a:pt x="17019" y="16046"/>
                  <a:pt x="19304" y="14981"/>
                </a:cubicBezTo>
                <a:cubicBezTo>
                  <a:pt x="19304" y="14981"/>
                  <a:pt x="17640" y="19860"/>
                  <a:pt x="17640" y="19860"/>
                </a:cubicBezTo>
                <a:close/>
                <a:moveTo>
                  <a:pt x="10800" y="982"/>
                </a:moveTo>
                <a:cubicBezTo>
                  <a:pt x="13436" y="982"/>
                  <a:pt x="15657" y="3875"/>
                  <a:pt x="16409" y="7855"/>
                </a:cubicBezTo>
                <a:lnTo>
                  <a:pt x="5191" y="7855"/>
                </a:lnTo>
                <a:cubicBezTo>
                  <a:pt x="5943" y="3875"/>
                  <a:pt x="8164" y="982"/>
                  <a:pt x="10800" y="982"/>
                </a:cubicBezTo>
                <a:moveTo>
                  <a:pt x="18655" y="7855"/>
                </a:moveTo>
                <a:lnTo>
                  <a:pt x="17401" y="7855"/>
                </a:lnTo>
                <a:cubicBezTo>
                  <a:pt x="16584" y="3325"/>
                  <a:pt x="13944" y="0"/>
                  <a:pt x="10800" y="0"/>
                </a:cubicBezTo>
                <a:cubicBezTo>
                  <a:pt x="7656" y="0"/>
                  <a:pt x="5016" y="3325"/>
                  <a:pt x="4200" y="7855"/>
                </a:cubicBezTo>
                <a:lnTo>
                  <a:pt x="2945" y="7855"/>
                </a:lnTo>
                <a:cubicBezTo>
                  <a:pt x="1319" y="7855"/>
                  <a:pt x="0" y="9174"/>
                  <a:pt x="0" y="10800"/>
                </a:cubicBezTo>
                <a:cubicBezTo>
                  <a:pt x="0" y="11348"/>
                  <a:pt x="151" y="11732"/>
                  <a:pt x="151" y="11732"/>
                </a:cubicBezTo>
                <a:lnTo>
                  <a:pt x="3118" y="20435"/>
                </a:lnTo>
                <a:cubicBezTo>
                  <a:pt x="3118" y="20435"/>
                  <a:pt x="3452" y="21600"/>
                  <a:pt x="4909" y="21600"/>
                </a:cubicBezTo>
                <a:lnTo>
                  <a:pt x="16691" y="21600"/>
                </a:lnTo>
                <a:cubicBezTo>
                  <a:pt x="18153" y="21600"/>
                  <a:pt x="18565" y="20194"/>
                  <a:pt x="18570" y="20177"/>
                </a:cubicBezTo>
                <a:lnTo>
                  <a:pt x="21437" y="11727"/>
                </a:lnTo>
                <a:cubicBezTo>
                  <a:pt x="21534" y="11434"/>
                  <a:pt x="21600" y="11126"/>
                  <a:pt x="21600" y="10800"/>
                </a:cubicBezTo>
                <a:cubicBezTo>
                  <a:pt x="21600" y="9174"/>
                  <a:pt x="20281" y="7855"/>
                  <a:pt x="18655" y="7855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31" name="Shape 2831"/>
          <p:cNvSpPr/>
          <p:nvPr/>
        </p:nvSpPr>
        <p:spPr>
          <a:xfrm>
            <a:off x="918949" y="3331046"/>
            <a:ext cx="20314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  <a:moveTo>
                  <a:pt x="5400" y="12764"/>
                </a:moveTo>
                <a:cubicBezTo>
                  <a:pt x="5028" y="12764"/>
                  <a:pt x="4725" y="12983"/>
                  <a:pt x="4725" y="13255"/>
                </a:cubicBezTo>
                <a:cubicBezTo>
                  <a:pt x="4725" y="13390"/>
                  <a:pt x="4800" y="13513"/>
                  <a:pt x="4923" y="13602"/>
                </a:cubicBezTo>
                <a:lnTo>
                  <a:pt x="10323" y="17529"/>
                </a:lnTo>
                <a:cubicBezTo>
                  <a:pt x="10445" y="17618"/>
                  <a:pt x="10614" y="17673"/>
                  <a:pt x="10800" y="17673"/>
                </a:cubicBezTo>
                <a:cubicBezTo>
                  <a:pt x="10986" y="17673"/>
                  <a:pt x="11155" y="17618"/>
                  <a:pt x="11277" y="17529"/>
                </a:cubicBezTo>
                <a:lnTo>
                  <a:pt x="16677" y="13602"/>
                </a:lnTo>
                <a:cubicBezTo>
                  <a:pt x="16800" y="13513"/>
                  <a:pt x="16875" y="13390"/>
                  <a:pt x="16875" y="13255"/>
                </a:cubicBezTo>
                <a:cubicBezTo>
                  <a:pt x="16875" y="12983"/>
                  <a:pt x="16572" y="12764"/>
                  <a:pt x="16200" y="12764"/>
                </a:cubicBezTo>
                <a:cubicBezTo>
                  <a:pt x="16014" y="12764"/>
                  <a:pt x="15845" y="12819"/>
                  <a:pt x="15723" y="12907"/>
                </a:cubicBezTo>
                <a:lnTo>
                  <a:pt x="11475" y="15997"/>
                </a:lnTo>
                <a:lnTo>
                  <a:pt x="11475" y="491"/>
                </a:lnTo>
                <a:cubicBezTo>
                  <a:pt x="11475" y="220"/>
                  <a:pt x="11172" y="0"/>
                  <a:pt x="10800" y="0"/>
                </a:cubicBezTo>
                <a:cubicBezTo>
                  <a:pt x="10428" y="0"/>
                  <a:pt x="10125" y="220"/>
                  <a:pt x="10125" y="491"/>
                </a:cubicBezTo>
                <a:lnTo>
                  <a:pt x="10125" y="15997"/>
                </a:lnTo>
                <a:lnTo>
                  <a:pt x="5877" y="12907"/>
                </a:lnTo>
                <a:cubicBezTo>
                  <a:pt x="5755" y="12819"/>
                  <a:pt x="5586" y="12764"/>
                  <a:pt x="5400" y="12764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32" name="Shape 2832"/>
          <p:cNvSpPr/>
          <p:nvPr/>
        </p:nvSpPr>
        <p:spPr>
          <a:xfrm>
            <a:off x="1452210" y="3331046"/>
            <a:ext cx="20314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4909"/>
                </a:moveTo>
                <a:cubicBezTo>
                  <a:pt x="5586" y="4909"/>
                  <a:pt x="5755" y="4855"/>
                  <a:pt x="5877" y="4765"/>
                </a:cubicBezTo>
                <a:lnTo>
                  <a:pt x="10125" y="1676"/>
                </a:lnTo>
                <a:lnTo>
                  <a:pt x="10125" y="17182"/>
                </a:lnTo>
                <a:cubicBezTo>
                  <a:pt x="10125" y="17453"/>
                  <a:pt x="10428" y="17673"/>
                  <a:pt x="10800" y="17673"/>
                </a:cubicBezTo>
                <a:cubicBezTo>
                  <a:pt x="11172" y="17673"/>
                  <a:pt x="11475" y="17453"/>
                  <a:pt x="11475" y="17182"/>
                </a:cubicBezTo>
                <a:lnTo>
                  <a:pt x="11475" y="1676"/>
                </a:lnTo>
                <a:lnTo>
                  <a:pt x="15723" y="4765"/>
                </a:lnTo>
                <a:cubicBezTo>
                  <a:pt x="15845" y="4855"/>
                  <a:pt x="16014" y="4909"/>
                  <a:pt x="16200" y="4909"/>
                </a:cubicBezTo>
                <a:cubicBezTo>
                  <a:pt x="16572" y="4909"/>
                  <a:pt x="16875" y="4690"/>
                  <a:pt x="16875" y="4418"/>
                </a:cubicBezTo>
                <a:cubicBezTo>
                  <a:pt x="16875" y="4283"/>
                  <a:pt x="16800" y="4161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0" y="4161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33" name="Shape 2833"/>
          <p:cNvSpPr/>
          <p:nvPr/>
        </p:nvSpPr>
        <p:spPr>
          <a:xfrm>
            <a:off x="1947381" y="33310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  <a:moveTo>
                  <a:pt x="7140" y="14181"/>
                </a:moveTo>
                <a:cubicBezTo>
                  <a:pt x="6970" y="13741"/>
                  <a:pt x="6873" y="13264"/>
                  <a:pt x="6873" y="12764"/>
                </a:cubicBezTo>
                <a:cubicBezTo>
                  <a:pt x="6873" y="10595"/>
                  <a:pt x="8631" y="8836"/>
                  <a:pt x="10800" y="8836"/>
                </a:cubicBezTo>
                <a:cubicBezTo>
                  <a:pt x="11300" y="8836"/>
                  <a:pt x="11777" y="8934"/>
                  <a:pt x="12217" y="9104"/>
                </a:cubicBezTo>
                <a:lnTo>
                  <a:pt x="13217" y="8494"/>
                </a:lnTo>
                <a:cubicBezTo>
                  <a:pt x="12503" y="8089"/>
                  <a:pt x="11680" y="7855"/>
                  <a:pt x="10800" y="7855"/>
                </a:cubicBezTo>
                <a:cubicBezTo>
                  <a:pt x="8089" y="7855"/>
                  <a:pt x="5891" y="10053"/>
                  <a:pt x="5891" y="12764"/>
                </a:cubicBezTo>
                <a:cubicBezTo>
                  <a:pt x="5891" y="13643"/>
                  <a:pt x="6125" y="14467"/>
                  <a:pt x="6530" y="15181"/>
                </a:cubicBezTo>
                <a:cubicBezTo>
                  <a:pt x="6530" y="15181"/>
                  <a:pt x="7140" y="14181"/>
                  <a:pt x="7140" y="14181"/>
                </a:cubicBezTo>
                <a:close/>
                <a:moveTo>
                  <a:pt x="14460" y="11347"/>
                </a:moveTo>
                <a:cubicBezTo>
                  <a:pt x="14630" y="11787"/>
                  <a:pt x="14727" y="12263"/>
                  <a:pt x="14727" y="12764"/>
                </a:cubicBezTo>
                <a:cubicBezTo>
                  <a:pt x="14727" y="14932"/>
                  <a:pt x="12969" y="16691"/>
                  <a:pt x="10800" y="16691"/>
                </a:cubicBezTo>
                <a:cubicBezTo>
                  <a:pt x="10300" y="16691"/>
                  <a:pt x="9823" y="16594"/>
                  <a:pt x="9383" y="16423"/>
                </a:cubicBezTo>
                <a:lnTo>
                  <a:pt x="8383" y="17034"/>
                </a:lnTo>
                <a:cubicBezTo>
                  <a:pt x="9097" y="17439"/>
                  <a:pt x="9920" y="17673"/>
                  <a:pt x="10800" y="17673"/>
                </a:cubicBezTo>
                <a:cubicBezTo>
                  <a:pt x="13511" y="17673"/>
                  <a:pt x="15709" y="15475"/>
                  <a:pt x="15709" y="12764"/>
                </a:cubicBezTo>
                <a:cubicBezTo>
                  <a:pt x="15709" y="11884"/>
                  <a:pt x="15475" y="11061"/>
                  <a:pt x="15070" y="10346"/>
                </a:cubicBezTo>
                <a:cubicBezTo>
                  <a:pt x="15070" y="10346"/>
                  <a:pt x="14460" y="11347"/>
                  <a:pt x="14460" y="11347"/>
                </a:cubicBezTo>
                <a:close/>
                <a:moveTo>
                  <a:pt x="10453" y="12417"/>
                </a:moveTo>
                <a:cubicBezTo>
                  <a:pt x="10645" y="12225"/>
                  <a:pt x="10955" y="12225"/>
                  <a:pt x="11147" y="12417"/>
                </a:cubicBezTo>
                <a:cubicBezTo>
                  <a:pt x="11339" y="12609"/>
                  <a:pt x="11339" y="12919"/>
                  <a:pt x="11147" y="13111"/>
                </a:cubicBezTo>
                <a:cubicBezTo>
                  <a:pt x="10955" y="13303"/>
                  <a:pt x="10645" y="13303"/>
                  <a:pt x="10453" y="13111"/>
                </a:cubicBezTo>
                <a:cubicBezTo>
                  <a:pt x="10261" y="12919"/>
                  <a:pt x="10261" y="12609"/>
                  <a:pt x="10453" y="12417"/>
                </a:cubicBezTo>
                <a:moveTo>
                  <a:pt x="6144" y="17420"/>
                </a:moveTo>
                <a:lnTo>
                  <a:pt x="11842" y="13805"/>
                </a:lnTo>
                <a:lnTo>
                  <a:pt x="15456" y="8107"/>
                </a:lnTo>
                <a:lnTo>
                  <a:pt x="9759" y="11722"/>
                </a:lnTo>
                <a:cubicBezTo>
                  <a:pt x="9759" y="11722"/>
                  <a:pt x="6144" y="17420"/>
                  <a:pt x="6144" y="17420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34" name="Shape 2834"/>
          <p:cNvSpPr/>
          <p:nvPr/>
        </p:nvSpPr>
        <p:spPr>
          <a:xfrm>
            <a:off x="2480642" y="33310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35" name="Shape 2835"/>
          <p:cNvSpPr/>
          <p:nvPr/>
        </p:nvSpPr>
        <p:spPr>
          <a:xfrm>
            <a:off x="3013903" y="33310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18" y="5891"/>
                </a:moveTo>
                <a:lnTo>
                  <a:pt x="8345" y="5891"/>
                </a:lnTo>
                <a:cubicBezTo>
                  <a:pt x="8075" y="5891"/>
                  <a:pt x="7855" y="6111"/>
                  <a:pt x="7855" y="6382"/>
                </a:cubicBezTo>
                <a:cubicBezTo>
                  <a:pt x="7855" y="6653"/>
                  <a:pt x="8075" y="6873"/>
                  <a:pt x="8345" y="6873"/>
                </a:cubicBez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moveTo>
                  <a:pt x="6382" y="5891"/>
                </a:moveTo>
                <a:cubicBezTo>
                  <a:pt x="6111" y="5891"/>
                  <a:pt x="5891" y="6111"/>
                  <a:pt x="5891" y="6382"/>
                </a:cubicBezTo>
                <a:cubicBezTo>
                  <a:pt x="5891" y="6653"/>
                  <a:pt x="6111" y="6873"/>
                  <a:pt x="6382" y="6873"/>
                </a:cubicBezTo>
                <a:cubicBezTo>
                  <a:pt x="6653" y="6873"/>
                  <a:pt x="6873" y="6653"/>
                  <a:pt x="6873" y="6382"/>
                </a:cubicBezTo>
                <a:cubicBezTo>
                  <a:pt x="6873" y="6111"/>
                  <a:pt x="6653" y="5891"/>
                  <a:pt x="6382" y="5891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0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5891"/>
                </a:moveTo>
                <a:cubicBezTo>
                  <a:pt x="2184" y="5891"/>
                  <a:pt x="1964" y="6111"/>
                  <a:pt x="1964" y="6382"/>
                </a:cubicBezTo>
                <a:cubicBezTo>
                  <a:pt x="1964" y="6653"/>
                  <a:pt x="2184" y="6873"/>
                  <a:pt x="2455" y="6873"/>
                </a:cubicBezTo>
                <a:cubicBezTo>
                  <a:pt x="2725" y="6873"/>
                  <a:pt x="2945" y="6653"/>
                  <a:pt x="2945" y="6382"/>
                </a:cubicBezTo>
                <a:cubicBezTo>
                  <a:pt x="2945" y="6111"/>
                  <a:pt x="2725" y="5891"/>
                  <a:pt x="2455" y="5891"/>
                </a:cubicBezTo>
                <a:moveTo>
                  <a:pt x="4418" y="5891"/>
                </a:moveTo>
                <a:cubicBezTo>
                  <a:pt x="4147" y="5891"/>
                  <a:pt x="3927" y="6111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cubicBezTo>
                  <a:pt x="4689" y="6873"/>
                  <a:pt x="4909" y="6653"/>
                  <a:pt x="4909" y="6382"/>
                </a:cubicBezTo>
                <a:cubicBezTo>
                  <a:pt x="4909" y="6111"/>
                  <a:pt x="4689" y="5891"/>
                  <a:pt x="4418" y="5891"/>
                </a:cubicBezTo>
                <a:moveTo>
                  <a:pt x="16691" y="7855"/>
                </a:moveTo>
                <a:lnTo>
                  <a:pt x="982" y="7855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7855"/>
                  <a:pt x="16691" y="7855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36" name="Shape 2836"/>
          <p:cNvSpPr/>
          <p:nvPr/>
        </p:nvSpPr>
        <p:spPr>
          <a:xfrm>
            <a:off x="3547164" y="3369136"/>
            <a:ext cx="279328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37" name="Shape 2837"/>
          <p:cNvSpPr/>
          <p:nvPr/>
        </p:nvSpPr>
        <p:spPr>
          <a:xfrm>
            <a:off x="4080425" y="3362788"/>
            <a:ext cx="279328" cy="2158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8667"/>
                </a:moveTo>
                <a:lnTo>
                  <a:pt x="12576" y="13341"/>
                </a:lnTo>
                <a:lnTo>
                  <a:pt x="16691" y="8016"/>
                </a:lnTo>
                <a:cubicBezTo>
                  <a:pt x="16691" y="8016"/>
                  <a:pt x="16691" y="18667"/>
                  <a:pt x="16691" y="18667"/>
                </a:cubicBezTo>
                <a:close/>
                <a:moveTo>
                  <a:pt x="15709" y="20329"/>
                </a:moveTo>
                <a:lnTo>
                  <a:pt x="1964" y="20329"/>
                </a:lnTo>
                <a:cubicBezTo>
                  <a:pt x="1719" y="20329"/>
                  <a:pt x="1498" y="20210"/>
                  <a:pt x="1326" y="20018"/>
                </a:cubicBezTo>
                <a:lnTo>
                  <a:pt x="5791" y="14240"/>
                </a:lnTo>
                <a:lnTo>
                  <a:pt x="7477" y="16421"/>
                </a:lnTo>
                <a:cubicBezTo>
                  <a:pt x="7853" y="16907"/>
                  <a:pt x="8344" y="17150"/>
                  <a:pt x="8836" y="17150"/>
                </a:cubicBezTo>
                <a:cubicBezTo>
                  <a:pt x="9329" y="17150"/>
                  <a:pt x="9821" y="16907"/>
                  <a:pt x="10195" y="16421"/>
                </a:cubicBezTo>
                <a:lnTo>
                  <a:pt x="11882" y="14240"/>
                </a:lnTo>
                <a:lnTo>
                  <a:pt x="16347" y="20018"/>
                </a:lnTo>
                <a:cubicBezTo>
                  <a:pt x="16175" y="20210"/>
                  <a:pt x="15954" y="20329"/>
                  <a:pt x="15709" y="20329"/>
                </a:cubicBezTo>
                <a:moveTo>
                  <a:pt x="982" y="8016"/>
                </a:moveTo>
                <a:lnTo>
                  <a:pt x="5097" y="13341"/>
                </a:lnTo>
                <a:lnTo>
                  <a:pt x="982" y="18667"/>
                </a:lnTo>
                <a:cubicBezTo>
                  <a:pt x="982" y="18667"/>
                  <a:pt x="982" y="8016"/>
                  <a:pt x="982" y="8016"/>
                </a:cubicBezTo>
                <a:close/>
                <a:moveTo>
                  <a:pt x="1964" y="6353"/>
                </a:moveTo>
                <a:lnTo>
                  <a:pt x="15709" y="6353"/>
                </a:lnTo>
                <a:cubicBezTo>
                  <a:pt x="15954" y="6353"/>
                  <a:pt x="16175" y="6474"/>
                  <a:pt x="16347" y="6665"/>
                </a:cubicBezTo>
                <a:lnTo>
                  <a:pt x="9502" y="15523"/>
                </a:lnTo>
                <a:cubicBezTo>
                  <a:pt x="9324" y="15752"/>
                  <a:pt x="9088" y="15880"/>
                  <a:pt x="8836" y="15880"/>
                </a:cubicBezTo>
                <a:cubicBezTo>
                  <a:pt x="8585" y="15880"/>
                  <a:pt x="8349" y="15752"/>
                  <a:pt x="8170" y="15523"/>
                </a:cubicBezTo>
                <a:lnTo>
                  <a:pt x="1326" y="6664"/>
                </a:lnTo>
                <a:cubicBezTo>
                  <a:pt x="1498" y="6474"/>
                  <a:pt x="1719" y="6353"/>
                  <a:pt x="1964" y="6353"/>
                </a:cubicBezTo>
                <a:moveTo>
                  <a:pt x="15709" y="5082"/>
                </a:moveTo>
                <a:lnTo>
                  <a:pt x="1964" y="5082"/>
                </a:lnTo>
                <a:cubicBezTo>
                  <a:pt x="879" y="5082"/>
                  <a:pt x="0" y="6220"/>
                  <a:pt x="0" y="7624"/>
                </a:cubicBezTo>
                <a:lnTo>
                  <a:pt x="0" y="19059"/>
                </a:lnTo>
                <a:cubicBezTo>
                  <a:pt x="0" y="20462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462"/>
                  <a:pt x="17673" y="19059"/>
                </a:cubicBezTo>
                <a:lnTo>
                  <a:pt x="17673" y="7624"/>
                </a:lnTo>
                <a:cubicBezTo>
                  <a:pt x="17673" y="6220"/>
                  <a:pt x="16794" y="5082"/>
                  <a:pt x="15709" y="5082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1138"/>
                  <a:pt x="3927" y="2541"/>
                </a:cubicBezTo>
                <a:lnTo>
                  <a:pt x="3927" y="3176"/>
                </a:lnTo>
                <a:cubicBezTo>
                  <a:pt x="3927" y="3528"/>
                  <a:pt x="4147" y="3812"/>
                  <a:pt x="4418" y="3812"/>
                </a:cubicBezTo>
                <a:cubicBezTo>
                  <a:pt x="4690" y="3812"/>
                  <a:pt x="4909" y="3528"/>
                  <a:pt x="4909" y="3176"/>
                </a:cubicBezTo>
                <a:lnTo>
                  <a:pt x="4909" y="2541"/>
                </a:lnTo>
                <a:cubicBezTo>
                  <a:pt x="4909" y="1840"/>
                  <a:pt x="5348" y="1271"/>
                  <a:pt x="5891" y="1271"/>
                </a:cubicBezTo>
                <a:lnTo>
                  <a:pt x="19636" y="1271"/>
                </a:lnTo>
                <a:cubicBezTo>
                  <a:pt x="20178" y="1271"/>
                  <a:pt x="20618" y="1840"/>
                  <a:pt x="20618" y="2541"/>
                </a:cubicBezTo>
                <a:lnTo>
                  <a:pt x="20618" y="13976"/>
                </a:lnTo>
                <a:cubicBezTo>
                  <a:pt x="20618" y="14678"/>
                  <a:pt x="20178" y="15247"/>
                  <a:pt x="19636" y="15247"/>
                </a:cubicBezTo>
                <a:lnTo>
                  <a:pt x="19145" y="15247"/>
                </a:lnTo>
                <a:cubicBezTo>
                  <a:pt x="18874" y="15247"/>
                  <a:pt x="18655" y="15532"/>
                  <a:pt x="18655" y="15882"/>
                </a:cubicBezTo>
                <a:cubicBezTo>
                  <a:pt x="18655" y="16234"/>
                  <a:pt x="18874" y="16518"/>
                  <a:pt x="19145" y="16518"/>
                </a:cubicBezTo>
                <a:lnTo>
                  <a:pt x="19636" y="16518"/>
                </a:lnTo>
                <a:cubicBezTo>
                  <a:pt x="20721" y="16518"/>
                  <a:pt x="21600" y="15380"/>
                  <a:pt x="21600" y="13976"/>
                </a:cubicBezTo>
                <a:lnTo>
                  <a:pt x="21600" y="2541"/>
                </a:lnTo>
                <a:cubicBezTo>
                  <a:pt x="21600" y="1138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38" name="Shape 2838"/>
          <p:cNvSpPr/>
          <p:nvPr/>
        </p:nvSpPr>
        <p:spPr>
          <a:xfrm>
            <a:off x="4613686" y="3356439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4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5" y="12000"/>
                  <a:pt x="13745" y="12269"/>
                  <a:pt x="13745" y="12600"/>
                </a:cubicBezTo>
                <a:cubicBezTo>
                  <a:pt x="13745" y="14589"/>
                  <a:pt x="12426" y="16200"/>
                  <a:pt x="10800" y="16200"/>
                </a:cubicBezTo>
                <a:cubicBezTo>
                  <a:pt x="9173" y="16200"/>
                  <a:pt x="7855" y="14589"/>
                  <a:pt x="7855" y="12600"/>
                </a:cubicBezTo>
                <a:cubicBezTo>
                  <a:pt x="7855" y="12269"/>
                  <a:pt x="7635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5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5"/>
                </a:lnTo>
                <a:cubicBezTo>
                  <a:pt x="23" y="12415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5"/>
                  <a:pt x="21543" y="12335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39" name="Shape 2839"/>
          <p:cNvSpPr/>
          <p:nvPr/>
        </p:nvSpPr>
        <p:spPr>
          <a:xfrm>
            <a:off x="5146947" y="3343743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4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3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4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2764" y="2160"/>
                </a:lnTo>
                <a:cubicBezTo>
                  <a:pt x="12492" y="2160"/>
                  <a:pt x="12273" y="2402"/>
                  <a:pt x="12273" y="2700"/>
                </a:cubicBezTo>
                <a:cubicBezTo>
                  <a:pt x="12273" y="2999"/>
                  <a:pt x="12492" y="3240"/>
                  <a:pt x="12764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8836" y="3240"/>
                </a:lnTo>
                <a:cubicBezTo>
                  <a:pt x="9108" y="3240"/>
                  <a:pt x="9327" y="2999"/>
                  <a:pt x="9327" y="2700"/>
                </a:cubicBezTo>
                <a:cubicBezTo>
                  <a:pt x="9327" y="2402"/>
                  <a:pt x="9108" y="2160"/>
                  <a:pt x="8836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3" y="13261"/>
                </a:cubicBezTo>
                <a:moveTo>
                  <a:pt x="7855" y="8640"/>
                </a:moveTo>
                <a:cubicBezTo>
                  <a:pt x="7583" y="8640"/>
                  <a:pt x="7364" y="8882"/>
                  <a:pt x="7364" y="9180"/>
                </a:cubicBezTo>
                <a:cubicBezTo>
                  <a:pt x="7364" y="9329"/>
                  <a:pt x="7418" y="9464"/>
                  <a:pt x="7507" y="9562"/>
                </a:cubicBezTo>
                <a:lnTo>
                  <a:pt x="10453" y="12802"/>
                </a:lnTo>
                <a:cubicBezTo>
                  <a:pt x="10542" y="12900"/>
                  <a:pt x="10665" y="12960"/>
                  <a:pt x="10800" y="12960"/>
                </a:cubicBezTo>
                <a:cubicBezTo>
                  <a:pt x="10936" y="12960"/>
                  <a:pt x="11058" y="12900"/>
                  <a:pt x="11147" y="12802"/>
                </a:cubicBezTo>
                <a:lnTo>
                  <a:pt x="14093" y="9562"/>
                </a:lnTo>
                <a:cubicBezTo>
                  <a:pt x="14182" y="9464"/>
                  <a:pt x="14236" y="9329"/>
                  <a:pt x="14236" y="9180"/>
                </a:cubicBezTo>
                <a:cubicBezTo>
                  <a:pt x="14236" y="8882"/>
                  <a:pt x="14017" y="8640"/>
                  <a:pt x="13745" y="8640"/>
                </a:cubicBezTo>
                <a:cubicBezTo>
                  <a:pt x="13610" y="8640"/>
                  <a:pt x="13487" y="8701"/>
                  <a:pt x="13398" y="8798"/>
                </a:cubicBezTo>
                <a:lnTo>
                  <a:pt x="11291" y="111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11116"/>
                </a:lnTo>
                <a:lnTo>
                  <a:pt x="8202" y="8798"/>
                </a:lnTo>
                <a:cubicBezTo>
                  <a:pt x="8113" y="8701"/>
                  <a:pt x="7990" y="8640"/>
                  <a:pt x="7855" y="864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40" name="Shape 2840"/>
          <p:cNvSpPr/>
          <p:nvPr/>
        </p:nvSpPr>
        <p:spPr>
          <a:xfrm>
            <a:off x="5680208" y="3343743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3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4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5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5709" y="2160"/>
                </a:lnTo>
                <a:cubicBezTo>
                  <a:pt x="15438" y="2160"/>
                  <a:pt x="15218" y="2402"/>
                  <a:pt x="15218" y="2700"/>
                </a:cubicBezTo>
                <a:cubicBezTo>
                  <a:pt x="15218" y="2999"/>
                  <a:pt x="15438" y="3240"/>
                  <a:pt x="15709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5891" y="3240"/>
                </a:lnTo>
                <a:cubicBezTo>
                  <a:pt x="6162" y="3240"/>
                  <a:pt x="6382" y="2999"/>
                  <a:pt x="6382" y="2700"/>
                </a:cubicBezTo>
                <a:cubicBezTo>
                  <a:pt x="6382" y="2402"/>
                  <a:pt x="6162" y="2160"/>
                  <a:pt x="5891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4" y="13261"/>
                </a:cubicBezTo>
                <a:moveTo>
                  <a:pt x="7855" y="4320"/>
                </a:moveTo>
                <a:cubicBezTo>
                  <a:pt x="7990" y="4320"/>
                  <a:pt x="8113" y="4260"/>
                  <a:pt x="8202" y="4162"/>
                </a:cubicBezTo>
                <a:lnTo>
                  <a:pt x="10309" y="1844"/>
                </a:lnTo>
                <a:lnTo>
                  <a:pt x="10309" y="12420"/>
                </a:lnTo>
                <a:cubicBezTo>
                  <a:pt x="10309" y="12719"/>
                  <a:pt x="10529" y="12960"/>
                  <a:pt x="10800" y="12960"/>
                </a:cubicBezTo>
                <a:cubicBezTo>
                  <a:pt x="11071" y="12960"/>
                  <a:pt x="11291" y="12719"/>
                  <a:pt x="11291" y="12420"/>
                </a:cubicBezTo>
                <a:lnTo>
                  <a:pt x="11291" y="1844"/>
                </a:lnTo>
                <a:lnTo>
                  <a:pt x="13398" y="4162"/>
                </a:lnTo>
                <a:cubicBezTo>
                  <a:pt x="13487" y="4260"/>
                  <a:pt x="13610" y="4320"/>
                  <a:pt x="13745" y="4320"/>
                </a:cubicBezTo>
                <a:cubicBezTo>
                  <a:pt x="14017" y="4320"/>
                  <a:pt x="14236" y="4079"/>
                  <a:pt x="14236" y="3780"/>
                </a:cubicBezTo>
                <a:cubicBezTo>
                  <a:pt x="14236" y="3631"/>
                  <a:pt x="14181" y="3497"/>
                  <a:pt x="14093" y="339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1"/>
                  <a:pt x="10453" y="158"/>
                </a:cubicBezTo>
                <a:lnTo>
                  <a:pt x="7507" y="3398"/>
                </a:lnTo>
                <a:cubicBezTo>
                  <a:pt x="7419" y="3497"/>
                  <a:pt x="7364" y="3631"/>
                  <a:pt x="7364" y="3780"/>
                </a:cubicBezTo>
                <a:cubicBezTo>
                  <a:pt x="7364" y="4079"/>
                  <a:pt x="7583" y="4320"/>
                  <a:pt x="7855" y="432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41" name="Shape 2841"/>
          <p:cNvSpPr/>
          <p:nvPr/>
        </p:nvSpPr>
        <p:spPr>
          <a:xfrm>
            <a:off x="880859" y="3889700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3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6" y="12000"/>
                  <a:pt x="13745" y="12269"/>
                  <a:pt x="13745" y="12600"/>
                </a:cubicBezTo>
                <a:cubicBezTo>
                  <a:pt x="13745" y="14588"/>
                  <a:pt x="12427" y="16200"/>
                  <a:pt x="10800" y="16200"/>
                </a:cubicBezTo>
                <a:cubicBezTo>
                  <a:pt x="9173" y="16200"/>
                  <a:pt x="7855" y="14588"/>
                  <a:pt x="7855" y="12600"/>
                </a:cubicBezTo>
                <a:cubicBezTo>
                  <a:pt x="7855" y="12269"/>
                  <a:pt x="7634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4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4"/>
                </a:lnTo>
                <a:cubicBezTo>
                  <a:pt x="23" y="12416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6"/>
                  <a:pt x="21543" y="12334"/>
                </a:cubicBezTo>
                <a:moveTo>
                  <a:pt x="16691" y="9000"/>
                </a:moveTo>
                <a:cubicBezTo>
                  <a:pt x="16691" y="8669"/>
                  <a:pt x="16471" y="8400"/>
                  <a:pt x="16200" y="8400"/>
                </a:cubicBezTo>
                <a:lnTo>
                  <a:pt x="5400" y="8400"/>
                </a:lnTo>
                <a:cubicBezTo>
                  <a:pt x="5129" y="8400"/>
                  <a:pt x="4909" y="8669"/>
                  <a:pt x="4909" y="9000"/>
                </a:cubicBezTo>
                <a:cubicBezTo>
                  <a:pt x="4909" y="9332"/>
                  <a:pt x="5129" y="9600"/>
                  <a:pt x="5400" y="9600"/>
                </a:cubicBez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moveTo>
                  <a:pt x="6382" y="7200"/>
                </a:moveTo>
                <a:lnTo>
                  <a:pt x="15218" y="7200"/>
                </a:lnTo>
                <a:cubicBezTo>
                  <a:pt x="15489" y="7200"/>
                  <a:pt x="15709" y="6932"/>
                  <a:pt x="15709" y="6600"/>
                </a:cubicBezTo>
                <a:cubicBezTo>
                  <a:pt x="15709" y="6269"/>
                  <a:pt x="15489" y="6000"/>
                  <a:pt x="15218" y="6000"/>
                </a:cubicBezTo>
                <a:lnTo>
                  <a:pt x="6382" y="6000"/>
                </a:lnTo>
                <a:cubicBezTo>
                  <a:pt x="6111" y="6000"/>
                  <a:pt x="5891" y="6269"/>
                  <a:pt x="5891" y="6600"/>
                </a:cubicBezTo>
                <a:cubicBezTo>
                  <a:pt x="5891" y="6932"/>
                  <a:pt x="6111" y="7200"/>
                  <a:pt x="6382" y="7200"/>
                </a:cubicBezTo>
                <a:moveTo>
                  <a:pt x="7364" y="4800"/>
                </a:moveTo>
                <a:lnTo>
                  <a:pt x="14236" y="4800"/>
                </a:lnTo>
                <a:cubicBezTo>
                  <a:pt x="14507" y="4800"/>
                  <a:pt x="14727" y="4532"/>
                  <a:pt x="14727" y="4200"/>
                </a:cubicBezTo>
                <a:cubicBezTo>
                  <a:pt x="14727" y="3869"/>
                  <a:pt x="14507" y="3600"/>
                  <a:pt x="14236" y="3600"/>
                </a:cubicBezTo>
                <a:lnTo>
                  <a:pt x="7364" y="3600"/>
                </a:lnTo>
                <a:cubicBezTo>
                  <a:pt x="7093" y="3600"/>
                  <a:pt x="6873" y="3869"/>
                  <a:pt x="6873" y="4200"/>
                </a:cubicBezTo>
                <a:cubicBezTo>
                  <a:pt x="6873" y="4532"/>
                  <a:pt x="7093" y="4800"/>
                  <a:pt x="7364" y="480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42" name="Shape 2842"/>
          <p:cNvSpPr/>
          <p:nvPr/>
        </p:nvSpPr>
        <p:spPr>
          <a:xfrm>
            <a:off x="1414120" y="386430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6907" y="6873"/>
                </a:lnTo>
                <a:cubicBezTo>
                  <a:pt x="7149" y="8810"/>
                  <a:pt x="8798" y="10309"/>
                  <a:pt x="10800" y="10309"/>
                </a:cubicBezTo>
                <a:cubicBezTo>
                  <a:pt x="12802" y="10309"/>
                  <a:pt x="14451" y="8810"/>
                  <a:pt x="14693" y="6873"/>
                </a:cubicBezTo>
                <a:lnTo>
                  <a:pt x="20618" y="6873"/>
                </a:lnTo>
                <a:cubicBezTo>
                  <a:pt x="20618" y="6873"/>
                  <a:pt x="20618" y="11782"/>
                  <a:pt x="20618" y="11782"/>
                </a:cubicBezTo>
                <a:close/>
                <a:moveTo>
                  <a:pt x="20264" y="14727"/>
                </a:moveTo>
                <a:lnTo>
                  <a:pt x="14236" y="14727"/>
                </a:lnTo>
                <a:cubicBezTo>
                  <a:pt x="13966" y="14727"/>
                  <a:pt x="13745" y="14947"/>
                  <a:pt x="13745" y="15218"/>
                </a:cubicBezTo>
                <a:cubicBezTo>
                  <a:pt x="13745" y="16845"/>
                  <a:pt x="12427" y="18164"/>
                  <a:pt x="10800" y="18164"/>
                </a:cubicBezTo>
                <a:cubicBezTo>
                  <a:pt x="9173" y="18164"/>
                  <a:pt x="7855" y="16845"/>
                  <a:pt x="7855" y="15218"/>
                </a:cubicBezTo>
                <a:cubicBezTo>
                  <a:pt x="7855" y="14947"/>
                  <a:pt x="7634" y="14727"/>
                  <a:pt x="7364" y="14727"/>
                </a:cubicBezTo>
                <a:lnTo>
                  <a:pt x="1336" y="14727"/>
                </a:lnTo>
                <a:lnTo>
                  <a:pt x="2682" y="12764"/>
                </a:lnTo>
                <a:lnTo>
                  <a:pt x="18918" y="12764"/>
                </a:lnTo>
                <a:cubicBezTo>
                  <a:pt x="18918" y="12764"/>
                  <a:pt x="20264" y="14727"/>
                  <a:pt x="20264" y="14727"/>
                </a:cubicBezTo>
                <a:close/>
                <a:moveTo>
                  <a:pt x="20618" y="20618"/>
                </a:moveTo>
                <a:lnTo>
                  <a:pt x="982" y="20618"/>
                </a:lnTo>
                <a:lnTo>
                  <a:pt x="982" y="15709"/>
                </a:lnTo>
                <a:lnTo>
                  <a:pt x="6907" y="15709"/>
                </a:lnTo>
                <a:cubicBezTo>
                  <a:pt x="7149" y="17646"/>
                  <a:pt x="8798" y="19145"/>
                  <a:pt x="10800" y="19145"/>
                </a:cubicBezTo>
                <a:cubicBezTo>
                  <a:pt x="12802" y="19145"/>
                  <a:pt x="14451" y="17646"/>
                  <a:pt x="14693" y="15709"/>
                </a:cubicBezTo>
                <a:lnTo>
                  <a:pt x="20618" y="15709"/>
                </a:lnTo>
                <a:cubicBezTo>
                  <a:pt x="20618" y="15709"/>
                  <a:pt x="20618" y="20618"/>
                  <a:pt x="20618" y="20618"/>
                </a:cubicBezTo>
                <a:close/>
                <a:moveTo>
                  <a:pt x="4702" y="982"/>
                </a:moveTo>
                <a:lnTo>
                  <a:pt x="16898" y="982"/>
                </a:lnTo>
                <a:lnTo>
                  <a:pt x="20264" y="5891"/>
                </a:lnTo>
                <a:lnTo>
                  <a:pt x="14236" y="5891"/>
                </a:lnTo>
                <a:cubicBezTo>
                  <a:pt x="13966" y="5891"/>
                  <a:pt x="13745" y="6111"/>
                  <a:pt x="13745" y="6382"/>
                </a:cubicBezTo>
                <a:cubicBezTo>
                  <a:pt x="13745" y="8009"/>
                  <a:pt x="12427" y="9327"/>
                  <a:pt x="10800" y="9327"/>
                </a:cubicBezTo>
                <a:cubicBezTo>
                  <a:pt x="9173" y="9327"/>
                  <a:pt x="7855" y="8009"/>
                  <a:pt x="7855" y="6382"/>
                </a:cubicBezTo>
                <a:cubicBezTo>
                  <a:pt x="7855" y="6111"/>
                  <a:pt x="7634" y="5891"/>
                  <a:pt x="7364" y="5891"/>
                </a:cubicBezTo>
                <a:lnTo>
                  <a:pt x="1336" y="5891"/>
                </a:lnTo>
                <a:cubicBezTo>
                  <a:pt x="1336" y="5891"/>
                  <a:pt x="4702" y="982"/>
                  <a:pt x="4702" y="982"/>
                </a:cubicBezTo>
                <a:close/>
                <a:moveTo>
                  <a:pt x="21600" y="12273"/>
                </a:moveTo>
                <a:lnTo>
                  <a:pt x="21600" y="6382"/>
                </a:lnTo>
                <a:cubicBezTo>
                  <a:pt x="21600" y="6303"/>
                  <a:pt x="21577" y="6231"/>
                  <a:pt x="21543" y="6165"/>
                </a:cubicBezTo>
                <a:lnTo>
                  <a:pt x="21548" y="6162"/>
                </a:lnTo>
                <a:lnTo>
                  <a:pt x="17621" y="272"/>
                </a:lnTo>
                <a:lnTo>
                  <a:pt x="17616" y="274"/>
                </a:lnTo>
                <a:cubicBezTo>
                  <a:pt x="17536" y="113"/>
                  <a:pt x="17374" y="0"/>
                  <a:pt x="17182" y="0"/>
                </a:cubicBezTo>
                <a:lnTo>
                  <a:pt x="4418" y="0"/>
                </a:lnTo>
                <a:cubicBezTo>
                  <a:pt x="4226" y="0"/>
                  <a:pt x="4064" y="113"/>
                  <a:pt x="3984" y="274"/>
                </a:cubicBezTo>
                <a:lnTo>
                  <a:pt x="3979" y="272"/>
                </a:lnTo>
                <a:lnTo>
                  <a:pt x="52" y="6162"/>
                </a:lnTo>
                <a:lnTo>
                  <a:pt x="57" y="6165"/>
                </a:lnTo>
                <a:cubicBezTo>
                  <a:pt x="23" y="6231"/>
                  <a:pt x="0" y="6303"/>
                  <a:pt x="0" y="6382"/>
                </a:cubicBezTo>
                <a:lnTo>
                  <a:pt x="0" y="12273"/>
                </a:lnTo>
                <a:cubicBezTo>
                  <a:pt x="0" y="12544"/>
                  <a:pt x="220" y="12764"/>
                  <a:pt x="491" y="12764"/>
                </a:cubicBezTo>
                <a:lnTo>
                  <a:pt x="1542" y="12764"/>
                </a:lnTo>
                <a:lnTo>
                  <a:pt x="52" y="14999"/>
                </a:lnTo>
                <a:lnTo>
                  <a:pt x="57" y="15001"/>
                </a:lnTo>
                <a:cubicBezTo>
                  <a:pt x="23" y="15067"/>
                  <a:pt x="0" y="15139"/>
                  <a:pt x="0" y="15218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15218"/>
                </a:lnTo>
                <a:cubicBezTo>
                  <a:pt x="21600" y="15139"/>
                  <a:pt x="21577" y="15067"/>
                  <a:pt x="21543" y="15001"/>
                </a:cubicBezTo>
                <a:lnTo>
                  <a:pt x="21548" y="14999"/>
                </a:lnTo>
                <a:lnTo>
                  <a:pt x="20058" y="12764"/>
                </a:lnTo>
                <a:lnTo>
                  <a:pt x="21109" y="12764"/>
                </a:lnTo>
                <a:cubicBezTo>
                  <a:pt x="21380" y="12764"/>
                  <a:pt x="21600" y="12544"/>
                  <a:pt x="21600" y="12273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43" name="Shape 2843"/>
          <p:cNvSpPr/>
          <p:nvPr/>
        </p:nvSpPr>
        <p:spPr>
          <a:xfrm>
            <a:off x="1947381" y="386430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44" name="Shape 2844"/>
          <p:cNvSpPr/>
          <p:nvPr/>
        </p:nvSpPr>
        <p:spPr>
          <a:xfrm>
            <a:off x="2480642" y="386430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982"/>
                </a:move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cubicBezTo>
                  <a:pt x="762" y="11291"/>
                  <a:pt x="982" y="11071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7588" y="20618"/>
                  <a:pt x="4740" y="19075"/>
                  <a:pt x="2948" y="16691"/>
                </a:cubicBezTo>
                <a:lnTo>
                  <a:pt x="6873" y="16691"/>
                </a:lnTo>
                <a:cubicBezTo>
                  <a:pt x="7144" y="16691"/>
                  <a:pt x="7364" y="16471"/>
                  <a:pt x="7364" y="16200"/>
                </a:cubicBezTo>
                <a:cubicBezTo>
                  <a:pt x="7364" y="15929"/>
                  <a:pt x="7144" y="15709"/>
                  <a:pt x="6873" y="15709"/>
                </a:cubicBezTo>
                <a:lnTo>
                  <a:pt x="1964" y="15709"/>
                </a:lnTo>
                <a:cubicBezTo>
                  <a:pt x="1693" y="15709"/>
                  <a:pt x="1473" y="15929"/>
                  <a:pt x="1473" y="16200"/>
                </a:cubicBezTo>
                <a:lnTo>
                  <a:pt x="1473" y="21109"/>
                </a:lnTo>
                <a:cubicBezTo>
                  <a:pt x="1473" y="21380"/>
                  <a:pt x="1693" y="21600"/>
                  <a:pt x="1964" y="21600"/>
                </a:cubicBezTo>
                <a:cubicBezTo>
                  <a:pt x="2234" y="21600"/>
                  <a:pt x="2455" y="21380"/>
                  <a:pt x="2455" y="21109"/>
                </a:cubicBezTo>
                <a:lnTo>
                  <a:pt x="2455" y="17639"/>
                </a:lnTo>
                <a:cubicBezTo>
                  <a:pt x="4434" y="20054"/>
                  <a:pt x="7433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45" name="Shape 2845"/>
          <p:cNvSpPr/>
          <p:nvPr/>
        </p:nvSpPr>
        <p:spPr>
          <a:xfrm>
            <a:off x="3039296" y="3864307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00" y="1408"/>
                </a:moveTo>
                <a:lnTo>
                  <a:pt x="17518" y="4418"/>
                </a:lnTo>
                <a:lnTo>
                  <a:pt x="12000" y="7429"/>
                </a:lnTo>
                <a:cubicBezTo>
                  <a:pt x="12000" y="7429"/>
                  <a:pt x="12000" y="1408"/>
                  <a:pt x="12000" y="1408"/>
                </a:cubicBezTo>
                <a:close/>
                <a:moveTo>
                  <a:pt x="21000" y="12273"/>
                </a:moveTo>
                <a:cubicBezTo>
                  <a:pt x="20669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0800" y="8345"/>
                </a:lnTo>
                <a:cubicBezTo>
                  <a:pt x="10800" y="8617"/>
                  <a:pt x="11069" y="8836"/>
                  <a:pt x="11400" y="8836"/>
                </a:cubicBezTo>
                <a:cubicBezTo>
                  <a:pt x="11524" y="8836"/>
                  <a:pt x="11631" y="8799"/>
                  <a:pt x="11726" y="8747"/>
                </a:cubicBezTo>
                <a:lnTo>
                  <a:pt x="11733" y="8754"/>
                </a:lnTo>
                <a:lnTo>
                  <a:pt x="18933" y="4827"/>
                </a:lnTo>
                <a:lnTo>
                  <a:pt x="18926" y="4819"/>
                </a:lnTo>
                <a:cubicBezTo>
                  <a:pt x="19087" y="4731"/>
                  <a:pt x="19200" y="4589"/>
                  <a:pt x="19200" y="4418"/>
                </a:cubicBezTo>
                <a:cubicBezTo>
                  <a:pt x="19200" y="4248"/>
                  <a:pt x="19087" y="4106"/>
                  <a:pt x="18926" y="4017"/>
                </a:cubicBezTo>
                <a:lnTo>
                  <a:pt x="18933" y="4010"/>
                </a:lnTo>
                <a:lnTo>
                  <a:pt x="11733" y="82"/>
                </a:lnTo>
                <a:lnTo>
                  <a:pt x="11726" y="90"/>
                </a:lnTo>
                <a:cubicBezTo>
                  <a:pt x="11631" y="38"/>
                  <a:pt x="11524" y="0"/>
                  <a:pt x="11400" y="0"/>
                </a:cubicBezTo>
                <a:cubicBezTo>
                  <a:pt x="11069" y="0"/>
                  <a:pt x="10800" y="220"/>
                  <a:pt x="10800" y="491"/>
                </a:cubicBezTo>
                <a:lnTo>
                  <a:pt x="10800" y="3927"/>
                </a:lnTo>
                <a:cubicBezTo>
                  <a:pt x="4835" y="3927"/>
                  <a:pt x="0" y="7883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1" y="12273"/>
                  <a:pt x="21000" y="12273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46" name="Shape 2846"/>
          <p:cNvSpPr/>
          <p:nvPr/>
        </p:nvSpPr>
        <p:spPr>
          <a:xfrm>
            <a:off x="3572557" y="3864307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00" y="12273"/>
                </a:moveTo>
                <a:cubicBezTo>
                  <a:pt x="20668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4768" y="4909"/>
                </a:lnTo>
                <a:lnTo>
                  <a:pt x="11067" y="7937"/>
                </a:lnTo>
                <a:lnTo>
                  <a:pt x="11073" y="7945"/>
                </a:lnTo>
                <a:cubicBezTo>
                  <a:pt x="10912" y="8033"/>
                  <a:pt x="10800" y="8175"/>
                  <a:pt x="10800" y="8345"/>
                </a:cubicBezTo>
                <a:cubicBezTo>
                  <a:pt x="10800" y="8617"/>
                  <a:pt x="11068" y="8836"/>
                  <a:pt x="11400" y="8836"/>
                </a:cubicBezTo>
                <a:cubicBezTo>
                  <a:pt x="11523" y="8836"/>
                  <a:pt x="11631" y="8798"/>
                  <a:pt x="11727" y="8747"/>
                </a:cubicBezTo>
                <a:lnTo>
                  <a:pt x="11733" y="8754"/>
                </a:lnTo>
                <a:lnTo>
                  <a:pt x="11774" y="8721"/>
                </a:lnTo>
                <a:cubicBezTo>
                  <a:pt x="11805" y="8700"/>
                  <a:pt x="11832" y="8677"/>
                  <a:pt x="11858" y="8651"/>
                </a:cubicBezTo>
                <a:lnTo>
                  <a:pt x="16533" y="4827"/>
                </a:lnTo>
                <a:lnTo>
                  <a:pt x="16527" y="4819"/>
                </a:lnTo>
                <a:cubicBezTo>
                  <a:pt x="16688" y="4731"/>
                  <a:pt x="16800" y="4589"/>
                  <a:pt x="16800" y="4418"/>
                </a:cubicBezTo>
                <a:cubicBezTo>
                  <a:pt x="16800" y="4248"/>
                  <a:pt x="16688" y="4106"/>
                  <a:pt x="16527" y="4018"/>
                </a:cubicBezTo>
                <a:lnTo>
                  <a:pt x="16533" y="4010"/>
                </a:lnTo>
                <a:lnTo>
                  <a:pt x="11858" y="185"/>
                </a:lnTo>
                <a:cubicBezTo>
                  <a:pt x="11832" y="159"/>
                  <a:pt x="11805" y="137"/>
                  <a:pt x="11774" y="116"/>
                </a:cubicBezTo>
                <a:lnTo>
                  <a:pt x="11733" y="82"/>
                </a:lnTo>
                <a:lnTo>
                  <a:pt x="11727" y="90"/>
                </a:lnTo>
                <a:cubicBezTo>
                  <a:pt x="11631" y="38"/>
                  <a:pt x="11523" y="0"/>
                  <a:pt x="11400" y="0"/>
                </a:cubicBezTo>
                <a:cubicBezTo>
                  <a:pt x="11068" y="0"/>
                  <a:pt x="10800" y="220"/>
                  <a:pt x="10800" y="491"/>
                </a:cubicBezTo>
                <a:cubicBezTo>
                  <a:pt x="10800" y="662"/>
                  <a:pt x="10912" y="804"/>
                  <a:pt x="11073" y="892"/>
                </a:cubicBezTo>
                <a:lnTo>
                  <a:pt x="11067" y="899"/>
                </a:lnTo>
                <a:lnTo>
                  <a:pt x="14768" y="3927"/>
                </a:lnTo>
                <a:lnTo>
                  <a:pt x="10800" y="3927"/>
                </a:lnTo>
                <a:cubicBezTo>
                  <a:pt x="4835" y="3927"/>
                  <a:pt x="0" y="7884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2" y="12273"/>
                  <a:pt x="21000" y="12273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47" name="Shape 2847"/>
          <p:cNvSpPr/>
          <p:nvPr/>
        </p:nvSpPr>
        <p:spPr>
          <a:xfrm>
            <a:off x="4080425" y="3864307"/>
            <a:ext cx="279328" cy="2793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6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7673"/>
                </a:moveTo>
                <a:cubicBezTo>
                  <a:pt x="13610" y="17673"/>
                  <a:pt x="13488" y="17728"/>
                  <a:pt x="13398" y="17817"/>
                </a:cubicBezTo>
                <a:lnTo>
                  <a:pt x="11291" y="19924"/>
                </a:lnTo>
                <a:lnTo>
                  <a:pt x="11291" y="8346"/>
                </a:lnTo>
                <a:cubicBezTo>
                  <a:pt x="11291" y="8074"/>
                  <a:pt x="11071" y="7855"/>
                  <a:pt x="10800" y="7855"/>
                </a:cubicBezTo>
                <a:cubicBezTo>
                  <a:pt x="10529" y="7855"/>
                  <a:pt x="10309" y="8074"/>
                  <a:pt x="10309" y="8346"/>
                </a:cubicBez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9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4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48" name="Shape 2848"/>
          <p:cNvSpPr/>
          <p:nvPr/>
        </p:nvSpPr>
        <p:spPr>
          <a:xfrm>
            <a:off x="4613686" y="3864307"/>
            <a:ext cx="279328" cy="2793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7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1782"/>
                </a:moveTo>
                <a:cubicBezTo>
                  <a:pt x="14017" y="11782"/>
                  <a:pt x="14236" y="11562"/>
                  <a:pt x="14236" y="11291"/>
                </a:cubicBezTo>
                <a:cubicBezTo>
                  <a:pt x="14236" y="11156"/>
                  <a:pt x="14182" y="11033"/>
                  <a:pt x="14093" y="10944"/>
                </a:cubicBezTo>
                <a:lnTo>
                  <a:pt x="11147" y="7998"/>
                </a:lnTo>
                <a:cubicBezTo>
                  <a:pt x="11058" y="7910"/>
                  <a:pt x="10936" y="7855"/>
                  <a:pt x="10800" y="7855"/>
                </a:cubicBezTo>
                <a:cubicBezTo>
                  <a:pt x="10665" y="7855"/>
                  <a:pt x="10542" y="7910"/>
                  <a:pt x="10453" y="7998"/>
                </a:cubicBezTo>
                <a:lnTo>
                  <a:pt x="7507" y="10944"/>
                </a:lnTo>
                <a:cubicBezTo>
                  <a:pt x="7419" y="11033"/>
                  <a:pt x="7364" y="11156"/>
                  <a:pt x="7364" y="11291"/>
                </a:cubicBezTo>
                <a:cubicBezTo>
                  <a:pt x="7364" y="11562"/>
                  <a:pt x="7583" y="11782"/>
                  <a:pt x="7855" y="11782"/>
                </a:cubicBezTo>
                <a:cubicBezTo>
                  <a:pt x="7990" y="11782"/>
                  <a:pt x="8113" y="11727"/>
                  <a:pt x="8202" y="11638"/>
                </a:cubicBezTo>
                <a:lnTo>
                  <a:pt x="10309" y="9531"/>
                </a:lnTo>
                <a:lnTo>
                  <a:pt x="10309" y="21109"/>
                </a:lnTo>
                <a:cubicBezTo>
                  <a:pt x="10309" y="21380"/>
                  <a:pt x="10529" y="21600"/>
                  <a:pt x="10800" y="21600"/>
                </a:cubicBezTo>
                <a:cubicBezTo>
                  <a:pt x="11071" y="21600"/>
                  <a:pt x="11291" y="21380"/>
                  <a:pt x="11291" y="21109"/>
                </a:cubicBezTo>
                <a:lnTo>
                  <a:pt x="11291" y="9531"/>
                </a:lnTo>
                <a:lnTo>
                  <a:pt x="13398" y="11638"/>
                </a:lnTo>
                <a:cubicBezTo>
                  <a:pt x="13488" y="11727"/>
                  <a:pt x="13610" y="11782"/>
                  <a:pt x="13745" y="11782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49" name="Shape 2849"/>
          <p:cNvSpPr/>
          <p:nvPr/>
        </p:nvSpPr>
        <p:spPr>
          <a:xfrm>
            <a:off x="5146947" y="3883352"/>
            <a:ext cx="279328" cy="2414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2" extrusionOk="0">
                <a:moveTo>
                  <a:pt x="13421" y="20466"/>
                </a:moveTo>
                <a:lnTo>
                  <a:pt x="12630" y="20221"/>
                </a:lnTo>
                <a:cubicBezTo>
                  <a:pt x="13305" y="19604"/>
                  <a:pt x="13745" y="18664"/>
                  <a:pt x="13745" y="17589"/>
                </a:cubicBezTo>
                <a:cubicBezTo>
                  <a:pt x="13745" y="16189"/>
                  <a:pt x="13013" y="14988"/>
                  <a:pt x="11967" y="14465"/>
                </a:cubicBezTo>
                <a:lnTo>
                  <a:pt x="11702" y="15585"/>
                </a:lnTo>
                <a:cubicBezTo>
                  <a:pt x="12330" y="15964"/>
                  <a:pt x="12764" y="16715"/>
                  <a:pt x="12764" y="17589"/>
                </a:cubicBezTo>
                <a:cubicBezTo>
                  <a:pt x="12764" y="18299"/>
                  <a:pt x="12477" y="18923"/>
                  <a:pt x="12035" y="19336"/>
                </a:cubicBezTo>
                <a:lnTo>
                  <a:pt x="12296" y="18213"/>
                </a:lnTo>
                <a:cubicBezTo>
                  <a:pt x="12327" y="18073"/>
                  <a:pt x="12314" y="17918"/>
                  <a:pt x="12246" y="17782"/>
                </a:cubicBezTo>
                <a:cubicBezTo>
                  <a:pt x="12111" y="17511"/>
                  <a:pt x="11811" y="17418"/>
                  <a:pt x="11576" y="17574"/>
                </a:cubicBezTo>
                <a:cubicBezTo>
                  <a:pt x="11459" y="17653"/>
                  <a:pt x="11380" y="17779"/>
                  <a:pt x="11347" y="17920"/>
                </a:cubicBezTo>
                <a:lnTo>
                  <a:pt x="10808" y="20244"/>
                </a:lnTo>
                <a:cubicBezTo>
                  <a:pt x="10776" y="20384"/>
                  <a:pt x="10789" y="20539"/>
                  <a:pt x="10857" y="20675"/>
                </a:cubicBezTo>
                <a:cubicBezTo>
                  <a:pt x="10920" y="20802"/>
                  <a:pt x="11021" y="20885"/>
                  <a:pt x="11133" y="20927"/>
                </a:cubicBezTo>
                <a:lnTo>
                  <a:pt x="11126" y="20956"/>
                </a:lnTo>
                <a:cubicBezTo>
                  <a:pt x="11142" y="20954"/>
                  <a:pt x="11158" y="20948"/>
                  <a:pt x="11173" y="20945"/>
                </a:cubicBezTo>
                <a:lnTo>
                  <a:pt x="13166" y="21562"/>
                </a:lnTo>
                <a:cubicBezTo>
                  <a:pt x="13288" y="21600"/>
                  <a:pt x="13422" y="21584"/>
                  <a:pt x="13539" y="21506"/>
                </a:cubicBezTo>
                <a:cubicBezTo>
                  <a:pt x="13774" y="21350"/>
                  <a:pt x="13855" y="21002"/>
                  <a:pt x="13719" y="20730"/>
                </a:cubicBezTo>
                <a:cubicBezTo>
                  <a:pt x="13651" y="20595"/>
                  <a:pt x="13542" y="20503"/>
                  <a:pt x="13421" y="20466"/>
                </a:cubicBezTo>
                <a:moveTo>
                  <a:pt x="18634" y="7273"/>
                </a:moveTo>
                <a:cubicBezTo>
                  <a:pt x="18643" y="7119"/>
                  <a:pt x="18655" y="6966"/>
                  <a:pt x="18655" y="6809"/>
                </a:cubicBezTo>
                <a:cubicBezTo>
                  <a:pt x="18655" y="3049"/>
                  <a:pt x="16017" y="0"/>
                  <a:pt x="12764" y="0"/>
                </a:cubicBezTo>
                <a:cubicBezTo>
                  <a:pt x="10499" y="0"/>
                  <a:pt x="8536" y="1479"/>
                  <a:pt x="7550" y="3645"/>
                </a:cubicBezTo>
                <a:cubicBezTo>
                  <a:pt x="7185" y="3492"/>
                  <a:pt x="6793" y="3404"/>
                  <a:pt x="6382" y="3404"/>
                </a:cubicBezTo>
                <a:cubicBezTo>
                  <a:pt x="4484" y="3404"/>
                  <a:pt x="2945" y="5183"/>
                  <a:pt x="2945" y="7376"/>
                </a:cubicBezTo>
                <a:cubicBezTo>
                  <a:pt x="2945" y="7662"/>
                  <a:pt x="2973" y="7940"/>
                  <a:pt x="3022" y="8208"/>
                </a:cubicBezTo>
                <a:cubicBezTo>
                  <a:pt x="1267" y="8884"/>
                  <a:pt x="0" y="10794"/>
                  <a:pt x="0" y="13050"/>
                </a:cubicBezTo>
                <a:cubicBezTo>
                  <a:pt x="0" y="15871"/>
                  <a:pt x="1978" y="18157"/>
                  <a:pt x="4418" y="18157"/>
                </a:cubicBezTo>
                <a:lnTo>
                  <a:pt x="6382" y="18157"/>
                </a:lnTo>
                <a:cubicBezTo>
                  <a:pt x="6653" y="18157"/>
                  <a:pt x="6873" y="17903"/>
                  <a:pt x="6873" y="17589"/>
                </a:cubicBezTo>
                <a:cubicBezTo>
                  <a:pt x="6873" y="17276"/>
                  <a:pt x="6653" y="17022"/>
                  <a:pt x="6382" y="17022"/>
                </a:cubicBezTo>
                <a:lnTo>
                  <a:pt x="4418" y="17022"/>
                </a:lnTo>
                <a:cubicBezTo>
                  <a:pt x="2524" y="17022"/>
                  <a:pt x="982" y="15240"/>
                  <a:pt x="982" y="13050"/>
                </a:cubicBezTo>
                <a:cubicBezTo>
                  <a:pt x="982" y="11339"/>
                  <a:pt x="1926" y="9826"/>
                  <a:pt x="3333" y="9284"/>
                </a:cubicBezTo>
                <a:lnTo>
                  <a:pt x="4165" y="8964"/>
                </a:lnTo>
                <a:lnTo>
                  <a:pt x="3982" y="7971"/>
                </a:lnTo>
                <a:cubicBezTo>
                  <a:pt x="3946" y="7773"/>
                  <a:pt x="3927" y="7572"/>
                  <a:pt x="3927" y="7376"/>
                </a:cubicBezTo>
                <a:cubicBezTo>
                  <a:pt x="3927" y="5812"/>
                  <a:pt x="5028" y="4539"/>
                  <a:pt x="6382" y="4539"/>
                </a:cubicBezTo>
                <a:cubicBezTo>
                  <a:pt x="6661" y="4539"/>
                  <a:pt x="6942" y="4597"/>
                  <a:pt x="7215" y="4712"/>
                </a:cubicBezTo>
                <a:lnTo>
                  <a:pt x="8019" y="5049"/>
                </a:lnTo>
                <a:lnTo>
                  <a:pt x="8418" y="4173"/>
                </a:lnTo>
                <a:cubicBezTo>
                  <a:pt x="9272" y="2299"/>
                  <a:pt x="10937" y="1135"/>
                  <a:pt x="12764" y="1135"/>
                </a:cubicBezTo>
                <a:cubicBezTo>
                  <a:pt x="15470" y="1135"/>
                  <a:pt x="17673" y="3680"/>
                  <a:pt x="17673" y="6809"/>
                </a:cubicBezTo>
                <a:cubicBezTo>
                  <a:pt x="17673" y="6908"/>
                  <a:pt x="17666" y="7005"/>
                  <a:pt x="17660" y="7102"/>
                </a:cubicBezTo>
                <a:lnTo>
                  <a:pt x="17655" y="7199"/>
                </a:lnTo>
                <a:lnTo>
                  <a:pt x="17610" y="7998"/>
                </a:lnTo>
                <a:lnTo>
                  <a:pt x="18245" y="8315"/>
                </a:lnTo>
                <a:cubicBezTo>
                  <a:pt x="19687" y="9034"/>
                  <a:pt x="20618" y="10670"/>
                  <a:pt x="20618" y="12483"/>
                </a:cubicBezTo>
                <a:cubicBezTo>
                  <a:pt x="20618" y="14986"/>
                  <a:pt x="18856" y="17022"/>
                  <a:pt x="16691" y="17022"/>
                </a:cubicBezTo>
                <a:lnTo>
                  <a:pt x="15218" y="17022"/>
                </a:lnTo>
                <a:cubicBezTo>
                  <a:pt x="14947" y="17022"/>
                  <a:pt x="14727" y="17276"/>
                  <a:pt x="14727" y="17589"/>
                </a:cubicBezTo>
                <a:cubicBezTo>
                  <a:pt x="14727" y="17903"/>
                  <a:pt x="14947" y="18157"/>
                  <a:pt x="15218" y="18157"/>
                </a:cubicBezTo>
                <a:lnTo>
                  <a:pt x="16691" y="18157"/>
                </a:lnTo>
                <a:cubicBezTo>
                  <a:pt x="19402" y="18157"/>
                  <a:pt x="21600" y="15617"/>
                  <a:pt x="21600" y="12483"/>
                </a:cubicBezTo>
                <a:cubicBezTo>
                  <a:pt x="21600" y="10147"/>
                  <a:pt x="20378" y="8143"/>
                  <a:pt x="18634" y="7273"/>
                </a:cubicBezTo>
                <a:moveTo>
                  <a:pt x="10773" y="14522"/>
                </a:moveTo>
                <a:cubicBezTo>
                  <a:pt x="10711" y="14398"/>
                  <a:pt x="10613" y="14316"/>
                  <a:pt x="10504" y="14274"/>
                </a:cubicBezTo>
                <a:lnTo>
                  <a:pt x="10517" y="14218"/>
                </a:lnTo>
                <a:cubicBezTo>
                  <a:pt x="10484" y="14221"/>
                  <a:pt x="10451" y="14231"/>
                  <a:pt x="10418" y="14240"/>
                </a:cubicBezTo>
                <a:lnTo>
                  <a:pt x="8463" y="13634"/>
                </a:lnTo>
                <a:lnTo>
                  <a:pt x="8463" y="13635"/>
                </a:lnTo>
                <a:cubicBezTo>
                  <a:pt x="8343" y="13598"/>
                  <a:pt x="8209" y="13613"/>
                  <a:pt x="8091" y="13692"/>
                </a:cubicBezTo>
                <a:cubicBezTo>
                  <a:pt x="7856" y="13848"/>
                  <a:pt x="7776" y="14195"/>
                  <a:pt x="7911" y="14466"/>
                </a:cubicBezTo>
                <a:cubicBezTo>
                  <a:pt x="7979" y="14602"/>
                  <a:pt x="8088" y="14693"/>
                  <a:pt x="8210" y="14731"/>
                </a:cubicBezTo>
                <a:lnTo>
                  <a:pt x="8965" y="14964"/>
                </a:lnTo>
                <a:cubicBezTo>
                  <a:pt x="8292" y="15580"/>
                  <a:pt x="7855" y="16518"/>
                  <a:pt x="7855" y="17589"/>
                </a:cubicBezTo>
                <a:cubicBezTo>
                  <a:pt x="7855" y="19007"/>
                  <a:pt x="8604" y="20220"/>
                  <a:pt x="9671" y="20732"/>
                </a:cubicBezTo>
                <a:lnTo>
                  <a:pt x="9934" y="19617"/>
                </a:lnTo>
                <a:cubicBezTo>
                  <a:pt x="9286" y="19246"/>
                  <a:pt x="8836" y="18482"/>
                  <a:pt x="8836" y="17589"/>
                </a:cubicBezTo>
                <a:cubicBezTo>
                  <a:pt x="8836" y="16857"/>
                  <a:pt x="9142" y="16215"/>
                  <a:pt x="9609" y="15802"/>
                </a:cubicBezTo>
                <a:lnTo>
                  <a:pt x="9335" y="16984"/>
                </a:lnTo>
                <a:cubicBezTo>
                  <a:pt x="9303" y="17124"/>
                  <a:pt x="9317" y="17279"/>
                  <a:pt x="9384" y="17415"/>
                </a:cubicBezTo>
                <a:cubicBezTo>
                  <a:pt x="9520" y="17686"/>
                  <a:pt x="9820" y="17779"/>
                  <a:pt x="10055" y="17623"/>
                </a:cubicBezTo>
                <a:cubicBezTo>
                  <a:pt x="10172" y="17544"/>
                  <a:pt x="10251" y="17418"/>
                  <a:pt x="10283" y="17278"/>
                </a:cubicBezTo>
                <a:lnTo>
                  <a:pt x="10823" y="14952"/>
                </a:lnTo>
                <a:cubicBezTo>
                  <a:pt x="10855" y="14812"/>
                  <a:pt x="10841" y="14658"/>
                  <a:pt x="10773" y="14522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50" name="Shape 2850"/>
          <p:cNvSpPr/>
          <p:nvPr/>
        </p:nvSpPr>
        <p:spPr>
          <a:xfrm>
            <a:off x="5680208" y="386430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" y="0"/>
                </a:move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cubicBezTo>
                  <a:pt x="11607" y="982"/>
                  <a:pt x="20618" y="9993"/>
                  <a:pt x="20618" y="21109"/>
                </a:cubicBezTo>
                <a:cubicBezTo>
                  <a:pt x="20618" y="21380"/>
                  <a:pt x="20838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9451"/>
                  <a:pt x="12149" y="0"/>
                  <a:pt x="491" y="0"/>
                </a:cubicBezTo>
                <a:moveTo>
                  <a:pt x="491" y="9818"/>
                </a:moveTo>
                <a:cubicBezTo>
                  <a:pt x="220" y="9818"/>
                  <a:pt x="0" y="10038"/>
                  <a:pt x="0" y="10309"/>
                </a:cubicBezTo>
                <a:cubicBezTo>
                  <a:pt x="0" y="10581"/>
                  <a:pt x="220" y="10800"/>
                  <a:pt x="491" y="10800"/>
                </a:cubicBezTo>
                <a:cubicBezTo>
                  <a:pt x="6184" y="10800"/>
                  <a:pt x="10800" y="15416"/>
                  <a:pt x="10800" y="21109"/>
                </a:cubicBezTo>
                <a:cubicBezTo>
                  <a:pt x="10800" y="21380"/>
                  <a:pt x="11020" y="21600"/>
                  <a:pt x="11291" y="21600"/>
                </a:cubicBezTo>
                <a:cubicBezTo>
                  <a:pt x="11562" y="21600"/>
                  <a:pt x="11782" y="21380"/>
                  <a:pt x="11782" y="21109"/>
                </a:cubicBezTo>
                <a:cubicBezTo>
                  <a:pt x="11782" y="14873"/>
                  <a:pt x="6727" y="9818"/>
                  <a:pt x="491" y="9818"/>
                </a:cubicBezTo>
                <a:moveTo>
                  <a:pt x="491" y="4909"/>
                </a:moveTo>
                <a:cubicBezTo>
                  <a:pt x="220" y="4909"/>
                  <a:pt x="0" y="5129"/>
                  <a:pt x="0" y="5400"/>
                </a:cubicBezTo>
                <a:cubicBezTo>
                  <a:pt x="0" y="5672"/>
                  <a:pt x="220" y="5891"/>
                  <a:pt x="491" y="5891"/>
                </a:cubicBezTo>
                <a:cubicBezTo>
                  <a:pt x="8896" y="5891"/>
                  <a:pt x="15709" y="12705"/>
                  <a:pt x="15709" y="21109"/>
                </a:cubicBez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cubicBezTo>
                  <a:pt x="16691" y="12162"/>
                  <a:pt x="9438" y="4909"/>
                  <a:pt x="491" y="4909"/>
                </a:cubicBezTo>
                <a:moveTo>
                  <a:pt x="2945" y="20618"/>
                </a:moveTo>
                <a:cubicBezTo>
                  <a:pt x="1861" y="20618"/>
                  <a:pt x="982" y="19739"/>
                  <a:pt x="982" y="18655"/>
                </a:cubicBezTo>
                <a:cubicBezTo>
                  <a:pt x="982" y="17570"/>
                  <a:pt x="1861" y="16691"/>
                  <a:pt x="2945" y="16691"/>
                </a:cubicBezTo>
                <a:cubicBezTo>
                  <a:pt x="4030" y="16691"/>
                  <a:pt x="4909" y="17570"/>
                  <a:pt x="4909" y="18655"/>
                </a:cubicBezTo>
                <a:cubicBezTo>
                  <a:pt x="4909" y="19739"/>
                  <a:pt x="4030" y="20618"/>
                  <a:pt x="2945" y="20618"/>
                </a:cubicBezTo>
                <a:moveTo>
                  <a:pt x="2945" y="15709"/>
                </a:moveTo>
                <a:cubicBezTo>
                  <a:pt x="1319" y="15709"/>
                  <a:pt x="0" y="17028"/>
                  <a:pt x="0" y="18655"/>
                </a:cubicBezTo>
                <a:cubicBezTo>
                  <a:pt x="0" y="20281"/>
                  <a:pt x="1319" y="21600"/>
                  <a:pt x="2945" y="21600"/>
                </a:cubicBezTo>
                <a:cubicBezTo>
                  <a:pt x="4573" y="21600"/>
                  <a:pt x="5891" y="20281"/>
                  <a:pt x="5891" y="18655"/>
                </a:cubicBezTo>
                <a:cubicBezTo>
                  <a:pt x="5891" y="17028"/>
                  <a:pt x="4573" y="15709"/>
                  <a:pt x="2945" y="15709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51" name="Shape 2851"/>
          <p:cNvSpPr/>
          <p:nvPr/>
        </p:nvSpPr>
        <p:spPr>
          <a:xfrm>
            <a:off x="880859" y="4397568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10309"/>
                </a:moveTo>
                <a:lnTo>
                  <a:pt x="4909" y="10309"/>
                </a:lnTo>
                <a:cubicBezTo>
                  <a:pt x="4638" y="10309"/>
                  <a:pt x="4418" y="10529"/>
                  <a:pt x="4418" y="10800"/>
                </a:cubicBezTo>
                <a:cubicBezTo>
                  <a:pt x="4418" y="11071"/>
                  <a:pt x="4638" y="11291"/>
                  <a:pt x="4909" y="11291"/>
                </a:cubicBezTo>
                <a:lnTo>
                  <a:pt x="5891" y="11291"/>
                </a:lnTo>
                <a:cubicBezTo>
                  <a:pt x="8331" y="11291"/>
                  <a:pt x="10309" y="13269"/>
                  <a:pt x="10309" y="15709"/>
                </a:cubicBezTo>
                <a:lnTo>
                  <a:pt x="10309" y="16691"/>
                </a:lnTo>
                <a:cubicBezTo>
                  <a:pt x="10309" y="16962"/>
                  <a:pt x="10529" y="17182"/>
                  <a:pt x="10800" y="17182"/>
                </a:cubicBezTo>
                <a:cubicBezTo>
                  <a:pt x="11071" y="17182"/>
                  <a:pt x="11291" y="16962"/>
                  <a:pt x="11291" y="16691"/>
                </a:cubicBezTo>
                <a:lnTo>
                  <a:pt x="11291" y="15709"/>
                </a:lnTo>
                <a:cubicBezTo>
                  <a:pt x="11291" y="12727"/>
                  <a:pt x="8873" y="10309"/>
                  <a:pt x="5891" y="10309"/>
                </a:cubicBezTo>
                <a:moveTo>
                  <a:pt x="5891" y="7364"/>
                </a:moveTo>
                <a:lnTo>
                  <a:pt x="4909" y="7364"/>
                </a:lnTo>
                <a:cubicBezTo>
                  <a:pt x="4638" y="7364"/>
                  <a:pt x="4418" y="7583"/>
                  <a:pt x="4418" y="7855"/>
                </a:cubicBezTo>
                <a:cubicBezTo>
                  <a:pt x="4418" y="8126"/>
                  <a:pt x="4638" y="8345"/>
                  <a:pt x="4909" y="8345"/>
                </a:cubicBezTo>
                <a:lnTo>
                  <a:pt x="5891" y="8345"/>
                </a:lnTo>
                <a:cubicBezTo>
                  <a:pt x="9958" y="8345"/>
                  <a:pt x="13255" y="11642"/>
                  <a:pt x="13255" y="15709"/>
                </a:cubicBezTo>
                <a:lnTo>
                  <a:pt x="13255" y="16691"/>
                </a:lnTo>
                <a:cubicBezTo>
                  <a:pt x="13255" y="16962"/>
                  <a:pt x="13475" y="17182"/>
                  <a:pt x="13745" y="17182"/>
                </a:cubicBezTo>
                <a:cubicBezTo>
                  <a:pt x="14016" y="17182"/>
                  <a:pt x="14236" y="16962"/>
                  <a:pt x="14236" y="16691"/>
                </a:cubicBezTo>
                <a:lnTo>
                  <a:pt x="14236" y="15709"/>
                </a:lnTo>
                <a:cubicBezTo>
                  <a:pt x="14236" y="11100"/>
                  <a:pt x="10500" y="7364"/>
                  <a:pt x="5891" y="7364"/>
                </a:cubicBezTo>
                <a:moveTo>
                  <a:pt x="6382" y="16200"/>
                </a:moveTo>
                <a:cubicBezTo>
                  <a:pt x="5840" y="16200"/>
                  <a:pt x="5400" y="15761"/>
                  <a:pt x="5400" y="15218"/>
                </a:cubicBezTo>
                <a:cubicBezTo>
                  <a:pt x="5400" y="14676"/>
                  <a:pt x="5840" y="14236"/>
                  <a:pt x="6382" y="14236"/>
                </a:cubicBezTo>
                <a:cubicBezTo>
                  <a:pt x="6924" y="14236"/>
                  <a:pt x="7364" y="14676"/>
                  <a:pt x="7364" y="15218"/>
                </a:cubicBezTo>
                <a:cubicBezTo>
                  <a:pt x="7364" y="15761"/>
                  <a:pt x="6924" y="16200"/>
                  <a:pt x="6382" y="16200"/>
                </a:cubicBezTo>
                <a:moveTo>
                  <a:pt x="6382" y="13255"/>
                </a:moveTo>
                <a:cubicBezTo>
                  <a:pt x="5297" y="13255"/>
                  <a:pt x="4418" y="14134"/>
                  <a:pt x="4418" y="15218"/>
                </a:cubicBezTo>
                <a:cubicBezTo>
                  <a:pt x="4418" y="16303"/>
                  <a:pt x="5297" y="17182"/>
                  <a:pt x="6382" y="17182"/>
                </a:cubicBezTo>
                <a:cubicBezTo>
                  <a:pt x="7466" y="17182"/>
                  <a:pt x="8345" y="16303"/>
                  <a:pt x="8345" y="15218"/>
                </a:cubicBezTo>
                <a:cubicBezTo>
                  <a:pt x="8345" y="14134"/>
                  <a:pt x="7466" y="13255"/>
                  <a:pt x="6382" y="13255"/>
                </a:cubicBezTo>
                <a:moveTo>
                  <a:pt x="5891" y="4418"/>
                </a:moveTo>
                <a:lnTo>
                  <a:pt x="4909" y="4418"/>
                </a:lnTo>
                <a:cubicBezTo>
                  <a:pt x="4638" y="4418"/>
                  <a:pt x="4418" y="4638"/>
                  <a:pt x="4418" y="4909"/>
                </a:cubicBezTo>
                <a:cubicBezTo>
                  <a:pt x="4418" y="5180"/>
                  <a:pt x="4638" y="5400"/>
                  <a:pt x="4909" y="5400"/>
                </a:cubicBezTo>
                <a:lnTo>
                  <a:pt x="5891" y="5400"/>
                </a:lnTo>
                <a:cubicBezTo>
                  <a:pt x="11585" y="5400"/>
                  <a:pt x="16200" y="10016"/>
                  <a:pt x="16200" y="15709"/>
                </a:cubicBezTo>
                <a:lnTo>
                  <a:pt x="16200" y="16691"/>
                </a:lnTo>
                <a:cubicBezTo>
                  <a:pt x="16200" y="16962"/>
                  <a:pt x="16420" y="17182"/>
                  <a:pt x="16691" y="17182"/>
                </a:cubicBezTo>
                <a:cubicBezTo>
                  <a:pt x="16962" y="17182"/>
                  <a:pt x="17182" y="16962"/>
                  <a:pt x="17182" y="16691"/>
                </a:cubicBezTo>
                <a:lnTo>
                  <a:pt x="17182" y="15709"/>
                </a:lnTo>
                <a:cubicBezTo>
                  <a:pt x="17182" y="9473"/>
                  <a:pt x="12127" y="4418"/>
                  <a:pt x="5891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52" name="Shape 2852"/>
          <p:cNvSpPr/>
          <p:nvPr/>
        </p:nvSpPr>
        <p:spPr>
          <a:xfrm>
            <a:off x="1426816" y="4397568"/>
            <a:ext cx="253935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44" y="12617"/>
                </a:moveTo>
                <a:cubicBezTo>
                  <a:pt x="14459" y="12872"/>
                  <a:pt x="14634" y="13163"/>
                  <a:pt x="14771" y="13485"/>
                </a:cubicBezTo>
                <a:cubicBezTo>
                  <a:pt x="16295" y="12407"/>
                  <a:pt x="17280" y="10728"/>
                  <a:pt x="17280" y="8836"/>
                </a:cubicBezTo>
                <a:cubicBezTo>
                  <a:pt x="17280" y="5583"/>
                  <a:pt x="14379" y="2945"/>
                  <a:pt x="10800" y="2945"/>
                </a:cubicBezTo>
                <a:cubicBezTo>
                  <a:pt x="7221" y="2945"/>
                  <a:pt x="4320" y="5583"/>
                  <a:pt x="4320" y="8836"/>
                </a:cubicBezTo>
                <a:cubicBezTo>
                  <a:pt x="4320" y="10714"/>
                  <a:pt x="5289" y="12382"/>
                  <a:pt x="6794" y="13461"/>
                </a:cubicBezTo>
                <a:cubicBezTo>
                  <a:pt x="6928" y="13135"/>
                  <a:pt x="7106" y="12845"/>
                  <a:pt x="7323" y="12590"/>
                </a:cubicBezTo>
                <a:cubicBezTo>
                  <a:pt x="6148" y="11689"/>
                  <a:pt x="5400" y="10343"/>
                  <a:pt x="5400" y="8836"/>
                </a:cubicBezTo>
                <a:cubicBezTo>
                  <a:pt x="5400" y="6125"/>
                  <a:pt x="7818" y="3927"/>
                  <a:pt x="10800" y="3927"/>
                </a:cubicBezTo>
                <a:cubicBezTo>
                  <a:pt x="13782" y="3927"/>
                  <a:pt x="16200" y="6125"/>
                  <a:pt x="16200" y="8836"/>
                </a:cubicBezTo>
                <a:cubicBezTo>
                  <a:pt x="16200" y="10358"/>
                  <a:pt x="15439" y="11717"/>
                  <a:pt x="14244" y="12617"/>
                </a:cubicBezTo>
                <a:moveTo>
                  <a:pt x="10800" y="0"/>
                </a:moveTo>
                <a:cubicBezTo>
                  <a:pt x="4836" y="0"/>
                  <a:pt x="0" y="4396"/>
                  <a:pt x="0" y="9818"/>
                </a:cubicBezTo>
                <a:cubicBezTo>
                  <a:pt x="0" y="14007"/>
                  <a:pt x="2891" y="17573"/>
                  <a:pt x="6953" y="18983"/>
                </a:cubicBezTo>
                <a:cubicBezTo>
                  <a:pt x="6874" y="18609"/>
                  <a:pt x="6803" y="18223"/>
                  <a:pt x="6741" y="17840"/>
                </a:cubicBezTo>
                <a:cubicBezTo>
                  <a:pt x="3402" y="16441"/>
                  <a:pt x="1080" y="13379"/>
                  <a:pt x="1080" y="9818"/>
                </a:cubicBezTo>
                <a:cubicBezTo>
                  <a:pt x="1080" y="4938"/>
                  <a:pt x="5432" y="982"/>
                  <a:pt x="10800" y="982"/>
                </a:cubicBezTo>
                <a:cubicBezTo>
                  <a:pt x="16168" y="982"/>
                  <a:pt x="20520" y="4938"/>
                  <a:pt x="20520" y="9818"/>
                </a:cubicBezTo>
                <a:cubicBezTo>
                  <a:pt x="20520" y="13374"/>
                  <a:pt x="18204" y="16431"/>
                  <a:pt x="14874" y="17833"/>
                </a:cubicBezTo>
                <a:cubicBezTo>
                  <a:pt x="14812" y="18216"/>
                  <a:pt x="14740" y="18603"/>
                  <a:pt x="14660" y="18979"/>
                </a:cubicBezTo>
                <a:cubicBezTo>
                  <a:pt x="18716" y="17565"/>
                  <a:pt x="21600" y="14002"/>
                  <a:pt x="21600" y="9818"/>
                </a:cubicBezTo>
                <a:cubicBezTo>
                  <a:pt x="21600" y="4396"/>
                  <a:pt x="16765" y="0"/>
                  <a:pt x="10800" y="0"/>
                </a:cubicBezTo>
                <a:moveTo>
                  <a:pt x="10800" y="7364"/>
                </a:moveTo>
                <a:cubicBezTo>
                  <a:pt x="11695" y="7364"/>
                  <a:pt x="12420" y="8023"/>
                  <a:pt x="12420" y="8836"/>
                </a:cubicBezTo>
                <a:cubicBezTo>
                  <a:pt x="12420" y="9649"/>
                  <a:pt x="11695" y="10309"/>
                  <a:pt x="10800" y="10309"/>
                </a:cubicBezTo>
                <a:cubicBezTo>
                  <a:pt x="9905" y="10309"/>
                  <a:pt x="9180" y="9649"/>
                  <a:pt x="9180" y="8836"/>
                </a:cubicBezTo>
                <a:cubicBezTo>
                  <a:pt x="9180" y="8023"/>
                  <a:pt x="9905" y="7364"/>
                  <a:pt x="10800" y="7364"/>
                </a:cubicBezTo>
                <a:moveTo>
                  <a:pt x="10800" y="11291"/>
                </a:moveTo>
                <a:cubicBezTo>
                  <a:pt x="12292" y="11291"/>
                  <a:pt x="13500" y="10192"/>
                  <a:pt x="13500" y="8836"/>
                </a:cubicBezTo>
                <a:cubicBezTo>
                  <a:pt x="13500" y="7481"/>
                  <a:pt x="12292" y="6382"/>
                  <a:pt x="10800" y="6382"/>
                </a:cubicBezTo>
                <a:cubicBezTo>
                  <a:pt x="9309" y="6382"/>
                  <a:pt x="8100" y="7481"/>
                  <a:pt x="8100" y="8836"/>
                </a:cubicBezTo>
                <a:cubicBezTo>
                  <a:pt x="8100" y="10192"/>
                  <a:pt x="9309" y="11291"/>
                  <a:pt x="10800" y="11291"/>
                </a:cubicBezTo>
                <a:moveTo>
                  <a:pt x="11994" y="20179"/>
                </a:moveTo>
                <a:cubicBezTo>
                  <a:pt x="11855" y="20433"/>
                  <a:pt x="11737" y="20560"/>
                  <a:pt x="11673" y="20618"/>
                </a:cubicBezTo>
                <a:lnTo>
                  <a:pt x="9927" y="20618"/>
                </a:lnTo>
                <a:cubicBezTo>
                  <a:pt x="9862" y="20560"/>
                  <a:pt x="9745" y="20433"/>
                  <a:pt x="9606" y="20179"/>
                </a:cubicBezTo>
                <a:cubicBezTo>
                  <a:pt x="9182" y="19408"/>
                  <a:pt x="8640" y="16626"/>
                  <a:pt x="8640" y="15218"/>
                </a:cubicBezTo>
                <a:cubicBezTo>
                  <a:pt x="8640" y="13768"/>
                  <a:pt x="9205" y="13255"/>
                  <a:pt x="10800" y="13255"/>
                </a:cubicBezTo>
                <a:cubicBezTo>
                  <a:pt x="12395" y="13255"/>
                  <a:pt x="12960" y="13768"/>
                  <a:pt x="12960" y="15218"/>
                </a:cubicBezTo>
                <a:cubicBezTo>
                  <a:pt x="12960" y="16626"/>
                  <a:pt x="12418" y="19408"/>
                  <a:pt x="11994" y="20179"/>
                </a:cubicBezTo>
                <a:moveTo>
                  <a:pt x="10800" y="12273"/>
                </a:moveTo>
                <a:cubicBezTo>
                  <a:pt x="8100" y="12273"/>
                  <a:pt x="7560" y="13745"/>
                  <a:pt x="7560" y="15218"/>
                </a:cubicBezTo>
                <a:cubicBezTo>
                  <a:pt x="7560" y="16691"/>
                  <a:pt x="8100" y="19636"/>
                  <a:pt x="8640" y="20618"/>
                </a:cubicBezTo>
                <a:cubicBezTo>
                  <a:pt x="9180" y="21600"/>
                  <a:pt x="9720" y="21600"/>
                  <a:pt x="9720" y="21600"/>
                </a:cubicBezTo>
                <a:lnTo>
                  <a:pt x="11880" y="21600"/>
                </a:lnTo>
                <a:cubicBezTo>
                  <a:pt x="11880" y="21600"/>
                  <a:pt x="12420" y="21600"/>
                  <a:pt x="12960" y="20618"/>
                </a:cubicBezTo>
                <a:cubicBezTo>
                  <a:pt x="13500" y="19636"/>
                  <a:pt x="14040" y="16691"/>
                  <a:pt x="14040" y="15218"/>
                </a:cubicBezTo>
                <a:cubicBezTo>
                  <a:pt x="14040" y="13745"/>
                  <a:pt x="13500" y="12273"/>
                  <a:pt x="10800" y="12273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53" name="Shape 2853"/>
          <p:cNvSpPr/>
          <p:nvPr/>
        </p:nvSpPr>
        <p:spPr>
          <a:xfrm>
            <a:off x="1972774" y="4397568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8836"/>
                </a:moveTo>
                <a:cubicBezTo>
                  <a:pt x="9600" y="8295"/>
                  <a:pt x="10138" y="7855"/>
                  <a:pt x="10800" y="7855"/>
                </a:cubicBezTo>
                <a:cubicBezTo>
                  <a:pt x="11462" y="7855"/>
                  <a:pt x="12000" y="8295"/>
                  <a:pt x="12000" y="8836"/>
                </a:cubicBezTo>
                <a:cubicBezTo>
                  <a:pt x="12000" y="9378"/>
                  <a:pt x="11462" y="9818"/>
                  <a:pt x="10800" y="9818"/>
                </a:cubicBezTo>
                <a:cubicBezTo>
                  <a:pt x="10138" y="9818"/>
                  <a:pt x="9600" y="9378"/>
                  <a:pt x="9600" y="8836"/>
                </a:cubicBezTo>
                <a:moveTo>
                  <a:pt x="13200" y="8836"/>
                </a:moveTo>
                <a:cubicBezTo>
                  <a:pt x="13200" y="7752"/>
                  <a:pt x="12125" y="6873"/>
                  <a:pt x="10800" y="6873"/>
                </a:cubicBezTo>
                <a:cubicBezTo>
                  <a:pt x="9475" y="6873"/>
                  <a:pt x="8400" y="7752"/>
                  <a:pt x="8400" y="8836"/>
                </a:cubicBezTo>
                <a:cubicBezTo>
                  <a:pt x="8400" y="9921"/>
                  <a:pt x="9475" y="10800"/>
                  <a:pt x="10800" y="10800"/>
                </a:cubicBezTo>
                <a:cubicBezTo>
                  <a:pt x="12125" y="10800"/>
                  <a:pt x="13200" y="9921"/>
                  <a:pt x="13200" y="8836"/>
                </a:cubicBezTo>
                <a:moveTo>
                  <a:pt x="17400" y="8836"/>
                </a:moveTo>
                <a:cubicBezTo>
                  <a:pt x="17400" y="5854"/>
                  <a:pt x="14445" y="3436"/>
                  <a:pt x="10800" y="3436"/>
                </a:cubicBezTo>
                <a:cubicBezTo>
                  <a:pt x="7155" y="3436"/>
                  <a:pt x="4200" y="5854"/>
                  <a:pt x="4200" y="8836"/>
                </a:cubicBezTo>
                <a:cubicBezTo>
                  <a:pt x="4200" y="10437"/>
                  <a:pt x="5056" y="11870"/>
                  <a:pt x="6408" y="12860"/>
                </a:cubicBezTo>
                <a:cubicBezTo>
                  <a:pt x="6570" y="12537"/>
                  <a:pt x="6778" y="12249"/>
                  <a:pt x="7035" y="12000"/>
                </a:cubicBezTo>
                <a:cubicBezTo>
                  <a:pt x="6028" y="11198"/>
                  <a:pt x="5400" y="10078"/>
                  <a:pt x="5400" y="8836"/>
                </a:cubicBezTo>
                <a:cubicBezTo>
                  <a:pt x="5400" y="6396"/>
                  <a:pt x="7818" y="4418"/>
                  <a:pt x="10800" y="4418"/>
                </a:cubicBezTo>
                <a:cubicBezTo>
                  <a:pt x="13783" y="4418"/>
                  <a:pt x="16200" y="6396"/>
                  <a:pt x="16200" y="8836"/>
                </a:cubicBezTo>
                <a:cubicBezTo>
                  <a:pt x="16200" y="10094"/>
                  <a:pt x="15555" y="11226"/>
                  <a:pt x="14524" y="12030"/>
                </a:cubicBezTo>
                <a:cubicBezTo>
                  <a:pt x="14780" y="12280"/>
                  <a:pt x="14989" y="12568"/>
                  <a:pt x="15154" y="12887"/>
                </a:cubicBezTo>
                <a:cubicBezTo>
                  <a:pt x="16528" y="11898"/>
                  <a:pt x="17400" y="10452"/>
                  <a:pt x="17400" y="8836"/>
                </a:cubicBezTo>
                <a:moveTo>
                  <a:pt x="10800" y="0"/>
                </a:moveTo>
                <a:cubicBezTo>
                  <a:pt x="4835" y="0"/>
                  <a:pt x="0" y="3957"/>
                  <a:pt x="0" y="8836"/>
                </a:cubicBezTo>
                <a:cubicBezTo>
                  <a:pt x="0" y="12363"/>
                  <a:pt x="2531" y="15397"/>
                  <a:pt x="6181" y="16815"/>
                </a:cubicBezTo>
                <a:cubicBezTo>
                  <a:pt x="6125" y="16401"/>
                  <a:pt x="6080" y="16009"/>
                  <a:pt x="6049" y="15656"/>
                </a:cubicBezTo>
                <a:cubicBezTo>
                  <a:pt x="3155" y="14303"/>
                  <a:pt x="1200" y="11759"/>
                  <a:pt x="1200" y="8836"/>
                </a:cubicBezTo>
                <a:cubicBezTo>
                  <a:pt x="1200" y="4499"/>
                  <a:pt x="5498" y="982"/>
                  <a:pt x="10800" y="982"/>
                </a:cubicBezTo>
                <a:cubicBezTo>
                  <a:pt x="16102" y="982"/>
                  <a:pt x="20400" y="4499"/>
                  <a:pt x="20400" y="8836"/>
                </a:cubicBezTo>
                <a:cubicBezTo>
                  <a:pt x="20400" y="11756"/>
                  <a:pt x="18449" y="14298"/>
                  <a:pt x="15560" y="15652"/>
                </a:cubicBezTo>
                <a:cubicBezTo>
                  <a:pt x="15532" y="16000"/>
                  <a:pt x="15490" y="16392"/>
                  <a:pt x="15433" y="16809"/>
                </a:cubicBezTo>
                <a:cubicBezTo>
                  <a:pt x="19076" y="15390"/>
                  <a:pt x="21600" y="12358"/>
                  <a:pt x="21600" y="8836"/>
                </a:cubicBezTo>
                <a:cubicBezTo>
                  <a:pt x="21600" y="3957"/>
                  <a:pt x="16765" y="0"/>
                  <a:pt x="10800" y="0"/>
                </a:cubicBezTo>
                <a:moveTo>
                  <a:pt x="12127" y="20179"/>
                </a:moveTo>
                <a:cubicBezTo>
                  <a:pt x="11972" y="20432"/>
                  <a:pt x="11842" y="20560"/>
                  <a:pt x="11770" y="20618"/>
                </a:cubicBezTo>
                <a:lnTo>
                  <a:pt x="9830" y="20618"/>
                </a:lnTo>
                <a:cubicBezTo>
                  <a:pt x="9758" y="20560"/>
                  <a:pt x="9628" y="20432"/>
                  <a:pt x="9473" y="20179"/>
                </a:cubicBezTo>
                <a:cubicBezTo>
                  <a:pt x="9032" y="19457"/>
                  <a:pt x="8400" y="16247"/>
                  <a:pt x="8400" y="14727"/>
                </a:cubicBezTo>
                <a:cubicBezTo>
                  <a:pt x="8400" y="13278"/>
                  <a:pt x="9028" y="12764"/>
                  <a:pt x="10800" y="12764"/>
                </a:cubicBezTo>
                <a:cubicBezTo>
                  <a:pt x="12572" y="12764"/>
                  <a:pt x="13200" y="13278"/>
                  <a:pt x="13200" y="14727"/>
                </a:cubicBezTo>
                <a:cubicBezTo>
                  <a:pt x="13200" y="16247"/>
                  <a:pt x="12568" y="19457"/>
                  <a:pt x="12127" y="20179"/>
                </a:cubicBezTo>
                <a:moveTo>
                  <a:pt x="10800" y="11782"/>
                </a:moveTo>
                <a:cubicBezTo>
                  <a:pt x="7800" y="11782"/>
                  <a:pt x="7200" y="13255"/>
                  <a:pt x="7200" y="14727"/>
                </a:cubicBezTo>
                <a:cubicBezTo>
                  <a:pt x="7200" y="16200"/>
                  <a:pt x="7800" y="19636"/>
                  <a:pt x="8400" y="20618"/>
                </a:cubicBezTo>
                <a:cubicBezTo>
                  <a:pt x="9000" y="21600"/>
                  <a:pt x="9600" y="21600"/>
                  <a:pt x="9600" y="21600"/>
                </a:cubicBezTo>
                <a:lnTo>
                  <a:pt x="12000" y="21600"/>
                </a:lnTo>
                <a:cubicBezTo>
                  <a:pt x="12000" y="21600"/>
                  <a:pt x="12600" y="21600"/>
                  <a:pt x="13200" y="20618"/>
                </a:cubicBezTo>
                <a:cubicBezTo>
                  <a:pt x="13800" y="19636"/>
                  <a:pt x="14400" y="16200"/>
                  <a:pt x="14400" y="14727"/>
                </a:cubicBezTo>
                <a:cubicBezTo>
                  <a:pt x="14400" y="13255"/>
                  <a:pt x="13800" y="11782"/>
                  <a:pt x="10800" y="11782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54" name="Shape 2854"/>
          <p:cNvSpPr/>
          <p:nvPr/>
        </p:nvSpPr>
        <p:spPr>
          <a:xfrm>
            <a:off x="2480641" y="4397568"/>
            <a:ext cx="279263" cy="2792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52" y="3921"/>
                </a:moveTo>
                <a:cubicBezTo>
                  <a:pt x="18338" y="3921"/>
                  <a:pt x="17679" y="3262"/>
                  <a:pt x="17679" y="2448"/>
                </a:cubicBezTo>
                <a:cubicBezTo>
                  <a:pt x="17679" y="1634"/>
                  <a:pt x="18338" y="975"/>
                  <a:pt x="19152" y="975"/>
                </a:cubicBezTo>
                <a:cubicBezTo>
                  <a:pt x="19966" y="975"/>
                  <a:pt x="20625" y="1634"/>
                  <a:pt x="20625" y="2448"/>
                </a:cubicBezTo>
                <a:cubicBezTo>
                  <a:pt x="20625" y="3262"/>
                  <a:pt x="19966" y="3921"/>
                  <a:pt x="19152" y="3921"/>
                </a:cubicBezTo>
                <a:moveTo>
                  <a:pt x="10804" y="12269"/>
                </a:moveTo>
                <a:cubicBezTo>
                  <a:pt x="9991" y="12269"/>
                  <a:pt x="9331" y="11609"/>
                  <a:pt x="9331" y="10795"/>
                </a:cubicBezTo>
                <a:cubicBezTo>
                  <a:pt x="9331" y="9981"/>
                  <a:pt x="9991" y="9322"/>
                  <a:pt x="10804" y="9322"/>
                </a:cubicBezTo>
                <a:cubicBezTo>
                  <a:pt x="11618" y="9322"/>
                  <a:pt x="12278" y="9981"/>
                  <a:pt x="12278" y="10795"/>
                </a:cubicBezTo>
                <a:cubicBezTo>
                  <a:pt x="12278" y="11609"/>
                  <a:pt x="11618" y="12269"/>
                  <a:pt x="10804" y="12269"/>
                </a:cubicBezTo>
                <a:moveTo>
                  <a:pt x="3930" y="19143"/>
                </a:moveTo>
                <a:cubicBezTo>
                  <a:pt x="3930" y="19956"/>
                  <a:pt x="3271" y="20616"/>
                  <a:pt x="2457" y="20616"/>
                </a:cubicBezTo>
                <a:cubicBezTo>
                  <a:pt x="1643" y="20616"/>
                  <a:pt x="984" y="19956"/>
                  <a:pt x="984" y="19143"/>
                </a:cubicBezTo>
                <a:cubicBezTo>
                  <a:pt x="984" y="18329"/>
                  <a:pt x="1643" y="17669"/>
                  <a:pt x="2457" y="17669"/>
                </a:cubicBezTo>
                <a:cubicBezTo>
                  <a:pt x="3271" y="17669"/>
                  <a:pt x="3930" y="18329"/>
                  <a:pt x="3930" y="19143"/>
                </a:cubicBezTo>
                <a:moveTo>
                  <a:pt x="19148" y="0"/>
                </a:moveTo>
                <a:cubicBezTo>
                  <a:pt x="17793" y="0"/>
                  <a:pt x="16695" y="1098"/>
                  <a:pt x="16695" y="2452"/>
                </a:cubicBezTo>
                <a:cubicBezTo>
                  <a:pt x="16695" y="3640"/>
                  <a:pt x="17539" y="4630"/>
                  <a:pt x="18660" y="4856"/>
                </a:cubicBezTo>
                <a:lnTo>
                  <a:pt x="18660" y="10306"/>
                </a:lnTo>
                <a:lnTo>
                  <a:pt x="13203" y="10306"/>
                </a:lnTo>
                <a:cubicBezTo>
                  <a:pt x="12974" y="9187"/>
                  <a:pt x="11985" y="8347"/>
                  <a:pt x="10800" y="8347"/>
                </a:cubicBezTo>
                <a:cubicBezTo>
                  <a:pt x="9615" y="8347"/>
                  <a:pt x="8626" y="9187"/>
                  <a:pt x="8398" y="10306"/>
                </a:cubicBezTo>
                <a:lnTo>
                  <a:pt x="2456" y="10306"/>
                </a:lnTo>
                <a:cubicBezTo>
                  <a:pt x="2184" y="10306"/>
                  <a:pt x="1965" y="10525"/>
                  <a:pt x="1965" y="10796"/>
                </a:cubicBezTo>
                <a:lnTo>
                  <a:pt x="1965" y="16744"/>
                </a:lnTo>
                <a:cubicBezTo>
                  <a:pt x="844" y="16970"/>
                  <a:pt x="0" y="17960"/>
                  <a:pt x="0" y="19147"/>
                </a:cubicBezTo>
                <a:cubicBezTo>
                  <a:pt x="0" y="20502"/>
                  <a:pt x="1098" y="21600"/>
                  <a:pt x="2453" y="21600"/>
                </a:cubicBezTo>
                <a:cubicBezTo>
                  <a:pt x="3807" y="21600"/>
                  <a:pt x="4905" y="20502"/>
                  <a:pt x="4905" y="19147"/>
                </a:cubicBezTo>
                <a:cubicBezTo>
                  <a:pt x="4905" y="17961"/>
                  <a:pt x="4065" y="16973"/>
                  <a:pt x="2947" y="16744"/>
                </a:cubicBezTo>
                <a:lnTo>
                  <a:pt x="2947" y="11287"/>
                </a:lnTo>
                <a:lnTo>
                  <a:pt x="8397" y="11287"/>
                </a:lnTo>
                <a:cubicBezTo>
                  <a:pt x="8623" y="12408"/>
                  <a:pt x="9613" y="13253"/>
                  <a:pt x="10800" y="13253"/>
                </a:cubicBezTo>
                <a:cubicBezTo>
                  <a:pt x="11988" y="13253"/>
                  <a:pt x="12978" y="12408"/>
                  <a:pt x="13203" y="11287"/>
                </a:cubicBezTo>
                <a:lnTo>
                  <a:pt x="19151" y="11287"/>
                </a:lnTo>
                <a:cubicBezTo>
                  <a:pt x="19422" y="11287"/>
                  <a:pt x="19642" y="11068"/>
                  <a:pt x="19642" y="10796"/>
                </a:cubicBezTo>
                <a:lnTo>
                  <a:pt x="19642" y="4855"/>
                </a:lnTo>
                <a:cubicBezTo>
                  <a:pt x="20759" y="4626"/>
                  <a:pt x="21600" y="3638"/>
                  <a:pt x="21600" y="2452"/>
                </a:cubicBezTo>
                <a:cubicBezTo>
                  <a:pt x="21600" y="1098"/>
                  <a:pt x="20502" y="0"/>
                  <a:pt x="19148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55" name="Shape 2855"/>
          <p:cNvSpPr/>
          <p:nvPr/>
        </p:nvSpPr>
        <p:spPr>
          <a:xfrm>
            <a:off x="3026599" y="4397568"/>
            <a:ext cx="253869" cy="2792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7" y="20616"/>
                </a:moveTo>
                <a:cubicBezTo>
                  <a:pt x="18012" y="20616"/>
                  <a:pt x="17287" y="19956"/>
                  <a:pt x="17287" y="19143"/>
                </a:cubicBezTo>
                <a:cubicBezTo>
                  <a:pt x="17287" y="18329"/>
                  <a:pt x="18012" y="17669"/>
                  <a:pt x="18907" y="17669"/>
                </a:cubicBezTo>
                <a:cubicBezTo>
                  <a:pt x="19802" y="17669"/>
                  <a:pt x="20527" y="18329"/>
                  <a:pt x="20527" y="19143"/>
                </a:cubicBezTo>
                <a:cubicBezTo>
                  <a:pt x="20527" y="19956"/>
                  <a:pt x="19802" y="20616"/>
                  <a:pt x="18907" y="20616"/>
                </a:cubicBezTo>
                <a:moveTo>
                  <a:pt x="2703" y="12269"/>
                </a:moveTo>
                <a:cubicBezTo>
                  <a:pt x="1808" y="12269"/>
                  <a:pt x="1082" y="11609"/>
                  <a:pt x="1082" y="10795"/>
                </a:cubicBezTo>
                <a:cubicBezTo>
                  <a:pt x="1082" y="9981"/>
                  <a:pt x="1808" y="9322"/>
                  <a:pt x="2703" y="9322"/>
                </a:cubicBezTo>
                <a:cubicBezTo>
                  <a:pt x="3598" y="9322"/>
                  <a:pt x="4323" y="9981"/>
                  <a:pt x="4323" y="10795"/>
                </a:cubicBezTo>
                <a:cubicBezTo>
                  <a:pt x="4323" y="11609"/>
                  <a:pt x="3598" y="12269"/>
                  <a:pt x="2703" y="12269"/>
                </a:cubicBezTo>
                <a:moveTo>
                  <a:pt x="18907" y="975"/>
                </a:moveTo>
                <a:cubicBezTo>
                  <a:pt x="19802" y="975"/>
                  <a:pt x="20527" y="1634"/>
                  <a:pt x="20527" y="2448"/>
                </a:cubicBezTo>
                <a:cubicBezTo>
                  <a:pt x="20527" y="3262"/>
                  <a:pt x="19802" y="3921"/>
                  <a:pt x="18907" y="3921"/>
                </a:cubicBezTo>
                <a:cubicBezTo>
                  <a:pt x="18012" y="3921"/>
                  <a:pt x="17287" y="3262"/>
                  <a:pt x="17287" y="2448"/>
                </a:cubicBezTo>
                <a:cubicBezTo>
                  <a:pt x="17287" y="1634"/>
                  <a:pt x="18012" y="975"/>
                  <a:pt x="18907" y="975"/>
                </a:cubicBezTo>
                <a:moveTo>
                  <a:pt x="18902" y="16695"/>
                </a:moveTo>
                <a:cubicBezTo>
                  <a:pt x="18092" y="16695"/>
                  <a:pt x="17374" y="17026"/>
                  <a:pt x="16879" y="17540"/>
                </a:cubicBezTo>
                <a:lnTo>
                  <a:pt x="5253" y="11551"/>
                </a:lnTo>
                <a:cubicBezTo>
                  <a:pt x="5338" y="11314"/>
                  <a:pt x="5396" y="11064"/>
                  <a:pt x="5396" y="10800"/>
                </a:cubicBezTo>
                <a:cubicBezTo>
                  <a:pt x="5396" y="10536"/>
                  <a:pt x="5338" y="10286"/>
                  <a:pt x="5253" y="10048"/>
                </a:cubicBezTo>
                <a:lnTo>
                  <a:pt x="16879" y="4059"/>
                </a:lnTo>
                <a:cubicBezTo>
                  <a:pt x="17373" y="4574"/>
                  <a:pt x="18092" y="4905"/>
                  <a:pt x="18902" y="4905"/>
                </a:cubicBezTo>
                <a:cubicBezTo>
                  <a:pt x="20392" y="4905"/>
                  <a:pt x="21600" y="3807"/>
                  <a:pt x="21600" y="2452"/>
                </a:cubicBezTo>
                <a:cubicBezTo>
                  <a:pt x="21600" y="1098"/>
                  <a:pt x="20392" y="0"/>
                  <a:pt x="18902" y="0"/>
                </a:cubicBezTo>
                <a:cubicBezTo>
                  <a:pt x="17412" y="0"/>
                  <a:pt x="16204" y="1098"/>
                  <a:pt x="16204" y="2452"/>
                </a:cubicBezTo>
                <a:cubicBezTo>
                  <a:pt x="16204" y="2716"/>
                  <a:pt x="16262" y="2966"/>
                  <a:pt x="16347" y="3204"/>
                </a:cubicBezTo>
                <a:lnTo>
                  <a:pt x="4722" y="9193"/>
                </a:lnTo>
                <a:cubicBezTo>
                  <a:pt x="4227" y="8679"/>
                  <a:pt x="3509" y="8347"/>
                  <a:pt x="2698" y="8347"/>
                </a:cubicBezTo>
                <a:cubicBezTo>
                  <a:pt x="1208" y="8347"/>
                  <a:pt x="0" y="9445"/>
                  <a:pt x="0" y="10800"/>
                </a:cubicBezTo>
                <a:cubicBezTo>
                  <a:pt x="0" y="12155"/>
                  <a:pt x="1208" y="13253"/>
                  <a:pt x="2698" y="13253"/>
                </a:cubicBezTo>
                <a:cubicBezTo>
                  <a:pt x="3509" y="13253"/>
                  <a:pt x="4227" y="12921"/>
                  <a:pt x="4722" y="12406"/>
                </a:cubicBezTo>
                <a:lnTo>
                  <a:pt x="16347" y="18395"/>
                </a:lnTo>
                <a:cubicBezTo>
                  <a:pt x="16262" y="18633"/>
                  <a:pt x="16204" y="18883"/>
                  <a:pt x="16204" y="19147"/>
                </a:cubicBezTo>
                <a:cubicBezTo>
                  <a:pt x="16204" y="20502"/>
                  <a:pt x="17412" y="21600"/>
                  <a:pt x="18902" y="21600"/>
                </a:cubicBezTo>
                <a:cubicBezTo>
                  <a:pt x="20392" y="21600"/>
                  <a:pt x="21600" y="20502"/>
                  <a:pt x="21600" y="19147"/>
                </a:cubicBezTo>
                <a:cubicBezTo>
                  <a:pt x="21600" y="17792"/>
                  <a:pt x="20392" y="16695"/>
                  <a:pt x="18902" y="16695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56" name="Shape 2856"/>
          <p:cNvSpPr/>
          <p:nvPr/>
        </p:nvSpPr>
        <p:spPr>
          <a:xfrm>
            <a:off x="3547164" y="4397568"/>
            <a:ext cx="279464" cy="2793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75" y="14735"/>
                </a:moveTo>
                <a:cubicBezTo>
                  <a:pt x="12008" y="15178"/>
                  <a:pt x="11621" y="15531"/>
                  <a:pt x="11226" y="15783"/>
                </a:cubicBezTo>
                <a:cubicBezTo>
                  <a:pt x="10834" y="16035"/>
                  <a:pt x="10421" y="16209"/>
                  <a:pt x="10002" y="16302"/>
                </a:cubicBezTo>
                <a:cubicBezTo>
                  <a:pt x="9027" y="16517"/>
                  <a:pt x="8105" y="16493"/>
                  <a:pt x="7342" y="16179"/>
                </a:cubicBezTo>
                <a:cubicBezTo>
                  <a:pt x="6912" y="16003"/>
                  <a:pt x="6537" y="15755"/>
                  <a:pt x="6227" y="15442"/>
                </a:cubicBezTo>
                <a:cubicBezTo>
                  <a:pt x="5915" y="15129"/>
                  <a:pt x="5669" y="14758"/>
                  <a:pt x="5493" y="14340"/>
                </a:cubicBezTo>
                <a:cubicBezTo>
                  <a:pt x="5317" y="13924"/>
                  <a:pt x="5228" y="13459"/>
                  <a:pt x="5228" y="12958"/>
                </a:cubicBezTo>
                <a:cubicBezTo>
                  <a:pt x="5228" y="12161"/>
                  <a:pt x="5386" y="11302"/>
                  <a:pt x="5698" y="10406"/>
                </a:cubicBezTo>
                <a:cubicBezTo>
                  <a:pt x="6010" y="9509"/>
                  <a:pt x="6454" y="8665"/>
                  <a:pt x="7018" y="7900"/>
                </a:cubicBezTo>
                <a:cubicBezTo>
                  <a:pt x="7579" y="7140"/>
                  <a:pt x="8265" y="6498"/>
                  <a:pt x="9058" y="5993"/>
                </a:cubicBezTo>
                <a:cubicBezTo>
                  <a:pt x="9839" y="5496"/>
                  <a:pt x="10706" y="5245"/>
                  <a:pt x="11636" y="5245"/>
                </a:cubicBezTo>
                <a:cubicBezTo>
                  <a:pt x="12014" y="5245"/>
                  <a:pt x="12413" y="5288"/>
                  <a:pt x="12821" y="5373"/>
                </a:cubicBezTo>
                <a:cubicBezTo>
                  <a:pt x="13224" y="5457"/>
                  <a:pt x="13613" y="5599"/>
                  <a:pt x="13978" y="5795"/>
                </a:cubicBezTo>
                <a:cubicBezTo>
                  <a:pt x="14337" y="5989"/>
                  <a:pt x="14658" y="6246"/>
                  <a:pt x="14931" y="6561"/>
                </a:cubicBezTo>
                <a:cubicBezTo>
                  <a:pt x="15189" y="6858"/>
                  <a:pt x="15389" y="7238"/>
                  <a:pt x="15526" y="7692"/>
                </a:cubicBezTo>
                <a:lnTo>
                  <a:pt x="13353" y="13035"/>
                </a:lnTo>
                <a:cubicBezTo>
                  <a:pt x="13072" y="13720"/>
                  <a:pt x="12743" y="14292"/>
                  <a:pt x="12375" y="14735"/>
                </a:cubicBezTo>
                <a:moveTo>
                  <a:pt x="20215" y="16108"/>
                </a:moveTo>
                <a:cubicBezTo>
                  <a:pt x="19749" y="16741"/>
                  <a:pt x="19196" y="17344"/>
                  <a:pt x="18569" y="17900"/>
                </a:cubicBezTo>
                <a:cubicBezTo>
                  <a:pt x="17943" y="18456"/>
                  <a:pt x="17242" y="18946"/>
                  <a:pt x="16484" y="19359"/>
                </a:cubicBezTo>
                <a:cubicBezTo>
                  <a:pt x="15729" y="19770"/>
                  <a:pt x="14914" y="20096"/>
                  <a:pt x="14064" y="20327"/>
                </a:cubicBezTo>
                <a:cubicBezTo>
                  <a:pt x="13217" y="20556"/>
                  <a:pt x="12316" y="20673"/>
                  <a:pt x="11388" y="20673"/>
                </a:cubicBezTo>
                <a:cubicBezTo>
                  <a:pt x="9991" y="20673"/>
                  <a:pt x="8647" y="20458"/>
                  <a:pt x="7393" y="20036"/>
                </a:cubicBezTo>
                <a:cubicBezTo>
                  <a:pt x="6143" y="19615"/>
                  <a:pt x="5029" y="18981"/>
                  <a:pt x="4083" y="18149"/>
                </a:cubicBezTo>
                <a:cubicBezTo>
                  <a:pt x="3138" y="17320"/>
                  <a:pt x="2378" y="16274"/>
                  <a:pt x="1823" y="15041"/>
                </a:cubicBezTo>
                <a:cubicBezTo>
                  <a:pt x="1269" y="13809"/>
                  <a:pt x="989" y="12357"/>
                  <a:pt x="989" y="10727"/>
                </a:cubicBezTo>
                <a:cubicBezTo>
                  <a:pt x="989" y="9370"/>
                  <a:pt x="1254" y="8086"/>
                  <a:pt x="1777" y="6911"/>
                </a:cubicBezTo>
                <a:cubicBezTo>
                  <a:pt x="2301" y="5736"/>
                  <a:pt x="3037" y="4693"/>
                  <a:pt x="3964" y="3814"/>
                </a:cubicBezTo>
                <a:cubicBezTo>
                  <a:pt x="4892" y="2933"/>
                  <a:pt x="6002" y="2230"/>
                  <a:pt x="7264" y="1722"/>
                </a:cubicBezTo>
                <a:cubicBezTo>
                  <a:pt x="8526" y="1215"/>
                  <a:pt x="9914" y="958"/>
                  <a:pt x="11388" y="958"/>
                </a:cubicBezTo>
                <a:cubicBezTo>
                  <a:pt x="12700" y="958"/>
                  <a:pt x="13940" y="1156"/>
                  <a:pt x="15072" y="1549"/>
                </a:cubicBezTo>
                <a:cubicBezTo>
                  <a:pt x="16200" y="1942"/>
                  <a:pt x="17185" y="2497"/>
                  <a:pt x="17998" y="3203"/>
                </a:cubicBezTo>
                <a:cubicBezTo>
                  <a:pt x="18809" y="3906"/>
                  <a:pt x="19455" y="4765"/>
                  <a:pt x="19917" y="5754"/>
                </a:cubicBezTo>
                <a:cubicBezTo>
                  <a:pt x="20377" y="6743"/>
                  <a:pt x="20611" y="7843"/>
                  <a:pt x="20611" y="9023"/>
                </a:cubicBezTo>
                <a:cubicBezTo>
                  <a:pt x="20611" y="10070"/>
                  <a:pt x="20418" y="11059"/>
                  <a:pt x="20038" y="11962"/>
                </a:cubicBezTo>
                <a:cubicBezTo>
                  <a:pt x="19656" y="12869"/>
                  <a:pt x="19171" y="13663"/>
                  <a:pt x="18598" y="14320"/>
                </a:cubicBezTo>
                <a:cubicBezTo>
                  <a:pt x="18028" y="14976"/>
                  <a:pt x="17393" y="15502"/>
                  <a:pt x="16714" y="15880"/>
                </a:cubicBezTo>
                <a:cubicBezTo>
                  <a:pt x="16044" y="16255"/>
                  <a:pt x="15398" y="16444"/>
                  <a:pt x="14792" y="16444"/>
                </a:cubicBezTo>
                <a:cubicBezTo>
                  <a:pt x="14424" y="16444"/>
                  <a:pt x="14151" y="16374"/>
                  <a:pt x="13980" y="16235"/>
                </a:cubicBezTo>
                <a:cubicBezTo>
                  <a:pt x="13810" y="16098"/>
                  <a:pt x="13710" y="15916"/>
                  <a:pt x="13675" y="15677"/>
                </a:cubicBezTo>
                <a:cubicBezTo>
                  <a:pt x="13638" y="15420"/>
                  <a:pt x="13667" y="15109"/>
                  <a:pt x="13764" y="14754"/>
                </a:cubicBezTo>
                <a:cubicBezTo>
                  <a:pt x="13864" y="14385"/>
                  <a:pt x="14007" y="13983"/>
                  <a:pt x="14190" y="13556"/>
                </a:cubicBezTo>
                <a:lnTo>
                  <a:pt x="17729" y="4845"/>
                </a:lnTo>
                <a:lnTo>
                  <a:pt x="16677" y="4845"/>
                </a:lnTo>
                <a:lnTo>
                  <a:pt x="16026" y="6544"/>
                </a:lnTo>
                <a:cubicBezTo>
                  <a:pt x="15715" y="5890"/>
                  <a:pt x="15207" y="5363"/>
                  <a:pt x="14512" y="4972"/>
                </a:cubicBezTo>
                <a:cubicBezTo>
                  <a:pt x="13703" y="4517"/>
                  <a:pt x="12777" y="4287"/>
                  <a:pt x="11759" y="4287"/>
                </a:cubicBezTo>
                <a:cubicBezTo>
                  <a:pt x="10637" y="4287"/>
                  <a:pt x="9596" y="4568"/>
                  <a:pt x="8663" y="5121"/>
                </a:cubicBezTo>
                <a:cubicBezTo>
                  <a:pt x="7739" y="5669"/>
                  <a:pt x="6940" y="6381"/>
                  <a:pt x="6289" y="7238"/>
                </a:cubicBezTo>
                <a:cubicBezTo>
                  <a:pt x="5641" y="8091"/>
                  <a:pt x="5132" y="9032"/>
                  <a:pt x="4777" y="10034"/>
                </a:cubicBezTo>
                <a:cubicBezTo>
                  <a:pt x="4420" y="11037"/>
                  <a:pt x="4240" y="12021"/>
                  <a:pt x="4240" y="12958"/>
                </a:cubicBezTo>
                <a:cubicBezTo>
                  <a:pt x="4240" y="13568"/>
                  <a:pt x="4354" y="14151"/>
                  <a:pt x="4579" y="14689"/>
                </a:cubicBezTo>
                <a:cubicBezTo>
                  <a:pt x="4804" y="15227"/>
                  <a:pt x="5113" y="15701"/>
                  <a:pt x="5499" y="16097"/>
                </a:cubicBezTo>
                <a:cubicBezTo>
                  <a:pt x="5887" y="16495"/>
                  <a:pt x="6354" y="16815"/>
                  <a:pt x="6889" y="17048"/>
                </a:cubicBezTo>
                <a:cubicBezTo>
                  <a:pt x="8063" y="17561"/>
                  <a:pt x="9489" y="17484"/>
                  <a:pt x="10904" y="17025"/>
                </a:cubicBezTo>
                <a:cubicBezTo>
                  <a:pt x="11562" y="16811"/>
                  <a:pt x="12160" y="16412"/>
                  <a:pt x="12689" y="15835"/>
                </a:cubicBezTo>
                <a:cubicBezTo>
                  <a:pt x="12715" y="16226"/>
                  <a:pt x="12874" y="16561"/>
                  <a:pt x="13164" y="16837"/>
                </a:cubicBezTo>
                <a:cubicBezTo>
                  <a:pt x="13559" y="17211"/>
                  <a:pt x="14086" y="17402"/>
                  <a:pt x="14731" y="17402"/>
                </a:cubicBezTo>
                <a:cubicBezTo>
                  <a:pt x="15501" y="17402"/>
                  <a:pt x="16307" y="17176"/>
                  <a:pt x="17124" y="16733"/>
                </a:cubicBezTo>
                <a:cubicBezTo>
                  <a:pt x="17934" y="16294"/>
                  <a:pt x="18680" y="15687"/>
                  <a:pt x="19342" y="14930"/>
                </a:cubicBezTo>
                <a:cubicBezTo>
                  <a:pt x="20001" y="14176"/>
                  <a:pt x="20548" y="13284"/>
                  <a:pt x="20967" y="12281"/>
                </a:cubicBezTo>
                <a:cubicBezTo>
                  <a:pt x="21387" y="11274"/>
                  <a:pt x="21600" y="10178"/>
                  <a:pt x="21600" y="9023"/>
                </a:cubicBezTo>
                <a:cubicBezTo>
                  <a:pt x="21600" y="7651"/>
                  <a:pt x="21328" y="6389"/>
                  <a:pt x="20793" y="5274"/>
                </a:cubicBezTo>
                <a:cubicBezTo>
                  <a:pt x="20258" y="4158"/>
                  <a:pt x="19518" y="3199"/>
                  <a:pt x="18594" y="2422"/>
                </a:cubicBezTo>
                <a:cubicBezTo>
                  <a:pt x="17672" y="1647"/>
                  <a:pt x="16579" y="1043"/>
                  <a:pt x="15346" y="627"/>
                </a:cubicBezTo>
                <a:cubicBezTo>
                  <a:pt x="14116" y="211"/>
                  <a:pt x="12784" y="0"/>
                  <a:pt x="11388" y="0"/>
                </a:cubicBezTo>
                <a:cubicBezTo>
                  <a:pt x="9845" y="0"/>
                  <a:pt x="8365" y="271"/>
                  <a:pt x="6989" y="805"/>
                </a:cubicBezTo>
                <a:cubicBezTo>
                  <a:pt x="5612" y="1340"/>
                  <a:pt x="4389" y="2093"/>
                  <a:pt x="3356" y="3045"/>
                </a:cubicBezTo>
                <a:cubicBezTo>
                  <a:pt x="2321" y="3996"/>
                  <a:pt x="1495" y="5137"/>
                  <a:pt x="899" y="6436"/>
                </a:cubicBezTo>
                <a:cubicBezTo>
                  <a:pt x="302" y="7737"/>
                  <a:pt x="0" y="9181"/>
                  <a:pt x="0" y="10727"/>
                </a:cubicBezTo>
                <a:cubicBezTo>
                  <a:pt x="0" y="12605"/>
                  <a:pt x="334" y="14252"/>
                  <a:pt x="993" y="15622"/>
                </a:cubicBezTo>
                <a:cubicBezTo>
                  <a:pt x="1652" y="16992"/>
                  <a:pt x="2528" y="18134"/>
                  <a:pt x="3595" y="19018"/>
                </a:cubicBezTo>
                <a:cubicBezTo>
                  <a:pt x="4661" y="19900"/>
                  <a:pt x="5890" y="20559"/>
                  <a:pt x="7249" y="20975"/>
                </a:cubicBezTo>
                <a:cubicBezTo>
                  <a:pt x="8601" y="21390"/>
                  <a:pt x="9994" y="21600"/>
                  <a:pt x="11388" y="21600"/>
                </a:cubicBezTo>
                <a:cubicBezTo>
                  <a:pt x="12348" y="21600"/>
                  <a:pt x="13317" y="21474"/>
                  <a:pt x="14267" y="21228"/>
                </a:cubicBezTo>
                <a:cubicBezTo>
                  <a:pt x="15214" y="20981"/>
                  <a:pt x="16128" y="20624"/>
                  <a:pt x="16983" y="20169"/>
                </a:cubicBezTo>
                <a:cubicBezTo>
                  <a:pt x="17839" y="19713"/>
                  <a:pt x="18642" y="19152"/>
                  <a:pt x="19372" y="18499"/>
                </a:cubicBezTo>
                <a:cubicBezTo>
                  <a:pt x="20104" y="17845"/>
                  <a:pt x="20729" y="17110"/>
                  <a:pt x="21232" y="16316"/>
                </a:cubicBezTo>
                <a:lnTo>
                  <a:pt x="21411" y="16033"/>
                </a:lnTo>
                <a:lnTo>
                  <a:pt x="20270" y="16033"/>
                </a:lnTo>
                <a:cubicBezTo>
                  <a:pt x="20270" y="16033"/>
                  <a:pt x="20215" y="16108"/>
                  <a:pt x="20215" y="16108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57" name="Shape 2857"/>
          <p:cNvSpPr/>
          <p:nvPr/>
        </p:nvSpPr>
        <p:spPr>
          <a:xfrm>
            <a:off x="4080425" y="4397568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7"/>
                  <a:pt x="17673" y="7364"/>
                </a:cubicBezTo>
                <a:cubicBezTo>
                  <a:pt x="17673" y="6787"/>
                  <a:pt x="17339" y="6294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89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5"/>
                  <a:pt x="10556" y="16200"/>
                  <a:pt x="10800" y="16200"/>
                </a:cubicBezTo>
                <a:cubicBezTo>
                  <a:pt x="11273" y="16200"/>
                  <a:pt x="11689" y="15973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2"/>
                </a:moveTo>
                <a:cubicBezTo>
                  <a:pt x="3476" y="16840"/>
                  <a:pt x="3436" y="16279"/>
                  <a:pt x="3436" y="15709"/>
                </a:cubicBezTo>
                <a:cubicBezTo>
                  <a:pt x="3436" y="14763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6"/>
                </a:cubicBezTo>
                <a:cubicBezTo>
                  <a:pt x="9431" y="15253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6"/>
                </a:cubicBezTo>
                <a:cubicBezTo>
                  <a:pt x="3608" y="17469"/>
                  <a:pt x="3573" y="17430"/>
                  <a:pt x="3539" y="17392"/>
                </a:cubicBezTo>
                <a:moveTo>
                  <a:pt x="3075" y="11369"/>
                </a:moveTo>
                <a:cubicBezTo>
                  <a:pt x="2361" y="10869"/>
                  <a:pt x="1683" y="10321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6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3"/>
                  <a:pt x="3936" y="11937"/>
                </a:cubicBezTo>
                <a:cubicBezTo>
                  <a:pt x="4379" y="10266"/>
                  <a:pt x="5100" y="8708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4"/>
                  <a:pt x="7855" y="5891"/>
                </a:cubicBezTo>
                <a:cubicBezTo>
                  <a:pt x="7855" y="5688"/>
                  <a:pt x="7813" y="5493"/>
                  <a:pt x="7739" y="5317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0"/>
                  <a:pt x="11005" y="1707"/>
                  <a:pt x="10354" y="2081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5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7"/>
                  <a:pt x="15149" y="8393"/>
                </a:cubicBezTo>
                <a:cubicBezTo>
                  <a:pt x="14827" y="9199"/>
                  <a:pt x="14443" y="9973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3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58" name="Shape 2858"/>
          <p:cNvSpPr/>
          <p:nvPr/>
        </p:nvSpPr>
        <p:spPr>
          <a:xfrm>
            <a:off x="4639079" y="4397568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98" y="4909"/>
                  <a:pt x="1200" y="4030"/>
                  <a:pt x="1200" y="2945"/>
                </a:cubicBezTo>
                <a:cubicBezTo>
                  <a:pt x="1200" y="1861"/>
                  <a:pt x="5498" y="982"/>
                  <a:pt x="10800" y="982"/>
                </a:cubicBezTo>
                <a:cubicBezTo>
                  <a:pt x="16102" y="982"/>
                  <a:pt x="20400" y="1861"/>
                  <a:pt x="20400" y="2945"/>
                </a:cubicBezTo>
                <a:cubicBezTo>
                  <a:pt x="20400" y="4030"/>
                  <a:pt x="16102" y="4909"/>
                  <a:pt x="10800" y="4909"/>
                </a:cubicBezTo>
                <a:moveTo>
                  <a:pt x="20400" y="6873"/>
                </a:moveTo>
                <a:cubicBezTo>
                  <a:pt x="20400" y="7957"/>
                  <a:pt x="16102" y="8836"/>
                  <a:pt x="10800" y="8836"/>
                </a:cubicBezTo>
                <a:cubicBezTo>
                  <a:pt x="5498" y="8836"/>
                  <a:pt x="1200" y="7957"/>
                  <a:pt x="1200" y="6873"/>
                </a:cubicBezTo>
                <a:lnTo>
                  <a:pt x="1200" y="4291"/>
                </a:lnTo>
                <a:cubicBezTo>
                  <a:pt x="2993" y="5240"/>
                  <a:pt x="6615" y="5891"/>
                  <a:pt x="10800" y="5891"/>
                </a:cubicBezTo>
                <a:cubicBezTo>
                  <a:pt x="14986" y="5891"/>
                  <a:pt x="18607" y="5240"/>
                  <a:pt x="20400" y="4291"/>
                </a:cubicBezTo>
                <a:cubicBezTo>
                  <a:pt x="20400" y="4291"/>
                  <a:pt x="20400" y="6873"/>
                  <a:pt x="20400" y="6873"/>
                </a:cubicBezTo>
                <a:close/>
                <a:moveTo>
                  <a:pt x="10800" y="10800"/>
                </a:moveTo>
                <a:cubicBezTo>
                  <a:pt x="5498" y="10800"/>
                  <a:pt x="1200" y="9921"/>
                  <a:pt x="1200" y="8836"/>
                </a:cubicBezTo>
                <a:cubicBezTo>
                  <a:pt x="1200" y="8672"/>
                  <a:pt x="1309" y="8514"/>
                  <a:pt x="1494" y="8362"/>
                </a:cubicBezTo>
                <a:cubicBezTo>
                  <a:pt x="3370" y="9232"/>
                  <a:pt x="6830" y="9818"/>
                  <a:pt x="10800" y="9818"/>
                </a:cubicBezTo>
                <a:cubicBezTo>
                  <a:pt x="14770" y="9818"/>
                  <a:pt x="18230" y="9232"/>
                  <a:pt x="20106" y="8362"/>
                </a:cubicBezTo>
                <a:cubicBezTo>
                  <a:pt x="20291" y="8514"/>
                  <a:pt x="20400" y="8672"/>
                  <a:pt x="20400" y="8836"/>
                </a:cubicBezTo>
                <a:cubicBezTo>
                  <a:pt x="20400" y="9921"/>
                  <a:pt x="16102" y="10800"/>
                  <a:pt x="10800" y="10800"/>
                </a:cubicBezTo>
                <a:moveTo>
                  <a:pt x="20400" y="12764"/>
                </a:moveTo>
                <a:cubicBezTo>
                  <a:pt x="20400" y="13848"/>
                  <a:pt x="16102" y="14727"/>
                  <a:pt x="10800" y="14727"/>
                </a:cubicBezTo>
                <a:cubicBezTo>
                  <a:pt x="5498" y="14727"/>
                  <a:pt x="1200" y="13848"/>
                  <a:pt x="1200" y="12764"/>
                </a:cubicBezTo>
                <a:lnTo>
                  <a:pt x="1200" y="10182"/>
                </a:lnTo>
                <a:cubicBezTo>
                  <a:pt x="2993" y="11131"/>
                  <a:pt x="6615" y="11782"/>
                  <a:pt x="10800" y="11782"/>
                </a:cubicBezTo>
                <a:cubicBezTo>
                  <a:pt x="14986" y="11782"/>
                  <a:pt x="18607" y="11131"/>
                  <a:pt x="20400" y="10182"/>
                </a:cubicBezTo>
                <a:cubicBezTo>
                  <a:pt x="20400" y="10182"/>
                  <a:pt x="20400" y="12764"/>
                  <a:pt x="20400" y="12764"/>
                </a:cubicBezTo>
                <a:close/>
                <a:moveTo>
                  <a:pt x="10800" y="16691"/>
                </a:moveTo>
                <a:cubicBezTo>
                  <a:pt x="5498" y="16691"/>
                  <a:pt x="1200" y="15812"/>
                  <a:pt x="1200" y="14727"/>
                </a:cubicBezTo>
                <a:cubicBezTo>
                  <a:pt x="1200" y="14563"/>
                  <a:pt x="1309" y="14405"/>
                  <a:pt x="1494" y="14253"/>
                </a:cubicBezTo>
                <a:cubicBezTo>
                  <a:pt x="3370" y="15123"/>
                  <a:pt x="6830" y="15709"/>
                  <a:pt x="10800" y="15709"/>
                </a:cubicBezTo>
                <a:cubicBezTo>
                  <a:pt x="14770" y="15709"/>
                  <a:pt x="18230" y="15123"/>
                  <a:pt x="20106" y="14253"/>
                </a:cubicBezTo>
                <a:cubicBezTo>
                  <a:pt x="20291" y="14405"/>
                  <a:pt x="20400" y="14563"/>
                  <a:pt x="20400" y="14727"/>
                </a:cubicBezTo>
                <a:cubicBezTo>
                  <a:pt x="20400" y="15812"/>
                  <a:pt x="16102" y="16691"/>
                  <a:pt x="10800" y="16691"/>
                </a:cubicBezTo>
                <a:moveTo>
                  <a:pt x="20400" y="18655"/>
                </a:moveTo>
                <a:cubicBezTo>
                  <a:pt x="20400" y="19739"/>
                  <a:pt x="16102" y="20618"/>
                  <a:pt x="10800" y="20618"/>
                </a:cubicBezTo>
                <a:cubicBezTo>
                  <a:pt x="5498" y="20618"/>
                  <a:pt x="1200" y="19739"/>
                  <a:pt x="1200" y="18655"/>
                </a:cubicBezTo>
                <a:lnTo>
                  <a:pt x="1200" y="16073"/>
                </a:lnTo>
                <a:cubicBezTo>
                  <a:pt x="2993" y="17022"/>
                  <a:pt x="6615" y="17673"/>
                  <a:pt x="10800" y="17673"/>
                </a:cubicBezTo>
                <a:cubicBezTo>
                  <a:pt x="14986" y="17673"/>
                  <a:pt x="18607" y="17022"/>
                  <a:pt x="20400" y="16073"/>
                </a:cubicBezTo>
                <a:cubicBezTo>
                  <a:pt x="20400" y="16073"/>
                  <a:pt x="20400" y="18655"/>
                  <a:pt x="20400" y="18655"/>
                </a:cubicBezTo>
                <a:close/>
                <a:moveTo>
                  <a:pt x="21600" y="2945"/>
                </a:moveTo>
                <a:cubicBezTo>
                  <a:pt x="21600" y="1319"/>
                  <a:pt x="16765" y="0"/>
                  <a:pt x="10800" y="0"/>
                </a:cubicBezTo>
                <a:cubicBezTo>
                  <a:pt x="4835" y="0"/>
                  <a:pt x="0" y="1319"/>
                  <a:pt x="0" y="2945"/>
                </a:cubicBezTo>
                <a:lnTo>
                  <a:pt x="0" y="6873"/>
                </a:lnTo>
                <a:cubicBezTo>
                  <a:pt x="0" y="7218"/>
                  <a:pt x="229" y="7547"/>
                  <a:pt x="628" y="7855"/>
                </a:cubicBezTo>
                <a:cubicBezTo>
                  <a:pt x="229" y="8162"/>
                  <a:pt x="0" y="8492"/>
                  <a:pt x="0" y="8836"/>
                </a:cubicBezTo>
                <a:lnTo>
                  <a:pt x="0" y="12764"/>
                </a:lnTo>
                <a:cubicBezTo>
                  <a:pt x="0" y="13109"/>
                  <a:pt x="229" y="13438"/>
                  <a:pt x="628" y="13745"/>
                </a:cubicBezTo>
                <a:cubicBezTo>
                  <a:pt x="229" y="14053"/>
                  <a:pt x="0" y="14383"/>
                  <a:pt x="0" y="14727"/>
                </a:cubicBezTo>
                <a:lnTo>
                  <a:pt x="0" y="18655"/>
                </a:lnTo>
                <a:cubicBezTo>
                  <a:pt x="0" y="20281"/>
                  <a:pt x="4835" y="21600"/>
                  <a:pt x="10800" y="21600"/>
                </a:cubicBezTo>
                <a:cubicBezTo>
                  <a:pt x="16765" y="21600"/>
                  <a:pt x="21600" y="20281"/>
                  <a:pt x="21600" y="18655"/>
                </a:cubicBezTo>
                <a:lnTo>
                  <a:pt x="21600" y="14727"/>
                </a:lnTo>
                <a:cubicBezTo>
                  <a:pt x="21600" y="14383"/>
                  <a:pt x="21371" y="14053"/>
                  <a:pt x="20972" y="13745"/>
                </a:cubicBezTo>
                <a:cubicBezTo>
                  <a:pt x="21371" y="13438"/>
                  <a:pt x="21600" y="13109"/>
                  <a:pt x="21600" y="12764"/>
                </a:cubicBezTo>
                <a:lnTo>
                  <a:pt x="21600" y="8836"/>
                </a:lnTo>
                <a:cubicBezTo>
                  <a:pt x="21600" y="8492"/>
                  <a:pt x="21371" y="8162"/>
                  <a:pt x="20972" y="7855"/>
                </a:cubicBezTo>
                <a:cubicBezTo>
                  <a:pt x="21371" y="7547"/>
                  <a:pt x="21600" y="7218"/>
                  <a:pt x="21600" y="6873"/>
                </a:cubicBezTo>
                <a:cubicBezTo>
                  <a:pt x="21600" y="6873"/>
                  <a:pt x="21600" y="2945"/>
                  <a:pt x="21600" y="2945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59" name="Shape 2859"/>
          <p:cNvSpPr/>
          <p:nvPr/>
        </p:nvSpPr>
        <p:spPr>
          <a:xfrm>
            <a:off x="5146947" y="4397568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79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5" y="7236"/>
                </a:cubicBezTo>
                <a:cubicBezTo>
                  <a:pt x="6892" y="7530"/>
                  <a:pt x="6793" y="7869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6" y="9635"/>
                </a:cubicBezTo>
                <a:cubicBezTo>
                  <a:pt x="6776" y="9644"/>
                  <a:pt x="6776" y="9651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5" y="11661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40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5" y="14727"/>
                  <a:pt x="15201" y="11706"/>
                  <a:pt x="15201" y="9086"/>
                </a:cubicBezTo>
                <a:cubicBezTo>
                  <a:pt x="15201" y="9000"/>
                  <a:pt x="15199" y="8915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60" name="Shape 2860"/>
          <p:cNvSpPr/>
          <p:nvPr/>
        </p:nvSpPr>
        <p:spPr>
          <a:xfrm>
            <a:off x="5680208" y="4397568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4" y="7858"/>
                </a:lnTo>
                <a:lnTo>
                  <a:pt x="13244" y="6381"/>
                </a:lnTo>
                <a:lnTo>
                  <a:pt x="11938" y="6381"/>
                </a:lnTo>
                <a:cubicBezTo>
                  <a:pt x="10369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61" name="Shape 2861"/>
          <p:cNvSpPr/>
          <p:nvPr/>
        </p:nvSpPr>
        <p:spPr>
          <a:xfrm>
            <a:off x="6251560" y="33310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19" y="12090"/>
                  <a:pt x="14019" y="12428"/>
                  <a:pt x="14019" y="12428"/>
                </a:cubicBezTo>
                <a:lnTo>
                  <a:pt x="14019" y="12863"/>
                </a:lnTo>
                <a:lnTo>
                  <a:pt x="14628" y="12863"/>
                </a:lnTo>
                <a:lnTo>
                  <a:pt x="14628" y="12428"/>
                </a:lnTo>
                <a:cubicBezTo>
                  <a:pt x="14628" y="12428"/>
                  <a:pt x="14628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19" y="13348"/>
                </a:lnTo>
                <a:lnTo>
                  <a:pt x="14019" y="14072"/>
                </a:lnTo>
                <a:cubicBezTo>
                  <a:pt x="14019" y="14072"/>
                  <a:pt x="14019" y="14411"/>
                  <a:pt x="14324" y="14411"/>
                </a:cubicBezTo>
                <a:cubicBezTo>
                  <a:pt x="14628" y="14411"/>
                  <a:pt x="14628" y="14072"/>
                  <a:pt x="14628" y="14072"/>
                </a:cubicBezTo>
                <a:lnTo>
                  <a:pt x="14628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1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8" y="11782"/>
                  <a:pt x="12036" y="11558"/>
                  <a:pt x="12347" y="11558"/>
                </a:cubicBezTo>
                <a:cubicBezTo>
                  <a:pt x="12752" y="11558"/>
                  <a:pt x="12904" y="11896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3" y="11074"/>
                </a:lnTo>
                <a:lnTo>
                  <a:pt x="6363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0" y="9334"/>
                  <a:pt x="7074" y="9430"/>
                  <a:pt x="7074" y="9430"/>
                </a:cubicBezTo>
                <a:cubicBezTo>
                  <a:pt x="6233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5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0"/>
                  <a:pt x="14527" y="943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0"/>
                </a:moveTo>
                <a:cubicBezTo>
                  <a:pt x="11860" y="12090"/>
                  <a:pt x="11757" y="12168"/>
                  <a:pt x="11687" y="12243"/>
                </a:cubicBezTo>
                <a:lnTo>
                  <a:pt x="11687" y="14276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0"/>
                  <a:pt x="11992" y="1209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1"/>
                </a:moveTo>
                <a:cubicBezTo>
                  <a:pt x="12802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49" y="8348"/>
                  <a:pt x="12549" y="8196"/>
                  <a:pt x="12549" y="8196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1"/>
                  <a:pt x="12397" y="8801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62" name="Shape 2862"/>
          <p:cNvSpPr/>
          <p:nvPr/>
        </p:nvSpPr>
        <p:spPr>
          <a:xfrm>
            <a:off x="6784821" y="33310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672" y="6382"/>
                </a:moveTo>
                <a:cubicBezTo>
                  <a:pt x="10464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9" y="11643"/>
                </a:cubicBezTo>
                <a:cubicBezTo>
                  <a:pt x="8462" y="11568"/>
                  <a:pt x="8536" y="11425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7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7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7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2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7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1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63" name="Shape 2863"/>
          <p:cNvSpPr/>
          <p:nvPr/>
        </p:nvSpPr>
        <p:spPr>
          <a:xfrm>
            <a:off x="7318082" y="33310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5" y="8897"/>
                  <a:pt x="11997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4" y="9937"/>
                  <a:pt x="12643" y="10393"/>
                  <a:pt x="12232" y="10991"/>
                </a:cubicBezTo>
                <a:cubicBezTo>
                  <a:pt x="11821" y="11589"/>
                  <a:pt x="11513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5"/>
                  <a:pt x="8774" y="6973"/>
                </a:cubicBezTo>
                <a:cubicBezTo>
                  <a:pt x="8450" y="7000"/>
                  <a:pt x="7966" y="7272"/>
                  <a:pt x="7320" y="7789"/>
                </a:cubicBezTo>
                <a:cubicBezTo>
                  <a:pt x="6849" y="8183"/>
                  <a:pt x="6372" y="8577"/>
                  <a:pt x="5888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2"/>
                </a:cubicBezTo>
                <a:cubicBezTo>
                  <a:pt x="8333" y="11460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2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8"/>
                  <a:pt x="14281" y="6871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64" name="Shape 2864"/>
          <p:cNvSpPr/>
          <p:nvPr/>
        </p:nvSpPr>
        <p:spPr>
          <a:xfrm>
            <a:off x="7851343" y="33310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5" y="7359"/>
                </a:moveTo>
                <a:lnTo>
                  <a:pt x="13743" y="7359"/>
                </a:lnTo>
                <a:lnTo>
                  <a:pt x="13743" y="8833"/>
                </a:lnTo>
                <a:lnTo>
                  <a:pt x="12265" y="8833"/>
                </a:lnTo>
                <a:lnTo>
                  <a:pt x="12265" y="9816"/>
                </a:lnTo>
                <a:lnTo>
                  <a:pt x="13743" y="9816"/>
                </a:lnTo>
                <a:lnTo>
                  <a:pt x="13743" y="11283"/>
                </a:lnTo>
                <a:lnTo>
                  <a:pt x="14725" y="11283"/>
                </a:lnTo>
                <a:lnTo>
                  <a:pt x="14725" y="9816"/>
                </a:lnTo>
                <a:lnTo>
                  <a:pt x="16205" y="9816"/>
                </a:lnTo>
                <a:lnTo>
                  <a:pt x="16205" y="8833"/>
                </a:lnTo>
                <a:lnTo>
                  <a:pt x="14725" y="8833"/>
                </a:lnTo>
                <a:cubicBezTo>
                  <a:pt x="14725" y="8833"/>
                  <a:pt x="14725" y="7359"/>
                  <a:pt x="14725" y="7359"/>
                </a:cubicBezTo>
                <a:close/>
                <a:moveTo>
                  <a:pt x="9321" y="13946"/>
                </a:moveTo>
                <a:cubicBezTo>
                  <a:pt x="8620" y="13946"/>
                  <a:pt x="8071" y="13495"/>
                  <a:pt x="8071" y="12919"/>
                </a:cubicBezTo>
                <a:cubicBezTo>
                  <a:pt x="8071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47" y="11723"/>
                </a:lnTo>
                <a:lnTo>
                  <a:pt x="9465" y="11929"/>
                </a:lnTo>
                <a:cubicBezTo>
                  <a:pt x="9624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40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5" y="8362"/>
                  <a:pt x="8574" y="8014"/>
                  <a:pt x="8754" y="7806"/>
                </a:cubicBezTo>
                <a:cubicBezTo>
                  <a:pt x="8864" y="7680"/>
                  <a:pt x="9006" y="7613"/>
                  <a:pt x="9164" y="7613"/>
                </a:cubicBez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5" y="9596"/>
                  <a:pt x="9970" y="9809"/>
                </a:cubicBezTo>
                <a:cubicBezTo>
                  <a:pt x="9860" y="9935"/>
                  <a:pt x="9722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6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6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5"/>
                  <a:pt x="11386" y="8784"/>
                </a:cubicBezTo>
                <a:cubicBezTo>
                  <a:pt x="11386" y="8342"/>
                  <a:pt x="11262" y="7947"/>
                  <a:pt x="11050" y="7659"/>
                </a:cubicBezTo>
                <a:lnTo>
                  <a:pt x="11238" y="7659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5" y="6873"/>
                  <a:pt x="7345" y="7759"/>
                  <a:pt x="7345" y="8769"/>
                </a:cubicBezTo>
                <a:cubicBezTo>
                  <a:pt x="7345" y="9812"/>
                  <a:pt x="8109" y="10605"/>
                  <a:pt x="9137" y="10648"/>
                </a:cubicBezTo>
                <a:cubicBezTo>
                  <a:pt x="9121" y="10722"/>
                  <a:pt x="9113" y="10795"/>
                  <a:pt x="9113" y="10868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3" y="11309"/>
                  <a:pt x="6870" y="12161"/>
                  <a:pt x="6870" y="13167"/>
                </a:cubicBezTo>
                <a:cubicBezTo>
                  <a:pt x="6870" y="14071"/>
                  <a:pt x="7903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65" name="Shape 2865"/>
          <p:cNvSpPr/>
          <p:nvPr/>
        </p:nvSpPr>
        <p:spPr>
          <a:xfrm>
            <a:off x="8384604" y="33310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3430" y="9320"/>
                </a:moveTo>
                <a:cubicBezTo>
                  <a:pt x="11975" y="9320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0"/>
                  <a:pt x="13430" y="9320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0"/>
                </a:lnTo>
                <a:lnTo>
                  <a:pt x="6873" y="9320"/>
                </a:lnTo>
                <a:cubicBezTo>
                  <a:pt x="6873" y="9320"/>
                  <a:pt x="6873" y="14727"/>
                  <a:pt x="6873" y="14727"/>
                </a:cubicBezTo>
                <a:close/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66" name="Shape 2866"/>
          <p:cNvSpPr/>
          <p:nvPr/>
        </p:nvSpPr>
        <p:spPr>
          <a:xfrm>
            <a:off x="8917865" y="33310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591" y="13291"/>
                </a:moveTo>
                <a:cubicBezTo>
                  <a:pt x="11452" y="13214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9" y="13478"/>
                  <a:pt x="9448" y="13667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20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6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1" y="13291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67" name="Shape 2867"/>
          <p:cNvSpPr/>
          <p:nvPr/>
        </p:nvSpPr>
        <p:spPr>
          <a:xfrm>
            <a:off x="9451126" y="33310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2"/>
                </a:lnTo>
                <a:cubicBezTo>
                  <a:pt x="13281" y="13032"/>
                  <a:pt x="13386" y="13050"/>
                  <a:pt x="13473" y="13085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7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8" y="14187"/>
                  <a:pt x="12550" y="14335"/>
                  <a:pt x="12631" y="14459"/>
                </a:cubicBezTo>
                <a:cubicBezTo>
                  <a:pt x="12706" y="14574"/>
                  <a:pt x="12831" y="14661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6"/>
                  <a:pt x="13722" y="13990"/>
                  <a:pt x="13643" y="13857"/>
                </a:cubicBezTo>
                <a:cubicBezTo>
                  <a:pt x="13567" y="13732"/>
                  <a:pt x="13439" y="13644"/>
                  <a:pt x="13280" y="13606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98" y="6884"/>
                </a:moveTo>
                <a:lnTo>
                  <a:pt x="12930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2" y="6884"/>
                </a:lnTo>
                <a:lnTo>
                  <a:pt x="9988" y="10156"/>
                </a:lnTo>
                <a:lnTo>
                  <a:pt x="8067" y="6873"/>
                </a:lnTo>
                <a:lnTo>
                  <a:pt x="8000" y="6891"/>
                </a:lnTo>
                <a:cubicBezTo>
                  <a:pt x="7739" y="6962"/>
                  <a:pt x="7347" y="6960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6"/>
                  <a:pt x="10190" y="14646"/>
                  <a:pt x="10449" y="14719"/>
                </a:cubicBezTo>
                <a:lnTo>
                  <a:pt x="10573" y="14722"/>
                </a:lnTo>
                <a:lnTo>
                  <a:pt x="10512" y="11391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5" y="7029"/>
                </a:cubicBezTo>
                <a:cubicBezTo>
                  <a:pt x="13015" y="7029"/>
                  <a:pt x="13098" y="6884"/>
                  <a:pt x="13098" y="6884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68" name="Shape 2868"/>
          <p:cNvSpPr/>
          <p:nvPr/>
        </p:nvSpPr>
        <p:spPr>
          <a:xfrm>
            <a:off x="9984387" y="33310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2965" y="14699"/>
                </a:moveTo>
                <a:lnTo>
                  <a:pt x="12958" y="14707"/>
                </a:lnTo>
                <a:lnTo>
                  <a:pt x="10801" y="13100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0" y="14627"/>
                </a:lnTo>
                <a:lnTo>
                  <a:pt x="14000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2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75" y="13002"/>
                </a:lnTo>
                <a:lnTo>
                  <a:pt x="8631" y="13516"/>
                </a:lnTo>
                <a:lnTo>
                  <a:pt x="10063" y="12429"/>
                </a:lnTo>
                <a:lnTo>
                  <a:pt x="10780" y="11880"/>
                </a:lnTo>
                <a:lnTo>
                  <a:pt x="10782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5" y="11880"/>
                </a:lnTo>
                <a:lnTo>
                  <a:pt x="12509" y="13148"/>
                </a:lnTo>
                <a:lnTo>
                  <a:pt x="13007" y="13515"/>
                </a:lnTo>
                <a:lnTo>
                  <a:pt x="16198" y="11575"/>
                </a:lnTo>
                <a:lnTo>
                  <a:pt x="13925" y="9727"/>
                </a:lnTo>
                <a:lnTo>
                  <a:pt x="10788" y="11715"/>
                </a:lnTo>
                <a:cubicBezTo>
                  <a:pt x="10788" y="11715"/>
                  <a:pt x="7642" y="9766"/>
                  <a:pt x="7642" y="9766"/>
                </a:cubicBezTo>
                <a:close/>
                <a:moveTo>
                  <a:pt x="13925" y="9727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7"/>
                  <a:pt x="13925" y="9727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69" name="Shape 2869"/>
          <p:cNvSpPr/>
          <p:nvPr/>
        </p:nvSpPr>
        <p:spPr>
          <a:xfrm>
            <a:off x="10517648" y="33310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7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7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6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70" name="Shape 2870"/>
          <p:cNvSpPr/>
          <p:nvPr/>
        </p:nvSpPr>
        <p:spPr>
          <a:xfrm>
            <a:off x="11050909" y="3331046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7"/>
                </a:lnTo>
                <a:cubicBezTo>
                  <a:pt x="15118" y="9995"/>
                  <a:pt x="15213" y="9425"/>
                  <a:pt x="15213" y="8919"/>
                </a:cubicBezTo>
                <a:cubicBezTo>
                  <a:pt x="15213" y="8812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7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1" y="8413"/>
                </a:cubicBezTo>
                <a:cubicBezTo>
                  <a:pt x="9351" y="8413"/>
                  <a:pt x="9605" y="8444"/>
                  <a:pt x="9874" y="8460"/>
                </a:cubicBezTo>
                <a:lnTo>
                  <a:pt x="10651" y="10590"/>
                </a:lnTo>
                <a:lnTo>
                  <a:pt x="9559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1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5" y="8063"/>
                  <a:pt x="6726" y="8060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90" y="12162"/>
                </a:cubicBezTo>
                <a:lnTo>
                  <a:pt x="13291" y="13825"/>
                </a:lnTo>
                <a:cubicBezTo>
                  <a:pt x="13291" y="13825"/>
                  <a:pt x="11487" y="8460"/>
                  <a:pt x="11487" y="8460"/>
                </a:cubicBezTo>
                <a:close/>
                <a:moveTo>
                  <a:pt x="10800" y="15709"/>
                </a:moveTo>
                <a:cubicBezTo>
                  <a:pt x="10320" y="15709"/>
                  <a:pt x="9857" y="15637"/>
                  <a:pt x="9417" y="15508"/>
                </a:cubicBezTo>
                <a:lnTo>
                  <a:pt x="10887" y="11237"/>
                </a:lnTo>
                <a:cubicBezTo>
                  <a:pt x="10887" y="11237"/>
                  <a:pt x="12211" y="14864"/>
                  <a:pt x="12426" y="15428"/>
                </a:cubicBezTo>
                <a:cubicBezTo>
                  <a:pt x="11916" y="15607"/>
                  <a:pt x="11370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8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4" y="16691"/>
                  <a:pt x="16691" y="14054"/>
                  <a:pt x="16691" y="10800"/>
                </a:cubicBezTo>
                <a:cubicBezTo>
                  <a:pt x="16691" y="7547"/>
                  <a:pt x="14054" y="4909"/>
                  <a:pt x="10800" y="49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71" name="Shape 2871"/>
          <p:cNvSpPr/>
          <p:nvPr/>
        </p:nvSpPr>
        <p:spPr>
          <a:xfrm>
            <a:off x="6251560" y="386430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36" y="10309"/>
                </a:moveTo>
                <a:cubicBezTo>
                  <a:pt x="13552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9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9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1" y="10800"/>
                  <a:pt x="9313" y="10470"/>
                  <a:pt x="10852" y="9873"/>
                </a:cubicBezTo>
                <a:cubicBezTo>
                  <a:pt x="11016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9"/>
                  <a:pt x="10353" y="9000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3"/>
                  <a:pt x="7547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72" name="Shape 2872"/>
          <p:cNvSpPr/>
          <p:nvPr/>
        </p:nvSpPr>
        <p:spPr>
          <a:xfrm>
            <a:off x="6784821" y="386430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40" y="7246"/>
                  <a:pt x="15108" y="7411"/>
                  <a:pt x="14650" y="7499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6" y="7236"/>
                </a:cubicBezTo>
                <a:cubicBezTo>
                  <a:pt x="6892" y="7529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1"/>
                  <a:pt x="7483" y="11638"/>
                </a:cubicBezTo>
                <a:cubicBezTo>
                  <a:pt x="7739" y="12426"/>
                  <a:pt x="8482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3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29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0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73" name="Shape 2873"/>
          <p:cNvSpPr/>
          <p:nvPr/>
        </p:nvSpPr>
        <p:spPr>
          <a:xfrm>
            <a:off x="7318082" y="386430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8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74" name="Shape 2874"/>
          <p:cNvSpPr/>
          <p:nvPr/>
        </p:nvSpPr>
        <p:spPr>
          <a:xfrm>
            <a:off x="7851343" y="386430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20" y="12090"/>
                  <a:pt x="14020" y="12429"/>
                  <a:pt x="14020" y="12429"/>
                </a:cubicBezTo>
                <a:lnTo>
                  <a:pt x="14020" y="12863"/>
                </a:lnTo>
                <a:lnTo>
                  <a:pt x="14629" y="12863"/>
                </a:lnTo>
                <a:lnTo>
                  <a:pt x="14629" y="12429"/>
                </a:lnTo>
                <a:cubicBezTo>
                  <a:pt x="14629" y="12429"/>
                  <a:pt x="14629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20" y="13348"/>
                </a:lnTo>
                <a:lnTo>
                  <a:pt x="14020" y="14072"/>
                </a:lnTo>
                <a:cubicBezTo>
                  <a:pt x="14020" y="14072"/>
                  <a:pt x="14020" y="14411"/>
                  <a:pt x="14324" y="14411"/>
                </a:cubicBezTo>
                <a:cubicBezTo>
                  <a:pt x="14629" y="14411"/>
                  <a:pt x="14629" y="14072"/>
                  <a:pt x="14629" y="14072"/>
                </a:cubicBezTo>
                <a:lnTo>
                  <a:pt x="14629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2" y="14266"/>
                  <a:pt x="13412" y="14266"/>
                </a:cubicBezTo>
                <a:lnTo>
                  <a:pt x="13412" y="12380"/>
                </a:lnTo>
                <a:cubicBezTo>
                  <a:pt x="13412" y="12380"/>
                  <a:pt x="13412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5" y="14169"/>
                </a:moveTo>
                <a:cubicBezTo>
                  <a:pt x="12905" y="14169"/>
                  <a:pt x="12905" y="14943"/>
                  <a:pt x="12347" y="14943"/>
                </a:cubicBezTo>
                <a:cubicBezTo>
                  <a:pt x="12005" y="14943"/>
                  <a:pt x="11798" y="14762"/>
                  <a:pt x="11688" y="14621"/>
                </a:cubicBezTo>
                <a:lnTo>
                  <a:pt x="11688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8" y="10446"/>
                </a:lnTo>
                <a:lnTo>
                  <a:pt x="11688" y="11888"/>
                </a:lnTo>
                <a:cubicBezTo>
                  <a:pt x="11788" y="11782"/>
                  <a:pt x="12037" y="11558"/>
                  <a:pt x="12347" y="11558"/>
                </a:cubicBezTo>
                <a:cubicBezTo>
                  <a:pt x="12752" y="11558"/>
                  <a:pt x="12905" y="11896"/>
                  <a:pt x="12905" y="12332"/>
                </a:cubicBezTo>
                <a:cubicBezTo>
                  <a:pt x="12905" y="12332"/>
                  <a:pt x="12905" y="14169"/>
                  <a:pt x="12905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4" y="11074"/>
                </a:lnTo>
                <a:lnTo>
                  <a:pt x="6364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1" y="9334"/>
                  <a:pt x="7074" y="9430"/>
                  <a:pt x="7074" y="9430"/>
                </a:cubicBezTo>
                <a:cubicBezTo>
                  <a:pt x="6234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4" y="16104"/>
                  <a:pt x="7074" y="16104"/>
                </a:cubicBezTo>
                <a:cubicBezTo>
                  <a:pt x="7074" y="16104"/>
                  <a:pt x="8905" y="16200"/>
                  <a:pt x="10800" y="16200"/>
                </a:cubicBezTo>
                <a:cubicBezTo>
                  <a:pt x="12631" y="16200"/>
                  <a:pt x="14527" y="16104"/>
                  <a:pt x="14527" y="16104"/>
                </a:cubicBezTo>
                <a:cubicBezTo>
                  <a:pt x="15367" y="16104"/>
                  <a:pt x="16049" y="15454"/>
                  <a:pt x="16049" y="14652"/>
                </a:cubicBezTo>
                <a:cubicBezTo>
                  <a:pt x="16049" y="14652"/>
                  <a:pt x="16200" y="13700"/>
                  <a:pt x="16200" y="12767"/>
                </a:cubicBezTo>
                <a:cubicBezTo>
                  <a:pt x="16200" y="11814"/>
                  <a:pt x="16049" y="10881"/>
                  <a:pt x="16049" y="10881"/>
                </a:cubicBezTo>
                <a:cubicBezTo>
                  <a:pt x="16049" y="10080"/>
                  <a:pt x="15367" y="9430"/>
                  <a:pt x="14527" y="9430"/>
                </a:cubicBezTo>
                <a:moveTo>
                  <a:pt x="11992" y="12090"/>
                </a:moveTo>
                <a:cubicBezTo>
                  <a:pt x="11860" y="12090"/>
                  <a:pt x="11757" y="12167"/>
                  <a:pt x="11688" y="12243"/>
                </a:cubicBezTo>
                <a:lnTo>
                  <a:pt x="11688" y="14276"/>
                </a:lnTo>
                <a:cubicBezTo>
                  <a:pt x="11751" y="14345"/>
                  <a:pt x="11848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9"/>
                </a:lnTo>
                <a:cubicBezTo>
                  <a:pt x="12296" y="12429"/>
                  <a:pt x="12245" y="12090"/>
                  <a:pt x="11992" y="12090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0166" y="6634"/>
                </a:moveTo>
                <a:cubicBezTo>
                  <a:pt x="10166" y="6467"/>
                  <a:pt x="10303" y="6332"/>
                  <a:pt x="10471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1" y="8348"/>
                </a:cubicBezTo>
                <a:cubicBezTo>
                  <a:pt x="10303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7"/>
                  <a:pt x="10572" y="5877"/>
                </a:cubicBezTo>
                <a:lnTo>
                  <a:pt x="10369" y="5877"/>
                </a:lnTo>
                <a:cubicBezTo>
                  <a:pt x="9921" y="5877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  <a:moveTo>
                  <a:pt x="12398" y="8801"/>
                </a:moveTo>
                <a:cubicBezTo>
                  <a:pt x="12803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7" y="8751"/>
                </a:lnTo>
                <a:lnTo>
                  <a:pt x="13767" y="5877"/>
                </a:lnTo>
                <a:lnTo>
                  <a:pt x="13158" y="5877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50" y="8348"/>
                  <a:pt x="12550" y="8197"/>
                  <a:pt x="12550" y="8197"/>
                </a:cubicBezTo>
                <a:lnTo>
                  <a:pt x="12550" y="5877"/>
                </a:lnTo>
                <a:lnTo>
                  <a:pt x="11941" y="5877"/>
                </a:lnTo>
                <a:lnTo>
                  <a:pt x="11941" y="8398"/>
                </a:lnTo>
                <a:cubicBezTo>
                  <a:pt x="11941" y="8398"/>
                  <a:pt x="11992" y="8801"/>
                  <a:pt x="12398" y="8801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75" name="Shape 2875"/>
          <p:cNvSpPr/>
          <p:nvPr/>
        </p:nvSpPr>
        <p:spPr>
          <a:xfrm>
            <a:off x="8384604" y="386430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672" y="6382"/>
                </a:moveTo>
                <a:cubicBezTo>
                  <a:pt x="10463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8" y="11643"/>
                </a:cubicBezTo>
                <a:cubicBezTo>
                  <a:pt x="8462" y="11568"/>
                  <a:pt x="8536" y="11424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6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6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8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1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8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2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76" name="Shape 2876"/>
          <p:cNvSpPr/>
          <p:nvPr/>
        </p:nvSpPr>
        <p:spPr>
          <a:xfrm>
            <a:off x="8917865" y="386430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4" y="8897"/>
                  <a:pt x="11998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3" y="9937"/>
                  <a:pt x="12643" y="10393"/>
                  <a:pt x="12232" y="10991"/>
                </a:cubicBezTo>
                <a:cubicBezTo>
                  <a:pt x="11821" y="11589"/>
                  <a:pt x="11512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4"/>
                  <a:pt x="8773" y="6972"/>
                </a:cubicBezTo>
                <a:cubicBezTo>
                  <a:pt x="8450" y="7000"/>
                  <a:pt x="7966" y="7272"/>
                  <a:pt x="7320" y="7788"/>
                </a:cubicBezTo>
                <a:cubicBezTo>
                  <a:pt x="6849" y="8183"/>
                  <a:pt x="6372" y="8577"/>
                  <a:pt x="5887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3"/>
                </a:cubicBezTo>
                <a:cubicBezTo>
                  <a:pt x="8333" y="11461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1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9"/>
                  <a:pt x="14281" y="6871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77" name="Shape 2877"/>
          <p:cNvSpPr/>
          <p:nvPr/>
        </p:nvSpPr>
        <p:spPr>
          <a:xfrm>
            <a:off x="9451126" y="386430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4" y="7360"/>
                </a:moveTo>
                <a:lnTo>
                  <a:pt x="13742" y="7360"/>
                </a:lnTo>
                <a:lnTo>
                  <a:pt x="13742" y="8833"/>
                </a:lnTo>
                <a:lnTo>
                  <a:pt x="12265" y="8833"/>
                </a:lnTo>
                <a:lnTo>
                  <a:pt x="12265" y="9815"/>
                </a:lnTo>
                <a:lnTo>
                  <a:pt x="13742" y="9815"/>
                </a:lnTo>
                <a:lnTo>
                  <a:pt x="13742" y="11283"/>
                </a:lnTo>
                <a:lnTo>
                  <a:pt x="14724" y="11283"/>
                </a:lnTo>
                <a:lnTo>
                  <a:pt x="14724" y="9815"/>
                </a:lnTo>
                <a:lnTo>
                  <a:pt x="16204" y="9815"/>
                </a:lnTo>
                <a:lnTo>
                  <a:pt x="16204" y="8833"/>
                </a:lnTo>
                <a:lnTo>
                  <a:pt x="14724" y="8833"/>
                </a:lnTo>
                <a:cubicBezTo>
                  <a:pt x="14724" y="8833"/>
                  <a:pt x="14724" y="7360"/>
                  <a:pt x="14724" y="7360"/>
                </a:cubicBezTo>
                <a:close/>
                <a:moveTo>
                  <a:pt x="9321" y="13946"/>
                </a:moveTo>
                <a:cubicBezTo>
                  <a:pt x="8620" y="13946"/>
                  <a:pt x="8070" y="13495"/>
                  <a:pt x="8070" y="12919"/>
                </a:cubicBezTo>
                <a:cubicBezTo>
                  <a:pt x="8070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65" y="11929"/>
                </a:lnTo>
                <a:cubicBezTo>
                  <a:pt x="9623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39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4" y="8362"/>
                  <a:pt x="8574" y="8014"/>
                  <a:pt x="8754" y="7806"/>
                </a:cubicBezTo>
                <a:cubicBezTo>
                  <a:pt x="8864" y="7680"/>
                  <a:pt x="9006" y="7612"/>
                  <a:pt x="9163" y="7612"/>
                </a:cubicBezTo>
                <a:lnTo>
                  <a:pt x="9163" y="7409"/>
                </a:ln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4" y="9595"/>
                  <a:pt x="9969" y="9809"/>
                </a:cubicBezTo>
                <a:cubicBezTo>
                  <a:pt x="9860" y="9935"/>
                  <a:pt x="9721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5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7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6"/>
                  <a:pt x="11386" y="8784"/>
                </a:cubicBezTo>
                <a:cubicBezTo>
                  <a:pt x="11386" y="8342"/>
                  <a:pt x="11262" y="7947"/>
                  <a:pt x="11049" y="7660"/>
                </a:cubicBezTo>
                <a:lnTo>
                  <a:pt x="11238" y="7660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4" y="6873"/>
                  <a:pt x="7345" y="7760"/>
                  <a:pt x="7345" y="8769"/>
                </a:cubicBezTo>
                <a:cubicBezTo>
                  <a:pt x="7345" y="9812"/>
                  <a:pt x="8109" y="10605"/>
                  <a:pt x="9136" y="10648"/>
                </a:cubicBezTo>
                <a:cubicBezTo>
                  <a:pt x="9121" y="10722"/>
                  <a:pt x="9113" y="10795"/>
                  <a:pt x="9113" y="10867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2" y="11309"/>
                  <a:pt x="6869" y="12161"/>
                  <a:pt x="6869" y="13167"/>
                </a:cubicBezTo>
                <a:cubicBezTo>
                  <a:pt x="6869" y="14071"/>
                  <a:pt x="7902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78" name="Shape 2878"/>
          <p:cNvSpPr/>
          <p:nvPr/>
        </p:nvSpPr>
        <p:spPr>
          <a:xfrm>
            <a:off x="9984387" y="386430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430" y="9321"/>
                </a:moveTo>
                <a:cubicBezTo>
                  <a:pt x="11975" y="9321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1"/>
                  <a:pt x="13430" y="9321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1"/>
                </a:lnTo>
                <a:lnTo>
                  <a:pt x="6873" y="9321"/>
                </a:lnTo>
                <a:cubicBezTo>
                  <a:pt x="6873" y="9321"/>
                  <a:pt x="6873" y="14727"/>
                  <a:pt x="6873" y="14727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79" name="Shape 2879"/>
          <p:cNvSpPr/>
          <p:nvPr/>
        </p:nvSpPr>
        <p:spPr>
          <a:xfrm>
            <a:off x="10517648" y="386430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1592" y="13291"/>
                </a:moveTo>
                <a:cubicBezTo>
                  <a:pt x="11452" y="13213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8" y="13478"/>
                  <a:pt x="9448" y="13666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19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5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2" y="13291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80" name="Shape 2880"/>
          <p:cNvSpPr/>
          <p:nvPr/>
        </p:nvSpPr>
        <p:spPr>
          <a:xfrm>
            <a:off x="11050909" y="386430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1"/>
                </a:lnTo>
                <a:cubicBezTo>
                  <a:pt x="13281" y="13031"/>
                  <a:pt x="13386" y="13050"/>
                  <a:pt x="13473" y="13084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6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9" y="14187"/>
                  <a:pt x="12549" y="14335"/>
                  <a:pt x="12630" y="14459"/>
                </a:cubicBezTo>
                <a:cubicBezTo>
                  <a:pt x="12706" y="14574"/>
                  <a:pt x="12831" y="14660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5"/>
                  <a:pt x="13722" y="13989"/>
                  <a:pt x="13642" y="13858"/>
                </a:cubicBezTo>
                <a:cubicBezTo>
                  <a:pt x="13567" y="13733"/>
                  <a:pt x="13439" y="13643"/>
                  <a:pt x="13280" y="13606"/>
                </a:cubicBezTo>
                <a:moveTo>
                  <a:pt x="13014" y="7028"/>
                </a:moveTo>
                <a:lnTo>
                  <a:pt x="13098" y="6884"/>
                </a:lnTo>
                <a:lnTo>
                  <a:pt x="12931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1" y="6884"/>
                </a:lnTo>
                <a:lnTo>
                  <a:pt x="9988" y="10156"/>
                </a:lnTo>
                <a:lnTo>
                  <a:pt x="8067" y="6872"/>
                </a:lnTo>
                <a:lnTo>
                  <a:pt x="8000" y="6890"/>
                </a:lnTo>
                <a:cubicBezTo>
                  <a:pt x="7739" y="6962"/>
                  <a:pt x="7347" y="6961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5"/>
                  <a:pt x="10190" y="14645"/>
                  <a:pt x="10449" y="14719"/>
                </a:cubicBezTo>
                <a:lnTo>
                  <a:pt x="10573" y="14722"/>
                </a:lnTo>
                <a:lnTo>
                  <a:pt x="10512" y="11390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4" y="7028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81" name="Shape 2881"/>
          <p:cNvSpPr/>
          <p:nvPr/>
        </p:nvSpPr>
        <p:spPr>
          <a:xfrm>
            <a:off x="6251560" y="4397568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3925" y="9726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6"/>
                  <a:pt x="13925" y="9726"/>
                </a:cubicBezTo>
                <a:close/>
                <a:moveTo>
                  <a:pt x="12965" y="14699"/>
                </a:moveTo>
                <a:lnTo>
                  <a:pt x="12959" y="14707"/>
                </a:lnTo>
                <a:lnTo>
                  <a:pt x="10801" y="13101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1" y="14627"/>
                </a:lnTo>
                <a:lnTo>
                  <a:pt x="14001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1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42" y="12982"/>
                </a:lnTo>
                <a:lnTo>
                  <a:pt x="8631" y="13516"/>
                </a:lnTo>
                <a:lnTo>
                  <a:pt x="10060" y="12431"/>
                </a:lnTo>
                <a:lnTo>
                  <a:pt x="10780" y="11879"/>
                </a:lnTo>
                <a:lnTo>
                  <a:pt x="10783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4" y="11879"/>
                </a:lnTo>
                <a:lnTo>
                  <a:pt x="12515" y="13153"/>
                </a:lnTo>
                <a:lnTo>
                  <a:pt x="13007" y="13515"/>
                </a:lnTo>
                <a:lnTo>
                  <a:pt x="16199" y="11575"/>
                </a:lnTo>
                <a:lnTo>
                  <a:pt x="13925" y="9726"/>
                </a:lnTo>
                <a:lnTo>
                  <a:pt x="10787" y="11715"/>
                </a:lnTo>
                <a:cubicBezTo>
                  <a:pt x="10787" y="11715"/>
                  <a:pt x="7641" y="9766"/>
                  <a:pt x="7641" y="9766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82" name="Shape 2882"/>
          <p:cNvSpPr/>
          <p:nvPr/>
        </p:nvSpPr>
        <p:spPr>
          <a:xfrm>
            <a:off x="6784821" y="4397568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83" name="Shape 2883"/>
          <p:cNvSpPr/>
          <p:nvPr/>
        </p:nvSpPr>
        <p:spPr>
          <a:xfrm>
            <a:off x="7318082" y="4397568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6"/>
                </a:lnTo>
                <a:cubicBezTo>
                  <a:pt x="15118" y="9994"/>
                  <a:pt x="15213" y="9425"/>
                  <a:pt x="15213" y="8918"/>
                </a:cubicBezTo>
                <a:cubicBezTo>
                  <a:pt x="15213" y="8811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8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0" y="8413"/>
                </a:cubicBezTo>
                <a:cubicBezTo>
                  <a:pt x="9350" y="8413"/>
                  <a:pt x="9605" y="8444"/>
                  <a:pt x="9874" y="8460"/>
                </a:cubicBezTo>
                <a:lnTo>
                  <a:pt x="10652" y="10591"/>
                </a:lnTo>
                <a:lnTo>
                  <a:pt x="9560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2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4" y="8063"/>
                  <a:pt x="6727" y="8061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89" y="12162"/>
                </a:cubicBezTo>
                <a:lnTo>
                  <a:pt x="13291" y="13825"/>
                </a:lnTo>
                <a:cubicBezTo>
                  <a:pt x="13291" y="13825"/>
                  <a:pt x="11488" y="8460"/>
                  <a:pt x="11488" y="8460"/>
                </a:cubicBezTo>
                <a:close/>
                <a:moveTo>
                  <a:pt x="10800" y="15709"/>
                </a:moveTo>
                <a:cubicBezTo>
                  <a:pt x="10319" y="15709"/>
                  <a:pt x="9857" y="15637"/>
                  <a:pt x="9418" y="15508"/>
                </a:cubicBezTo>
                <a:lnTo>
                  <a:pt x="10887" y="11236"/>
                </a:lnTo>
                <a:cubicBezTo>
                  <a:pt x="10887" y="11236"/>
                  <a:pt x="12211" y="14865"/>
                  <a:pt x="12425" y="15428"/>
                </a:cubicBezTo>
                <a:cubicBezTo>
                  <a:pt x="11916" y="15607"/>
                  <a:pt x="11371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9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84" name="Shape 2884"/>
          <p:cNvSpPr/>
          <p:nvPr/>
        </p:nvSpPr>
        <p:spPr>
          <a:xfrm>
            <a:off x="7851343" y="4397568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36" y="10309"/>
                </a:moveTo>
                <a:cubicBezTo>
                  <a:pt x="13551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8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8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0" y="10800"/>
                  <a:pt x="9312" y="10469"/>
                  <a:pt x="10852" y="9873"/>
                </a:cubicBezTo>
                <a:cubicBezTo>
                  <a:pt x="11015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8"/>
                  <a:pt x="10353" y="9001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85" name="Shape 2885"/>
          <p:cNvSpPr/>
          <p:nvPr/>
        </p:nvSpPr>
        <p:spPr>
          <a:xfrm>
            <a:off x="8409997" y="4397568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00" y="13698"/>
                </a:moveTo>
                <a:cubicBezTo>
                  <a:pt x="15500" y="14629"/>
                  <a:pt x="14906" y="15067"/>
                  <a:pt x="13996" y="15061"/>
                </a:cubicBezTo>
                <a:cubicBezTo>
                  <a:pt x="13870" y="15061"/>
                  <a:pt x="13731" y="15061"/>
                  <a:pt x="13646" y="15044"/>
                </a:cubicBezTo>
                <a:lnTo>
                  <a:pt x="13646" y="12497"/>
                </a:lnTo>
                <a:cubicBezTo>
                  <a:pt x="13731" y="12480"/>
                  <a:pt x="13877" y="12463"/>
                  <a:pt x="14101" y="12463"/>
                </a:cubicBezTo>
                <a:cubicBezTo>
                  <a:pt x="14966" y="12463"/>
                  <a:pt x="15507" y="12890"/>
                  <a:pt x="15500" y="13698"/>
                </a:cubicBezTo>
                <a:moveTo>
                  <a:pt x="12636" y="11868"/>
                </a:moveTo>
                <a:lnTo>
                  <a:pt x="12636" y="15691"/>
                </a:lnTo>
                <a:cubicBezTo>
                  <a:pt x="12886" y="15720"/>
                  <a:pt x="13256" y="15748"/>
                  <a:pt x="13778" y="15748"/>
                </a:cubicBezTo>
                <a:cubicBezTo>
                  <a:pt x="14649" y="15748"/>
                  <a:pt x="15362" y="15587"/>
                  <a:pt x="15830" y="15246"/>
                </a:cubicBezTo>
                <a:cubicBezTo>
                  <a:pt x="16260" y="14929"/>
                  <a:pt x="16570" y="14415"/>
                  <a:pt x="16570" y="13670"/>
                </a:cubicBezTo>
                <a:cubicBezTo>
                  <a:pt x="16570" y="12982"/>
                  <a:pt x="16279" y="12503"/>
                  <a:pt x="15817" y="12203"/>
                </a:cubicBezTo>
                <a:cubicBezTo>
                  <a:pt x="15388" y="11919"/>
                  <a:pt x="14840" y="11787"/>
                  <a:pt x="13996" y="11787"/>
                </a:cubicBezTo>
                <a:cubicBezTo>
                  <a:pt x="13487" y="11787"/>
                  <a:pt x="13005" y="11815"/>
                  <a:pt x="12636" y="11868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5"/>
                </a:moveTo>
                <a:cubicBezTo>
                  <a:pt x="20400" y="20178"/>
                  <a:pt x="19863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5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5"/>
                  <a:pt x="20400" y="19635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8"/>
                  <a:pt x="0" y="1964"/>
                </a:cubicBezTo>
                <a:lnTo>
                  <a:pt x="0" y="19635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5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769" y="13658"/>
                </a:moveTo>
                <a:cubicBezTo>
                  <a:pt x="6624" y="13658"/>
                  <a:pt x="6519" y="13652"/>
                  <a:pt x="6433" y="13635"/>
                </a:cubicBezTo>
                <a:lnTo>
                  <a:pt x="6433" y="12486"/>
                </a:lnTo>
                <a:cubicBezTo>
                  <a:pt x="6505" y="12468"/>
                  <a:pt x="6644" y="12451"/>
                  <a:pt x="6848" y="12451"/>
                </a:cubicBezTo>
                <a:cubicBezTo>
                  <a:pt x="7350" y="12451"/>
                  <a:pt x="7634" y="12665"/>
                  <a:pt x="7634" y="13023"/>
                </a:cubicBezTo>
                <a:cubicBezTo>
                  <a:pt x="7634" y="13421"/>
                  <a:pt x="7304" y="13658"/>
                  <a:pt x="6769" y="13658"/>
                </a:cubicBezTo>
                <a:moveTo>
                  <a:pt x="6796" y="11787"/>
                </a:moveTo>
                <a:cubicBezTo>
                  <a:pt x="6182" y="11787"/>
                  <a:pt x="5746" y="11821"/>
                  <a:pt x="5436" y="11868"/>
                </a:cubicBezTo>
                <a:lnTo>
                  <a:pt x="5436" y="15708"/>
                </a:lnTo>
                <a:lnTo>
                  <a:pt x="6433" y="15708"/>
                </a:lnTo>
                <a:lnTo>
                  <a:pt x="6433" y="14316"/>
                </a:lnTo>
                <a:cubicBezTo>
                  <a:pt x="6524" y="14328"/>
                  <a:pt x="6644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5" y="13704"/>
                  <a:pt x="8630" y="13381"/>
                  <a:pt x="8630" y="13000"/>
                </a:cubicBezTo>
                <a:cubicBezTo>
                  <a:pt x="8630" y="12618"/>
                  <a:pt x="8439" y="12296"/>
                  <a:pt x="8155" y="12099"/>
                </a:cubicBezTo>
                <a:cubicBezTo>
                  <a:pt x="7858" y="11891"/>
                  <a:pt x="7416" y="11787"/>
                  <a:pt x="6796" y="11787"/>
                </a:cubicBezTo>
                <a:moveTo>
                  <a:pt x="10765" y="13398"/>
                </a:moveTo>
                <a:cubicBezTo>
                  <a:pt x="10191" y="13208"/>
                  <a:pt x="9940" y="13098"/>
                  <a:pt x="9940" y="12850"/>
                </a:cubicBezTo>
                <a:cubicBezTo>
                  <a:pt x="9940" y="12648"/>
                  <a:pt x="10151" y="12474"/>
                  <a:pt x="10587" y="12474"/>
                </a:cubicBezTo>
                <a:cubicBezTo>
                  <a:pt x="11023" y="12474"/>
                  <a:pt x="11339" y="12583"/>
                  <a:pt x="11517" y="12659"/>
                </a:cubicBezTo>
                <a:lnTo>
                  <a:pt x="11742" y="11949"/>
                </a:lnTo>
                <a:cubicBezTo>
                  <a:pt x="11478" y="11845"/>
                  <a:pt x="11108" y="11752"/>
                  <a:pt x="10607" y="11752"/>
                </a:cubicBezTo>
                <a:cubicBezTo>
                  <a:pt x="9558" y="11752"/>
                  <a:pt x="8924" y="12260"/>
                  <a:pt x="8924" y="12924"/>
                </a:cubicBezTo>
                <a:cubicBezTo>
                  <a:pt x="8924" y="13490"/>
                  <a:pt x="9405" y="13849"/>
                  <a:pt x="10145" y="14074"/>
                </a:cubicBezTo>
                <a:cubicBezTo>
                  <a:pt x="10679" y="14241"/>
                  <a:pt x="10891" y="14380"/>
                  <a:pt x="10891" y="14623"/>
                </a:cubicBezTo>
                <a:cubicBezTo>
                  <a:pt x="10891" y="14877"/>
                  <a:pt x="10646" y="15044"/>
                  <a:pt x="10184" y="15044"/>
                </a:cubicBezTo>
                <a:cubicBezTo>
                  <a:pt x="9755" y="15044"/>
                  <a:pt x="9339" y="14923"/>
                  <a:pt x="9069" y="14802"/>
                </a:cubicBezTo>
                <a:lnTo>
                  <a:pt x="8864" y="15529"/>
                </a:lnTo>
                <a:cubicBezTo>
                  <a:pt x="9115" y="15651"/>
                  <a:pt x="9616" y="15766"/>
                  <a:pt x="10124" y="15766"/>
                </a:cubicBezTo>
                <a:cubicBezTo>
                  <a:pt x="11346" y="15766"/>
                  <a:pt x="11920" y="15211"/>
                  <a:pt x="11920" y="14559"/>
                </a:cubicBezTo>
                <a:cubicBezTo>
                  <a:pt x="11920" y="14010"/>
                  <a:pt x="11551" y="13652"/>
                  <a:pt x="10765" y="13398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86" name="Shape 2886"/>
          <p:cNvSpPr/>
          <p:nvPr/>
        </p:nvSpPr>
        <p:spPr>
          <a:xfrm>
            <a:off x="8943258" y="4397568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36" y="15709"/>
                </a:moveTo>
                <a:lnTo>
                  <a:pt x="13646" y="15709"/>
                </a:lnTo>
                <a:lnTo>
                  <a:pt x="13646" y="11816"/>
                </a:lnTo>
                <a:lnTo>
                  <a:pt x="12636" y="11816"/>
                </a:lnTo>
                <a:cubicBezTo>
                  <a:pt x="12636" y="11816"/>
                  <a:pt x="12636" y="15709"/>
                  <a:pt x="126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9618" y="14051"/>
                </a:moveTo>
                <a:lnTo>
                  <a:pt x="9881" y="13225"/>
                </a:lnTo>
                <a:cubicBezTo>
                  <a:pt x="9954" y="13000"/>
                  <a:pt x="10020" y="12706"/>
                  <a:pt x="10086" y="12475"/>
                </a:cubicBezTo>
                <a:lnTo>
                  <a:pt x="10099" y="12475"/>
                </a:lnTo>
                <a:cubicBezTo>
                  <a:pt x="10165" y="12706"/>
                  <a:pt x="10245" y="12994"/>
                  <a:pt x="10324" y="13225"/>
                </a:cubicBezTo>
                <a:lnTo>
                  <a:pt x="10601" y="14051"/>
                </a:lnTo>
                <a:cubicBezTo>
                  <a:pt x="10601" y="14051"/>
                  <a:pt x="9618" y="14051"/>
                  <a:pt x="9618" y="14051"/>
                </a:cubicBezTo>
                <a:close/>
                <a:moveTo>
                  <a:pt x="9472" y="11816"/>
                </a:moveTo>
                <a:lnTo>
                  <a:pt x="8113" y="15709"/>
                </a:lnTo>
                <a:lnTo>
                  <a:pt x="9155" y="15709"/>
                </a:lnTo>
                <a:lnTo>
                  <a:pt x="9472" y="14710"/>
                </a:lnTo>
                <a:lnTo>
                  <a:pt x="10746" y="14710"/>
                </a:lnTo>
                <a:lnTo>
                  <a:pt x="11089" y="15709"/>
                </a:lnTo>
                <a:lnTo>
                  <a:pt x="12172" y="15709"/>
                </a:lnTo>
                <a:lnTo>
                  <a:pt x="10792" y="11816"/>
                </a:lnTo>
                <a:cubicBezTo>
                  <a:pt x="10792" y="11816"/>
                  <a:pt x="9472" y="11816"/>
                  <a:pt x="9472" y="11816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87" name="Shape 2887"/>
          <p:cNvSpPr/>
          <p:nvPr/>
        </p:nvSpPr>
        <p:spPr>
          <a:xfrm>
            <a:off x="9476519" y="4397568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836" y="15709"/>
                </a:moveTo>
                <a:lnTo>
                  <a:pt x="14845" y="15709"/>
                </a:lnTo>
                <a:lnTo>
                  <a:pt x="14845" y="14144"/>
                </a:lnTo>
                <a:lnTo>
                  <a:pt x="16443" y="14144"/>
                </a:lnTo>
                <a:lnTo>
                  <a:pt x="16443" y="13428"/>
                </a:lnTo>
                <a:lnTo>
                  <a:pt x="14845" y="13428"/>
                </a:lnTo>
                <a:lnTo>
                  <a:pt x="14845" y="12538"/>
                </a:lnTo>
                <a:lnTo>
                  <a:pt x="16555" y="12538"/>
                </a:lnTo>
                <a:lnTo>
                  <a:pt x="16555" y="11816"/>
                </a:lnTo>
                <a:lnTo>
                  <a:pt x="13836" y="11816"/>
                </a:lnTo>
                <a:cubicBezTo>
                  <a:pt x="13836" y="11816"/>
                  <a:pt x="13836" y="15709"/>
                  <a:pt x="138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0396" y="15062"/>
                </a:moveTo>
                <a:cubicBezTo>
                  <a:pt x="10270" y="15062"/>
                  <a:pt x="10131" y="15062"/>
                  <a:pt x="10045" y="15045"/>
                </a:cubicBezTo>
                <a:lnTo>
                  <a:pt x="10045" y="12498"/>
                </a:lnTo>
                <a:cubicBezTo>
                  <a:pt x="10131" y="12480"/>
                  <a:pt x="10277" y="12463"/>
                  <a:pt x="10501" y="12463"/>
                </a:cubicBezTo>
                <a:cubicBezTo>
                  <a:pt x="11366" y="12463"/>
                  <a:pt x="11907" y="12891"/>
                  <a:pt x="11900" y="13699"/>
                </a:cubicBezTo>
                <a:cubicBezTo>
                  <a:pt x="11900" y="14629"/>
                  <a:pt x="11306" y="15068"/>
                  <a:pt x="10396" y="15062"/>
                </a:cubicBezTo>
                <a:moveTo>
                  <a:pt x="10396" y="11787"/>
                </a:moveTo>
                <a:cubicBezTo>
                  <a:pt x="9887" y="11787"/>
                  <a:pt x="9405" y="11816"/>
                  <a:pt x="9036" y="11868"/>
                </a:cubicBezTo>
                <a:lnTo>
                  <a:pt x="9036" y="15691"/>
                </a:lnTo>
                <a:cubicBezTo>
                  <a:pt x="9287" y="15720"/>
                  <a:pt x="9656" y="15749"/>
                  <a:pt x="10178" y="15749"/>
                </a:cubicBezTo>
                <a:cubicBezTo>
                  <a:pt x="11048" y="15749"/>
                  <a:pt x="11762" y="15587"/>
                  <a:pt x="12231" y="15246"/>
                </a:cubicBezTo>
                <a:cubicBezTo>
                  <a:pt x="12660" y="14929"/>
                  <a:pt x="12970" y="14415"/>
                  <a:pt x="12970" y="13670"/>
                </a:cubicBezTo>
                <a:cubicBezTo>
                  <a:pt x="12970" y="12983"/>
                  <a:pt x="12680" y="12503"/>
                  <a:pt x="12217" y="12203"/>
                </a:cubicBezTo>
                <a:cubicBezTo>
                  <a:pt x="11788" y="11920"/>
                  <a:pt x="11241" y="11787"/>
                  <a:pt x="10396" y="11787"/>
                </a:cubicBezTo>
                <a:moveTo>
                  <a:pt x="6769" y="13659"/>
                </a:moveTo>
                <a:cubicBezTo>
                  <a:pt x="6623" y="13659"/>
                  <a:pt x="6518" y="13653"/>
                  <a:pt x="6432" y="13636"/>
                </a:cubicBezTo>
                <a:lnTo>
                  <a:pt x="6432" y="12486"/>
                </a:lnTo>
                <a:cubicBezTo>
                  <a:pt x="6505" y="12469"/>
                  <a:pt x="6643" y="12452"/>
                  <a:pt x="6848" y="12452"/>
                </a:cubicBezTo>
                <a:cubicBezTo>
                  <a:pt x="7350" y="12452"/>
                  <a:pt x="7634" y="12665"/>
                  <a:pt x="7634" y="13023"/>
                </a:cubicBezTo>
                <a:cubicBezTo>
                  <a:pt x="7634" y="13422"/>
                  <a:pt x="7304" y="13659"/>
                  <a:pt x="6769" y="13659"/>
                </a:cubicBezTo>
                <a:moveTo>
                  <a:pt x="6796" y="11787"/>
                </a:moveTo>
                <a:cubicBezTo>
                  <a:pt x="6182" y="11787"/>
                  <a:pt x="5746" y="11822"/>
                  <a:pt x="5436" y="11868"/>
                </a:cubicBezTo>
                <a:lnTo>
                  <a:pt x="5436" y="15709"/>
                </a:lnTo>
                <a:lnTo>
                  <a:pt x="6432" y="15709"/>
                </a:lnTo>
                <a:lnTo>
                  <a:pt x="6432" y="14317"/>
                </a:lnTo>
                <a:cubicBezTo>
                  <a:pt x="6525" y="14328"/>
                  <a:pt x="6643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6" y="13705"/>
                  <a:pt x="8631" y="13381"/>
                  <a:pt x="8631" y="13000"/>
                </a:cubicBezTo>
                <a:cubicBezTo>
                  <a:pt x="8631" y="12619"/>
                  <a:pt x="8439" y="12296"/>
                  <a:pt x="8155" y="12099"/>
                </a:cubicBezTo>
                <a:cubicBezTo>
                  <a:pt x="7859" y="11892"/>
                  <a:pt x="7416" y="11787"/>
                  <a:pt x="6796" y="11787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88" name="Shape 2888"/>
          <p:cNvSpPr/>
          <p:nvPr/>
        </p:nvSpPr>
        <p:spPr>
          <a:xfrm>
            <a:off x="10009781" y="4397568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36" y="15709"/>
                </a:moveTo>
                <a:lnTo>
                  <a:pt x="13945" y="15709"/>
                </a:lnTo>
                <a:lnTo>
                  <a:pt x="13945" y="14144"/>
                </a:lnTo>
                <a:lnTo>
                  <a:pt x="15543" y="14144"/>
                </a:lnTo>
                <a:lnTo>
                  <a:pt x="15543" y="13428"/>
                </a:lnTo>
                <a:lnTo>
                  <a:pt x="13945" y="13428"/>
                </a:lnTo>
                <a:lnTo>
                  <a:pt x="13945" y="12538"/>
                </a:lnTo>
                <a:lnTo>
                  <a:pt x="15655" y="12538"/>
                </a:lnTo>
                <a:lnTo>
                  <a:pt x="15655" y="11816"/>
                </a:lnTo>
                <a:lnTo>
                  <a:pt x="12936" y="11816"/>
                </a:lnTo>
                <a:cubicBezTo>
                  <a:pt x="12936" y="11816"/>
                  <a:pt x="12936" y="15709"/>
                  <a:pt x="129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1136" y="15709"/>
                </a:moveTo>
                <a:lnTo>
                  <a:pt x="12145" y="15709"/>
                </a:lnTo>
                <a:lnTo>
                  <a:pt x="12145" y="11816"/>
                </a:lnTo>
                <a:lnTo>
                  <a:pt x="11136" y="11816"/>
                </a:lnTo>
                <a:cubicBezTo>
                  <a:pt x="11136" y="11816"/>
                  <a:pt x="11136" y="15709"/>
                  <a:pt x="11136" y="15709"/>
                </a:cubicBezTo>
                <a:close/>
                <a:moveTo>
                  <a:pt x="8395" y="14167"/>
                </a:moveTo>
                <a:lnTo>
                  <a:pt x="9082" y="14167"/>
                </a:lnTo>
                <a:lnTo>
                  <a:pt x="9082" y="14981"/>
                </a:lnTo>
                <a:cubicBezTo>
                  <a:pt x="9002" y="15015"/>
                  <a:pt x="8818" y="15039"/>
                  <a:pt x="8586" y="15039"/>
                </a:cubicBezTo>
                <a:cubicBezTo>
                  <a:pt x="7761" y="15039"/>
                  <a:pt x="7187" y="14565"/>
                  <a:pt x="7187" y="13762"/>
                </a:cubicBezTo>
                <a:cubicBezTo>
                  <a:pt x="7187" y="12919"/>
                  <a:pt x="7821" y="12503"/>
                  <a:pt x="8659" y="12503"/>
                </a:cubicBezTo>
                <a:cubicBezTo>
                  <a:pt x="9148" y="12503"/>
                  <a:pt x="9451" y="12579"/>
                  <a:pt x="9696" y="12672"/>
                </a:cubicBezTo>
                <a:lnTo>
                  <a:pt x="9907" y="11966"/>
                </a:lnTo>
                <a:cubicBezTo>
                  <a:pt x="9689" y="11874"/>
                  <a:pt x="9247" y="11776"/>
                  <a:pt x="8672" y="11776"/>
                </a:cubicBezTo>
                <a:cubicBezTo>
                  <a:pt x="7213" y="11776"/>
                  <a:pt x="6138" y="12515"/>
                  <a:pt x="6131" y="13809"/>
                </a:cubicBezTo>
                <a:cubicBezTo>
                  <a:pt x="6124" y="14381"/>
                  <a:pt x="6349" y="14888"/>
                  <a:pt x="6758" y="15223"/>
                </a:cubicBezTo>
                <a:cubicBezTo>
                  <a:pt x="7167" y="15570"/>
                  <a:pt x="7755" y="15749"/>
                  <a:pt x="8566" y="15749"/>
                </a:cubicBezTo>
                <a:cubicBezTo>
                  <a:pt x="9155" y="15749"/>
                  <a:pt x="9742" y="15622"/>
                  <a:pt x="10052" y="15530"/>
                </a:cubicBezTo>
                <a:lnTo>
                  <a:pt x="10052" y="13479"/>
                </a:lnTo>
                <a:lnTo>
                  <a:pt x="8395" y="13479"/>
                </a:lnTo>
                <a:cubicBezTo>
                  <a:pt x="8395" y="13479"/>
                  <a:pt x="8395" y="14167"/>
                  <a:pt x="8395" y="14167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89" name="Shape 2889"/>
          <p:cNvSpPr/>
          <p:nvPr/>
        </p:nvSpPr>
        <p:spPr>
          <a:xfrm>
            <a:off x="10543042" y="4397568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69" y="13659"/>
                </a:moveTo>
                <a:cubicBezTo>
                  <a:pt x="9923" y="13659"/>
                  <a:pt x="9818" y="13653"/>
                  <a:pt x="9732" y="13636"/>
                </a:cubicBezTo>
                <a:lnTo>
                  <a:pt x="9732" y="12486"/>
                </a:lnTo>
                <a:cubicBezTo>
                  <a:pt x="9805" y="12469"/>
                  <a:pt x="9943" y="12452"/>
                  <a:pt x="10148" y="12452"/>
                </a:cubicBezTo>
                <a:cubicBezTo>
                  <a:pt x="10650" y="12452"/>
                  <a:pt x="10934" y="12665"/>
                  <a:pt x="10934" y="13023"/>
                </a:cubicBezTo>
                <a:cubicBezTo>
                  <a:pt x="10934" y="13422"/>
                  <a:pt x="10604" y="13659"/>
                  <a:pt x="10069" y="13659"/>
                </a:cubicBezTo>
                <a:moveTo>
                  <a:pt x="10096" y="11787"/>
                </a:moveTo>
                <a:cubicBezTo>
                  <a:pt x="9481" y="11787"/>
                  <a:pt x="9046" y="11822"/>
                  <a:pt x="8736" y="11869"/>
                </a:cubicBezTo>
                <a:lnTo>
                  <a:pt x="8736" y="15709"/>
                </a:lnTo>
                <a:lnTo>
                  <a:pt x="9732" y="15709"/>
                </a:lnTo>
                <a:lnTo>
                  <a:pt x="9732" y="14317"/>
                </a:lnTo>
                <a:cubicBezTo>
                  <a:pt x="9825" y="14328"/>
                  <a:pt x="9943" y="14334"/>
                  <a:pt x="10076" y="14334"/>
                </a:cubicBezTo>
                <a:cubicBezTo>
                  <a:pt x="10670" y="14334"/>
                  <a:pt x="11178" y="14207"/>
                  <a:pt x="11521" y="13924"/>
                </a:cubicBezTo>
                <a:cubicBezTo>
                  <a:pt x="11786" y="13705"/>
                  <a:pt x="11931" y="13382"/>
                  <a:pt x="11931" y="13000"/>
                </a:cubicBezTo>
                <a:cubicBezTo>
                  <a:pt x="11931" y="12619"/>
                  <a:pt x="11739" y="12296"/>
                  <a:pt x="11455" y="12099"/>
                </a:cubicBezTo>
                <a:cubicBezTo>
                  <a:pt x="11159" y="11891"/>
                  <a:pt x="10716" y="11787"/>
                  <a:pt x="10096" y="11787"/>
                </a:cubicBezTo>
                <a:moveTo>
                  <a:pt x="12131" y="13809"/>
                </a:moveTo>
                <a:cubicBezTo>
                  <a:pt x="12124" y="14381"/>
                  <a:pt x="12349" y="14888"/>
                  <a:pt x="12758" y="15224"/>
                </a:cubicBezTo>
                <a:cubicBezTo>
                  <a:pt x="13167" y="15571"/>
                  <a:pt x="13755" y="15749"/>
                  <a:pt x="14566" y="15749"/>
                </a:cubicBezTo>
                <a:cubicBezTo>
                  <a:pt x="15155" y="15749"/>
                  <a:pt x="15742" y="15622"/>
                  <a:pt x="16052" y="15530"/>
                </a:cubicBezTo>
                <a:lnTo>
                  <a:pt x="16052" y="13479"/>
                </a:lnTo>
                <a:lnTo>
                  <a:pt x="14395" y="13479"/>
                </a:lnTo>
                <a:lnTo>
                  <a:pt x="14395" y="14167"/>
                </a:lnTo>
                <a:lnTo>
                  <a:pt x="15081" y="14167"/>
                </a:lnTo>
                <a:lnTo>
                  <a:pt x="15081" y="14981"/>
                </a:lnTo>
                <a:cubicBezTo>
                  <a:pt x="15002" y="15015"/>
                  <a:pt x="14818" y="15039"/>
                  <a:pt x="14586" y="15039"/>
                </a:cubicBezTo>
                <a:cubicBezTo>
                  <a:pt x="13761" y="15039"/>
                  <a:pt x="13187" y="14566"/>
                  <a:pt x="13187" y="13762"/>
                </a:cubicBezTo>
                <a:cubicBezTo>
                  <a:pt x="13187" y="12919"/>
                  <a:pt x="13821" y="12503"/>
                  <a:pt x="14659" y="12503"/>
                </a:cubicBezTo>
                <a:cubicBezTo>
                  <a:pt x="15148" y="12503"/>
                  <a:pt x="15451" y="12579"/>
                  <a:pt x="15696" y="12671"/>
                </a:cubicBezTo>
                <a:lnTo>
                  <a:pt x="15906" y="11966"/>
                </a:lnTo>
                <a:cubicBezTo>
                  <a:pt x="15689" y="11874"/>
                  <a:pt x="15247" y="11776"/>
                  <a:pt x="14672" y="11776"/>
                </a:cubicBezTo>
                <a:cubicBezTo>
                  <a:pt x="13213" y="11776"/>
                  <a:pt x="12138" y="12515"/>
                  <a:pt x="12131" y="13809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606" y="14265"/>
                </a:moveTo>
                <a:cubicBezTo>
                  <a:pt x="6606" y="14872"/>
                  <a:pt x="6343" y="15039"/>
                  <a:pt x="5920" y="15039"/>
                </a:cubicBezTo>
                <a:cubicBezTo>
                  <a:pt x="5722" y="15039"/>
                  <a:pt x="5544" y="15010"/>
                  <a:pt x="5406" y="14969"/>
                </a:cubicBezTo>
                <a:lnTo>
                  <a:pt x="5293" y="15680"/>
                </a:lnTo>
                <a:cubicBezTo>
                  <a:pt x="5491" y="15738"/>
                  <a:pt x="5795" y="15773"/>
                  <a:pt x="6026" y="15773"/>
                </a:cubicBezTo>
                <a:cubicBezTo>
                  <a:pt x="7003" y="15773"/>
                  <a:pt x="7610" y="15385"/>
                  <a:pt x="7610" y="14276"/>
                </a:cubicBezTo>
                <a:lnTo>
                  <a:pt x="7610" y="11816"/>
                </a:lnTo>
                <a:lnTo>
                  <a:pt x="6606" y="11816"/>
                </a:lnTo>
                <a:cubicBezTo>
                  <a:pt x="6606" y="11816"/>
                  <a:pt x="6606" y="14265"/>
                  <a:pt x="6606" y="14265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90" name="Shape 2890"/>
          <p:cNvSpPr/>
          <p:nvPr/>
        </p:nvSpPr>
        <p:spPr>
          <a:xfrm>
            <a:off x="11076303" y="4397568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3031" y="13809"/>
                </a:moveTo>
                <a:cubicBezTo>
                  <a:pt x="13024" y="14381"/>
                  <a:pt x="13249" y="14888"/>
                  <a:pt x="13658" y="15223"/>
                </a:cubicBezTo>
                <a:cubicBezTo>
                  <a:pt x="14067" y="15570"/>
                  <a:pt x="14655" y="15749"/>
                  <a:pt x="15467" y="15749"/>
                </a:cubicBezTo>
                <a:cubicBezTo>
                  <a:pt x="16054" y="15749"/>
                  <a:pt x="16642" y="15622"/>
                  <a:pt x="16952" y="15530"/>
                </a:cubicBezTo>
                <a:lnTo>
                  <a:pt x="16952" y="13479"/>
                </a:lnTo>
                <a:lnTo>
                  <a:pt x="15295" y="13479"/>
                </a:lnTo>
                <a:lnTo>
                  <a:pt x="15295" y="14167"/>
                </a:lnTo>
                <a:lnTo>
                  <a:pt x="15981" y="14167"/>
                </a:lnTo>
                <a:lnTo>
                  <a:pt x="15981" y="14981"/>
                </a:lnTo>
                <a:cubicBezTo>
                  <a:pt x="15902" y="15015"/>
                  <a:pt x="15718" y="15039"/>
                  <a:pt x="15486" y="15039"/>
                </a:cubicBezTo>
                <a:cubicBezTo>
                  <a:pt x="14661" y="15039"/>
                  <a:pt x="14087" y="14565"/>
                  <a:pt x="14087" y="13762"/>
                </a:cubicBezTo>
                <a:cubicBezTo>
                  <a:pt x="14087" y="12919"/>
                  <a:pt x="14721" y="12503"/>
                  <a:pt x="15559" y="12503"/>
                </a:cubicBezTo>
                <a:cubicBezTo>
                  <a:pt x="16048" y="12503"/>
                  <a:pt x="16351" y="12579"/>
                  <a:pt x="16596" y="12671"/>
                </a:cubicBezTo>
                <a:lnTo>
                  <a:pt x="16807" y="11966"/>
                </a:lnTo>
                <a:cubicBezTo>
                  <a:pt x="16589" y="11874"/>
                  <a:pt x="16147" y="11776"/>
                  <a:pt x="15572" y="11776"/>
                </a:cubicBezTo>
                <a:cubicBezTo>
                  <a:pt x="14113" y="11776"/>
                  <a:pt x="13037" y="12515"/>
                  <a:pt x="13031" y="13809"/>
                </a:cubicBezTo>
                <a:moveTo>
                  <a:pt x="6169" y="13659"/>
                </a:moveTo>
                <a:cubicBezTo>
                  <a:pt x="6023" y="13659"/>
                  <a:pt x="5918" y="13653"/>
                  <a:pt x="5832" y="13636"/>
                </a:cubicBezTo>
                <a:lnTo>
                  <a:pt x="5832" y="12486"/>
                </a:lnTo>
                <a:cubicBezTo>
                  <a:pt x="5905" y="12469"/>
                  <a:pt x="6043" y="12452"/>
                  <a:pt x="6248" y="12452"/>
                </a:cubicBezTo>
                <a:cubicBezTo>
                  <a:pt x="6750" y="12452"/>
                  <a:pt x="7034" y="12665"/>
                  <a:pt x="7034" y="13023"/>
                </a:cubicBezTo>
                <a:cubicBezTo>
                  <a:pt x="7034" y="13422"/>
                  <a:pt x="6704" y="13659"/>
                  <a:pt x="6169" y="13659"/>
                </a:cubicBezTo>
                <a:moveTo>
                  <a:pt x="6196" y="11787"/>
                </a:moveTo>
                <a:cubicBezTo>
                  <a:pt x="5582" y="11787"/>
                  <a:pt x="5146" y="11822"/>
                  <a:pt x="4836" y="11868"/>
                </a:cubicBezTo>
                <a:lnTo>
                  <a:pt x="4836" y="15709"/>
                </a:lnTo>
                <a:lnTo>
                  <a:pt x="5832" y="15709"/>
                </a:lnTo>
                <a:lnTo>
                  <a:pt x="5832" y="14317"/>
                </a:lnTo>
                <a:cubicBezTo>
                  <a:pt x="5925" y="14328"/>
                  <a:pt x="6043" y="14334"/>
                  <a:pt x="6176" y="14334"/>
                </a:cubicBezTo>
                <a:cubicBezTo>
                  <a:pt x="6770" y="14334"/>
                  <a:pt x="7278" y="14207"/>
                  <a:pt x="7621" y="13924"/>
                </a:cubicBezTo>
                <a:cubicBezTo>
                  <a:pt x="7886" y="13705"/>
                  <a:pt x="8031" y="13381"/>
                  <a:pt x="8031" y="13000"/>
                </a:cubicBezTo>
                <a:cubicBezTo>
                  <a:pt x="8031" y="12619"/>
                  <a:pt x="7839" y="12296"/>
                  <a:pt x="7555" y="12099"/>
                </a:cubicBezTo>
                <a:cubicBezTo>
                  <a:pt x="7259" y="11892"/>
                  <a:pt x="6816" y="11787"/>
                  <a:pt x="6196" y="11787"/>
                </a:cubicBezTo>
                <a:moveTo>
                  <a:pt x="11195" y="12954"/>
                </a:moveTo>
                <a:cubicBezTo>
                  <a:pt x="11195" y="13537"/>
                  <a:pt x="11215" y="14063"/>
                  <a:pt x="11280" y="14577"/>
                </a:cubicBezTo>
                <a:lnTo>
                  <a:pt x="11261" y="14577"/>
                </a:lnTo>
                <a:cubicBezTo>
                  <a:pt x="11062" y="14138"/>
                  <a:pt x="10799" y="13653"/>
                  <a:pt x="10535" y="13243"/>
                </a:cubicBezTo>
                <a:lnTo>
                  <a:pt x="9611" y="11816"/>
                </a:lnTo>
                <a:lnTo>
                  <a:pt x="8436" y="11816"/>
                </a:lnTo>
                <a:lnTo>
                  <a:pt x="8436" y="15709"/>
                </a:lnTo>
                <a:lnTo>
                  <a:pt x="9360" y="15709"/>
                </a:lnTo>
                <a:lnTo>
                  <a:pt x="9360" y="14536"/>
                </a:lnTo>
                <a:cubicBezTo>
                  <a:pt x="9360" y="13901"/>
                  <a:pt x="9347" y="13352"/>
                  <a:pt x="9320" y="12838"/>
                </a:cubicBezTo>
                <a:lnTo>
                  <a:pt x="9340" y="12833"/>
                </a:lnTo>
                <a:cubicBezTo>
                  <a:pt x="9558" y="13289"/>
                  <a:pt x="9848" y="13791"/>
                  <a:pt x="10112" y="14207"/>
                </a:cubicBezTo>
                <a:lnTo>
                  <a:pt x="11062" y="15709"/>
                </a:lnTo>
                <a:lnTo>
                  <a:pt x="12119" y="15709"/>
                </a:lnTo>
                <a:lnTo>
                  <a:pt x="12119" y="11816"/>
                </a:lnTo>
                <a:lnTo>
                  <a:pt x="11195" y="11816"/>
                </a:lnTo>
                <a:cubicBezTo>
                  <a:pt x="11195" y="11816"/>
                  <a:pt x="11195" y="12954"/>
                  <a:pt x="11195" y="12954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107" name="Title 4">
            <a:extLst>
              <a:ext uri="{FF2B5EF4-FFF2-40B4-BE49-F238E27FC236}">
                <a16:creationId xmlns:a16="http://schemas.microsoft.com/office/drawing/2014/main" id="{503D5EE7-8F62-4864-B26E-FCC5FD091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-commerce &amp; Web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3877C01-56FD-D545-AD35-07C9E84D7D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2EA695-846A-414A-8894-526946ECC9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29D581-EC8F-A342-B502-42421D0A8A52}" type="slidenum">
              <a:rPr lang="en-US" smtClean="0"/>
              <a:t>62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588382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3" name="Shape 2893"/>
          <p:cNvSpPr/>
          <p:nvPr/>
        </p:nvSpPr>
        <p:spPr>
          <a:xfrm>
            <a:off x="880859" y="1433100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07" y="14380"/>
                </a:moveTo>
                <a:cubicBezTo>
                  <a:pt x="12819" y="14469"/>
                  <a:pt x="12764" y="14592"/>
                  <a:pt x="12764" y="14727"/>
                </a:cubicBezTo>
                <a:cubicBezTo>
                  <a:pt x="12764" y="14999"/>
                  <a:pt x="12984" y="15218"/>
                  <a:pt x="13255" y="15218"/>
                </a:cubicBezTo>
                <a:cubicBezTo>
                  <a:pt x="13390" y="15218"/>
                  <a:pt x="13513" y="15164"/>
                  <a:pt x="13602" y="15074"/>
                </a:cubicBezTo>
                <a:lnTo>
                  <a:pt x="17529" y="11147"/>
                </a:lnTo>
                <a:cubicBezTo>
                  <a:pt x="17618" y="11058"/>
                  <a:pt x="17673" y="10936"/>
                  <a:pt x="17673" y="10800"/>
                </a:cubicBezTo>
                <a:cubicBezTo>
                  <a:pt x="17673" y="10665"/>
                  <a:pt x="17618" y="10542"/>
                  <a:pt x="17529" y="10453"/>
                </a:cubicBezTo>
                <a:lnTo>
                  <a:pt x="13602" y="6526"/>
                </a:lnTo>
                <a:cubicBezTo>
                  <a:pt x="13513" y="6437"/>
                  <a:pt x="13390" y="6382"/>
                  <a:pt x="13255" y="6382"/>
                </a:cubicBezTo>
                <a:cubicBezTo>
                  <a:pt x="12984" y="6382"/>
                  <a:pt x="12764" y="6601"/>
                  <a:pt x="12764" y="6873"/>
                </a:cubicBezTo>
                <a:cubicBezTo>
                  <a:pt x="12764" y="7008"/>
                  <a:pt x="12819" y="7131"/>
                  <a:pt x="12907" y="7220"/>
                </a:cubicBezTo>
                <a:lnTo>
                  <a:pt x="15997" y="10309"/>
                </a:lnTo>
                <a:lnTo>
                  <a:pt x="491" y="10309"/>
                </a:lnTo>
                <a:cubicBezTo>
                  <a:pt x="220" y="10309"/>
                  <a:pt x="0" y="10529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lnTo>
                  <a:pt x="15997" y="11291"/>
                </a:lnTo>
                <a:cubicBezTo>
                  <a:pt x="15997" y="11291"/>
                  <a:pt x="12907" y="14380"/>
                  <a:pt x="12907" y="14380"/>
                </a:cubicBezTo>
                <a:close/>
                <a:moveTo>
                  <a:pt x="21109" y="0"/>
                </a:moveTo>
                <a:lnTo>
                  <a:pt x="3436" y="0"/>
                </a:lnTo>
                <a:cubicBezTo>
                  <a:pt x="3166" y="0"/>
                  <a:pt x="2945" y="220"/>
                  <a:pt x="2945" y="491"/>
                </a:cubicBezTo>
                <a:lnTo>
                  <a:pt x="2945" y="7855"/>
                </a:lnTo>
                <a:cubicBezTo>
                  <a:pt x="2945" y="8126"/>
                  <a:pt x="3166" y="8345"/>
                  <a:pt x="3436" y="8345"/>
                </a:cubicBezTo>
                <a:cubicBezTo>
                  <a:pt x="3707" y="8345"/>
                  <a:pt x="3927" y="8126"/>
                  <a:pt x="3927" y="7855"/>
                </a:cubicBezTo>
                <a:lnTo>
                  <a:pt x="3927" y="982"/>
                </a:lnTo>
                <a:lnTo>
                  <a:pt x="20618" y="982"/>
                </a:lnTo>
                <a:lnTo>
                  <a:pt x="20618" y="20618"/>
                </a:lnTo>
                <a:lnTo>
                  <a:pt x="3927" y="20618"/>
                </a:lnTo>
                <a:lnTo>
                  <a:pt x="3927" y="13745"/>
                </a:lnTo>
                <a:cubicBezTo>
                  <a:pt x="3927" y="13475"/>
                  <a:pt x="3707" y="13255"/>
                  <a:pt x="3436" y="13255"/>
                </a:cubicBezTo>
                <a:cubicBezTo>
                  <a:pt x="3166" y="13255"/>
                  <a:pt x="2945" y="13475"/>
                  <a:pt x="2945" y="13745"/>
                </a:cubicBezTo>
                <a:lnTo>
                  <a:pt x="2945" y="21109"/>
                </a:lnTo>
                <a:cubicBezTo>
                  <a:pt x="2945" y="21380"/>
                  <a:pt x="3166" y="21600"/>
                  <a:pt x="3436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380" y="0"/>
                  <a:pt x="21109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94" name="Shape 2894"/>
          <p:cNvSpPr/>
          <p:nvPr/>
        </p:nvSpPr>
        <p:spPr>
          <a:xfrm>
            <a:off x="1414120" y="1433100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0309"/>
                </a:moveTo>
                <a:lnTo>
                  <a:pt x="5604" y="10309"/>
                </a:lnTo>
                <a:lnTo>
                  <a:pt x="8693" y="7220"/>
                </a:lnTo>
                <a:cubicBezTo>
                  <a:pt x="8781" y="7131"/>
                  <a:pt x="8836" y="7008"/>
                  <a:pt x="8836" y="6873"/>
                </a:cubicBezTo>
                <a:cubicBezTo>
                  <a:pt x="8836" y="6601"/>
                  <a:pt x="8616" y="6382"/>
                  <a:pt x="8345" y="6382"/>
                </a:cubicBezTo>
                <a:cubicBezTo>
                  <a:pt x="8210" y="6382"/>
                  <a:pt x="8087" y="6437"/>
                  <a:pt x="7998" y="6526"/>
                </a:cubicBezTo>
                <a:lnTo>
                  <a:pt x="4071" y="10453"/>
                </a:lnTo>
                <a:cubicBezTo>
                  <a:pt x="3982" y="10542"/>
                  <a:pt x="3927" y="10665"/>
                  <a:pt x="3927" y="10800"/>
                </a:cubicBezTo>
                <a:cubicBezTo>
                  <a:pt x="3927" y="10936"/>
                  <a:pt x="3982" y="11058"/>
                  <a:pt x="4071" y="11147"/>
                </a:cubicBezTo>
                <a:lnTo>
                  <a:pt x="7998" y="15074"/>
                </a:lnTo>
                <a:cubicBezTo>
                  <a:pt x="8087" y="15164"/>
                  <a:pt x="8210" y="15218"/>
                  <a:pt x="8345" y="15218"/>
                </a:cubicBezTo>
                <a:cubicBezTo>
                  <a:pt x="8616" y="15218"/>
                  <a:pt x="8836" y="14999"/>
                  <a:pt x="8836" y="14727"/>
                </a:cubicBezTo>
                <a:cubicBezTo>
                  <a:pt x="8836" y="14592"/>
                  <a:pt x="8781" y="14469"/>
                  <a:pt x="8693" y="14380"/>
                </a:cubicBezTo>
                <a:lnTo>
                  <a:pt x="5604" y="11291"/>
                </a:lnTo>
                <a:lnTo>
                  <a:pt x="21109" y="11291"/>
                </a:lnTo>
                <a:cubicBezTo>
                  <a:pt x="21380" y="11291"/>
                  <a:pt x="21600" y="11071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  <a:moveTo>
                  <a:pt x="18164" y="13255"/>
                </a:moveTo>
                <a:cubicBezTo>
                  <a:pt x="17893" y="13255"/>
                  <a:pt x="17673" y="13475"/>
                  <a:pt x="17673" y="13745"/>
                </a:cubicBezTo>
                <a:lnTo>
                  <a:pt x="17673" y="20618"/>
                </a:lnTo>
                <a:lnTo>
                  <a:pt x="982" y="20618"/>
                </a:lnTo>
                <a:lnTo>
                  <a:pt x="982" y="982"/>
                </a:lnTo>
                <a:lnTo>
                  <a:pt x="17673" y="982"/>
                </a:lnTo>
                <a:lnTo>
                  <a:pt x="17673" y="7855"/>
                </a:lnTo>
                <a:cubicBezTo>
                  <a:pt x="17673" y="8126"/>
                  <a:pt x="17893" y="8345"/>
                  <a:pt x="18164" y="8345"/>
                </a:cubicBezTo>
                <a:cubicBezTo>
                  <a:pt x="18434" y="8345"/>
                  <a:pt x="18655" y="8126"/>
                  <a:pt x="18655" y="7855"/>
                </a:cubicBezTo>
                <a:lnTo>
                  <a:pt x="18655" y="491"/>
                </a:lnTo>
                <a:cubicBezTo>
                  <a:pt x="18655" y="220"/>
                  <a:pt x="18434" y="0"/>
                  <a:pt x="18164" y="0"/>
                </a:cubicBezTo>
                <a:lnTo>
                  <a:pt x="491" y="0"/>
                </a:lnTo>
                <a:cubicBezTo>
                  <a:pt x="220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18164" y="21600"/>
                </a:lnTo>
                <a:cubicBezTo>
                  <a:pt x="18434" y="21600"/>
                  <a:pt x="18655" y="21380"/>
                  <a:pt x="18655" y="21109"/>
                </a:cubicBezTo>
                <a:lnTo>
                  <a:pt x="18655" y="13745"/>
                </a:lnTo>
                <a:cubicBezTo>
                  <a:pt x="18655" y="13475"/>
                  <a:pt x="18434" y="13255"/>
                  <a:pt x="18164" y="1325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95" name="Shape 2895"/>
          <p:cNvSpPr/>
          <p:nvPr/>
        </p:nvSpPr>
        <p:spPr>
          <a:xfrm>
            <a:off x="2017213" y="1433100"/>
            <a:ext cx="139664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5709"/>
                </a:moveTo>
                <a:cubicBezTo>
                  <a:pt x="20347" y="15709"/>
                  <a:pt x="20102" y="15764"/>
                  <a:pt x="19924" y="15853"/>
                </a:cubicBezTo>
                <a:lnTo>
                  <a:pt x="11782" y="19924"/>
                </a:lnTo>
                <a:lnTo>
                  <a:pt x="11782" y="491"/>
                </a:lnTo>
                <a:cubicBezTo>
                  <a:pt x="11782" y="220"/>
                  <a:pt x="11342" y="0"/>
                  <a:pt x="10800" y="0"/>
                </a:cubicBezTo>
                <a:cubicBezTo>
                  <a:pt x="10258" y="0"/>
                  <a:pt x="9818" y="220"/>
                  <a:pt x="9818" y="491"/>
                </a:cubicBezTo>
                <a:lnTo>
                  <a:pt x="9818" y="19924"/>
                </a:lnTo>
                <a:lnTo>
                  <a:pt x="1676" y="15853"/>
                </a:lnTo>
                <a:cubicBezTo>
                  <a:pt x="1498" y="15764"/>
                  <a:pt x="1253" y="15709"/>
                  <a:pt x="982" y="15709"/>
                </a:cubicBezTo>
                <a:cubicBezTo>
                  <a:pt x="440" y="15709"/>
                  <a:pt x="0" y="15929"/>
                  <a:pt x="0" y="16200"/>
                </a:cubicBezTo>
                <a:cubicBezTo>
                  <a:pt x="0" y="16336"/>
                  <a:pt x="110" y="16458"/>
                  <a:pt x="288" y="16547"/>
                </a:cubicBezTo>
                <a:lnTo>
                  <a:pt x="10106" y="21456"/>
                </a:lnTo>
                <a:cubicBezTo>
                  <a:pt x="10284" y="21545"/>
                  <a:pt x="10529" y="21600"/>
                  <a:pt x="10800" y="21600"/>
                </a:cubicBezTo>
                <a:cubicBezTo>
                  <a:pt x="11071" y="21600"/>
                  <a:pt x="11316" y="21545"/>
                  <a:pt x="11494" y="21456"/>
                </a:cubicBezTo>
                <a:lnTo>
                  <a:pt x="21312" y="16547"/>
                </a:lnTo>
                <a:cubicBezTo>
                  <a:pt x="21490" y="16458"/>
                  <a:pt x="21600" y="16336"/>
                  <a:pt x="21600" y="16200"/>
                </a:cubicBezTo>
                <a:cubicBezTo>
                  <a:pt x="21600" y="15929"/>
                  <a:pt x="21160" y="15709"/>
                  <a:pt x="20618" y="15709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96" name="Shape 2896"/>
          <p:cNvSpPr/>
          <p:nvPr/>
        </p:nvSpPr>
        <p:spPr>
          <a:xfrm>
            <a:off x="2550474" y="1433100"/>
            <a:ext cx="139664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312" y="5053"/>
                </a:moveTo>
                <a:lnTo>
                  <a:pt x="11494" y="144"/>
                </a:lnTo>
                <a:cubicBezTo>
                  <a:pt x="11316" y="55"/>
                  <a:pt x="11071" y="0"/>
                  <a:pt x="10800" y="0"/>
                </a:cubicBezTo>
                <a:cubicBezTo>
                  <a:pt x="10529" y="0"/>
                  <a:pt x="10284" y="55"/>
                  <a:pt x="10106" y="144"/>
                </a:cubicBezTo>
                <a:lnTo>
                  <a:pt x="288" y="5053"/>
                </a:lnTo>
                <a:cubicBezTo>
                  <a:pt x="110" y="5142"/>
                  <a:pt x="0" y="5264"/>
                  <a:pt x="0" y="5400"/>
                </a:cubicBezTo>
                <a:cubicBezTo>
                  <a:pt x="0" y="5671"/>
                  <a:pt x="440" y="5891"/>
                  <a:pt x="982" y="5891"/>
                </a:cubicBezTo>
                <a:cubicBezTo>
                  <a:pt x="1253" y="5891"/>
                  <a:pt x="1498" y="5836"/>
                  <a:pt x="1676" y="5747"/>
                </a:cubicBezTo>
                <a:lnTo>
                  <a:pt x="9818" y="1676"/>
                </a:lnTo>
                <a:lnTo>
                  <a:pt x="9818" y="21109"/>
                </a:lnTo>
                <a:cubicBezTo>
                  <a:pt x="9818" y="21380"/>
                  <a:pt x="10258" y="21600"/>
                  <a:pt x="10800" y="21600"/>
                </a:cubicBezTo>
                <a:cubicBezTo>
                  <a:pt x="11342" y="21600"/>
                  <a:pt x="11782" y="21380"/>
                  <a:pt x="11782" y="21109"/>
                </a:cubicBezTo>
                <a:lnTo>
                  <a:pt x="11782" y="1676"/>
                </a:lnTo>
                <a:lnTo>
                  <a:pt x="19924" y="5747"/>
                </a:lnTo>
                <a:cubicBezTo>
                  <a:pt x="20102" y="5836"/>
                  <a:pt x="20347" y="5891"/>
                  <a:pt x="20618" y="5891"/>
                </a:cubicBezTo>
                <a:cubicBezTo>
                  <a:pt x="21160" y="5891"/>
                  <a:pt x="21600" y="5671"/>
                  <a:pt x="21600" y="5400"/>
                </a:cubicBezTo>
                <a:cubicBezTo>
                  <a:pt x="21600" y="5264"/>
                  <a:pt x="21490" y="5142"/>
                  <a:pt x="21312" y="505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97" name="Shape 2897"/>
          <p:cNvSpPr/>
          <p:nvPr/>
        </p:nvSpPr>
        <p:spPr>
          <a:xfrm>
            <a:off x="3013903" y="1502932"/>
            <a:ext cx="279328" cy="1396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9818"/>
                </a:moveTo>
                <a:lnTo>
                  <a:pt x="1676" y="9818"/>
                </a:lnTo>
                <a:lnTo>
                  <a:pt x="5747" y="1676"/>
                </a:lnTo>
                <a:cubicBezTo>
                  <a:pt x="5836" y="1499"/>
                  <a:pt x="5891" y="1253"/>
                  <a:pt x="5891" y="982"/>
                </a:cubicBezTo>
                <a:cubicBezTo>
                  <a:pt x="5891" y="439"/>
                  <a:pt x="5671" y="0"/>
                  <a:pt x="5400" y="0"/>
                </a:cubicBezTo>
                <a:cubicBezTo>
                  <a:pt x="5265" y="0"/>
                  <a:pt x="5142" y="110"/>
                  <a:pt x="5053" y="288"/>
                </a:cubicBezTo>
                <a:lnTo>
                  <a:pt x="144" y="10106"/>
                </a:lnTo>
                <a:cubicBezTo>
                  <a:pt x="55" y="10284"/>
                  <a:pt x="0" y="10530"/>
                  <a:pt x="0" y="10800"/>
                </a:cubicBezTo>
                <a:cubicBezTo>
                  <a:pt x="0" y="11071"/>
                  <a:pt x="55" y="11317"/>
                  <a:pt x="144" y="11494"/>
                </a:cubicBezTo>
                <a:lnTo>
                  <a:pt x="5053" y="21312"/>
                </a:lnTo>
                <a:cubicBezTo>
                  <a:pt x="5142" y="21491"/>
                  <a:pt x="5265" y="21600"/>
                  <a:pt x="5400" y="21600"/>
                </a:cubicBezTo>
                <a:cubicBezTo>
                  <a:pt x="5671" y="21600"/>
                  <a:pt x="5891" y="21161"/>
                  <a:pt x="5891" y="20618"/>
                </a:cubicBezTo>
                <a:cubicBezTo>
                  <a:pt x="5891" y="20348"/>
                  <a:pt x="5836" y="20102"/>
                  <a:pt x="5747" y="19924"/>
                </a:cubicBezTo>
                <a:lnTo>
                  <a:pt x="1676" y="11782"/>
                </a:lnTo>
                <a:lnTo>
                  <a:pt x="21109" y="11782"/>
                </a:lnTo>
                <a:cubicBezTo>
                  <a:pt x="21380" y="11782"/>
                  <a:pt x="21600" y="11343"/>
                  <a:pt x="21600" y="10800"/>
                </a:cubicBezTo>
                <a:cubicBezTo>
                  <a:pt x="21600" y="10257"/>
                  <a:pt x="21380" y="9818"/>
                  <a:pt x="21109" y="9818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98" name="Shape 2898"/>
          <p:cNvSpPr/>
          <p:nvPr/>
        </p:nvSpPr>
        <p:spPr>
          <a:xfrm>
            <a:off x="3547164" y="1502932"/>
            <a:ext cx="279328" cy="1396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456" y="10106"/>
                </a:moveTo>
                <a:lnTo>
                  <a:pt x="16547" y="288"/>
                </a:lnTo>
                <a:cubicBezTo>
                  <a:pt x="16458" y="110"/>
                  <a:pt x="16336" y="0"/>
                  <a:pt x="16200" y="0"/>
                </a:cubicBezTo>
                <a:cubicBezTo>
                  <a:pt x="15929" y="0"/>
                  <a:pt x="15709" y="439"/>
                  <a:pt x="15709" y="982"/>
                </a:cubicBezTo>
                <a:cubicBezTo>
                  <a:pt x="15709" y="1253"/>
                  <a:pt x="15764" y="1499"/>
                  <a:pt x="15853" y="1676"/>
                </a:cubicBezTo>
                <a:lnTo>
                  <a:pt x="19924" y="9818"/>
                </a:lnTo>
                <a:lnTo>
                  <a:pt x="491" y="9818"/>
                </a:lnTo>
                <a:cubicBezTo>
                  <a:pt x="220" y="9818"/>
                  <a:pt x="0" y="10257"/>
                  <a:pt x="0" y="10800"/>
                </a:cubicBezTo>
                <a:cubicBezTo>
                  <a:pt x="0" y="11343"/>
                  <a:pt x="220" y="11782"/>
                  <a:pt x="491" y="11782"/>
                </a:cubicBezTo>
                <a:lnTo>
                  <a:pt x="19924" y="11782"/>
                </a:lnTo>
                <a:lnTo>
                  <a:pt x="15853" y="19924"/>
                </a:lnTo>
                <a:cubicBezTo>
                  <a:pt x="15764" y="20102"/>
                  <a:pt x="15709" y="20347"/>
                  <a:pt x="15709" y="20618"/>
                </a:cubicBezTo>
                <a:cubicBezTo>
                  <a:pt x="15709" y="21161"/>
                  <a:pt x="15929" y="21600"/>
                  <a:pt x="16200" y="21600"/>
                </a:cubicBezTo>
                <a:cubicBezTo>
                  <a:pt x="16336" y="21600"/>
                  <a:pt x="16458" y="21491"/>
                  <a:pt x="16547" y="21312"/>
                </a:cubicBezTo>
                <a:lnTo>
                  <a:pt x="21456" y="11494"/>
                </a:lnTo>
                <a:cubicBezTo>
                  <a:pt x="21545" y="11317"/>
                  <a:pt x="21600" y="11071"/>
                  <a:pt x="21600" y="10800"/>
                </a:cubicBezTo>
                <a:cubicBezTo>
                  <a:pt x="21600" y="10529"/>
                  <a:pt x="21545" y="10284"/>
                  <a:pt x="21456" y="10106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899" name="Shape 2899"/>
          <p:cNvSpPr/>
          <p:nvPr/>
        </p:nvSpPr>
        <p:spPr>
          <a:xfrm>
            <a:off x="4093122" y="1509280"/>
            <a:ext cx="253935" cy="1269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60" y="0"/>
                </a:moveTo>
                <a:cubicBezTo>
                  <a:pt x="20911" y="0"/>
                  <a:pt x="20776" y="121"/>
                  <a:pt x="20678" y="316"/>
                </a:cubicBezTo>
                <a:lnTo>
                  <a:pt x="10800" y="19033"/>
                </a:lnTo>
                <a:lnTo>
                  <a:pt x="922" y="316"/>
                </a:lnTo>
                <a:cubicBezTo>
                  <a:pt x="824" y="121"/>
                  <a:pt x="689" y="0"/>
                  <a:pt x="540" y="0"/>
                </a:cubicBezTo>
                <a:cubicBezTo>
                  <a:pt x="242" y="0"/>
                  <a:pt x="0" y="483"/>
                  <a:pt x="0" y="1080"/>
                </a:cubicBezTo>
                <a:cubicBezTo>
                  <a:pt x="0" y="1378"/>
                  <a:pt x="60" y="1648"/>
                  <a:pt x="158" y="1844"/>
                </a:cubicBezTo>
                <a:lnTo>
                  <a:pt x="10418" y="21284"/>
                </a:lnTo>
                <a:cubicBezTo>
                  <a:pt x="10516" y="21480"/>
                  <a:pt x="10651" y="21600"/>
                  <a:pt x="10800" y="21600"/>
                </a:cubicBezTo>
                <a:cubicBezTo>
                  <a:pt x="10949" y="21600"/>
                  <a:pt x="11084" y="21480"/>
                  <a:pt x="11182" y="21284"/>
                </a:cubicBezTo>
                <a:lnTo>
                  <a:pt x="21442" y="1844"/>
                </a:lnTo>
                <a:cubicBezTo>
                  <a:pt x="21540" y="1648"/>
                  <a:pt x="21600" y="1378"/>
                  <a:pt x="21600" y="1080"/>
                </a:cubicBezTo>
                <a:cubicBezTo>
                  <a:pt x="21600" y="483"/>
                  <a:pt x="21358" y="0"/>
                  <a:pt x="2106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00" name="Shape 2900"/>
          <p:cNvSpPr/>
          <p:nvPr/>
        </p:nvSpPr>
        <p:spPr>
          <a:xfrm>
            <a:off x="4626383" y="1509280"/>
            <a:ext cx="253935" cy="1269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442" y="19756"/>
                </a:moveTo>
                <a:lnTo>
                  <a:pt x="11182" y="316"/>
                </a:lnTo>
                <a:cubicBezTo>
                  <a:pt x="11084" y="121"/>
                  <a:pt x="10949" y="0"/>
                  <a:pt x="10800" y="0"/>
                </a:cubicBezTo>
                <a:cubicBezTo>
                  <a:pt x="10651" y="0"/>
                  <a:pt x="10516" y="121"/>
                  <a:pt x="10418" y="316"/>
                </a:cubicBezTo>
                <a:lnTo>
                  <a:pt x="158" y="19756"/>
                </a:lnTo>
                <a:cubicBezTo>
                  <a:pt x="60" y="19953"/>
                  <a:pt x="0" y="20222"/>
                  <a:pt x="0" y="20520"/>
                </a:cubicBezTo>
                <a:cubicBezTo>
                  <a:pt x="0" y="21117"/>
                  <a:pt x="242" y="21600"/>
                  <a:pt x="540" y="21600"/>
                </a:cubicBezTo>
                <a:cubicBezTo>
                  <a:pt x="689" y="21600"/>
                  <a:pt x="824" y="21480"/>
                  <a:pt x="922" y="21284"/>
                </a:cubicBezTo>
                <a:lnTo>
                  <a:pt x="10800" y="2567"/>
                </a:lnTo>
                <a:lnTo>
                  <a:pt x="20678" y="21284"/>
                </a:lnTo>
                <a:cubicBezTo>
                  <a:pt x="20776" y="21480"/>
                  <a:pt x="20911" y="21600"/>
                  <a:pt x="21060" y="21600"/>
                </a:cubicBezTo>
                <a:cubicBezTo>
                  <a:pt x="21358" y="21600"/>
                  <a:pt x="21600" y="21117"/>
                  <a:pt x="21600" y="20520"/>
                </a:cubicBezTo>
                <a:cubicBezTo>
                  <a:pt x="21600" y="20222"/>
                  <a:pt x="21540" y="19953"/>
                  <a:pt x="21442" y="19756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01" name="Shape 2901"/>
          <p:cNvSpPr/>
          <p:nvPr/>
        </p:nvSpPr>
        <p:spPr>
          <a:xfrm>
            <a:off x="5223127" y="1445797"/>
            <a:ext cx="12696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567" y="10800"/>
                </a:moveTo>
                <a:lnTo>
                  <a:pt x="21284" y="922"/>
                </a:lnTo>
                <a:cubicBezTo>
                  <a:pt x="21480" y="824"/>
                  <a:pt x="21600" y="689"/>
                  <a:pt x="21600" y="540"/>
                </a:cubicBezTo>
                <a:cubicBezTo>
                  <a:pt x="21600" y="242"/>
                  <a:pt x="21117" y="0"/>
                  <a:pt x="20520" y="0"/>
                </a:cubicBezTo>
                <a:cubicBezTo>
                  <a:pt x="20222" y="0"/>
                  <a:pt x="19953" y="61"/>
                  <a:pt x="19756" y="158"/>
                </a:cubicBezTo>
                <a:lnTo>
                  <a:pt x="316" y="10418"/>
                </a:lnTo>
                <a:cubicBezTo>
                  <a:pt x="121" y="10516"/>
                  <a:pt x="0" y="10651"/>
                  <a:pt x="0" y="10800"/>
                </a:cubicBezTo>
                <a:cubicBezTo>
                  <a:pt x="0" y="10949"/>
                  <a:pt x="120" y="11084"/>
                  <a:pt x="316" y="11182"/>
                </a:cubicBezTo>
                <a:lnTo>
                  <a:pt x="19756" y="21442"/>
                </a:lnTo>
                <a:cubicBezTo>
                  <a:pt x="19953" y="21540"/>
                  <a:pt x="20222" y="21600"/>
                  <a:pt x="20520" y="21600"/>
                </a:cubicBezTo>
                <a:cubicBezTo>
                  <a:pt x="21117" y="21600"/>
                  <a:pt x="21600" y="21358"/>
                  <a:pt x="21600" y="21060"/>
                </a:cubicBezTo>
                <a:cubicBezTo>
                  <a:pt x="21600" y="20911"/>
                  <a:pt x="21480" y="20776"/>
                  <a:pt x="21284" y="20678"/>
                </a:cubicBezTo>
                <a:cubicBezTo>
                  <a:pt x="21284" y="20678"/>
                  <a:pt x="2567" y="10800"/>
                  <a:pt x="2567" y="10800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02" name="Shape 2902"/>
          <p:cNvSpPr/>
          <p:nvPr/>
        </p:nvSpPr>
        <p:spPr>
          <a:xfrm>
            <a:off x="5756388" y="1445797"/>
            <a:ext cx="12696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284" y="10418"/>
                </a:moveTo>
                <a:lnTo>
                  <a:pt x="1844" y="158"/>
                </a:lnTo>
                <a:cubicBezTo>
                  <a:pt x="1648" y="61"/>
                  <a:pt x="1378" y="0"/>
                  <a:pt x="1080" y="0"/>
                </a:cubicBezTo>
                <a:cubicBezTo>
                  <a:pt x="483" y="0"/>
                  <a:pt x="0" y="242"/>
                  <a:pt x="0" y="540"/>
                </a:cubicBezTo>
                <a:cubicBezTo>
                  <a:pt x="0" y="689"/>
                  <a:pt x="121" y="824"/>
                  <a:pt x="316" y="922"/>
                </a:cubicBezTo>
                <a:lnTo>
                  <a:pt x="19033" y="10800"/>
                </a:lnTo>
                <a:lnTo>
                  <a:pt x="316" y="20678"/>
                </a:lnTo>
                <a:cubicBezTo>
                  <a:pt x="121" y="20776"/>
                  <a:pt x="0" y="20911"/>
                  <a:pt x="0" y="21060"/>
                </a:cubicBezTo>
                <a:cubicBezTo>
                  <a:pt x="0" y="21358"/>
                  <a:pt x="483" y="21600"/>
                  <a:pt x="1080" y="21600"/>
                </a:cubicBezTo>
                <a:cubicBezTo>
                  <a:pt x="1378" y="21600"/>
                  <a:pt x="1648" y="21540"/>
                  <a:pt x="1844" y="21442"/>
                </a:cubicBezTo>
                <a:lnTo>
                  <a:pt x="21284" y="11182"/>
                </a:lnTo>
                <a:cubicBezTo>
                  <a:pt x="21479" y="11084"/>
                  <a:pt x="21600" y="10949"/>
                  <a:pt x="21600" y="10800"/>
                </a:cubicBezTo>
                <a:cubicBezTo>
                  <a:pt x="21600" y="10651"/>
                  <a:pt x="21479" y="10516"/>
                  <a:pt x="21284" y="10418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03" name="Shape 2903"/>
          <p:cNvSpPr/>
          <p:nvPr/>
        </p:nvSpPr>
        <p:spPr>
          <a:xfrm>
            <a:off x="880859" y="196636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6223"/>
                  <a:pt x="16222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6200" y="8836"/>
                </a:moveTo>
                <a:cubicBezTo>
                  <a:pt x="16065" y="8836"/>
                  <a:pt x="15942" y="8891"/>
                  <a:pt x="15852" y="8980"/>
                </a:cubicBezTo>
                <a:lnTo>
                  <a:pt x="10800" y="13574"/>
                </a:lnTo>
                <a:lnTo>
                  <a:pt x="5747" y="8980"/>
                </a:lnTo>
                <a:cubicBezTo>
                  <a:pt x="5658" y="8891"/>
                  <a:pt x="5535" y="8836"/>
                  <a:pt x="5400" y="8836"/>
                </a:cubicBezTo>
                <a:cubicBezTo>
                  <a:pt x="5129" y="8836"/>
                  <a:pt x="4909" y="9056"/>
                  <a:pt x="4909" y="9327"/>
                </a:cubicBezTo>
                <a:cubicBezTo>
                  <a:pt x="4909" y="9463"/>
                  <a:pt x="4964" y="9586"/>
                  <a:pt x="5053" y="9674"/>
                </a:cubicBezTo>
                <a:lnTo>
                  <a:pt x="10453" y="14583"/>
                </a:lnTo>
                <a:cubicBezTo>
                  <a:pt x="10542" y="14673"/>
                  <a:pt x="10665" y="14727"/>
                  <a:pt x="10800" y="14727"/>
                </a:cubicBezTo>
                <a:cubicBezTo>
                  <a:pt x="10935" y="14727"/>
                  <a:pt x="11058" y="14673"/>
                  <a:pt x="11147" y="14583"/>
                </a:cubicBezTo>
                <a:lnTo>
                  <a:pt x="16547" y="9674"/>
                </a:lnTo>
                <a:cubicBezTo>
                  <a:pt x="16636" y="9586"/>
                  <a:pt x="16691" y="9463"/>
                  <a:pt x="16691" y="9327"/>
                </a:cubicBezTo>
                <a:cubicBezTo>
                  <a:pt x="16691" y="9056"/>
                  <a:pt x="16471" y="8836"/>
                  <a:pt x="16200" y="8836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04" name="Shape 2904"/>
          <p:cNvSpPr/>
          <p:nvPr/>
        </p:nvSpPr>
        <p:spPr>
          <a:xfrm>
            <a:off x="1414120" y="196636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147" y="7017"/>
                </a:moveTo>
                <a:cubicBezTo>
                  <a:pt x="11058" y="6927"/>
                  <a:pt x="10935" y="6873"/>
                  <a:pt x="10800" y="6873"/>
                </a:cubicBezTo>
                <a:cubicBezTo>
                  <a:pt x="10665" y="6873"/>
                  <a:pt x="10542" y="6927"/>
                  <a:pt x="10453" y="7017"/>
                </a:cubicBezTo>
                <a:lnTo>
                  <a:pt x="5053" y="11926"/>
                </a:lnTo>
                <a:cubicBezTo>
                  <a:pt x="4964" y="12015"/>
                  <a:pt x="4909" y="12138"/>
                  <a:pt x="4909" y="12273"/>
                </a:cubicBezTo>
                <a:cubicBezTo>
                  <a:pt x="4909" y="12544"/>
                  <a:pt x="5129" y="12764"/>
                  <a:pt x="5400" y="12764"/>
                </a:cubicBezTo>
                <a:cubicBezTo>
                  <a:pt x="5535" y="12764"/>
                  <a:pt x="5658" y="12709"/>
                  <a:pt x="5747" y="12620"/>
                </a:cubicBezTo>
                <a:lnTo>
                  <a:pt x="10800" y="8026"/>
                </a:lnTo>
                <a:lnTo>
                  <a:pt x="15853" y="12620"/>
                </a:lnTo>
                <a:cubicBezTo>
                  <a:pt x="15942" y="12709"/>
                  <a:pt x="16065" y="12764"/>
                  <a:pt x="16200" y="12764"/>
                </a:cubicBezTo>
                <a:cubicBezTo>
                  <a:pt x="16471" y="12764"/>
                  <a:pt x="16691" y="12544"/>
                  <a:pt x="16691" y="12273"/>
                </a:cubicBezTo>
                <a:cubicBezTo>
                  <a:pt x="16691" y="12138"/>
                  <a:pt x="16636" y="12015"/>
                  <a:pt x="16547" y="11926"/>
                </a:cubicBezTo>
                <a:cubicBezTo>
                  <a:pt x="16547" y="11926"/>
                  <a:pt x="11147" y="7017"/>
                  <a:pt x="11147" y="7017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6223"/>
                  <a:pt x="16222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05" name="Shape 2905"/>
          <p:cNvSpPr/>
          <p:nvPr/>
        </p:nvSpPr>
        <p:spPr>
          <a:xfrm>
            <a:off x="1947381" y="196636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2764" y="5400"/>
                </a:moveTo>
                <a:cubicBezTo>
                  <a:pt x="12764" y="5129"/>
                  <a:pt x="12544" y="4909"/>
                  <a:pt x="12273" y="4909"/>
                </a:cubicBezTo>
                <a:cubicBezTo>
                  <a:pt x="12137" y="4909"/>
                  <a:pt x="12015" y="4964"/>
                  <a:pt x="11926" y="5053"/>
                </a:cubicBezTo>
                <a:lnTo>
                  <a:pt x="7017" y="10453"/>
                </a:lnTo>
                <a:cubicBezTo>
                  <a:pt x="6928" y="10542"/>
                  <a:pt x="6873" y="10665"/>
                  <a:pt x="6873" y="10800"/>
                </a:cubicBezTo>
                <a:cubicBezTo>
                  <a:pt x="6873" y="10936"/>
                  <a:pt x="6928" y="11058"/>
                  <a:pt x="7017" y="11147"/>
                </a:cubicBezTo>
                <a:lnTo>
                  <a:pt x="11926" y="16547"/>
                </a:lnTo>
                <a:cubicBezTo>
                  <a:pt x="12015" y="16636"/>
                  <a:pt x="12137" y="16691"/>
                  <a:pt x="12273" y="16691"/>
                </a:cubicBezTo>
                <a:cubicBezTo>
                  <a:pt x="12544" y="16691"/>
                  <a:pt x="12764" y="16471"/>
                  <a:pt x="12764" y="16200"/>
                </a:cubicBezTo>
                <a:cubicBezTo>
                  <a:pt x="12764" y="16065"/>
                  <a:pt x="12709" y="15942"/>
                  <a:pt x="12620" y="15853"/>
                </a:cubicBezTo>
                <a:lnTo>
                  <a:pt x="8026" y="10800"/>
                </a:lnTo>
                <a:lnTo>
                  <a:pt x="12620" y="5747"/>
                </a:lnTo>
                <a:cubicBezTo>
                  <a:pt x="12709" y="5658"/>
                  <a:pt x="12764" y="5536"/>
                  <a:pt x="12764" y="54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06" name="Shape 2906"/>
          <p:cNvSpPr/>
          <p:nvPr/>
        </p:nvSpPr>
        <p:spPr>
          <a:xfrm>
            <a:off x="2480642" y="196636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9674" y="5053"/>
                </a:moveTo>
                <a:cubicBezTo>
                  <a:pt x="9585" y="4964"/>
                  <a:pt x="9463" y="4909"/>
                  <a:pt x="9327" y="4909"/>
                </a:cubicBezTo>
                <a:cubicBezTo>
                  <a:pt x="9056" y="4909"/>
                  <a:pt x="8836" y="5129"/>
                  <a:pt x="8836" y="5400"/>
                </a:cubicBezTo>
                <a:cubicBezTo>
                  <a:pt x="8836" y="5536"/>
                  <a:pt x="8891" y="5658"/>
                  <a:pt x="8980" y="5747"/>
                </a:cubicBezTo>
                <a:lnTo>
                  <a:pt x="13574" y="10800"/>
                </a:lnTo>
                <a:lnTo>
                  <a:pt x="8980" y="15853"/>
                </a:lnTo>
                <a:cubicBezTo>
                  <a:pt x="8891" y="15942"/>
                  <a:pt x="8836" y="16065"/>
                  <a:pt x="8836" y="16200"/>
                </a:cubicBezTo>
                <a:cubicBezTo>
                  <a:pt x="8836" y="16471"/>
                  <a:pt x="9056" y="16691"/>
                  <a:pt x="9327" y="16691"/>
                </a:cubicBezTo>
                <a:cubicBezTo>
                  <a:pt x="9463" y="16691"/>
                  <a:pt x="9585" y="16636"/>
                  <a:pt x="9674" y="16547"/>
                </a:cubicBezTo>
                <a:lnTo>
                  <a:pt x="14583" y="11147"/>
                </a:lnTo>
                <a:cubicBezTo>
                  <a:pt x="14672" y="11058"/>
                  <a:pt x="14727" y="10936"/>
                  <a:pt x="14727" y="10800"/>
                </a:cubicBezTo>
                <a:cubicBezTo>
                  <a:pt x="14727" y="10665"/>
                  <a:pt x="14672" y="10542"/>
                  <a:pt x="14583" y="10453"/>
                </a:cubicBezTo>
                <a:cubicBezTo>
                  <a:pt x="14583" y="10453"/>
                  <a:pt x="9674" y="5053"/>
                  <a:pt x="9674" y="5053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07" name="Shape 2907"/>
          <p:cNvSpPr/>
          <p:nvPr/>
        </p:nvSpPr>
        <p:spPr>
          <a:xfrm>
            <a:off x="3013903" y="196636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73" y="235"/>
                </a:moveTo>
                <a:cubicBezTo>
                  <a:pt x="12909" y="205"/>
                  <a:pt x="12840" y="184"/>
                  <a:pt x="12764" y="184"/>
                </a:cubicBezTo>
                <a:cubicBezTo>
                  <a:pt x="12493" y="184"/>
                  <a:pt x="12273" y="404"/>
                  <a:pt x="12273" y="675"/>
                </a:cubicBezTo>
                <a:cubicBezTo>
                  <a:pt x="12273" y="946"/>
                  <a:pt x="12493" y="1166"/>
                  <a:pt x="12764" y="1166"/>
                </a:cubicBezTo>
                <a:lnTo>
                  <a:pt x="12764" y="1179"/>
                </a:lnTo>
                <a:cubicBezTo>
                  <a:pt x="17245" y="2089"/>
                  <a:pt x="20618" y="6050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6050"/>
                  <a:pt x="4355" y="2089"/>
                  <a:pt x="8836" y="1179"/>
                </a:cubicBezTo>
                <a:lnTo>
                  <a:pt x="8836" y="1166"/>
                </a:lnTo>
                <a:cubicBezTo>
                  <a:pt x="9107" y="1166"/>
                  <a:pt x="9327" y="946"/>
                  <a:pt x="9327" y="675"/>
                </a:cubicBezTo>
                <a:cubicBezTo>
                  <a:pt x="9327" y="404"/>
                  <a:pt x="9107" y="184"/>
                  <a:pt x="8836" y="184"/>
                </a:cubicBezTo>
                <a:cubicBezTo>
                  <a:pt x="8761" y="184"/>
                  <a:pt x="8691" y="205"/>
                  <a:pt x="8627" y="235"/>
                </a:cubicBezTo>
                <a:cubicBezTo>
                  <a:pt x="3706" y="1243"/>
                  <a:pt x="0" y="5582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5582"/>
                  <a:pt x="17893" y="1243"/>
                  <a:pt x="12973" y="235"/>
                </a:cubicBezTo>
                <a:moveTo>
                  <a:pt x="6873" y="9818"/>
                </a:moveTo>
                <a:cubicBezTo>
                  <a:pt x="6602" y="9818"/>
                  <a:pt x="6382" y="10038"/>
                  <a:pt x="6382" y="10309"/>
                </a:cubicBezTo>
                <a:cubicBezTo>
                  <a:pt x="6382" y="10445"/>
                  <a:pt x="6437" y="10567"/>
                  <a:pt x="6526" y="10656"/>
                </a:cubicBezTo>
                <a:lnTo>
                  <a:pt x="10453" y="14583"/>
                </a:lnTo>
                <a:cubicBezTo>
                  <a:pt x="10542" y="14673"/>
                  <a:pt x="10664" y="14727"/>
                  <a:pt x="10800" y="14727"/>
                </a:cubicBezTo>
                <a:cubicBezTo>
                  <a:pt x="10936" y="14727"/>
                  <a:pt x="11059" y="14673"/>
                  <a:pt x="11147" y="14583"/>
                </a:cubicBezTo>
                <a:lnTo>
                  <a:pt x="15074" y="10656"/>
                </a:lnTo>
                <a:cubicBezTo>
                  <a:pt x="15163" y="10567"/>
                  <a:pt x="15218" y="10445"/>
                  <a:pt x="15218" y="10309"/>
                </a:cubicBezTo>
                <a:cubicBezTo>
                  <a:pt x="15218" y="10038"/>
                  <a:pt x="14998" y="9818"/>
                  <a:pt x="14727" y="9818"/>
                </a:cubicBezTo>
                <a:cubicBezTo>
                  <a:pt x="14592" y="9818"/>
                  <a:pt x="14469" y="9873"/>
                  <a:pt x="14380" y="9962"/>
                </a:cubicBezTo>
                <a:lnTo>
                  <a:pt x="11291" y="13051"/>
                </a:ln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3051"/>
                </a:lnTo>
                <a:lnTo>
                  <a:pt x="7220" y="9962"/>
                </a:lnTo>
                <a:cubicBezTo>
                  <a:pt x="7131" y="9873"/>
                  <a:pt x="7009" y="9818"/>
                  <a:pt x="6873" y="9818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08" name="Shape 2908"/>
          <p:cNvSpPr/>
          <p:nvPr/>
        </p:nvSpPr>
        <p:spPr>
          <a:xfrm>
            <a:off x="3547164" y="2029844"/>
            <a:ext cx="279328" cy="1523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9397"/>
                </a:moveTo>
                <a:lnTo>
                  <a:pt x="1638" y="1800"/>
                </a:lnTo>
                <a:lnTo>
                  <a:pt x="19962" y="1800"/>
                </a:lnTo>
                <a:cubicBezTo>
                  <a:pt x="19962" y="1800"/>
                  <a:pt x="10800" y="19397"/>
                  <a:pt x="10800" y="19397"/>
                </a:cubicBezTo>
                <a:close/>
                <a:moveTo>
                  <a:pt x="21600" y="900"/>
                </a:moveTo>
                <a:cubicBezTo>
                  <a:pt x="21600" y="403"/>
                  <a:pt x="21380" y="0"/>
                  <a:pt x="21109" y="0"/>
                </a:cubicBezTo>
                <a:lnTo>
                  <a:pt x="491" y="0"/>
                </a:lnTo>
                <a:cubicBezTo>
                  <a:pt x="220" y="0"/>
                  <a:pt x="0" y="403"/>
                  <a:pt x="0" y="900"/>
                </a:cubicBezTo>
                <a:cubicBezTo>
                  <a:pt x="0" y="1141"/>
                  <a:pt x="53" y="1357"/>
                  <a:pt x="137" y="1519"/>
                </a:cubicBezTo>
                <a:lnTo>
                  <a:pt x="136" y="1521"/>
                </a:lnTo>
                <a:lnTo>
                  <a:pt x="10445" y="21321"/>
                </a:lnTo>
                <a:lnTo>
                  <a:pt x="10446" y="21319"/>
                </a:lnTo>
                <a:cubicBezTo>
                  <a:pt x="10536" y="21491"/>
                  <a:pt x="10660" y="21600"/>
                  <a:pt x="10800" y="21600"/>
                </a:cubicBezTo>
                <a:cubicBezTo>
                  <a:pt x="10940" y="21600"/>
                  <a:pt x="11064" y="21491"/>
                  <a:pt x="11154" y="21319"/>
                </a:cubicBezTo>
                <a:lnTo>
                  <a:pt x="11155" y="21321"/>
                </a:lnTo>
                <a:lnTo>
                  <a:pt x="21464" y="1521"/>
                </a:lnTo>
                <a:lnTo>
                  <a:pt x="21463" y="1519"/>
                </a:lnTo>
                <a:cubicBezTo>
                  <a:pt x="21547" y="1357"/>
                  <a:pt x="21600" y="1141"/>
                  <a:pt x="21600" y="9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09" name="Shape 2909"/>
          <p:cNvSpPr/>
          <p:nvPr/>
        </p:nvSpPr>
        <p:spPr>
          <a:xfrm>
            <a:off x="4080425" y="2029844"/>
            <a:ext cx="279328" cy="1523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38" y="19800"/>
                </a:moveTo>
                <a:lnTo>
                  <a:pt x="10800" y="2203"/>
                </a:lnTo>
                <a:lnTo>
                  <a:pt x="19962" y="19800"/>
                </a:lnTo>
                <a:cubicBezTo>
                  <a:pt x="19962" y="19800"/>
                  <a:pt x="1638" y="19800"/>
                  <a:pt x="1638" y="19800"/>
                </a:cubicBezTo>
                <a:close/>
                <a:moveTo>
                  <a:pt x="21463" y="20081"/>
                </a:moveTo>
                <a:lnTo>
                  <a:pt x="21464" y="20079"/>
                </a:lnTo>
                <a:lnTo>
                  <a:pt x="11155" y="279"/>
                </a:lnTo>
                <a:lnTo>
                  <a:pt x="11154" y="282"/>
                </a:lnTo>
                <a:cubicBezTo>
                  <a:pt x="11064" y="109"/>
                  <a:pt x="10940" y="0"/>
                  <a:pt x="10800" y="0"/>
                </a:cubicBezTo>
                <a:cubicBezTo>
                  <a:pt x="10660" y="0"/>
                  <a:pt x="10536" y="109"/>
                  <a:pt x="10446" y="282"/>
                </a:cubicBezTo>
                <a:lnTo>
                  <a:pt x="10445" y="279"/>
                </a:lnTo>
                <a:lnTo>
                  <a:pt x="136" y="20079"/>
                </a:lnTo>
                <a:lnTo>
                  <a:pt x="137" y="20081"/>
                </a:lnTo>
                <a:cubicBezTo>
                  <a:pt x="54" y="20243"/>
                  <a:pt x="0" y="20459"/>
                  <a:pt x="0" y="20700"/>
                </a:cubicBezTo>
                <a:cubicBezTo>
                  <a:pt x="0" y="21197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197"/>
                  <a:pt x="21600" y="20700"/>
                </a:cubicBezTo>
                <a:cubicBezTo>
                  <a:pt x="21600" y="20459"/>
                  <a:pt x="21547" y="20243"/>
                  <a:pt x="21463" y="20081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10" name="Shape 2910"/>
          <p:cNvSpPr/>
          <p:nvPr/>
        </p:nvSpPr>
        <p:spPr>
          <a:xfrm>
            <a:off x="4677169" y="1966361"/>
            <a:ext cx="15236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800" y="19962"/>
                </a:moveTo>
                <a:lnTo>
                  <a:pt x="2203" y="10800"/>
                </a:lnTo>
                <a:lnTo>
                  <a:pt x="19800" y="1638"/>
                </a:lnTo>
                <a:cubicBezTo>
                  <a:pt x="19800" y="1638"/>
                  <a:pt x="19800" y="19962"/>
                  <a:pt x="19800" y="19962"/>
                </a:cubicBezTo>
                <a:close/>
                <a:moveTo>
                  <a:pt x="20700" y="0"/>
                </a:moveTo>
                <a:cubicBezTo>
                  <a:pt x="20459" y="0"/>
                  <a:pt x="20243" y="53"/>
                  <a:pt x="20080" y="137"/>
                </a:cubicBezTo>
                <a:lnTo>
                  <a:pt x="20079" y="136"/>
                </a:lnTo>
                <a:lnTo>
                  <a:pt x="279" y="10445"/>
                </a:lnTo>
                <a:lnTo>
                  <a:pt x="281" y="10446"/>
                </a:lnTo>
                <a:cubicBezTo>
                  <a:pt x="109" y="10536"/>
                  <a:pt x="0" y="10660"/>
                  <a:pt x="0" y="10800"/>
                </a:cubicBezTo>
                <a:cubicBezTo>
                  <a:pt x="0" y="10940"/>
                  <a:pt x="109" y="11065"/>
                  <a:pt x="281" y="11154"/>
                </a:cubicBezTo>
                <a:lnTo>
                  <a:pt x="279" y="11155"/>
                </a:lnTo>
                <a:lnTo>
                  <a:pt x="20079" y="21465"/>
                </a:lnTo>
                <a:lnTo>
                  <a:pt x="20080" y="21463"/>
                </a:lnTo>
                <a:cubicBezTo>
                  <a:pt x="20243" y="21547"/>
                  <a:pt x="20459" y="21600"/>
                  <a:pt x="20700" y="21600"/>
                </a:cubicBezTo>
                <a:cubicBezTo>
                  <a:pt x="21197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197" y="0"/>
                  <a:pt x="207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11" name="Shape 2911"/>
          <p:cNvSpPr/>
          <p:nvPr/>
        </p:nvSpPr>
        <p:spPr>
          <a:xfrm>
            <a:off x="5210431" y="1966361"/>
            <a:ext cx="15236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0" y="19962"/>
                </a:moveTo>
                <a:lnTo>
                  <a:pt x="1800" y="1638"/>
                </a:lnTo>
                <a:lnTo>
                  <a:pt x="19397" y="10800"/>
                </a:lnTo>
                <a:cubicBezTo>
                  <a:pt x="19397" y="10800"/>
                  <a:pt x="1800" y="19962"/>
                  <a:pt x="1800" y="19962"/>
                </a:cubicBezTo>
                <a:close/>
                <a:moveTo>
                  <a:pt x="21600" y="10800"/>
                </a:moveTo>
                <a:cubicBezTo>
                  <a:pt x="21600" y="10660"/>
                  <a:pt x="21491" y="10536"/>
                  <a:pt x="21318" y="10446"/>
                </a:cubicBezTo>
                <a:lnTo>
                  <a:pt x="21321" y="10445"/>
                </a:lnTo>
                <a:lnTo>
                  <a:pt x="1521" y="136"/>
                </a:lnTo>
                <a:lnTo>
                  <a:pt x="1519" y="137"/>
                </a:lnTo>
                <a:cubicBezTo>
                  <a:pt x="1357" y="53"/>
                  <a:pt x="1141" y="0"/>
                  <a:pt x="900" y="0"/>
                </a:cubicBezTo>
                <a:cubicBezTo>
                  <a:pt x="403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403" y="21600"/>
                  <a:pt x="900" y="21600"/>
                </a:cubicBezTo>
                <a:cubicBezTo>
                  <a:pt x="1141" y="21600"/>
                  <a:pt x="1357" y="21547"/>
                  <a:pt x="1519" y="21463"/>
                </a:cubicBezTo>
                <a:lnTo>
                  <a:pt x="1521" y="21465"/>
                </a:lnTo>
                <a:lnTo>
                  <a:pt x="21321" y="11155"/>
                </a:lnTo>
                <a:lnTo>
                  <a:pt x="21318" y="11154"/>
                </a:lnTo>
                <a:cubicBezTo>
                  <a:pt x="21491" y="11065"/>
                  <a:pt x="21600" y="10940"/>
                  <a:pt x="21600" y="108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12" name="Shape 2912"/>
          <p:cNvSpPr/>
          <p:nvPr/>
        </p:nvSpPr>
        <p:spPr>
          <a:xfrm>
            <a:off x="5680208" y="196636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456" y="10453"/>
                </a:moveTo>
                <a:lnTo>
                  <a:pt x="18511" y="7507"/>
                </a:lnTo>
                <a:cubicBezTo>
                  <a:pt x="18422" y="7419"/>
                  <a:pt x="18299" y="7364"/>
                  <a:pt x="18164" y="7364"/>
                </a:cubicBezTo>
                <a:cubicBezTo>
                  <a:pt x="17892" y="7364"/>
                  <a:pt x="17673" y="7584"/>
                  <a:pt x="17673" y="7855"/>
                </a:cubicBezTo>
                <a:cubicBezTo>
                  <a:pt x="17673" y="7990"/>
                  <a:pt x="17728" y="8113"/>
                  <a:pt x="17817" y="8202"/>
                </a:cubicBezTo>
                <a:lnTo>
                  <a:pt x="19924" y="10309"/>
                </a:lnTo>
                <a:lnTo>
                  <a:pt x="11291" y="10309"/>
                </a:lnTo>
                <a:lnTo>
                  <a:pt x="11291" y="1676"/>
                </a:lnTo>
                <a:lnTo>
                  <a:pt x="13398" y="3783"/>
                </a:lnTo>
                <a:cubicBezTo>
                  <a:pt x="13487" y="3873"/>
                  <a:pt x="13610" y="3927"/>
                  <a:pt x="13745" y="3927"/>
                </a:cubicBezTo>
                <a:cubicBezTo>
                  <a:pt x="14017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6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8" y="3178"/>
                  <a:pt x="7364" y="3301"/>
                  <a:pt x="7364" y="3436"/>
                </a:cubicBezTo>
                <a:cubicBezTo>
                  <a:pt x="7364" y="3708"/>
                  <a:pt x="7583" y="3927"/>
                  <a:pt x="7855" y="3927"/>
                </a:cubicBezTo>
                <a:cubicBezTo>
                  <a:pt x="7990" y="3927"/>
                  <a:pt x="8113" y="3873"/>
                  <a:pt x="8202" y="3783"/>
                </a:cubicBezTo>
                <a:lnTo>
                  <a:pt x="10309" y="1676"/>
                </a:lnTo>
                <a:lnTo>
                  <a:pt x="10309" y="10309"/>
                </a:lnTo>
                <a:lnTo>
                  <a:pt x="1676" y="10309"/>
                </a:lnTo>
                <a:lnTo>
                  <a:pt x="3783" y="8202"/>
                </a:lnTo>
                <a:cubicBezTo>
                  <a:pt x="3873" y="8113"/>
                  <a:pt x="3927" y="7990"/>
                  <a:pt x="3927" y="7855"/>
                </a:cubicBezTo>
                <a:cubicBezTo>
                  <a:pt x="3927" y="7584"/>
                  <a:pt x="3708" y="7364"/>
                  <a:pt x="3436" y="7364"/>
                </a:cubicBezTo>
                <a:cubicBezTo>
                  <a:pt x="3301" y="7364"/>
                  <a:pt x="3178" y="7419"/>
                  <a:pt x="3089" y="7507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0936"/>
                  <a:pt x="55" y="11058"/>
                  <a:pt x="144" y="11148"/>
                </a:cubicBezTo>
                <a:lnTo>
                  <a:pt x="3089" y="14093"/>
                </a:lnTo>
                <a:cubicBezTo>
                  <a:pt x="3178" y="14182"/>
                  <a:pt x="3301" y="14236"/>
                  <a:pt x="3436" y="14236"/>
                </a:cubicBezTo>
                <a:cubicBezTo>
                  <a:pt x="3708" y="14236"/>
                  <a:pt x="3927" y="14017"/>
                  <a:pt x="3927" y="13745"/>
                </a:cubicBezTo>
                <a:cubicBezTo>
                  <a:pt x="3927" y="13610"/>
                  <a:pt x="3873" y="13488"/>
                  <a:pt x="3783" y="13398"/>
                </a:cubicBezTo>
                <a:lnTo>
                  <a:pt x="1676" y="11291"/>
                </a:lnTo>
                <a:lnTo>
                  <a:pt x="10309" y="11291"/>
                </a:ln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8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5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  <a:cubicBezTo>
                  <a:pt x="13610" y="17673"/>
                  <a:pt x="13487" y="17728"/>
                  <a:pt x="13398" y="17817"/>
                </a:cubicBezTo>
                <a:lnTo>
                  <a:pt x="11291" y="19924"/>
                </a:lnTo>
                <a:lnTo>
                  <a:pt x="11291" y="11291"/>
                </a:lnTo>
                <a:lnTo>
                  <a:pt x="19924" y="11291"/>
                </a:lnTo>
                <a:lnTo>
                  <a:pt x="17817" y="13398"/>
                </a:lnTo>
                <a:cubicBezTo>
                  <a:pt x="17728" y="13488"/>
                  <a:pt x="17673" y="13610"/>
                  <a:pt x="17673" y="13745"/>
                </a:cubicBezTo>
                <a:cubicBezTo>
                  <a:pt x="17673" y="14017"/>
                  <a:pt x="17892" y="14236"/>
                  <a:pt x="18164" y="14236"/>
                </a:cubicBezTo>
                <a:cubicBezTo>
                  <a:pt x="18299" y="14236"/>
                  <a:pt x="18422" y="14182"/>
                  <a:pt x="18511" y="14093"/>
                </a:cubicBezTo>
                <a:lnTo>
                  <a:pt x="21456" y="11148"/>
                </a:lnTo>
                <a:cubicBezTo>
                  <a:pt x="21545" y="11058"/>
                  <a:pt x="21600" y="10936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13" name="Shape 2913"/>
          <p:cNvSpPr/>
          <p:nvPr/>
        </p:nvSpPr>
        <p:spPr>
          <a:xfrm>
            <a:off x="6213470" y="1433100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6200" y="7855"/>
                </a:moveTo>
                <a:cubicBezTo>
                  <a:pt x="16073" y="7855"/>
                  <a:pt x="15959" y="7905"/>
                  <a:pt x="15873" y="7985"/>
                </a:cubicBezTo>
                <a:lnTo>
                  <a:pt x="15870" y="7982"/>
                </a:lnTo>
                <a:lnTo>
                  <a:pt x="10800" y="12591"/>
                </a:lnTo>
                <a:lnTo>
                  <a:pt x="5730" y="7982"/>
                </a:lnTo>
                <a:lnTo>
                  <a:pt x="5727" y="7985"/>
                </a:lnTo>
                <a:cubicBezTo>
                  <a:pt x="5641" y="7905"/>
                  <a:pt x="5527" y="7855"/>
                  <a:pt x="5400" y="7855"/>
                </a:cubicBezTo>
                <a:cubicBezTo>
                  <a:pt x="5129" y="7855"/>
                  <a:pt x="4909" y="8074"/>
                  <a:pt x="4909" y="8345"/>
                </a:cubicBezTo>
                <a:cubicBezTo>
                  <a:pt x="4909" y="8489"/>
                  <a:pt x="4973" y="8616"/>
                  <a:pt x="5073" y="8706"/>
                </a:cubicBezTo>
                <a:lnTo>
                  <a:pt x="5070" y="8709"/>
                </a:lnTo>
                <a:lnTo>
                  <a:pt x="10470" y="13618"/>
                </a:lnTo>
                <a:lnTo>
                  <a:pt x="10473" y="13615"/>
                </a:lnTo>
                <a:cubicBezTo>
                  <a:pt x="10559" y="13695"/>
                  <a:pt x="10673" y="13745"/>
                  <a:pt x="10800" y="13745"/>
                </a:cubicBezTo>
                <a:cubicBezTo>
                  <a:pt x="10927" y="13745"/>
                  <a:pt x="11041" y="13695"/>
                  <a:pt x="11127" y="13615"/>
                </a:cubicBezTo>
                <a:lnTo>
                  <a:pt x="11130" y="13618"/>
                </a:lnTo>
                <a:lnTo>
                  <a:pt x="16530" y="8709"/>
                </a:lnTo>
                <a:lnTo>
                  <a:pt x="16527" y="8706"/>
                </a:lnTo>
                <a:cubicBezTo>
                  <a:pt x="16627" y="8616"/>
                  <a:pt x="16691" y="8489"/>
                  <a:pt x="16691" y="8345"/>
                </a:cubicBezTo>
                <a:cubicBezTo>
                  <a:pt x="16691" y="8074"/>
                  <a:pt x="16471" y="7855"/>
                  <a:pt x="16200" y="785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14" name="Shape 2914"/>
          <p:cNvSpPr/>
          <p:nvPr/>
        </p:nvSpPr>
        <p:spPr>
          <a:xfrm>
            <a:off x="6746731" y="1433100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530" y="12891"/>
                </a:moveTo>
                <a:lnTo>
                  <a:pt x="11130" y="7982"/>
                </a:lnTo>
                <a:lnTo>
                  <a:pt x="11128" y="7985"/>
                </a:lnTo>
                <a:cubicBezTo>
                  <a:pt x="11040" y="7906"/>
                  <a:pt x="10927" y="7855"/>
                  <a:pt x="10800" y="7855"/>
                </a:cubicBezTo>
                <a:cubicBezTo>
                  <a:pt x="10673" y="7855"/>
                  <a:pt x="10559" y="7906"/>
                  <a:pt x="10473" y="7985"/>
                </a:cubicBezTo>
                <a:lnTo>
                  <a:pt x="10469" y="7982"/>
                </a:lnTo>
                <a:lnTo>
                  <a:pt x="5069" y="12891"/>
                </a:lnTo>
                <a:lnTo>
                  <a:pt x="5073" y="12895"/>
                </a:lnTo>
                <a:cubicBezTo>
                  <a:pt x="4973" y="12984"/>
                  <a:pt x="4909" y="13111"/>
                  <a:pt x="4909" y="13255"/>
                </a:cubicBezTo>
                <a:cubicBezTo>
                  <a:pt x="4909" y="13526"/>
                  <a:pt x="5129" y="13745"/>
                  <a:pt x="5400" y="13745"/>
                </a:cubicBezTo>
                <a:cubicBezTo>
                  <a:pt x="5527" y="13745"/>
                  <a:pt x="5640" y="13694"/>
                  <a:pt x="5728" y="13615"/>
                </a:cubicBezTo>
                <a:lnTo>
                  <a:pt x="5730" y="13618"/>
                </a:lnTo>
                <a:lnTo>
                  <a:pt x="10800" y="9009"/>
                </a:lnTo>
                <a:lnTo>
                  <a:pt x="15869" y="13618"/>
                </a:lnTo>
                <a:lnTo>
                  <a:pt x="15873" y="13615"/>
                </a:lnTo>
                <a:cubicBezTo>
                  <a:pt x="15959" y="13694"/>
                  <a:pt x="16073" y="13745"/>
                  <a:pt x="16200" y="13745"/>
                </a:cubicBezTo>
                <a:cubicBezTo>
                  <a:pt x="16471" y="13745"/>
                  <a:pt x="16691" y="13526"/>
                  <a:pt x="16691" y="13255"/>
                </a:cubicBezTo>
                <a:cubicBezTo>
                  <a:pt x="16691" y="13111"/>
                  <a:pt x="16627" y="12984"/>
                  <a:pt x="16527" y="12895"/>
                </a:cubicBezTo>
                <a:cubicBezTo>
                  <a:pt x="16527" y="12895"/>
                  <a:pt x="16530" y="12891"/>
                  <a:pt x="16530" y="12891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15" name="Shape 2915"/>
          <p:cNvSpPr/>
          <p:nvPr/>
        </p:nvSpPr>
        <p:spPr>
          <a:xfrm>
            <a:off x="7279992" y="1433100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273" y="4909"/>
                </a:moveTo>
                <a:cubicBezTo>
                  <a:pt x="12128" y="4909"/>
                  <a:pt x="12002" y="4974"/>
                  <a:pt x="11912" y="5073"/>
                </a:cubicBezTo>
                <a:lnTo>
                  <a:pt x="11909" y="5070"/>
                </a:lnTo>
                <a:lnTo>
                  <a:pt x="7000" y="10470"/>
                </a:lnTo>
                <a:lnTo>
                  <a:pt x="7003" y="10473"/>
                </a:lnTo>
                <a:cubicBezTo>
                  <a:pt x="6924" y="10559"/>
                  <a:pt x="6873" y="10673"/>
                  <a:pt x="6873" y="10800"/>
                </a:cubicBezTo>
                <a:cubicBezTo>
                  <a:pt x="6873" y="10927"/>
                  <a:pt x="6924" y="11041"/>
                  <a:pt x="7003" y="11127"/>
                </a:cubicBezTo>
                <a:lnTo>
                  <a:pt x="7000" y="11130"/>
                </a:lnTo>
                <a:lnTo>
                  <a:pt x="11909" y="16530"/>
                </a:lnTo>
                <a:lnTo>
                  <a:pt x="11912" y="16527"/>
                </a:lnTo>
                <a:cubicBezTo>
                  <a:pt x="12002" y="16627"/>
                  <a:pt x="12128" y="16691"/>
                  <a:pt x="12273" y="16691"/>
                </a:cubicBezTo>
                <a:cubicBezTo>
                  <a:pt x="12544" y="16691"/>
                  <a:pt x="12764" y="16471"/>
                  <a:pt x="12764" y="16200"/>
                </a:cubicBezTo>
                <a:cubicBezTo>
                  <a:pt x="12764" y="16073"/>
                  <a:pt x="12713" y="15960"/>
                  <a:pt x="12633" y="15873"/>
                </a:cubicBezTo>
                <a:lnTo>
                  <a:pt x="12636" y="15870"/>
                </a:lnTo>
                <a:lnTo>
                  <a:pt x="8027" y="10800"/>
                </a:lnTo>
                <a:lnTo>
                  <a:pt x="12636" y="5730"/>
                </a:lnTo>
                <a:lnTo>
                  <a:pt x="12633" y="5728"/>
                </a:lnTo>
                <a:cubicBezTo>
                  <a:pt x="12713" y="5641"/>
                  <a:pt x="12764" y="5527"/>
                  <a:pt x="12764" y="5400"/>
                </a:cubicBezTo>
                <a:cubicBezTo>
                  <a:pt x="12764" y="5129"/>
                  <a:pt x="12544" y="4909"/>
                  <a:pt x="12273" y="4909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16" name="Shape 2916"/>
          <p:cNvSpPr/>
          <p:nvPr/>
        </p:nvSpPr>
        <p:spPr>
          <a:xfrm>
            <a:off x="7813253" y="1433100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597" y="10473"/>
                </a:moveTo>
                <a:lnTo>
                  <a:pt x="14600" y="10470"/>
                </a:lnTo>
                <a:lnTo>
                  <a:pt x="9691" y="5070"/>
                </a:lnTo>
                <a:lnTo>
                  <a:pt x="9688" y="5073"/>
                </a:lnTo>
                <a:cubicBezTo>
                  <a:pt x="9598" y="4974"/>
                  <a:pt x="9471" y="4909"/>
                  <a:pt x="9327" y="4909"/>
                </a:cubicBezTo>
                <a:cubicBezTo>
                  <a:pt x="9056" y="4909"/>
                  <a:pt x="8836" y="5129"/>
                  <a:pt x="8836" y="5400"/>
                </a:cubicBezTo>
                <a:cubicBezTo>
                  <a:pt x="8836" y="5527"/>
                  <a:pt x="8887" y="5641"/>
                  <a:pt x="8967" y="5728"/>
                </a:cubicBezTo>
                <a:lnTo>
                  <a:pt x="8964" y="5730"/>
                </a:lnTo>
                <a:lnTo>
                  <a:pt x="13573" y="10800"/>
                </a:lnTo>
                <a:lnTo>
                  <a:pt x="8964" y="15870"/>
                </a:lnTo>
                <a:lnTo>
                  <a:pt x="8967" y="15873"/>
                </a:lnTo>
                <a:cubicBezTo>
                  <a:pt x="8887" y="15960"/>
                  <a:pt x="8836" y="16073"/>
                  <a:pt x="8836" y="16200"/>
                </a:cubicBezTo>
                <a:cubicBezTo>
                  <a:pt x="8836" y="16471"/>
                  <a:pt x="9056" y="16691"/>
                  <a:pt x="9327" y="16691"/>
                </a:cubicBezTo>
                <a:cubicBezTo>
                  <a:pt x="9471" y="16691"/>
                  <a:pt x="9598" y="16627"/>
                  <a:pt x="9688" y="16527"/>
                </a:cubicBezTo>
                <a:lnTo>
                  <a:pt x="9691" y="16530"/>
                </a:lnTo>
                <a:lnTo>
                  <a:pt x="14600" y="11130"/>
                </a:lnTo>
                <a:lnTo>
                  <a:pt x="14597" y="11127"/>
                </a:lnTo>
                <a:cubicBezTo>
                  <a:pt x="14676" y="11041"/>
                  <a:pt x="14727" y="10927"/>
                  <a:pt x="14727" y="10800"/>
                </a:cubicBezTo>
                <a:cubicBezTo>
                  <a:pt x="14727" y="10673"/>
                  <a:pt x="14676" y="10559"/>
                  <a:pt x="14597" y="104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17" name="Shape 2917"/>
          <p:cNvSpPr/>
          <p:nvPr/>
        </p:nvSpPr>
        <p:spPr>
          <a:xfrm>
            <a:off x="8390952" y="1433100"/>
            <a:ext cx="19045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415"/>
                </a:moveTo>
                <a:lnTo>
                  <a:pt x="2459" y="14727"/>
                </a:lnTo>
                <a:lnTo>
                  <a:pt x="8640" y="14727"/>
                </a:lnTo>
                <a:lnTo>
                  <a:pt x="8640" y="1964"/>
                </a:lnTo>
                <a:cubicBezTo>
                  <a:pt x="8640" y="1422"/>
                  <a:pt x="9285" y="982"/>
                  <a:pt x="10080" y="982"/>
                </a:cubicBezTo>
                <a:lnTo>
                  <a:pt x="11520" y="982"/>
                </a:lnTo>
                <a:cubicBezTo>
                  <a:pt x="12315" y="982"/>
                  <a:pt x="12960" y="1422"/>
                  <a:pt x="12960" y="1964"/>
                </a:cubicBezTo>
                <a:lnTo>
                  <a:pt x="12960" y="14727"/>
                </a:lnTo>
                <a:lnTo>
                  <a:pt x="19142" y="14727"/>
                </a:lnTo>
                <a:cubicBezTo>
                  <a:pt x="19142" y="14727"/>
                  <a:pt x="10800" y="20415"/>
                  <a:pt x="10800" y="20415"/>
                </a:cubicBezTo>
                <a:close/>
                <a:moveTo>
                  <a:pt x="20880" y="13745"/>
                </a:moveTo>
                <a:lnTo>
                  <a:pt x="14400" y="13745"/>
                </a:lnTo>
                <a:lnTo>
                  <a:pt x="14400" y="1964"/>
                </a:lnTo>
                <a:cubicBezTo>
                  <a:pt x="14400" y="879"/>
                  <a:pt x="13110" y="0"/>
                  <a:pt x="11520" y="0"/>
                </a:cubicBezTo>
                <a:lnTo>
                  <a:pt x="10080" y="0"/>
                </a:lnTo>
                <a:cubicBezTo>
                  <a:pt x="8490" y="0"/>
                  <a:pt x="7200" y="879"/>
                  <a:pt x="7200" y="1964"/>
                </a:cubicBezTo>
                <a:lnTo>
                  <a:pt x="7200" y="13745"/>
                </a:lnTo>
                <a:lnTo>
                  <a:pt x="720" y="13745"/>
                </a:lnTo>
                <a:cubicBezTo>
                  <a:pt x="323" y="13745"/>
                  <a:pt x="0" y="13966"/>
                  <a:pt x="0" y="14236"/>
                </a:cubicBezTo>
                <a:cubicBezTo>
                  <a:pt x="0" y="14373"/>
                  <a:pt x="81" y="14495"/>
                  <a:pt x="212" y="14584"/>
                </a:cubicBezTo>
                <a:lnTo>
                  <a:pt x="10290" y="21456"/>
                </a:lnTo>
                <a:cubicBezTo>
                  <a:pt x="10421" y="21545"/>
                  <a:pt x="10601" y="21600"/>
                  <a:pt x="10800" y="21600"/>
                </a:cubicBezTo>
                <a:cubicBezTo>
                  <a:pt x="10999" y="21600"/>
                  <a:pt x="11179" y="21545"/>
                  <a:pt x="11310" y="21456"/>
                </a:cubicBezTo>
                <a:lnTo>
                  <a:pt x="21388" y="14584"/>
                </a:lnTo>
                <a:cubicBezTo>
                  <a:pt x="21519" y="14495"/>
                  <a:pt x="21600" y="14373"/>
                  <a:pt x="21600" y="14236"/>
                </a:cubicBezTo>
                <a:cubicBezTo>
                  <a:pt x="21600" y="13966"/>
                  <a:pt x="21277" y="13745"/>
                  <a:pt x="20880" y="1374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18" name="Shape 2918"/>
          <p:cNvSpPr/>
          <p:nvPr/>
        </p:nvSpPr>
        <p:spPr>
          <a:xfrm>
            <a:off x="8924213" y="1433100"/>
            <a:ext cx="19045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60" y="6873"/>
                </a:moveTo>
                <a:lnTo>
                  <a:pt x="12960" y="19636"/>
                </a:lnTo>
                <a:cubicBezTo>
                  <a:pt x="12960" y="20178"/>
                  <a:pt x="12315" y="20618"/>
                  <a:pt x="11520" y="20618"/>
                </a:cubicBezTo>
                <a:lnTo>
                  <a:pt x="10080" y="20618"/>
                </a:lnTo>
                <a:cubicBezTo>
                  <a:pt x="9285" y="20618"/>
                  <a:pt x="8640" y="20178"/>
                  <a:pt x="8640" y="19636"/>
                </a:cubicBezTo>
                <a:lnTo>
                  <a:pt x="8640" y="6873"/>
                </a:lnTo>
                <a:lnTo>
                  <a:pt x="2458" y="6873"/>
                </a:lnTo>
                <a:lnTo>
                  <a:pt x="10800" y="1185"/>
                </a:lnTo>
                <a:lnTo>
                  <a:pt x="19142" y="6873"/>
                </a:lnTo>
                <a:cubicBezTo>
                  <a:pt x="19142" y="6873"/>
                  <a:pt x="12960" y="6873"/>
                  <a:pt x="12960" y="6873"/>
                </a:cubicBezTo>
                <a:close/>
                <a:moveTo>
                  <a:pt x="21389" y="7017"/>
                </a:moveTo>
                <a:lnTo>
                  <a:pt x="11309" y="144"/>
                </a:lnTo>
                <a:cubicBezTo>
                  <a:pt x="11179" y="55"/>
                  <a:pt x="10999" y="0"/>
                  <a:pt x="10800" y="0"/>
                </a:cubicBezTo>
                <a:cubicBezTo>
                  <a:pt x="10601" y="0"/>
                  <a:pt x="10422" y="55"/>
                  <a:pt x="10291" y="144"/>
                </a:cubicBezTo>
                <a:lnTo>
                  <a:pt x="211" y="7017"/>
                </a:lnTo>
                <a:cubicBezTo>
                  <a:pt x="81" y="7106"/>
                  <a:pt x="0" y="7228"/>
                  <a:pt x="0" y="7364"/>
                </a:cubicBezTo>
                <a:cubicBezTo>
                  <a:pt x="0" y="7635"/>
                  <a:pt x="322" y="7855"/>
                  <a:pt x="720" y="7855"/>
                </a:cubicBezTo>
                <a:lnTo>
                  <a:pt x="7200" y="7855"/>
                </a:lnTo>
                <a:lnTo>
                  <a:pt x="7200" y="19636"/>
                </a:lnTo>
                <a:cubicBezTo>
                  <a:pt x="7200" y="20721"/>
                  <a:pt x="8490" y="21600"/>
                  <a:pt x="10080" y="21600"/>
                </a:cubicBezTo>
                <a:lnTo>
                  <a:pt x="11520" y="21600"/>
                </a:lnTo>
                <a:cubicBezTo>
                  <a:pt x="13110" y="21600"/>
                  <a:pt x="14400" y="20721"/>
                  <a:pt x="14400" y="19636"/>
                </a:cubicBezTo>
                <a:lnTo>
                  <a:pt x="14400" y="7855"/>
                </a:lnTo>
                <a:lnTo>
                  <a:pt x="20880" y="7855"/>
                </a:lnTo>
                <a:cubicBezTo>
                  <a:pt x="21278" y="7855"/>
                  <a:pt x="21600" y="7635"/>
                  <a:pt x="21600" y="7364"/>
                </a:cubicBezTo>
                <a:cubicBezTo>
                  <a:pt x="21600" y="7228"/>
                  <a:pt x="21519" y="7106"/>
                  <a:pt x="21389" y="7017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19" name="Shape 2919"/>
          <p:cNvSpPr/>
          <p:nvPr/>
        </p:nvSpPr>
        <p:spPr>
          <a:xfrm>
            <a:off x="9413036" y="1477538"/>
            <a:ext cx="279328" cy="1904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520"/>
                </a:moveTo>
                <a:cubicBezTo>
                  <a:pt x="20618" y="12315"/>
                  <a:pt x="20178" y="12960"/>
                  <a:pt x="19636" y="12960"/>
                </a:cubicBezTo>
                <a:lnTo>
                  <a:pt x="6873" y="12960"/>
                </a:lnTo>
                <a:lnTo>
                  <a:pt x="6873" y="19142"/>
                </a:lnTo>
                <a:lnTo>
                  <a:pt x="1185" y="10800"/>
                </a:lnTo>
                <a:lnTo>
                  <a:pt x="6873" y="2458"/>
                </a:lnTo>
                <a:lnTo>
                  <a:pt x="6873" y="8640"/>
                </a:lnTo>
                <a:lnTo>
                  <a:pt x="19636" y="8640"/>
                </a:lnTo>
                <a:cubicBezTo>
                  <a:pt x="20178" y="8640"/>
                  <a:pt x="20618" y="9285"/>
                  <a:pt x="20618" y="10080"/>
                </a:cubicBezTo>
                <a:cubicBezTo>
                  <a:pt x="20618" y="10080"/>
                  <a:pt x="20618" y="11520"/>
                  <a:pt x="20618" y="11520"/>
                </a:cubicBezTo>
                <a:close/>
                <a:moveTo>
                  <a:pt x="19636" y="7200"/>
                </a:moveTo>
                <a:lnTo>
                  <a:pt x="7855" y="7200"/>
                </a:lnTo>
                <a:lnTo>
                  <a:pt x="7855" y="720"/>
                </a:lnTo>
                <a:cubicBezTo>
                  <a:pt x="7855" y="322"/>
                  <a:pt x="7635" y="0"/>
                  <a:pt x="7364" y="0"/>
                </a:cubicBezTo>
                <a:cubicBezTo>
                  <a:pt x="7228" y="0"/>
                  <a:pt x="7105" y="81"/>
                  <a:pt x="7017" y="212"/>
                </a:cubicBezTo>
                <a:lnTo>
                  <a:pt x="144" y="10291"/>
                </a:lnTo>
                <a:cubicBezTo>
                  <a:pt x="55" y="10422"/>
                  <a:pt x="0" y="10602"/>
                  <a:pt x="0" y="10800"/>
                </a:cubicBezTo>
                <a:cubicBezTo>
                  <a:pt x="0" y="11000"/>
                  <a:pt x="55" y="11180"/>
                  <a:pt x="144" y="11310"/>
                </a:cubicBezTo>
                <a:lnTo>
                  <a:pt x="7017" y="21389"/>
                </a:lnTo>
                <a:cubicBezTo>
                  <a:pt x="7105" y="21520"/>
                  <a:pt x="7228" y="21600"/>
                  <a:pt x="7364" y="21600"/>
                </a:cubicBezTo>
                <a:cubicBezTo>
                  <a:pt x="7635" y="21600"/>
                  <a:pt x="7855" y="21278"/>
                  <a:pt x="7855" y="20880"/>
                </a:cubicBezTo>
                <a:lnTo>
                  <a:pt x="7855" y="14400"/>
                </a:lnTo>
                <a:lnTo>
                  <a:pt x="19636" y="14400"/>
                </a:lnTo>
                <a:cubicBezTo>
                  <a:pt x="20721" y="14400"/>
                  <a:pt x="21600" y="13110"/>
                  <a:pt x="21600" y="11520"/>
                </a:cubicBezTo>
                <a:lnTo>
                  <a:pt x="21600" y="10080"/>
                </a:lnTo>
                <a:cubicBezTo>
                  <a:pt x="21600" y="8490"/>
                  <a:pt x="20721" y="7200"/>
                  <a:pt x="19636" y="72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20" name="Shape 2920"/>
          <p:cNvSpPr/>
          <p:nvPr/>
        </p:nvSpPr>
        <p:spPr>
          <a:xfrm>
            <a:off x="9946297" y="1477538"/>
            <a:ext cx="279328" cy="1904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9142"/>
                </a:moveTo>
                <a:lnTo>
                  <a:pt x="14727" y="12960"/>
                </a:lnTo>
                <a:lnTo>
                  <a:pt x="1964" y="12960"/>
                </a:lnTo>
                <a:cubicBezTo>
                  <a:pt x="1421" y="12960"/>
                  <a:pt x="982" y="12316"/>
                  <a:pt x="982" y="11520"/>
                </a:cubicBezTo>
                <a:lnTo>
                  <a:pt x="982" y="10080"/>
                </a:lnTo>
                <a:cubicBezTo>
                  <a:pt x="982" y="9285"/>
                  <a:pt x="1421" y="8640"/>
                  <a:pt x="1964" y="8640"/>
                </a:cubicBezTo>
                <a:lnTo>
                  <a:pt x="14727" y="8640"/>
                </a:lnTo>
                <a:lnTo>
                  <a:pt x="14727" y="2458"/>
                </a:lnTo>
                <a:lnTo>
                  <a:pt x="20415" y="10800"/>
                </a:lnTo>
                <a:cubicBezTo>
                  <a:pt x="20415" y="10800"/>
                  <a:pt x="14727" y="19142"/>
                  <a:pt x="14727" y="19142"/>
                </a:cubicBezTo>
                <a:close/>
                <a:moveTo>
                  <a:pt x="21456" y="10291"/>
                </a:moveTo>
                <a:lnTo>
                  <a:pt x="14584" y="212"/>
                </a:lnTo>
                <a:cubicBezTo>
                  <a:pt x="14495" y="81"/>
                  <a:pt x="14372" y="0"/>
                  <a:pt x="14236" y="0"/>
                </a:cubicBezTo>
                <a:cubicBezTo>
                  <a:pt x="13965" y="0"/>
                  <a:pt x="13745" y="322"/>
                  <a:pt x="13745" y="720"/>
                </a:cubicBezTo>
                <a:lnTo>
                  <a:pt x="13745" y="7200"/>
                </a:lnTo>
                <a:lnTo>
                  <a:pt x="1964" y="7200"/>
                </a:lnTo>
                <a:cubicBezTo>
                  <a:pt x="879" y="7200"/>
                  <a:pt x="0" y="8490"/>
                  <a:pt x="0" y="10080"/>
                </a:cubicBezTo>
                <a:lnTo>
                  <a:pt x="0" y="11520"/>
                </a:lnTo>
                <a:cubicBezTo>
                  <a:pt x="0" y="13110"/>
                  <a:pt x="879" y="14400"/>
                  <a:pt x="1964" y="14400"/>
                </a:cubicBezTo>
                <a:lnTo>
                  <a:pt x="13745" y="14400"/>
                </a:lnTo>
                <a:lnTo>
                  <a:pt x="13745" y="20880"/>
                </a:lnTo>
                <a:cubicBezTo>
                  <a:pt x="13745" y="21278"/>
                  <a:pt x="13965" y="21600"/>
                  <a:pt x="14236" y="21600"/>
                </a:cubicBezTo>
                <a:cubicBezTo>
                  <a:pt x="14372" y="21600"/>
                  <a:pt x="14495" y="21520"/>
                  <a:pt x="14583" y="21389"/>
                </a:cubicBezTo>
                <a:lnTo>
                  <a:pt x="21456" y="11310"/>
                </a:lnTo>
                <a:cubicBezTo>
                  <a:pt x="21545" y="11180"/>
                  <a:pt x="21600" y="11000"/>
                  <a:pt x="21600" y="10800"/>
                </a:cubicBezTo>
                <a:cubicBezTo>
                  <a:pt x="21600" y="10601"/>
                  <a:pt x="21545" y="10421"/>
                  <a:pt x="21456" y="10291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21" name="Shape 2921"/>
          <p:cNvSpPr/>
          <p:nvPr/>
        </p:nvSpPr>
        <p:spPr>
          <a:xfrm>
            <a:off x="10517648" y="1433100"/>
            <a:ext cx="20314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402" y="5052"/>
                </a:moveTo>
                <a:lnTo>
                  <a:pt x="14652" y="144"/>
                </a:lnTo>
                <a:cubicBezTo>
                  <a:pt x="14530" y="55"/>
                  <a:pt x="14362" y="0"/>
                  <a:pt x="14175" y="0"/>
                </a:cubicBezTo>
                <a:cubicBezTo>
                  <a:pt x="13802" y="0"/>
                  <a:pt x="13500" y="220"/>
                  <a:pt x="13500" y="491"/>
                </a:cubicBezTo>
                <a:cubicBezTo>
                  <a:pt x="13500" y="627"/>
                  <a:pt x="13576" y="749"/>
                  <a:pt x="13698" y="838"/>
                </a:cubicBezTo>
                <a:lnTo>
                  <a:pt x="19296" y="4909"/>
                </a:lnTo>
                <a:lnTo>
                  <a:pt x="675" y="4909"/>
                </a:lnTo>
                <a:cubicBezTo>
                  <a:pt x="302" y="4909"/>
                  <a:pt x="0" y="5129"/>
                  <a:pt x="0" y="5400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1048" y="21600"/>
                  <a:pt x="1350" y="21380"/>
                  <a:pt x="1350" y="21109"/>
                </a:cubicBezTo>
                <a:lnTo>
                  <a:pt x="1350" y="5891"/>
                </a:lnTo>
                <a:lnTo>
                  <a:pt x="19296" y="5891"/>
                </a:lnTo>
                <a:lnTo>
                  <a:pt x="13698" y="9962"/>
                </a:lnTo>
                <a:cubicBezTo>
                  <a:pt x="13575" y="10051"/>
                  <a:pt x="13500" y="10173"/>
                  <a:pt x="13500" y="10309"/>
                </a:cubicBezTo>
                <a:cubicBezTo>
                  <a:pt x="13500" y="10580"/>
                  <a:pt x="13802" y="10800"/>
                  <a:pt x="14175" y="10800"/>
                </a:cubicBezTo>
                <a:cubicBezTo>
                  <a:pt x="14362" y="10800"/>
                  <a:pt x="14531" y="10745"/>
                  <a:pt x="14653" y="10656"/>
                </a:cubicBezTo>
                <a:lnTo>
                  <a:pt x="21402" y="5747"/>
                </a:lnTo>
                <a:cubicBezTo>
                  <a:pt x="21525" y="5658"/>
                  <a:pt x="21600" y="5536"/>
                  <a:pt x="21600" y="5400"/>
                </a:cubicBezTo>
                <a:cubicBezTo>
                  <a:pt x="21600" y="5264"/>
                  <a:pt x="21524" y="5142"/>
                  <a:pt x="21402" y="5052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22" name="Shape 2922"/>
          <p:cNvSpPr/>
          <p:nvPr/>
        </p:nvSpPr>
        <p:spPr>
          <a:xfrm>
            <a:off x="11012819" y="1471190"/>
            <a:ext cx="279328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2546"/>
                </a:moveTo>
                <a:lnTo>
                  <a:pt x="16691" y="2304"/>
                </a:lnTo>
                <a:lnTo>
                  <a:pt x="20415" y="7425"/>
                </a:lnTo>
                <a:cubicBezTo>
                  <a:pt x="20415" y="7425"/>
                  <a:pt x="16691" y="12546"/>
                  <a:pt x="16691" y="12546"/>
                </a:cubicBezTo>
                <a:close/>
                <a:moveTo>
                  <a:pt x="21456" y="6948"/>
                </a:moveTo>
                <a:lnTo>
                  <a:pt x="16548" y="198"/>
                </a:lnTo>
                <a:cubicBezTo>
                  <a:pt x="16458" y="76"/>
                  <a:pt x="16336" y="0"/>
                  <a:pt x="16200" y="0"/>
                </a:cubicBezTo>
                <a:cubicBezTo>
                  <a:pt x="15929" y="0"/>
                  <a:pt x="15709" y="302"/>
                  <a:pt x="15709" y="675"/>
                </a:cubicBezTo>
                <a:lnTo>
                  <a:pt x="15709" y="6750"/>
                </a:lnTo>
                <a:lnTo>
                  <a:pt x="491" y="6750"/>
                </a:lnTo>
                <a:cubicBezTo>
                  <a:pt x="220" y="6750"/>
                  <a:pt x="0" y="7052"/>
                  <a:pt x="0" y="7425"/>
                </a:cubicBezTo>
                <a:lnTo>
                  <a:pt x="0" y="20925"/>
                </a:lnTo>
                <a:cubicBezTo>
                  <a:pt x="0" y="21298"/>
                  <a:pt x="220" y="21600"/>
                  <a:pt x="491" y="21600"/>
                </a:cubicBezTo>
                <a:cubicBezTo>
                  <a:pt x="762" y="21600"/>
                  <a:pt x="982" y="21298"/>
                  <a:pt x="982" y="20925"/>
                </a:cubicBezTo>
                <a:lnTo>
                  <a:pt x="982" y="8100"/>
                </a:lnTo>
                <a:lnTo>
                  <a:pt x="15709" y="8100"/>
                </a:lnTo>
                <a:lnTo>
                  <a:pt x="15709" y="14175"/>
                </a:lnTo>
                <a:cubicBezTo>
                  <a:pt x="15709" y="14548"/>
                  <a:pt x="15929" y="14850"/>
                  <a:pt x="16200" y="14850"/>
                </a:cubicBezTo>
                <a:cubicBezTo>
                  <a:pt x="16336" y="14850"/>
                  <a:pt x="16458" y="14775"/>
                  <a:pt x="16547" y="14652"/>
                </a:cubicBezTo>
                <a:lnTo>
                  <a:pt x="21456" y="7903"/>
                </a:lnTo>
                <a:cubicBezTo>
                  <a:pt x="21545" y="7781"/>
                  <a:pt x="21600" y="7612"/>
                  <a:pt x="21600" y="7425"/>
                </a:cubicBezTo>
                <a:cubicBezTo>
                  <a:pt x="21600" y="7238"/>
                  <a:pt x="21545" y="7070"/>
                  <a:pt x="21456" y="6948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23" name="Shape 2923"/>
          <p:cNvSpPr/>
          <p:nvPr/>
        </p:nvSpPr>
        <p:spPr>
          <a:xfrm>
            <a:off x="6213470" y="196636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0"/>
                </a:moveTo>
                <a:lnTo>
                  <a:pt x="14236" y="0"/>
                </a:lnTo>
                <a:cubicBezTo>
                  <a:pt x="13966" y="0"/>
                  <a:pt x="13745" y="220"/>
                  <a:pt x="13745" y="491"/>
                </a:cubicBezTo>
                <a:cubicBezTo>
                  <a:pt x="13745" y="762"/>
                  <a:pt x="13966" y="982"/>
                  <a:pt x="14236" y="982"/>
                </a:cubicBezTo>
                <a:lnTo>
                  <a:pt x="19924" y="982"/>
                </a:lnTo>
                <a:lnTo>
                  <a:pt x="11926" y="8980"/>
                </a:lnTo>
                <a:cubicBezTo>
                  <a:pt x="11837" y="9069"/>
                  <a:pt x="11782" y="9192"/>
                  <a:pt x="11782" y="9327"/>
                </a:cubicBezTo>
                <a:cubicBezTo>
                  <a:pt x="11782" y="9599"/>
                  <a:pt x="12002" y="9818"/>
                  <a:pt x="12273" y="9818"/>
                </a:cubicBezTo>
                <a:cubicBezTo>
                  <a:pt x="12408" y="9818"/>
                  <a:pt x="12531" y="9764"/>
                  <a:pt x="12620" y="9674"/>
                </a:cubicBezTo>
                <a:lnTo>
                  <a:pt x="20618" y="1676"/>
                </a:lnTo>
                <a:lnTo>
                  <a:pt x="20618" y="7364"/>
                </a:lnTo>
                <a:cubicBezTo>
                  <a:pt x="20618" y="7635"/>
                  <a:pt x="20838" y="7855"/>
                  <a:pt x="21109" y="7855"/>
                </a:cubicBezTo>
                <a:cubicBezTo>
                  <a:pt x="21380" y="7855"/>
                  <a:pt x="21600" y="7635"/>
                  <a:pt x="21600" y="7364"/>
                </a:cubicBezTo>
                <a:lnTo>
                  <a:pt x="21600" y="491"/>
                </a:lnTo>
                <a:cubicBezTo>
                  <a:pt x="21600" y="220"/>
                  <a:pt x="21380" y="0"/>
                  <a:pt x="21109" y="0"/>
                </a:cubicBezTo>
                <a:moveTo>
                  <a:pt x="9327" y="11782"/>
                </a:moveTo>
                <a:cubicBezTo>
                  <a:pt x="9192" y="11782"/>
                  <a:pt x="9069" y="11837"/>
                  <a:pt x="8980" y="11926"/>
                </a:cubicBezTo>
                <a:lnTo>
                  <a:pt x="982" y="19924"/>
                </a:lnTo>
                <a:lnTo>
                  <a:pt x="982" y="14236"/>
                </a:lnTo>
                <a:cubicBezTo>
                  <a:pt x="982" y="13966"/>
                  <a:pt x="762" y="13745"/>
                  <a:pt x="491" y="13745"/>
                </a:cubicBezTo>
                <a:cubicBezTo>
                  <a:pt x="220" y="13745"/>
                  <a:pt x="0" y="13966"/>
                  <a:pt x="0" y="14236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7364" y="21600"/>
                </a:lnTo>
                <a:cubicBezTo>
                  <a:pt x="7634" y="21600"/>
                  <a:pt x="7855" y="21380"/>
                  <a:pt x="7855" y="21109"/>
                </a:cubicBezTo>
                <a:cubicBezTo>
                  <a:pt x="7855" y="20838"/>
                  <a:pt x="7634" y="20618"/>
                  <a:pt x="7364" y="20618"/>
                </a:cubicBezTo>
                <a:lnTo>
                  <a:pt x="1676" y="20618"/>
                </a:lnTo>
                <a:lnTo>
                  <a:pt x="9674" y="12620"/>
                </a:lnTo>
                <a:cubicBezTo>
                  <a:pt x="9763" y="12531"/>
                  <a:pt x="9818" y="12408"/>
                  <a:pt x="9818" y="12273"/>
                </a:cubicBezTo>
                <a:cubicBezTo>
                  <a:pt x="9818" y="12002"/>
                  <a:pt x="9598" y="11782"/>
                  <a:pt x="9327" y="11782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24" name="Shape 2924"/>
          <p:cNvSpPr/>
          <p:nvPr/>
        </p:nvSpPr>
        <p:spPr>
          <a:xfrm>
            <a:off x="6746731" y="196636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0974" y="0"/>
                  <a:pt x="20851" y="55"/>
                  <a:pt x="20762" y="144"/>
                </a:cubicBezTo>
                <a:lnTo>
                  <a:pt x="12764" y="8142"/>
                </a:lnTo>
                <a:lnTo>
                  <a:pt x="12764" y="2455"/>
                </a:lnTo>
                <a:cubicBezTo>
                  <a:pt x="12764" y="2184"/>
                  <a:pt x="12544" y="1964"/>
                  <a:pt x="12273" y="1964"/>
                </a:cubicBezTo>
                <a:cubicBezTo>
                  <a:pt x="12002" y="1964"/>
                  <a:pt x="11782" y="2184"/>
                  <a:pt x="11782" y="2455"/>
                </a:cubicBezTo>
                <a:lnTo>
                  <a:pt x="11782" y="9327"/>
                </a:lnTo>
                <a:cubicBezTo>
                  <a:pt x="11782" y="9599"/>
                  <a:pt x="12002" y="9818"/>
                  <a:pt x="12273" y="9818"/>
                </a:cubicBezTo>
                <a:lnTo>
                  <a:pt x="19145" y="9818"/>
                </a:lnTo>
                <a:cubicBezTo>
                  <a:pt x="19416" y="9818"/>
                  <a:pt x="19636" y="9599"/>
                  <a:pt x="19636" y="9327"/>
                </a:cubicBezTo>
                <a:cubicBezTo>
                  <a:pt x="19636" y="9056"/>
                  <a:pt x="19416" y="8836"/>
                  <a:pt x="19145" y="8836"/>
                </a:cubicBezTo>
                <a:lnTo>
                  <a:pt x="13458" y="8836"/>
                </a:lnTo>
                <a:lnTo>
                  <a:pt x="21456" y="838"/>
                </a:lnTo>
                <a:cubicBezTo>
                  <a:pt x="21545" y="750"/>
                  <a:pt x="21600" y="627"/>
                  <a:pt x="21600" y="491"/>
                </a:cubicBezTo>
                <a:moveTo>
                  <a:pt x="9327" y="11782"/>
                </a:moveTo>
                <a:lnTo>
                  <a:pt x="2455" y="11782"/>
                </a:lnTo>
                <a:cubicBezTo>
                  <a:pt x="2184" y="11782"/>
                  <a:pt x="1964" y="12002"/>
                  <a:pt x="1964" y="12273"/>
                </a:cubicBezTo>
                <a:cubicBezTo>
                  <a:pt x="1964" y="12544"/>
                  <a:pt x="2184" y="12764"/>
                  <a:pt x="2455" y="12764"/>
                </a:cubicBezTo>
                <a:lnTo>
                  <a:pt x="8142" y="12764"/>
                </a:lnTo>
                <a:lnTo>
                  <a:pt x="144" y="20762"/>
                </a:lnTo>
                <a:cubicBezTo>
                  <a:pt x="55" y="20851"/>
                  <a:pt x="0" y="20973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cubicBezTo>
                  <a:pt x="626" y="21600"/>
                  <a:pt x="749" y="21545"/>
                  <a:pt x="838" y="21456"/>
                </a:cubicBezTo>
                <a:lnTo>
                  <a:pt x="8836" y="13458"/>
                </a:lnTo>
                <a:lnTo>
                  <a:pt x="8836" y="19145"/>
                </a:lnTo>
                <a:cubicBezTo>
                  <a:pt x="8836" y="19417"/>
                  <a:pt x="9056" y="19636"/>
                  <a:pt x="9327" y="19636"/>
                </a:cubicBezTo>
                <a:cubicBezTo>
                  <a:pt x="9598" y="19636"/>
                  <a:pt x="9818" y="19417"/>
                  <a:pt x="9818" y="19145"/>
                </a:cubicBezTo>
                <a:lnTo>
                  <a:pt x="9818" y="12273"/>
                </a:lnTo>
                <a:cubicBezTo>
                  <a:pt x="9818" y="12002"/>
                  <a:pt x="9598" y="11782"/>
                  <a:pt x="9327" y="11782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25" name="Shape 2925"/>
          <p:cNvSpPr/>
          <p:nvPr/>
        </p:nvSpPr>
        <p:spPr>
          <a:xfrm>
            <a:off x="7279992" y="196636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0"/>
                </a:moveTo>
                <a:lnTo>
                  <a:pt x="16200" y="0"/>
                </a:lnTo>
                <a:cubicBezTo>
                  <a:pt x="15929" y="0"/>
                  <a:pt x="15709" y="220"/>
                  <a:pt x="15709" y="491"/>
                </a:cubicBezTo>
                <a:cubicBezTo>
                  <a:pt x="15709" y="762"/>
                  <a:pt x="15929" y="982"/>
                  <a:pt x="16200" y="982"/>
                </a:cubicBezTo>
                <a:lnTo>
                  <a:pt x="19924" y="982"/>
                </a:lnTo>
                <a:lnTo>
                  <a:pt x="6035" y="14871"/>
                </a:lnTo>
                <a:cubicBezTo>
                  <a:pt x="5946" y="14960"/>
                  <a:pt x="5891" y="15083"/>
                  <a:pt x="5891" y="15218"/>
                </a:cubicBezTo>
                <a:cubicBezTo>
                  <a:pt x="5891" y="15489"/>
                  <a:pt x="6111" y="15709"/>
                  <a:pt x="6382" y="15709"/>
                </a:cubicBezTo>
                <a:cubicBezTo>
                  <a:pt x="6517" y="15709"/>
                  <a:pt x="6640" y="15654"/>
                  <a:pt x="6729" y="15565"/>
                </a:cubicBezTo>
                <a:lnTo>
                  <a:pt x="20618" y="1676"/>
                </a:lnTo>
                <a:lnTo>
                  <a:pt x="20618" y="5400"/>
                </a:lnTo>
                <a:cubicBezTo>
                  <a:pt x="20618" y="5671"/>
                  <a:pt x="20838" y="5890"/>
                  <a:pt x="21109" y="5890"/>
                </a:cubicBezTo>
                <a:cubicBezTo>
                  <a:pt x="21380" y="5890"/>
                  <a:pt x="21600" y="5671"/>
                  <a:pt x="21600" y="5400"/>
                </a:cubicBezTo>
                <a:lnTo>
                  <a:pt x="21600" y="491"/>
                </a:lnTo>
                <a:cubicBezTo>
                  <a:pt x="21600" y="220"/>
                  <a:pt x="21380" y="0"/>
                  <a:pt x="21109" y="0"/>
                </a:cubicBezTo>
                <a:moveTo>
                  <a:pt x="17182" y="6873"/>
                </a:moveTo>
                <a:cubicBezTo>
                  <a:pt x="16911" y="6873"/>
                  <a:pt x="16691" y="7092"/>
                  <a:pt x="16691" y="7364"/>
                </a:cubicBezTo>
                <a:lnTo>
                  <a:pt x="16691" y="20618"/>
                </a:lnTo>
                <a:lnTo>
                  <a:pt x="982" y="20618"/>
                </a:lnTo>
                <a:lnTo>
                  <a:pt x="982" y="4909"/>
                </a:lnTo>
                <a:lnTo>
                  <a:pt x="14236" y="4909"/>
                </a:lnTo>
                <a:cubicBezTo>
                  <a:pt x="14507" y="4909"/>
                  <a:pt x="14727" y="4689"/>
                  <a:pt x="14727" y="4418"/>
                </a:cubicBezTo>
                <a:cubicBezTo>
                  <a:pt x="14727" y="4147"/>
                  <a:pt x="14507" y="3927"/>
                  <a:pt x="14236" y="3927"/>
                </a:cubicBezTo>
                <a:lnTo>
                  <a:pt x="491" y="3927"/>
                </a:lnTo>
                <a:cubicBezTo>
                  <a:pt x="220" y="3927"/>
                  <a:pt x="0" y="4147"/>
                  <a:pt x="0" y="4418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0"/>
                  <a:pt x="17673" y="21109"/>
                </a:cubicBezTo>
                <a:lnTo>
                  <a:pt x="17673" y="7364"/>
                </a:lnTo>
                <a:cubicBezTo>
                  <a:pt x="17673" y="7092"/>
                  <a:pt x="17453" y="6873"/>
                  <a:pt x="17182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26" name="Shape 2926"/>
          <p:cNvSpPr/>
          <p:nvPr/>
        </p:nvSpPr>
        <p:spPr>
          <a:xfrm>
            <a:off x="7813253" y="196636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20383"/>
                </a:moveTo>
                <a:lnTo>
                  <a:pt x="11424" y="15709"/>
                </a:lnTo>
                <a:lnTo>
                  <a:pt x="13255" y="15709"/>
                </a:lnTo>
                <a:cubicBezTo>
                  <a:pt x="13525" y="15709"/>
                  <a:pt x="13745" y="15490"/>
                  <a:pt x="13745" y="15218"/>
                </a:cubicBezTo>
                <a:lnTo>
                  <a:pt x="13745" y="14727"/>
                </a:lnTo>
                <a:cubicBezTo>
                  <a:pt x="13635" y="12724"/>
                  <a:pt x="12844" y="5590"/>
                  <a:pt x="7448" y="1949"/>
                </a:cubicBezTo>
                <a:cubicBezTo>
                  <a:pt x="16407" y="4809"/>
                  <a:pt x="17536" y="12588"/>
                  <a:pt x="17673" y="14727"/>
                </a:cubicBezTo>
                <a:lnTo>
                  <a:pt x="17673" y="15218"/>
                </a:lnTo>
                <a:cubicBezTo>
                  <a:pt x="17673" y="15490"/>
                  <a:pt x="17893" y="15709"/>
                  <a:pt x="18164" y="15709"/>
                </a:cubicBezTo>
                <a:lnTo>
                  <a:pt x="19994" y="15709"/>
                </a:lnTo>
                <a:cubicBezTo>
                  <a:pt x="19994" y="15709"/>
                  <a:pt x="15709" y="20383"/>
                  <a:pt x="15709" y="20383"/>
                </a:cubicBezTo>
                <a:close/>
                <a:moveTo>
                  <a:pt x="21109" y="14727"/>
                </a:moveTo>
                <a:lnTo>
                  <a:pt x="18658" y="14727"/>
                </a:lnTo>
                <a:cubicBezTo>
                  <a:pt x="18450" y="12130"/>
                  <a:pt x="16610" y="0"/>
                  <a:pt x="491" y="0"/>
                </a:cubicBezTo>
                <a:cubicBezTo>
                  <a:pt x="219" y="0"/>
                  <a:pt x="0" y="220"/>
                  <a:pt x="0" y="491"/>
                </a:cubicBezTo>
                <a:cubicBezTo>
                  <a:pt x="0" y="762"/>
                  <a:pt x="219" y="982"/>
                  <a:pt x="491" y="982"/>
                </a:cubicBezTo>
                <a:cubicBezTo>
                  <a:pt x="5558" y="982"/>
                  <a:pt x="9160" y="3417"/>
                  <a:pt x="11196" y="8250"/>
                </a:cubicBezTo>
                <a:cubicBezTo>
                  <a:pt x="12394" y="11093"/>
                  <a:pt x="12657" y="13684"/>
                  <a:pt x="12715" y="14727"/>
                </a:cubicBezTo>
                <a:lnTo>
                  <a:pt x="10309" y="14727"/>
                </a:lnTo>
                <a:cubicBezTo>
                  <a:pt x="10038" y="14727"/>
                  <a:pt x="9818" y="14947"/>
                  <a:pt x="9818" y="15218"/>
                </a:cubicBezTo>
                <a:cubicBezTo>
                  <a:pt x="9818" y="15354"/>
                  <a:pt x="9873" y="15477"/>
                  <a:pt x="9962" y="15566"/>
                </a:cubicBezTo>
                <a:lnTo>
                  <a:pt x="15362" y="21456"/>
                </a:lnTo>
                <a:cubicBezTo>
                  <a:pt x="15450" y="21545"/>
                  <a:pt x="15574" y="21600"/>
                  <a:pt x="15709" y="21600"/>
                </a:cubicBezTo>
                <a:cubicBezTo>
                  <a:pt x="15845" y="21600"/>
                  <a:pt x="15967" y="21545"/>
                  <a:pt x="16056" y="21456"/>
                </a:cubicBezTo>
                <a:lnTo>
                  <a:pt x="21456" y="15566"/>
                </a:lnTo>
                <a:cubicBezTo>
                  <a:pt x="21545" y="15477"/>
                  <a:pt x="21600" y="15354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27" name="Shape 2927"/>
          <p:cNvSpPr/>
          <p:nvPr/>
        </p:nvSpPr>
        <p:spPr>
          <a:xfrm>
            <a:off x="8346514" y="196636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5891"/>
                </a:moveTo>
                <a:cubicBezTo>
                  <a:pt x="17893" y="5891"/>
                  <a:pt x="17673" y="6111"/>
                  <a:pt x="17673" y="6382"/>
                </a:cubicBezTo>
                <a:lnTo>
                  <a:pt x="17673" y="6873"/>
                </a:lnTo>
                <a:cubicBezTo>
                  <a:pt x="17536" y="9012"/>
                  <a:pt x="16407" y="16791"/>
                  <a:pt x="7448" y="19651"/>
                </a:cubicBezTo>
                <a:cubicBezTo>
                  <a:pt x="12844" y="16010"/>
                  <a:pt x="13635" y="8876"/>
                  <a:pt x="13745" y="6873"/>
                </a:cubicBezTo>
                <a:lnTo>
                  <a:pt x="13745" y="6382"/>
                </a:lnTo>
                <a:cubicBezTo>
                  <a:pt x="13745" y="6111"/>
                  <a:pt x="13525" y="5891"/>
                  <a:pt x="13255" y="5891"/>
                </a:cubicBezTo>
                <a:lnTo>
                  <a:pt x="11424" y="5891"/>
                </a:lnTo>
                <a:lnTo>
                  <a:pt x="15709" y="1217"/>
                </a:lnTo>
                <a:lnTo>
                  <a:pt x="19994" y="5891"/>
                </a:lnTo>
                <a:cubicBezTo>
                  <a:pt x="19994" y="5891"/>
                  <a:pt x="18164" y="5891"/>
                  <a:pt x="18164" y="5891"/>
                </a:cubicBezTo>
                <a:close/>
                <a:moveTo>
                  <a:pt x="21456" y="6035"/>
                </a:moveTo>
                <a:lnTo>
                  <a:pt x="16056" y="144"/>
                </a:lnTo>
                <a:cubicBezTo>
                  <a:pt x="15967" y="55"/>
                  <a:pt x="15845" y="0"/>
                  <a:pt x="15709" y="0"/>
                </a:cubicBezTo>
                <a:cubicBezTo>
                  <a:pt x="15573" y="0"/>
                  <a:pt x="15450" y="55"/>
                  <a:pt x="15362" y="144"/>
                </a:cubicBezTo>
                <a:lnTo>
                  <a:pt x="9962" y="6035"/>
                </a:lnTo>
                <a:cubicBezTo>
                  <a:pt x="9873" y="6124"/>
                  <a:pt x="9818" y="6247"/>
                  <a:pt x="9818" y="6382"/>
                </a:cubicBezTo>
                <a:cubicBezTo>
                  <a:pt x="9818" y="6653"/>
                  <a:pt x="10038" y="6873"/>
                  <a:pt x="10309" y="6873"/>
                </a:cubicBezTo>
                <a:lnTo>
                  <a:pt x="12715" y="6873"/>
                </a:lnTo>
                <a:cubicBezTo>
                  <a:pt x="12657" y="7916"/>
                  <a:pt x="12394" y="10507"/>
                  <a:pt x="11196" y="13351"/>
                </a:cubicBezTo>
                <a:cubicBezTo>
                  <a:pt x="9160" y="18184"/>
                  <a:pt x="5558" y="20618"/>
                  <a:pt x="491" y="20618"/>
                </a:cubicBezTo>
                <a:cubicBezTo>
                  <a:pt x="219" y="20618"/>
                  <a:pt x="0" y="20838"/>
                  <a:pt x="0" y="21109"/>
                </a:cubicBezTo>
                <a:cubicBezTo>
                  <a:pt x="0" y="21380"/>
                  <a:pt x="219" y="21600"/>
                  <a:pt x="491" y="21600"/>
                </a:cubicBezTo>
                <a:cubicBezTo>
                  <a:pt x="16610" y="21600"/>
                  <a:pt x="18450" y="9470"/>
                  <a:pt x="18658" y="6873"/>
                </a:cubicBezTo>
                <a:lnTo>
                  <a:pt x="21109" y="6873"/>
                </a:lnTo>
                <a:cubicBezTo>
                  <a:pt x="21380" y="6873"/>
                  <a:pt x="21600" y="6653"/>
                  <a:pt x="21600" y="6382"/>
                </a:cubicBezTo>
                <a:cubicBezTo>
                  <a:pt x="21600" y="6247"/>
                  <a:pt x="21545" y="6124"/>
                  <a:pt x="21456" y="603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28" name="Shape 2928"/>
          <p:cNvSpPr/>
          <p:nvPr/>
        </p:nvSpPr>
        <p:spPr>
          <a:xfrm>
            <a:off x="8879775" y="196636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873" y="7855"/>
                </a:moveTo>
                <a:lnTo>
                  <a:pt x="6382" y="7855"/>
                </a:lnTo>
                <a:cubicBezTo>
                  <a:pt x="6110" y="7855"/>
                  <a:pt x="5891" y="8075"/>
                  <a:pt x="5891" y="8345"/>
                </a:cubicBezTo>
                <a:lnTo>
                  <a:pt x="5891" y="10176"/>
                </a:lnTo>
                <a:lnTo>
                  <a:pt x="1216" y="5891"/>
                </a:lnTo>
                <a:lnTo>
                  <a:pt x="5891" y="1606"/>
                </a:lnTo>
                <a:lnTo>
                  <a:pt x="5891" y="3436"/>
                </a:lnTo>
                <a:cubicBezTo>
                  <a:pt x="5891" y="3708"/>
                  <a:pt x="6110" y="3927"/>
                  <a:pt x="6382" y="3927"/>
                </a:cubicBezTo>
                <a:lnTo>
                  <a:pt x="6873" y="3927"/>
                </a:lnTo>
                <a:cubicBezTo>
                  <a:pt x="9012" y="4064"/>
                  <a:pt x="16791" y="5193"/>
                  <a:pt x="19651" y="14152"/>
                </a:cubicBezTo>
                <a:cubicBezTo>
                  <a:pt x="16010" y="8756"/>
                  <a:pt x="8876" y="7965"/>
                  <a:pt x="6873" y="7855"/>
                </a:cubicBezTo>
                <a:moveTo>
                  <a:pt x="6873" y="2942"/>
                </a:moveTo>
                <a:lnTo>
                  <a:pt x="6873" y="491"/>
                </a:lnTo>
                <a:cubicBezTo>
                  <a:pt x="6873" y="220"/>
                  <a:pt x="6653" y="0"/>
                  <a:pt x="6382" y="0"/>
                </a:cubicBezTo>
                <a:cubicBezTo>
                  <a:pt x="6246" y="0"/>
                  <a:pt x="6123" y="55"/>
                  <a:pt x="6035" y="144"/>
                </a:cubicBezTo>
                <a:lnTo>
                  <a:pt x="144" y="5544"/>
                </a:lnTo>
                <a:cubicBezTo>
                  <a:pt x="55" y="5633"/>
                  <a:pt x="0" y="5756"/>
                  <a:pt x="0" y="5891"/>
                </a:cubicBezTo>
                <a:cubicBezTo>
                  <a:pt x="0" y="6027"/>
                  <a:pt x="55" y="6150"/>
                  <a:pt x="144" y="6238"/>
                </a:cubicBezTo>
                <a:lnTo>
                  <a:pt x="6035" y="11638"/>
                </a:lnTo>
                <a:cubicBezTo>
                  <a:pt x="6123" y="11727"/>
                  <a:pt x="6246" y="11782"/>
                  <a:pt x="6382" y="11782"/>
                </a:cubicBezTo>
                <a:cubicBezTo>
                  <a:pt x="6653" y="11782"/>
                  <a:pt x="6873" y="11562"/>
                  <a:pt x="6873" y="11291"/>
                </a:cubicBezTo>
                <a:lnTo>
                  <a:pt x="6873" y="8884"/>
                </a:lnTo>
                <a:cubicBezTo>
                  <a:pt x="7916" y="8943"/>
                  <a:pt x="10507" y="9206"/>
                  <a:pt x="13350" y="10404"/>
                </a:cubicBezTo>
                <a:cubicBezTo>
                  <a:pt x="18183" y="12440"/>
                  <a:pt x="20618" y="16042"/>
                  <a:pt x="20618" y="21109"/>
                </a:cubicBezTo>
                <a:cubicBezTo>
                  <a:pt x="20618" y="21380"/>
                  <a:pt x="20838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4990"/>
                  <a:pt x="9470" y="3150"/>
                  <a:pt x="6873" y="2942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29" name="Shape 2929"/>
          <p:cNvSpPr/>
          <p:nvPr/>
        </p:nvSpPr>
        <p:spPr>
          <a:xfrm>
            <a:off x="9413036" y="196636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176"/>
                </a:moveTo>
                <a:lnTo>
                  <a:pt x="15709" y="8345"/>
                </a:lnTo>
                <a:cubicBezTo>
                  <a:pt x="15709" y="8075"/>
                  <a:pt x="15490" y="7855"/>
                  <a:pt x="15218" y="7855"/>
                </a:cubicBezTo>
                <a:lnTo>
                  <a:pt x="14727" y="7855"/>
                </a:lnTo>
                <a:cubicBezTo>
                  <a:pt x="12724" y="7965"/>
                  <a:pt x="5590" y="8756"/>
                  <a:pt x="1949" y="14152"/>
                </a:cubicBezTo>
                <a:cubicBezTo>
                  <a:pt x="4809" y="5193"/>
                  <a:pt x="12588" y="4064"/>
                  <a:pt x="14727" y="3927"/>
                </a:cubicBezTo>
                <a:lnTo>
                  <a:pt x="15218" y="3927"/>
                </a:lnTo>
                <a:cubicBezTo>
                  <a:pt x="15490" y="3927"/>
                  <a:pt x="15709" y="3708"/>
                  <a:pt x="15709" y="3436"/>
                </a:cubicBezTo>
                <a:lnTo>
                  <a:pt x="15709" y="1606"/>
                </a:lnTo>
                <a:lnTo>
                  <a:pt x="20383" y="5891"/>
                </a:lnTo>
                <a:cubicBezTo>
                  <a:pt x="20383" y="5891"/>
                  <a:pt x="15709" y="10176"/>
                  <a:pt x="15709" y="10176"/>
                </a:cubicBezTo>
                <a:close/>
                <a:moveTo>
                  <a:pt x="21456" y="5544"/>
                </a:moveTo>
                <a:lnTo>
                  <a:pt x="15565" y="144"/>
                </a:lnTo>
                <a:cubicBezTo>
                  <a:pt x="15477" y="55"/>
                  <a:pt x="15354" y="0"/>
                  <a:pt x="15218" y="0"/>
                </a:cubicBezTo>
                <a:cubicBezTo>
                  <a:pt x="14947" y="0"/>
                  <a:pt x="14727" y="220"/>
                  <a:pt x="14727" y="491"/>
                </a:cubicBezTo>
                <a:lnTo>
                  <a:pt x="14727" y="2942"/>
                </a:lnTo>
                <a:cubicBezTo>
                  <a:pt x="12130" y="3150"/>
                  <a:pt x="0" y="4991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cubicBezTo>
                  <a:pt x="762" y="21600"/>
                  <a:pt x="982" y="21380"/>
                  <a:pt x="982" y="21109"/>
                </a:cubicBezTo>
                <a:cubicBezTo>
                  <a:pt x="982" y="16042"/>
                  <a:pt x="3417" y="12440"/>
                  <a:pt x="8250" y="10404"/>
                </a:cubicBezTo>
                <a:cubicBezTo>
                  <a:pt x="11093" y="9206"/>
                  <a:pt x="13684" y="8943"/>
                  <a:pt x="14727" y="8884"/>
                </a:cubicBezTo>
                <a:lnTo>
                  <a:pt x="14727" y="11291"/>
                </a:lnTo>
                <a:cubicBezTo>
                  <a:pt x="14727" y="11562"/>
                  <a:pt x="14947" y="11782"/>
                  <a:pt x="15218" y="11782"/>
                </a:cubicBezTo>
                <a:cubicBezTo>
                  <a:pt x="15354" y="11782"/>
                  <a:pt x="15477" y="11727"/>
                  <a:pt x="15565" y="11638"/>
                </a:cubicBezTo>
                <a:lnTo>
                  <a:pt x="21456" y="6238"/>
                </a:lnTo>
                <a:cubicBezTo>
                  <a:pt x="21545" y="6150"/>
                  <a:pt x="21600" y="6027"/>
                  <a:pt x="21600" y="5891"/>
                </a:cubicBezTo>
                <a:cubicBezTo>
                  <a:pt x="21600" y="5756"/>
                  <a:pt x="21545" y="5633"/>
                  <a:pt x="21456" y="5544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30" name="Shape 2930"/>
          <p:cNvSpPr/>
          <p:nvPr/>
        </p:nvSpPr>
        <p:spPr>
          <a:xfrm>
            <a:off x="9946297" y="2017148"/>
            <a:ext cx="279328" cy="1777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955" y="1543"/>
                </a:moveTo>
                <a:cubicBezTo>
                  <a:pt x="12837" y="1543"/>
                  <a:pt x="10309" y="5515"/>
                  <a:pt x="10309" y="10414"/>
                </a:cubicBezTo>
                <a:lnTo>
                  <a:pt x="10309" y="11186"/>
                </a:lnTo>
                <a:cubicBezTo>
                  <a:pt x="10309" y="15233"/>
                  <a:pt x="8221" y="18514"/>
                  <a:pt x="5645" y="18514"/>
                </a:cubicBezTo>
                <a:cubicBezTo>
                  <a:pt x="3070" y="18514"/>
                  <a:pt x="982" y="15233"/>
                  <a:pt x="982" y="11186"/>
                </a:cubicBezTo>
                <a:lnTo>
                  <a:pt x="982" y="10414"/>
                </a:lnTo>
                <a:cubicBezTo>
                  <a:pt x="982" y="6367"/>
                  <a:pt x="3070" y="3086"/>
                  <a:pt x="5645" y="3086"/>
                </a:cubicBezTo>
                <a:cubicBezTo>
                  <a:pt x="6670" y="3086"/>
                  <a:pt x="7575" y="3630"/>
                  <a:pt x="8321" y="4629"/>
                </a:cubicBezTo>
                <a:lnTo>
                  <a:pt x="6382" y="4629"/>
                </a:lnTo>
                <a:cubicBezTo>
                  <a:pt x="6110" y="4629"/>
                  <a:pt x="5891" y="4974"/>
                  <a:pt x="5891" y="5400"/>
                </a:cubicBezTo>
                <a:cubicBezTo>
                  <a:pt x="5891" y="5826"/>
                  <a:pt x="6110" y="6171"/>
                  <a:pt x="6382" y="6171"/>
                </a:cubicBezTo>
                <a:lnTo>
                  <a:pt x="9327" y="6171"/>
                </a:lnTo>
                <a:cubicBezTo>
                  <a:pt x="9599" y="6171"/>
                  <a:pt x="9818" y="5826"/>
                  <a:pt x="9818" y="5400"/>
                </a:cubicBezTo>
                <a:lnTo>
                  <a:pt x="9818" y="771"/>
                </a:lnTo>
                <a:cubicBezTo>
                  <a:pt x="9818" y="346"/>
                  <a:pt x="9599" y="0"/>
                  <a:pt x="9327" y="0"/>
                </a:cubicBezTo>
                <a:cubicBezTo>
                  <a:pt x="9056" y="0"/>
                  <a:pt x="8836" y="346"/>
                  <a:pt x="8836" y="771"/>
                </a:cubicBezTo>
                <a:lnTo>
                  <a:pt x="8836" y="3321"/>
                </a:lnTo>
                <a:cubicBezTo>
                  <a:pt x="7879" y="2160"/>
                  <a:pt x="6706" y="1543"/>
                  <a:pt x="5645" y="1543"/>
                </a:cubicBezTo>
                <a:cubicBezTo>
                  <a:pt x="2527" y="1543"/>
                  <a:pt x="0" y="5515"/>
                  <a:pt x="0" y="10414"/>
                </a:cubicBezTo>
                <a:lnTo>
                  <a:pt x="0" y="11186"/>
                </a:lnTo>
                <a:cubicBezTo>
                  <a:pt x="0" y="16085"/>
                  <a:pt x="2527" y="20057"/>
                  <a:pt x="5645" y="20057"/>
                </a:cubicBezTo>
                <a:cubicBezTo>
                  <a:pt x="8763" y="20057"/>
                  <a:pt x="11291" y="16085"/>
                  <a:pt x="11291" y="11186"/>
                </a:cubicBezTo>
                <a:lnTo>
                  <a:pt x="11291" y="10414"/>
                </a:lnTo>
                <a:cubicBezTo>
                  <a:pt x="11291" y="6367"/>
                  <a:pt x="13379" y="3086"/>
                  <a:pt x="15955" y="3086"/>
                </a:cubicBezTo>
                <a:cubicBezTo>
                  <a:pt x="18530" y="3086"/>
                  <a:pt x="20618" y="6367"/>
                  <a:pt x="20618" y="10414"/>
                </a:cubicBezTo>
                <a:lnTo>
                  <a:pt x="20618" y="11186"/>
                </a:lnTo>
                <a:cubicBezTo>
                  <a:pt x="20618" y="15233"/>
                  <a:pt x="18530" y="18514"/>
                  <a:pt x="15955" y="18514"/>
                </a:cubicBezTo>
                <a:cubicBezTo>
                  <a:pt x="14930" y="18514"/>
                  <a:pt x="14025" y="17970"/>
                  <a:pt x="13279" y="16971"/>
                </a:cubicBezTo>
                <a:lnTo>
                  <a:pt x="15218" y="16971"/>
                </a:lnTo>
                <a:cubicBezTo>
                  <a:pt x="15490" y="16971"/>
                  <a:pt x="15709" y="16626"/>
                  <a:pt x="15709" y="16200"/>
                </a:cubicBezTo>
                <a:cubicBezTo>
                  <a:pt x="15709" y="15774"/>
                  <a:pt x="15490" y="15429"/>
                  <a:pt x="15218" y="15429"/>
                </a:cubicBezTo>
                <a:lnTo>
                  <a:pt x="12273" y="15429"/>
                </a:lnTo>
                <a:cubicBezTo>
                  <a:pt x="12001" y="15429"/>
                  <a:pt x="11782" y="15774"/>
                  <a:pt x="11782" y="16200"/>
                </a:cubicBezTo>
                <a:lnTo>
                  <a:pt x="11782" y="20829"/>
                </a:lnTo>
                <a:cubicBezTo>
                  <a:pt x="11782" y="21255"/>
                  <a:pt x="12001" y="21600"/>
                  <a:pt x="12273" y="21600"/>
                </a:cubicBezTo>
                <a:cubicBezTo>
                  <a:pt x="12544" y="21600"/>
                  <a:pt x="12764" y="21255"/>
                  <a:pt x="12764" y="20829"/>
                </a:cubicBezTo>
                <a:lnTo>
                  <a:pt x="12764" y="18279"/>
                </a:lnTo>
                <a:cubicBezTo>
                  <a:pt x="13721" y="19441"/>
                  <a:pt x="14894" y="20057"/>
                  <a:pt x="15955" y="20057"/>
                </a:cubicBezTo>
                <a:cubicBezTo>
                  <a:pt x="19073" y="20057"/>
                  <a:pt x="21600" y="16085"/>
                  <a:pt x="21600" y="11186"/>
                </a:cubicBezTo>
                <a:lnTo>
                  <a:pt x="21600" y="10414"/>
                </a:lnTo>
                <a:cubicBezTo>
                  <a:pt x="21600" y="5515"/>
                  <a:pt x="19073" y="1543"/>
                  <a:pt x="15955" y="154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31" name="Shape 2931"/>
          <p:cNvSpPr/>
          <p:nvPr/>
        </p:nvSpPr>
        <p:spPr>
          <a:xfrm>
            <a:off x="10479558" y="2004451"/>
            <a:ext cx="279328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924" y="4050"/>
                </a:moveTo>
                <a:lnTo>
                  <a:pt x="18798" y="5598"/>
                </a:lnTo>
                <a:cubicBezTo>
                  <a:pt x="18709" y="5720"/>
                  <a:pt x="18655" y="5889"/>
                  <a:pt x="18655" y="6075"/>
                </a:cubicBezTo>
                <a:cubicBezTo>
                  <a:pt x="18655" y="6448"/>
                  <a:pt x="18874" y="6750"/>
                  <a:pt x="19145" y="6750"/>
                </a:cubicBezTo>
                <a:cubicBezTo>
                  <a:pt x="19281" y="6750"/>
                  <a:pt x="19404" y="6674"/>
                  <a:pt x="19493" y="6552"/>
                </a:cubicBezTo>
                <a:lnTo>
                  <a:pt x="21456" y="3853"/>
                </a:lnTo>
                <a:cubicBezTo>
                  <a:pt x="21545" y="3731"/>
                  <a:pt x="21600" y="3562"/>
                  <a:pt x="21600" y="3375"/>
                </a:cubicBezTo>
                <a:cubicBezTo>
                  <a:pt x="21600" y="3189"/>
                  <a:pt x="21545" y="3020"/>
                  <a:pt x="21456" y="2898"/>
                </a:cubicBezTo>
                <a:lnTo>
                  <a:pt x="19493" y="198"/>
                </a:lnTo>
                <a:cubicBezTo>
                  <a:pt x="19403" y="76"/>
                  <a:pt x="19281" y="0"/>
                  <a:pt x="19145" y="0"/>
                </a:cubicBezTo>
                <a:cubicBezTo>
                  <a:pt x="18874" y="0"/>
                  <a:pt x="18655" y="303"/>
                  <a:pt x="18655" y="675"/>
                </a:cubicBezTo>
                <a:cubicBezTo>
                  <a:pt x="18655" y="862"/>
                  <a:pt x="18709" y="1031"/>
                  <a:pt x="18799" y="1153"/>
                </a:cubicBezTo>
                <a:lnTo>
                  <a:pt x="19924" y="2700"/>
                </a:lnTo>
                <a:lnTo>
                  <a:pt x="15218" y="2700"/>
                </a:lnTo>
                <a:cubicBezTo>
                  <a:pt x="15065" y="2700"/>
                  <a:pt x="14933" y="2803"/>
                  <a:pt x="14843" y="2954"/>
                </a:cubicBezTo>
                <a:lnTo>
                  <a:pt x="14838" y="2948"/>
                </a:lnTo>
                <a:lnTo>
                  <a:pt x="6149" y="17550"/>
                </a:lnTo>
                <a:lnTo>
                  <a:pt x="491" y="17550"/>
                </a:lnTo>
                <a:cubicBezTo>
                  <a:pt x="220" y="17550"/>
                  <a:pt x="0" y="17853"/>
                  <a:pt x="0" y="18225"/>
                </a:cubicBezTo>
                <a:cubicBezTo>
                  <a:pt x="0" y="18598"/>
                  <a:pt x="220" y="18900"/>
                  <a:pt x="491" y="18900"/>
                </a:cubicBezTo>
                <a:lnTo>
                  <a:pt x="6382" y="18900"/>
                </a:lnTo>
                <a:cubicBezTo>
                  <a:pt x="6535" y="18900"/>
                  <a:pt x="6667" y="18798"/>
                  <a:pt x="6757" y="18647"/>
                </a:cubicBezTo>
                <a:lnTo>
                  <a:pt x="6762" y="18652"/>
                </a:lnTo>
                <a:lnTo>
                  <a:pt x="15451" y="4050"/>
                </a:lnTo>
                <a:cubicBezTo>
                  <a:pt x="15451" y="4050"/>
                  <a:pt x="19924" y="4050"/>
                  <a:pt x="19924" y="4050"/>
                </a:cubicBezTo>
                <a:close/>
                <a:moveTo>
                  <a:pt x="19493" y="15048"/>
                </a:moveTo>
                <a:cubicBezTo>
                  <a:pt x="19403" y="14926"/>
                  <a:pt x="19281" y="14850"/>
                  <a:pt x="19145" y="14850"/>
                </a:cubicBezTo>
                <a:cubicBezTo>
                  <a:pt x="18874" y="14850"/>
                  <a:pt x="18655" y="15153"/>
                  <a:pt x="18655" y="15525"/>
                </a:cubicBezTo>
                <a:cubicBezTo>
                  <a:pt x="18655" y="15712"/>
                  <a:pt x="18709" y="15880"/>
                  <a:pt x="18798" y="16002"/>
                </a:cubicBezTo>
                <a:lnTo>
                  <a:pt x="19924" y="17550"/>
                </a:lnTo>
                <a:lnTo>
                  <a:pt x="15451" y="17550"/>
                </a:lnTo>
                <a:lnTo>
                  <a:pt x="12386" y="12399"/>
                </a:lnTo>
                <a:lnTo>
                  <a:pt x="11751" y="13465"/>
                </a:lnTo>
                <a:lnTo>
                  <a:pt x="14838" y="18652"/>
                </a:lnTo>
                <a:lnTo>
                  <a:pt x="14843" y="18647"/>
                </a:lnTo>
                <a:cubicBezTo>
                  <a:pt x="14933" y="18798"/>
                  <a:pt x="15065" y="18900"/>
                  <a:pt x="15218" y="18900"/>
                </a:cubicBezTo>
                <a:lnTo>
                  <a:pt x="19924" y="18900"/>
                </a:lnTo>
                <a:lnTo>
                  <a:pt x="18798" y="20448"/>
                </a:lnTo>
                <a:cubicBezTo>
                  <a:pt x="18709" y="20570"/>
                  <a:pt x="18655" y="20739"/>
                  <a:pt x="18655" y="20925"/>
                </a:cubicBezTo>
                <a:cubicBezTo>
                  <a:pt x="18655" y="21298"/>
                  <a:pt x="18874" y="21600"/>
                  <a:pt x="19145" y="21600"/>
                </a:cubicBezTo>
                <a:cubicBezTo>
                  <a:pt x="19281" y="21600"/>
                  <a:pt x="19403" y="21525"/>
                  <a:pt x="19493" y="21402"/>
                </a:cubicBezTo>
                <a:lnTo>
                  <a:pt x="21456" y="18702"/>
                </a:lnTo>
                <a:cubicBezTo>
                  <a:pt x="21545" y="18580"/>
                  <a:pt x="21600" y="18412"/>
                  <a:pt x="21600" y="18225"/>
                </a:cubicBezTo>
                <a:cubicBezTo>
                  <a:pt x="21600" y="18039"/>
                  <a:pt x="21545" y="17870"/>
                  <a:pt x="21456" y="17748"/>
                </a:cubicBezTo>
                <a:cubicBezTo>
                  <a:pt x="21456" y="17748"/>
                  <a:pt x="19493" y="15048"/>
                  <a:pt x="19493" y="15048"/>
                </a:cubicBezTo>
                <a:close/>
                <a:moveTo>
                  <a:pt x="491" y="4050"/>
                </a:moveTo>
                <a:lnTo>
                  <a:pt x="6148" y="4050"/>
                </a:lnTo>
                <a:lnTo>
                  <a:pt x="9214" y="9201"/>
                </a:lnTo>
                <a:lnTo>
                  <a:pt x="9849" y="8136"/>
                </a:lnTo>
                <a:lnTo>
                  <a:pt x="6762" y="2948"/>
                </a:lnTo>
                <a:lnTo>
                  <a:pt x="6756" y="2954"/>
                </a:lnTo>
                <a:cubicBezTo>
                  <a:pt x="6667" y="2803"/>
                  <a:pt x="6535" y="2700"/>
                  <a:pt x="6382" y="2700"/>
                </a:cubicBezTo>
                <a:lnTo>
                  <a:pt x="491" y="2700"/>
                </a:lnTo>
                <a:cubicBezTo>
                  <a:pt x="220" y="2700"/>
                  <a:pt x="0" y="3003"/>
                  <a:pt x="0" y="3375"/>
                </a:cubicBezTo>
                <a:cubicBezTo>
                  <a:pt x="0" y="3748"/>
                  <a:pt x="220" y="4050"/>
                  <a:pt x="491" y="405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32" name="Shape 2932"/>
          <p:cNvSpPr/>
          <p:nvPr/>
        </p:nvSpPr>
        <p:spPr>
          <a:xfrm>
            <a:off x="11012819" y="1991754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12000"/>
                </a:moveTo>
                <a:cubicBezTo>
                  <a:pt x="1421" y="12000"/>
                  <a:pt x="982" y="11462"/>
                  <a:pt x="982" y="10800"/>
                </a:cubicBezTo>
                <a:cubicBezTo>
                  <a:pt x="982" y="10138"/>
                  <a:pt x="1421" y="9600"/>
                  <a:pt x="1964" y="9600"/>
                </a:cubicBezTo>
                <a:cubicBezTo>
                  <a:pt x="2505" y="9600"/>
                  <a:pt x="2945" y="10138"/>
                  <a:pt x="2945" y="10800"/>
                </a:cubicBezTo>
                <a:cubicBezTo>
                  <a:pt x="2945" y="11462"/>
                  <a:pt x="2505" y="12000"/>
                  <a:pt x="1964" y="12000"/>
                </a:cubicBezTo>
                <a:moveTo>
                  <a:pt x="21456" y="10376"/>
                </a:moveTo>
                <a:lnTo>
                  <a:pt x="18511" y="6776"/>
                </a:lnTo>
                <a:cubicBezTo>
                  <a:pt x="18422" y="6667"/>
                  <a:pt x="18299" y="6600"/>
                  <a:pt x="18164" y="6600"/>
                </a:cubicBezTo>
                <a:cubicBezTo>
                  <a:pt x="17892" y="6600"/>
                  <a:pt x="17673" y="6869"/>
                  <a:pt x="17673" y="7200"/>
                </a:cubicBezTo>
                <a:cubicBezTo>
                  <a:pt x="17673" y="7366"/>
                  <a:pt x="17728" y="7516"/>
                  <a:pt x="17817" y="7624"/>
                </a:cubicBezTo>
                <a:lnTo>
                  <a:pt x="19924" y="10200"/>
                </a:lnTo>
                <a:lnTo>
                  <a:pt x="8058" y="10200"/>
                </a:lnTo>
                <a:lnTo>
                  <a:pt x="14727" y="2048"/>
                </a:lnTo>
                <a:lnTo>
                  <a:pt x="14727" y="5400"/>
                </a:lnTo>
                <a:cubicBezTo>
                  <a:pt x="14727" y="5732"/>
                  <a:pt x="14947" y="6000"/>
                  <a:pt x="15218" y="6000"/>
                </a:cubicBezTo>
                <a:cubicBezTo>
                  <a:pt x="15489" y="6000"/>
                  <a:pt x="15709" y="5732"/>
                  <a:pt x="15709" y="5400"/>
                </a:cubicBezTo>
                <a:lnTo>
                  <a:pt x="15709" y="600"/>
                </a:lnTo>
                <a:cubicBezTo>
                  <a:pt x="15709" y="269"/>
                  <a:pt x="15489" y="0"/>
                  <a:pt x="15218" y="0"/>
                </a:cubicBezTo>
                <a:lnTo>
                  <a:pt x="11291" y="0"/>
                </a:lnTo>
                <a:cubicBezTo>
                  <a:pt x="11020" y="0"/>
                  <a:pt x="10800" y="269"/>
                  <a:pt x="10800" y="600"/>
                </a:cubicBezTo>
                <a:cubicBezTo>
                  <a:pt x="10800" y="932"/>
                  <a:pt x="11020" y="1200"/>
                  <a:pt x="11291" y="1200"/>
                </a:cubicBezTo>
                <a:lnTo>
                  <a:pt x="14033" y="1200"/>
                </a:lnTo>
                <a:lnTo>
                  <a:pt x="6669" y="10200"/>
                </a:lnTo>
                <a:lnTo>
                  <a:pt x="3858" y="10200"/>
                </a:lnTo>
                <a:cubicBezTo>
                  <a:pt x="3639" y="9167"/>
                  <a:pt x="2877" y="8400"/>
                  <a:pt x="1964" y="8400"/>
                </a:cubicBezTo>
                <a:cubicBezTo>
                  <a:pt x="879" y="8400"/>
                  <a:pt x="0" y="9475"/>
                  <a:pt x="0" y="10800"/>
                </a:cubicBezTo>
                <a:cubicBezTo>
                  <a:pt x="0" y="12125"/>
                  <a:pt x="879" y="13200"/>
                  <a:pt x="1964" y="13200"/>
                </a:cubicBezTo>
                <a:cubicBezTo>
                  <a:pt x="2877" y="13200"/>
                  <a:pt x="3639" y="12434"/>
                  <a:pt x="3858" y="11400"/>
                </a:cubicBezTo>
                <a:lnTo>
                  <a:pt x="6669" y="11400"/>
                </a:lnTo>
                <a:lnTo>
                  <a:pt x="14033" y="20400"/>
                </a:lnTo>
                <a:lnTo>
                  <a:pt x="11291" y="20400"/>
                </a:lnTo>
                <a:cubicBezTo>
                  <a:pt x="11020" y="20400"/>
                  <a:pt x="10800" y="20669"/>
                  <a:pt x="10800" y="21000"/>
                </a:cubicBezTo>
                <a:cubicBezTo>
                  <a:pt x="10800" y="21332"/>
                  <a:pt x="11020" y="21600"/>
                  <a:pt x="11291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6200"/>
                </a:lnTo>
                <a:cubicBezTo>
                  <a:pt x="15709" y="15869"/>
                  <a:pt x="15489" y="15600"/>
                  <a:pt x="15218" y="15600"/>
                </a:cubicBezTo>
                <a:cubicBezTo>
                  <a:pt x="14947" y="15600"/>
                  <a:pt x="14727" y="15869"/>
                  <a:pt x="14727" y="16200"/>
                </a:cubicBezTo>
                <a:lnTo>
                  <a:pt x="14727" y="19552"/>
                </a:lnTo>
                <a:lnTo>
                  <a:pt x="8058" y="11400"/>
                </a:lnTo>
                <a:lnTo>
                  <a:pt x="19924" y="11400"/>
                </a:lnTo>
                <a:lnTo>
                  <a:pt x="17817" y="13976"/>
                </a:lnTo>
                <a:cubicBezTo>
                  <a:pt x="17728" y="14085"/>
                  <a:pt x="17673" y="14235"/>
                  <a:pt x="17673" y="14400"/>
                </a:cubicBezTo>
                <a:cubicBezTo>
                  <a:pt x="17673" y="14732"/>
                  <a:pt x="17892" y="15000"/>
                  <a:pt x="18164" y="15000"/>
                </a:cubicBezTo>
                <a:cubicBezTo>
                  <a:pt x="18299" y="15000"/>
                  <a:pt x="18422" y="14933"/>
                  <a:pt x="18511" y="14824"/>
                </a:cubicBezTo>
                <a:lnTo>
                  <a:pt x="21456" y="11224"/>
                </a:lnTo>
                <a:cubicBezTo>
                  <a:pt x="21545" y="11116"/>
                  <a:pt x="21600" y="10966"/>
                  <a:pt x="21600" y="10800"/>
                </a:cubicBezTo>
                <a:cubicBezTo>
                  <a:pt x="21600" y="10635"/>
                  <a:pt x="21545" y="10485"/>
                  <a:pt x="21456" y="10376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34" name="Shape 2934"/>
          <p:cNvSpPr/>
          <p:nvPr/>
        </p:nvSpPr>
        <p:spPr>
          <a:xfrm>
            <a:off x="918949" y="3295894"/>
            <a:ext cx="20314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800"/>
                </a:moveTo>
                <a:cubicBezTo>
                  <a:pt x="8563" y="10800"/>
                  <a:pt x="6750" y="9481"/>
                  <a:pt x="6750" y="7855"/>
                </a:cubicBezTo>
                <a:cubicBezTo>
                  <a:pt x="6750" y="6228"/>
                  <a:pt x="8563" y="4909"/>
                  <a:pt x="10800" y="4909"/>
                </a:cubicBezTo>
                <a:cubicBezTo>
                  <a:pt x="13037" y="4909"/>
                  <a:pt x="14850" y="6228"/>
                  <a:pt x="14850" y="7855"/>
                </a:cubicBezTo>
                <a:cubicBezTo>
                  <a:pt x="14850" y="9481"/>
                  <a:pt x="13037" y="10800"/>
                  <a:pt x="10800" y="10800"/>
                </a:cubicBezTo>
                <a:moveTo>
                  <a:pt x="10800" y="3927"/>
                </a:moveTo>
                <a:cubicBezTo>
                  <a:pt x="7817" y="3927"/>
                  <a:pt x="5400" y="5686"/>
                  <a:pt x="5400" y="7855"/>
                </a:cubicBezTo>
                <a:cubicBezTo>
                  <a:pt x="5400" y="10023"/>
                  <a:pt x="7817" y="11782"/>
                  <a:pt x="10800" y="11782"/>
                </a:cubicBezTo>
                <a:cubicBezTo>
                  <a:pt x="13783" y="11782"/>
                  <a:pt x="16200" y="10023"/>
                  <a:pt x="16200" y="7855"/>
                </a:cubicBezTo>
                <a:cubicBezTo>
                  <a:pt x="16200" y="5686"/>
                  <a:pt x="13783" y="3927"/>
                  <a:pt x="10800" y="3927"/>
                </a:cubicBezTo>
                <a:moveTo>
                  <a:pt x="10800" y="20127"/>
                </a:moveTo>
                <a:cubicBezTo>
                  <a:pt x="10800" y="20127"/>
                  <a:pt x="1350" y="13745"/>
                  <a:pt x="1350" y="7855"/>
                </a:cubicBezTo>
                <a:cubicBezTo>
                  <a:pt x="1350" y="4059"/>
                  <a:pt x="5581" y="982"/>
                  <a:pt x="10800" y="982"/>
                </a:cubicBezTo>
                <a:cubicBezTo>
                  <a:pt x="16019" y="982"/>
                  <a:pt x="20250" y="4059"/>
                  <a:pt x="20250" y="7855"/>
                </a:cubicBezTo>
                <a:cubicBezTo>
                  <a:pt x="20250" y="13745"/>
                  <a:pt x="10800" y="20127"/>
                  <a:pt x="10800" y="20127"/>
                </a:cubicBezTo>
                <a:moveTo>
                  <a:pt x="10800" y="0"/>
                </a:moveTo>
                <a:cubicBezTo>
                  <a:pt x="4836" y="0"/>
                  <a:pt x="0" y="3517"/>
                  <a:pt x="0" y="7855"/>
                </a:cubicBezTo>
                <a:cubicBezTo>
                  <a:pt x="0" y="14236"/>
                  <a:pt x="10800" y="21600"/>
                  <a:pt x="10800" y="21600"/>
                </a:cubicBezTo>
                <a:cubicBezTo>
                  <a:pt x="10800" y="21600"/>
                  <a:pt x="21600" y="14236"/>
                  <a:pt x="21600" y="7855"/>
                </a:cubicBezTo>
                <a:cubicBezTo>
                  <a:pt x="21600" y="3517"/>
                  <a:pt x="16764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35" name="Shape 2935"/>
          <p:cNvSpPr/>
          <p:nvPr/>
        </p:nvSpPr>
        <p:spPr>
          <a:xfrm>
            <a:off x="1414119" y="3295894"/>
            <a:ext cx="279126" cy="279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600" extrusionOk="0">
                <a:moveTo>
                  <a:pt x="6365" y="15409"/>
                </a:moveTo>
                <a:cubicBezTo>
                  <a:pt x="5782" y="14888"/>
                  <a:pt x="4858" y="14006"/>
                  <a:pt x="3935" y="12895"/>
                </a:cubicBezTo>
                <a:cubicBezTo>
                  <a:pt x="2587" y="11273"/>
                  <a:pt x="979" y="8835"/>
                  <a:pt x="979" y="6430"/>
                </a:cubicBezTo>
                <a:cubicBezTo>
                  <a:pt x="979" y="3427"/>
                  <a:pt x="3396" y="982"/>
                  <a:pt x="6366" y="982"/>
                </a:cubicBezTo>
                <a:cubicBezTo>
                  <a:pt x="9336" y="982"/>
                  <a:pt x="11752" y="3427"/>
                  <a:pt x="11752" y="6430"/>
                </a:cubicBezTo>
                <a:cubicBezTo>
                  <a:pt x="11752" y="10208"/>
                  <a:pt x="7888" y="14044"/>
                  <a:pt x="6365" y="15409"/>
                </a:cubicBezTo>
                <a:moveTo>
                  <a:pt x="6366" y="0"/>
                </a:moveTo>
                <a:cubicBezTo>
                  <a:pt x="2850" y="0"/>
                  <a:pt x="0" y="2879"/>
                  <a:pt x="0" y="6430"/>
                </a:cubicBezTo>
                <a:cubicBezTo>
                  <a:pt x="0" y="11655"/>
                  <a:pt x="6366" y="16701"/>
                  <a:pt x="6366" y="16701"/>
                </a:cubicBezTo>
                <a:cubicBezTo>
                  <a:pt x="6366" y="16701"/>
                  <a:pt x="12732" y="11655"/>
                  <a:pt x="12732" y="6430"/>
                </a:cubicBezTo>
                <a:cubicBezTo>
                  <a:pt x="12732" y="2879"/>
                  <a:pt x="9882" y="0"/>
                  <a:pt x="6366" y="0"/>
                </a:cubicBezTo>
                <a:moveTo>
                  <a:pt x="17357" y="19604"/>
                </a:moveTo>
                <a:cubicBezTo>
                  <a:pt x="17127" y="19764"/>
                  <a:pt x="16856" y="19909"/>
                  <a:pt x="16554" y="20033"/>
                </a:cubicBezTo>
                <a:cubicBezTo>
                  <a:pt x="16304" y="20137"/>
                  <a:pt x="16185" y="20424"/>
                  <a:pt x="16288" y="20675"/>
                </a:cubicBezTo>
                <a:cubicBezTo>
                  <a:pt x="16365" y="20865"/>
                  <a:pt x="16548" y="20979"/>
                  <a:pt x="16740" y="20979"/>
                </a:cubicBezTo>
                <a:cubicBezTo>
                  <a:pt x="16802" y="20979"/>
                  <a:pt x="16866" y="20967"/>
                  <a:pt x="16926" y="20942"/>
                </a:cubicBezTo>
                <a:cubicBezTo>
                  <a:pt x="17294" y="20790"/>
                  <a:pt x="17627" y="20611"/>
                  <a:pt x="17915" y="20411"/>
                </a:cubicBezTo>
                <a:cubicBezTo>
                  <a:pt x="18138" y="20256"/>
                  <a:pt x="18193" y="19950"/>
                  <a:pt x="18039" y="19727"/>
                </a:cubicBezTo>
                <a:cubicBezTo>
                  <a:pt x="17885" y="19505"/>
                  <a:pt x="17579" y="19449"/>
                  <a:pt x="17357" y="19604"/>
                </a:cubicBezTo>
                <a:moveTo>
                  <a:pt x="16249" y="13042"/>
                </a:moveTo>
                <a:cubicBezTo>
                  <a:pt x="16109" y="12790"/>
                  <a:pt x="16024" y="12529"/>
                  <a:pt x="15995" y="12265"/>
                </a:cubicBezTo>
                <a:cubicBezTo>
                  <a:pt x="15966" y="11995"/>
                  <a:pt x="15731" y="11801"/>
                  <a:pt x="15456" y="11829"/>
                </a:cubicBezTo>
                <a:cubicBezTo>
                  <a:pt x="15187" y="11859"/>
                  <a:pt x="14992" y="12100"/>
                  <a:pt x="15022" y="12370"/>
                </a:cubicBezTo>
                <a:cubicBezTo>
                  <a:pt x="15064" y="12767"/>
                  <a:pt x="15190" y="13154"/>
                  <a:pt x="15395" y="13522"/>
                </a:cubicBezTo>
                <a:cubicBezTo>
                  <a:pt x="15484" y="13682"/>
                  <a:pt x="15651" y="13773"/>
                  <a:pt x="15822" y="13773"/>
                </a:cubicBezTo>
                <a:cubicBezTo>
                  <a:pt x="15904" y="13773"/>
                  <a:pt x="15985" y="13753"/>
                  <a:pt x="16061" y="13710"/>
                </a:cubicBezTo>
                <a:cubicBezTo>
                  <a:pt x="16297" y="13578"/>
                  <a:pt x="16382" y="13279"/>
                  <a:pt x="16249" y="13042"/>
                </a:cubicBezTo>
                <a:moveTo>
                  <a:pt x="18249" y="15254"/>
                </a:moveTo>
                <a:cubicBezTo>
                  <a:pt x="18041" y="14981"/>
                  <a:pt x="17803" y="14708"/>
                  <a:pt x="17538" y="14439"/>
                </a:cubicBezTo>
                <a:cubicBezTo>
                  <a:pt x="17349" y="14246"/>
                  <a:pt x="17039" y="14244"/>
                  <a:pt x="16845" y="14434"/>
                </a:cubicBezTo>
                <a:cubicBezTo>
                  <a:pt x="16653" y="14624"/>
                  <a:pt x="16651" y="14935"/>
                  <a:pt x="16841" y="15129"/>
                </a:cubicBezTo>
                <a:cubicBezTo>
                  <a:pt x="17076" y="15368"/>
                  <a:pt x="17288" y="15612"/>
                  <a:pt x="17471" y="15851"/>
                </a:cubicBezTo>
                <a:cubicBezTo>
                  <a:pt x="17568" y="15977"/>
                  <a:pt x="17713" y="16043"/>
                  <a:pt x="17860" y="16043"/>
                </a:cubicBezTo>
                <a:cubicBezTo>
                  <a:pt x="17964" y="16043"/>
                  <a:pt x="18068" y="16011"/>
                  <a:pt x="18157" y="15942"/>
                </a:cubicBezTo>
                <a:cubicBezTo>
                  <a:pt x="18373" y="15777"/>
                  <a:pt x="18413" y="15469"/>
                  <a:pt x="18249" y="15254"/>
                </a:cubicBezTo>
                <a:moveTo>
                  <a:pt x="21476" y="5928"/>
                </a:moveTo>
                <a:cubicBezTo>
                  <a:pt x="21352" y="5687"/>
                  <a:pt x="21057" y="5592"/>
                  <a:pt x="20817" y="5717"/>
                </a:cubicBezTo>
                <a:cubicBezTo>
                  <a:pt x="20817" y="5717"/>
                  <a:pt x="20650" y="5803"/>
                  <a:pt x="20371" y="5962"/>
                </a:cubicBezTo>
                <a:cubicBezTo>
                  <a:pt x="20136" y="6096"/>
                  <a:pt x="20054" y="6396"/>
                  <a:pt x="20188" y="6632"/>
                </a:cubicBezTo>
                <a:cubicBezTo>
                  <a:pt x="20278" y="6791"/>
                  <a:pt x="20444" y="6880"/>
                  <a:pt x="20614" y="6880"/>
                </a:cubicBezTo>
                <a:cubicBezTo>
                  <a:pt x="20697" y="6880"/>
                  <a:pt x="20780" y="6859"/>
                  <a:pt x="20856" y="6815"/>
                </a:cubicBezTo>
                <a:cubicBezTo>
                  <a:pt x="21108" y="6672"/>
                  <a:pt x="21261" y="6592"/>
                  <a:pt x="21265" y="6590"/>
                </a:cubicBezTo>
                <a:cubicBezTo>
                  <a:pt x="21506" y="6466"/>
                  <a:pt x="21600" y="6170"/>
                  <a:pt x="21476" y="5928"/>
                </a:cubicBezTo>
                <a:moveTo>
                  <a:pt x="18659" y="16886"/>
                </a:moveTo>
                <a:cubicBezTo>
                  <a:pt x="18395" y="16941"/>
                  <a:pt x="18225" y="17201"/>
                  <a:pt x="18280" y="17467"/>
                </a:cubicBezTo>
                <a:cubicBezTo>
                  <a:pt x="18312" y="17625"/>
                  <a:pt x="18330" y="17781"/>
                  <a:pt x="18330" y="17929"/>
                </a:cubicBezTo>
                <a:cubicBezTo>
                  <a:pt x="18330" y="18050"/>
                  <a:pt x="18318" y="18171"/>
                  <a:pt x="18296" y="18287"/>
                </a:cubicBezTo>
                <a:cubicBezTo>
                  <a:pt x="18244" y="18554"/>
                  <a:pt x="18418" y="18811"/>
                  <a:pt x="18683" y="18862"/>
                </a:cubicBezTo>
                <a:cubicBezTo>
                  <a:pt x="18715" y="18869"/>
                  <a:pt x="18746" y="18871"/>
                  <a:pt x="18777" y="18871"/>
                </a:cubicBezTo>
                <a:cubicBezTo>
                  <a:pt x="19007" y="18871"/>
                  <a:pt x="19212" y="18708"/>
                  <a:pt x="19257" y="18473"/>
                </a:cubicBezTo>
                <a:cubicBezTo>
                  <a:pt x="19292" y="18296"/>
                  <a:pt x="19309" y="18114"/>
                  <a:pt x="19309" y="17929"/>
                </a:cubicBezTo>
                <a:cubicBezTo>
                  <a:pt x="19309" y="17715"/>
                  <a:pt x="19285" y="17492"/>
                  <a:pt x="19239" y="17267"/>
                </a:cubicBezTo>
                <a:cubicBezTo>
                  <a:pt x="19183" y="17001"/>
                  <a:pt x="18923" y="16832"/>
                  <a:pt x="18659" y="16886"/>
                </a:cubicBezTo>
                <a:moveTo>
                  <a:pt x="18590" y="7106"/>
                </a:moveTo>
                <a:cubicBezTo>
                  <a:pt x="18317" y="7303"/>
                  <a:pt x="18035" y="7518"/>
                  <a:pt x="17756" y="7745"/>
                </a:cubicBezTo>
                <a:cubicBezTo>
                  <a:pt x="17546" y="7917"/>
                  <a:pt x="17515" y="8226"/>
                  <a:pt x="17686" y="8436"/>
                </a:cubicBezTo>
                <a:cubicBezTo>
                  <a:pt x="17783" y="8556"/>
                  <a:pt x="17924" y="8617"/>
                  <a:pt x="18066" y="8617"/>
                </a:cubicBezTo>
                <a:cubicBezTo>
                  <a:pt x="18174" y="8617"/>
                  <a:pt x="18284" y="8581"/>
                  <a:pt x="18374" y="8507"/>
                </a:cubicBezTo>
                <a:cubicBezTo>
                  <a:pt x="18637" y="8292"/>
                  <a:pt x="18903" y="8090"/>
                  <a:pt x="19161" y="7905"/>
                </a:cubicBezTo>
                <a:cubicBezTo>
                  <a:pt x="19380" y="7747"/>
                  <a:pt x="19431" y="7440"/>
                  <a:pt x="19273" y="7220"/>
                </a:cubicBezTo>
                <a:cubicBezTo>
                  <a:pt x="19116" y="6999"/>
                  <a:pt x="18810" y="6949"/>
                  <a:pt x="18590" y="7106"/>
                </a:cubicBezTo>
                <a:moveTo>
                  <a:pt x="14704" y="20512"/>
                </a:moveTo>
                <a:cubicBezTo>
                  <a:pt x="14393" y="20556"/>
                  <a:pt x="14065" y="20590"/>
                  <a:pt x="13729" y="20611"/>
                </a:cubicBezTo>
                <a:cubicBezTo>
                  <a:pt x="13459" y="20629"/>
                  <a:pt x="13254" y="20863"/>
                  <a:pt x="13272" y="21134"/>
                </a:cubicBezTo>
                <a:cubicBezTo>
                  <a:pt x="13289" y="21394"/>
                  <a:pt x="13504" y="21593"/>
                  <a:pt x="13760" y="21593"/>
                </a:cubicBezTo>
                <a:cubicBezTo>
                  <a:pt x="13771" y="21593"/>
                  <a:pt x="13781" y="21592"/>
                  <a:pt x="13792" y="21592"/>
                </a:cubicBezTo>
                <a:cubicBezTo>
                  <a:pt x="14152" y="21568"/>
                  <a:pt x="14506" y="21533"/>
                  <a:pt x="14842" y="21485"/>
                </a:cubicBezTo>
                <a:cubicBezTo>
                  <a:pt x="15110" y="21447"/>
                  <a:pt x="15296" y="21198"/>
                  <a:pt x="15258" y="20929"/>
                </a:cubicBezTo>
                <a:cubicBezTo>
                  <a:pt x="15220" y="20661"/>
                  <a:pt x="14973" y="20472"/>
                  <a:pt x="14704" y="20512"/>
                </a:cubicBezTo>
                <a:moveTo>
                  <a:pt x="8893" y="20109"/>
                </a:moveTo>
                <a:cubicBezTo>
                  <a:pt x="8582" y="19997"/>
                  <a:pt x="8299" y="19866"/>
                  <a:pt x="8052" y="19721"/>
                </a:cubicBezTo>
                <a:cubicBezTo>
                  <a:pt x="7818" y="19582"/>
                  <a:pt x="7519" y="19663"/>
                  <a:pt x="7382" y="19896"/>
                </a:cubicBezTo>
                <a:cubicBezTo>
                  <a:pt x="7244" y="20130"/>
                  <a:pt x="7323" y="20432"/>
                  <a:pt x="7556" y="20568"/>
                </a:cubicBezTo>
                <a:cubicBezTo>
                  <a:pt x="7856" y="20744"/>
                  <a:pt x="8194" y="20901"/>
                  <a:pt x="8562" y="21034"/>
                </a:cubicBezTo>
                <a:cubicBezTo>
                  <a:pt x="8617" y="21053"/>
                  <a:pt x="8672" y="21062"/>
                  <a:pt x="8728" y="21062"/>
                </a:cubicBezTo>
                <a:cubicBezTo>
                  <a:pt x="8928" y="21062"/>
                  <a:pt x="9117" y="20938"/>
                  <a:pt x="9189" y="20737"/>
                </a:cubicBezTo>
                <a:cubicBezTo>
                  <a:pt x="9280" y="20482"/>
                  <a:pt x="9148" y="20200"/>
                  <a:pt x="8893" y="20109"/>
                </a:cubicBezTo>
                <a:moveTo>
                  <a:pt x="11751" y="20618"/>
                </a:moveTo>
                <a:cubicBezTo>
                  <a:pt x="11412" y="20600"/>
                  <a:pt x="11082" y="20572"/>
                  <a:pt x="10771" y="20533"/>
                </a:cubicBezTo>
                <a:cubicBezTo>
                  <a:pt x="10502" y="20493"/>
                  <a:pt x="10258" y="20690"/>
                  <a:pt x="10225" y="20959"/>
                </a:cubicBezTo>
                <a:cubicBezTo>
                  <a:pt x="10191" y="21229"/>
                  <a:pt x="10382" y="21474"/>
                  <a:pt x="10650" y="21507"/>
                </a:cubicBezTo>
                <a:cubicBezTo>
                  <a:pt x="10984" y="21549"/>
                  <a:pt x="11337" y="21580"/>
                  <a:pt x="11699" y="21600"/>
                </a:cubicBezTo>
                <a:cubicBezTo>
                  <a:pt x="11708" y="21600"/>
                  <a:pt x="11716" y="21600"/>
                  <a:pt x="11725" y="21600"/>
                </a:cubicBezTo>
                <a:cubicBezTo>
                  <a:pt x="11984" y="21600"/>
                  <a:pt x="12200" y="21397"/>
                  <a:pt x="12214" y="21135"/>
                </a:cubicBezTo>
                <a:cubicBezTo>
                  <a:pt x="12228" y="20863"/>
                  <a:pt x="12021" y="20632"/>
                  <a:pt x="11751" y="20618"/>
                </a:cubicBezTo>
                <a:moveTo>
                  <a:pt x="6840" y="18180"/>
                </a:moveTo>
                <a:cubicBezTo>
                  <a:pt x="6836" y="17912"/>
                  <a:pt x="6619" y="17696"/>
                  <a:pt x="6351" y="17696"/>
                </a:cubicBezTo>
                <a:cubicBezTo>
                  <a:pt x="6080" y="17696"/>
                  <a:pt x="5861" y="17916"/>
                  <a:pt x="5861" y="18188"/>
                </a:cubicBezTo>
                <a:cubicBezTo>
                  <a:pt x="5861" y="18234"/>
                  <a:pt x="5867" y="18484"/>
                  <a:pt x="5997" y="18834"/>
                </a:cubicBezTo>
                <a:cubicBezTo>
                  <a:pt x="6070" y="19033"/>
                  <a:pt x="6257" y="19155"/>
                  <a:pt x="6456" y="19155"/>
                </a:cubicBezTo>
                <a:cubicBezTo>
                  <a:pt x="6512" y="19155"/>
                  <a:pt x="6570" y="19145"/>
                  <a:pt x="6626" y="19124"/>
                </a:cubicBezTo>
                <a:cubicBezTo>
                  <a:pt x="6880" y="19030"/>
                  <a:pt x="7009" y="18748"/>
                  <a:pt x="6915" y="18493"/>
                </a:cubicBezTo>
                <a:cubicBezTo>
                  <a:pt x="6849" y="18314"/>
                  <a:pt x="6841" y="18191"/>
                  <a:pt x="6840" y="18180"/>
                </a:cubicBezTo>
                <a:moveTo>
                  <a:pt x="15760" y="10798"/>
                </a:moveTo>
                <a:cubicBezTo>
                  <a:pt x="15838" y="10844"/>
                  <a:pt x="15924" y="10866"/>
                  <a:pt x="16008" y="10866"/>
                </a:cubicBezTo>
                <a:cubicBezTo>
                  <a:pt x="16176" y="10866"/>
                  <a:pt x="16339" y="10780"/>
                  <a:pt x="16431" y="10625"/>
                </a:cubicBezTo>
                <a:cubicBezTo>
                  <a:pt x="16577" y="10376"/>
                  <a:pt x="16761" y="10120"/>
                  <a:pt x="16977" y="9861"/>
                </a:cubicBezTo>
                <a:cubicBezTo>
                  <a:pt x="17151" y="9653"/>
                  <a:pt x="17124" y="9343"/>
                  <a:pt x="16917" y="9169"/>
                </a:cubicBezTo>
                <a:cubicBezTo>
                  <a:pt x="16709" y="8994"/>
                  <a:pt x="16400" y="9022"/>
                  <a:pt x="16227" y="9230"/>
                </a:cubicBezTo>
                <a:cubicBezTo>
                  <a:pt x="15976" y="9529"/>
                  <a:pt x="15761" y="9832"/>
                  <a:pt x="15587" y="10125"/>
                </a:cubicBezTo>
                <a:cubicBezTo>
                  <a:pt x="15450" y="10359"/>
                  <a:pt x="15527" y="10659"/>
                  <a:pt x="15760" y="10798"/>
                </a:cubicBezTo>
                <a:moveTo>
                  <a:pt x="6366" y="8841"/>
                </a:moveTo>
                <a:cubicBezTo>
                  <a:pt x="5014" y="8841"/>
                  <a:pt x="3917" y="7741"/>
                  <a:pt x="3917" y="6384"/>
                </a:cubicBezTo>
                <a:cubicBezTo>
                  <a:pt x="3917" y="5027"/>
                  <a:pt x="5014" y="3927"/>
                  <a:pt x="6366" y="3927"/>
                </a:cubicBezTo>
                <a:cubicBezTo>
                  <a:pt x="7719" y="3927"/>
                  <a:pt x="8814" y="5027"/>
                  <a:pt x="8814" y="6384"/>
                </a:cubicBezTo>
                <a:cubicBezTo>
                  <a:pt x="8814" y="7741"/>
                  <a:pt x="7719" y="8841"/>
                  <a:pt x="6366" y="8841"/>
                </a:cubicBezTo>
                <a:moveTo>
                  <a:pt x="6366" y="2955"/>
                </a:moveTo>
                <a:cubicBezTo>
                  <a:pt x="4473" y="2955"/>
                  <a:pt x="2938" y="4494"/>
                  <a:pt x="2938" y="6392"/>
                </a:cubicBezTo>
                <a:cubicBezTo>
                  <a:pt x="2938" y="8291"/>
                  <a:pt x="4473" y="9831"/>
                  <a:pt x="6366" y="9831"/>
                </a:cubicBezTo>
                <a:cubicBezTo>
                  <a:pt x="8259" y="9831"/>
                  <a:pt x="9794" y="8291"/>
                  <a:pt x="9794" y="6392"/>
                </a:cubicBezTo>
                <a:cubicBezTo>
                  <a:pt x="9794" y="4494"/>
                  <a:pt x="8259" y="2955"/>
                  <a:pt x="6366" y="295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36" name="Shape 2936"/>
          <p:cNvSpPr/>
          <p:nvPr/>
        </p:nvSpPr>
        <p:spPr>
          <a:xfrm>
            <a:off x="2023561" y="3295894"/>
            <a:ext cx="12696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964"/>
                </a:moveTo>
                <a:cubicBezTo>
                  <a:pt x="10800" y="1964"/>
                  <a:pt x="4320" y="1964"/>
                  <a:pt x="4320" y="4909"/>
                </a:cubicBezTo>
                <a:cubicBezTo>
                  <a:pt x="4320" y="5180"/>
                  <a:pt x="4804" y="5400"/>
                  <a:pt x="5400" y="5400"/>
                </a:cubicBezTo>
                <a:cubicBezTo>
                  <a:pt x="5996" y="5400"/>
                  <a:pt x="6480" y="5180"/>
                  <a:pt x="6480" y="4909"/>
                </a:cubicBezTo>
                <a:cubicBezTo>
                  <a:pt x="6480" y="2945"/>
                  <a:pt x="10800" y="2945"/>
                  <a:pt x="10800" y="2945"/>
                </a:cubicBezTo>
                <a:cubicBezTo>
                  <a:pt x="11396" y="2945"/>
                  <a:pt x="11880" y="2726"/>
                  <a:pt x="11880" y="2455"/>
                </a:cubicBezTo>
                <a:cubicBezTo>
                  <a:pt x="11880" y="2183"/>
                  <a:pt x="11396" y="1964"/>
                  <a:pt x="10800" y="1964"/>
                </a:cubicBezTo>
                <a:moveTo>
                  <a:pt x="10800" y="8836"/>
                </a:moveTo>
                <a:cubicBezTo>
                  <a:pt x="6029" y="8836"/>
                  <a:pt x="2160" y="7078"/>
                  <a:pt x="2160" y="4909"/>
                </a:cubicBezTo>
                <a:cubicBezTo>
                  <a:pt x="2160" y="2740"/>
                  <a:pt x="6029" y="982"/>
                  <a:pt x="10800" y="982"/>
                </a:cubicBezTo>
                <a:cubicBezTo>
                  <a:pt x="15571" y="982"/>
                  <a:pt x="19440" y="2740"/>
                  <a:pt x="19440" y="4909"/>
                </a:cubicBezTo>
                <a:cubicBezTo>
                  <a:pt x="19440" y="7078"/>
                  <a:pt x="15571" y="8836"/>
                  <a:pt x="10800" y="8836"/>
                </a:cubicBezTo>
                <a:moveTo>
                  <a:pt x="10800" y="17182"/>
                </a:moveTo>
                <a:lnTo>
                  <a:pt x="8154" y="9664"/>
                </a:lnTo>
                <a:cubicBezTo>
                  <a:pt x="9002" y="9761"/>
                  <a:pt x="9885" y="9818"/>
                  <a:pt x="10800" y="9818"/>
                </a:cubicBezTo>
                <a:cubicBezTo>
                  <a:pt x="11715" y="9818"/>
                  <a:pt x="12598" y="9761"/>
                  <a:pt x="13446" y="9664"/>
                </a:cubicBezTo>
                <a:cubicBezTo>
                  <a:pt x="13446" y="9664"/>
                  <a:pt x="10800" y="17182"/>
                  <a:pt x="10800" y="17182"/>
                </a:cubicBezTo>
                <a:close/>
                <a:moveTo>
                  <a:pt x="10800" y="0"/>
                </a:moveTo>
                <a:cubicBezTo>
                  <a:pt x="4835" y="0"/>
                  <a:pt x="0" y="2199"/>
                  <a:pt x="0" y="4909"/>
                </a:cubicBezTo>
                <a:cubicBezTo>
                  <a:pt x="0" y="6830"/>
                  <a:pt x="2431" y="8487"/>
                  <a:pt x="5966" y="9295"/>
                </a:cubicBezTo>
                <a:lnTo>
                  <a:pt x="10800" y="21600"/>
                </a:lnTo>
                <a:lnTo>
                  <a:pt x="15635" y="9295"/>
                </a:lnTo>
                <a:cubicBezTo>
                  <a:pt x="19169" y="8487"/>
                  <a:pt x="21600" y="6830"/>
                  <a:pt x="21600" y="4909"/>
                </a:cubicBezTo>
                <a:cubicBezTo>
                  <a:pt x="21600" y="2199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37" name="Shape 2937"/>
          <p:cNvSpPr/>
          <p:nvPr/>
        </p:nvSpPr>
        <p:spPr>
          <a:xfrm>
            <a:off x="2480642" y="329589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20593"/>
                </a:moveTo>
                <a:lnTo>
                  <a:pt x="11291" y="19145"/>
                </a:lnTo>
                <a:cubicBezTo>
                  <a:pt x="11291" y="18875"/>
                  <a:pt x="11071" y="18655"/>
                  <a:pt x="10800" y="18655"/>
                </a:cubicBezTo>
                <a:cubicBezTo>
                  <a:pt x="10529" y="18655"/>
                  <a:pt x="10309" y="18875"/>
                  <a:pt x="10309" y="19145"/>
                </a:cubicBezTo>
                <a:lnTo>
                  <a:pt x="10309" y="20593"/>
                </a:lnTo>
                <a:cubicBezTo>
                  <a:pt x="5280" y="20344"/>
                  <a:pt x="1255" y="16319"/>
                  <a:pt x="1006" y="11291"/>
                </a:cubicBezTo>
                <a:lnTo>
                  <a:pt x="2455" y="11291"/>
                </a:lnTo>
                <a:cubicBezTo>
                  <a:pt x="2725" y="11291"/>
                  <a:pt x="2945" y="11071"/>
                  <a:pt x="2945" y="10800"/>
                </a:cubicBezTo>
                <a:cubicBezTo>
                  <a:pt x="2945" y="10529"/>
                  <a:pt x="2725" y="10309"/>
                  <a:pt x="2455" y="10309"/>
                </a:cubicBezTo>
                <a:lnTo>
                  <a:pt x="1006" y="10309"/>
                </a:lnTo>
                <a:cubicBezTo>
                  <a:pt x="1255" y="5281"/>
                  <a:pt x="5280" y="1256"/>
                  <a:pt x="10309" y="1007"/>
                </a:cubicBezTo>
                <a:lnTo>
                  <a:pt x="10309" y="2455"/>
                </a:lnTo>
                <a:cubicBezTo>
                  <a:pt x="10309" y="2726"/>
                  <a:pt x="10529" y="2945"/>
                  <a:pt x="10800" y="2945"/>
                </a:cubicBezTo>
                <a:cubicBezTo>
                  <a:pt x="11071" y="2945"/>
                  <a:pt x="11291" y="2726"/>
                  <a:pt x="11291" y="2455"/>
                </a:cubicBezTo>
                <a:lnTo>
                  <a:pt x="11291" y="1007"/>
                </a:lnTo>
                <a:cubicBezTo>
                  <a:pt x="16320" y="1256"/>
                  <a:pt x="20345" y="5281"/>
                  <a:pt x="20594" y="10309"/>
                </a:cubicBezTo>
                <a:lnTo>
                  <a:pt x="19145" y="10309"/>
                </a:lnTo>
                <a:cubicBezTo>
                  <a:pt x="18875" y="10309"/>
                  <a:pt x="18655" y="10529"/>
                  <a:pt x="18655" y="10800"/>
                </a:cubicBezTo>
                <a:cubicBezTo>
                  <a:pt x="18655" y="11071"/>
                  <a:pt x="18875" y="11291"/>
                  <a:pt x="19145" y="11291"/>
                </a:cubicBezTo>
                <a:lnTo>
                  <a:pt x="20594" y="11291"/>
                </a:lnTo>
                <a:cubicBezTo>
                  <a:pt x="20345" y="16319"/>
                  <a:pt x="16320" y="20344"/>
                  <a:pt x="11291" y="20593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965" y="6634"/>
                </a:moveTo>
                <a:lnTo>
                  <a:pt x="12189" y="12188"/>
                </a:lnTo>
                <a:lnTo>
                  <a:pt x="6635" y="14966"/>
                </a:lnTo>
                <a:lnTo>
                  <a:pt x="9411" y="9412"/>
                </a:lnTo>
                <a:cubicBezTo>
                  <a:pt x="9411" y="9412"/>
                  <a:pt x="14965" y="6634"/>
                  <a:pt x="14965" y="6634"/>
                </a:cubicBezTo>
                <a:close/>
                <a:moveTo>
                  <a:pt x="4552" y="17048"/>
                </a:moveTo>
                <a:lnTo>
                  <a:pt x="12883" y="12883"/>
                </a:lnTo>
                <a:lnTo>
                  <a:pt x="17048" y="4551"/>
                </a:lnTo>
                <a:lnTo>
                  <a:pt x="8717" y="8717"/>
                </a:lnTo>
                <a:cubicBezTo>
                  <a:pt x="8717" y="8717"/>
                  <a:pt x="4552" y="17048"/>
                  <a:pt x="4552" y="17048"/>
                </a:cubicBezTo>
                <a:close/>
                <a:moveTo>
                  <a:pt x="11494" y="11494"/>
                </a:moveTo>
                <a:cubicBezTo>
                  <a:pt x="11877" y="11111"/>
                  <a:pt x="11877" y="10489"/>
                  <a:pt x="11494" y="10106"/>
                </a:cubicBezTo>
                <a:cubicBezTo>
                  <a:pt x="11111" y="9722"/>
                  <a:pt x="10489" y="9722"/>
                  <a:pt x="10106" y="10106"/>
                </a:cubicBezTo>
                <a:cubicBezTo>
                  <a:pt x="9723" y="10489"/>
                  <a:pt x="9723" y="11111"/>
                  <a:pt x="10106" y="11494"/>
                </a:cubicBezTo>
                <a:cubicBezTo>
                  <a:pt x="10489" y="11878"/>
                  <a:pt x="11111" y="11878"/>
                  <a:pt x="11494" y="11494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38" name="Shape 2938"/>
          <p:cNvSpPr/>
          <p:nvPr/>
        </p:nvSpPr>
        <p:spPr>
          <a:xfrm>
            <a:off x="3013903" y="329589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58"/>
                </a:moveTo>
                <a:lnTo>
                  <a:pt x="14727" y="18775"/>
                </a:lnTo>
                <a:lnTo>
                  <a:pt x="14727" y="1142"/>
                </a:lnTo>
                <a:lnTo>
                  <a:pt x="20618" y="2825"/>
                </a:lnTo>
                <a:cubicBezTo>
                  <a:pt x="20618" y="2825"/>
                  <a:pt x="20618" y="20458"/>
                  <a:pt x="20618" y="20458"/>
                </a:cubicBezTo>
                <a:close/>
                <a:moveTo>
                  <a:pt x="13745" y="18775"/>
                </a:moveTo>
                <a:lnTo>
                  <a:pt x="7855" y="20458"/>
                </a:lnTo>
                <a:lnTo>
                  <a:pt x="7855" y="2825"/>
                </a:lnTo>
                <a:lnTo>
                  <a:pt x="13745" y="1142"/>
                </a:lnTo>
                <a:cubicBezTo>
                  <a:pt x="13745" y="1142"/>
                  <a:pt x="13745" y="18775"/>
                  <a:pt x="13745" y="18775"/>
                </a:cubicBezTo>
                <a:close/>
                <a:moveTo>
                  <a:pt x="6873" y="20458"/>
                </a:moveTo>
                <a:lnTo>
                  <a:pt x="982" y="18775"/>
                </a:lnTo>
                <a:lnTo>
                  <a:pt x="982" y="1142"/>
                </a:lnTo>
                <a:lnTo>
                  <a:pt x="6873" y="2825"/>
                </a:lnTo>
                <a:cubicBezTo>
                  <a:pt x="6873" y="2825"/>
                  <a:pt x="6873" y="20458"/>
                  <a:pt x="6873" y="20458"/>
                </a:cubicBezTo>
                <a:close/>
                <a:moveTo>
                  <a:pt x="21242" y="1990"/>
                </a:moveTo>
                <a:lnTo>
                  <a:pt x="21244" y="1983"/>
                </a:lnTo>
                <a:lnTo>
                  <a:pt x="14371" y="19"/>
                </a:lnTo>
                <a:lnTo>
                  <a:pt x="14369" y="27"/>
                </a:lnTo>
                <a:cubicBezTo>
                  <a:pt x="14326" y="14"/>
                  <a:pt x="14284" y="0"/>
                  <a:pt x="14236" y="0"/>
                </a:cubicBezTo>
                <a:cubicBezTo>
                  <a:pt x="14189" y="0"/>
                  <a:pt x="14147" y="14"/>
                  <a:pt x="14104" y="27"/>
                </a:cubicBezTo>
                <a:lnTo>
                  <a:pt x="14102" y="19"/>
                </a:lnTo>
                <a:lnTo>
                  <a:pt x="7364" y="1944"/>
                </a:lnTo>
                <a:lnTo>
                  <a:pt x="626" y="19"/>
                </a:lnTo>
                <a:lnTo>
                  <a:pt x="623" y="27"/>
                </a:lnTo>
                <a:cubicBezTo>
                  <a:pt x="581" y="14"/>
                  <a:pt x="538" y="0"/>
                  <a:pt x="491" y="0"/>
                </a:cubicBezTo>
                <a:cubicBezTo>
                  <a:pt x="220" y="0"/>
                  <a:pt x="0" y="220"/>
                  <a:pt x="0" y="491"/>
                </a:cubicBezTo>
                <a:lnTo>
                  <a:pt x="0" y="19145"/>
                </a:lnTo>
                <a:cubicBezTo>
                  <a:pt x="0" y="19370"/>
                  <a:pt x="153" y="19551"/>
                  <a:pt x="358" y="19610"/>
                </a:cubicBezTo>
                <a:lnTo>
                  <a:pt x="356" y="19618"/>
                </a:lnTo>
                <a:lnTo>
                  <a:pt x="7229" y="21581"/>
                </a:lnTo>
                <a:lnTo>
                  <a:pt x="7231" y="21573"/>
                </a:lnTo>
                <a:cubicBezTo>
                  <a:pt x="7274" y="21586"/>
                  <a:pt x="7316" y="21600"/>
                  <a:pt x="7364" y="21600"/>
                </a:cubicBezTo>
                <a:cubicBezTo>
                  <a:pt x="7411" y="21600"/>
                  <a:pt x="7454" y="21586"/>
                  <a:pt x="7496" y="21573"/>
                </a:cubicBezTo>
                <a:lnTo>
                  <a:pt x="7499" y="21581"/>
                </a:lnTo>
                <a:lnTo>
                  <a:pt x="14236" y="19656"/>
                </a:lnTo>
                <a:lnTo>
                  <a:pt x="20975" y="21581"/>
                </a:lnTo>
                <a:lnTo>
                  <a:pt x="20977" y="21573"/>
                </a:lnTo>
                <a:cubicBezTo>
                  <a:pt x="21020" y="21586"/>
                  <a:pt x="21062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lnTo>
                  <a:pt x="21600" y="2455"/>
                </a:lnTo>
                <a:cubicBezTo>
                  <a:pt x="21600" y="2231"/>
                  <a:pt x="21447" y="2049"/>
                  <a:pt x="21242" y="199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39" name="Shape 2939"/>
          <p:cNvSpPr/>
          <p:nvPr/>
        </p:nvSpPr>
        <p:spPr>
          <a:xfrm>
            <a:off x="3547164" y="329589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47" y="12509"/>
                </a:moveTo>
                <a:lnTo>
                  <a:pt x="18520" y="12645"/>
                </a:lnTo>
                <a:cubicBezTo>
                  <a:pt x="18572" y="12276"/>
                  <a:pt x="18589" y="11922"/>
                  <a:pt x="18572" y="11593"/>
                </a:cubicBezTo>
                <a:lnTo>
                  <a:pt x="17592" y="11644"/>
                </a:lnTo>
                <a:cubicBezTo>
                  <a:pt x="17606" y="11910"/>
                  <a:pt x="17591" y="12201"/>
                  <a:pt x="17547" y="12509"/>
                </a:cubicBezTo>
                <a:moveTo>
                  <a:pt x="17444" y="10833"/>
                </a:moveTo>
                <a:lnTo>
                  <a:pt x="18374" y="10520"/>
                </a:lnTo>
                <a:cubicBezTo>
                  <a:pt x="18262" y="10187"/>
                  <a:pt x="18104" y="9869"/>
                  <a:pt x="17890" y="9546"/>
                </a:cubicBezTo>
                <a:lnTo>
                  <a:pt x="17072" y="10089"/>
                </a:lnTo>
                <a:cubicBezTo>
                  <a:pt x="17237" y="10339"/>
                  <a:pt x="17359" y="10582"/>
                  <a:pt x="17444" y="10833"/>
                </a:cubicBezTo>
                <a:moveTo>
                  <a:pt x="17529" y="13890"/>
                </a:moveTo>
                <a:cubicBezTo>
                  <a:pt x="17440" y="13801"/>
                  <a:pt x="17317" y="13745"/>
                  <a:pt x="17182" y="13745"/>
                </a:cubicBezTo>
                <a:cubicBezTo>
                  <a:pt x="16910" y="13745"/>
                  <a:pt x="16691" y="13965"/>
                  <a:pt x="16691" y="14236"/>
                </a:cubicBezTo>
                <a:cubicBezTo>
                  <a:pt x="16691" y="14372"/>
                  <a:pt x="16746" y="14495"/>
                  <a:pt x="16835" y="14583"/>
                </a:cubicBezTo>
                <a:lnTo>
                  <a:pt x="17469" y="15218"/>
                </a:lnTo>
                <a:lnTo>
                  <a:pt x="16835" y="15853"/>
                </a:lnTo>
                <a:cubicBezTo>
                  <a:pt x="16746" y="15942"/>
                  <a:pt x="16691" y="16064"/>
                  <a:pt x="16691" y="16200"/>
                </a:cubicBezTo>
                <a:cubicBezTo>
                  <a:pt x="16691" y="16471"/>
                  <a:pt x="16910" y="16691"/>
                  <a:pt x="17182" y="16691"/>
                </a:cubicBezTo>
                <a:cubicBezTo>
                  <a:pt x="17317" y="16691"/>
                  <a:pt x="17440" y="16636"/>
                  <a:pt x="17529" y="16547"/>
                </a:cubicBezTo>
                <a:lnTo>
                  <a:pt x="18164" y="15912"/>
                </a:lnTo>
                <a:lnTo>
                  <a:pt x="18798" y="16547"/>
                </a:lnTo>
                <a:cubicBezTo>
                  <a:pt x="18887" y="16636"/>
                  <a:pt x="19010" y="16691"/>
                  <a:pt x="19145" y="16691"/>
                </a:cubicBezTo>
                <a:cubicBezTo>
                  <a:pt x="19417" y="16691"/>
                  <a:pt x="19636" y="16471"/>
                  <a:pt x="19636" y="16200"/>
                </a:cubicBezTo>
                <a:cubicBezTo>
                  <a:pt x="19636" y="16064"/>
                  <a:pt x="19582" y="15942"/>
                  <a:pt x="19493" y="15853"/>
                </a:cubicBezTo>
                <a:lnTo>
                  <a:pt x="18858" y="15218"/>
                </a:lnTo>
                <a:lnTo>
                  <a:pt x="19493" y="14583"/>
                </a:lnTo>
                <a:cubicBezTo>
                  <a:pt x="19582" y="14495"/>
                  <a:pt x="19636" y="14372"/>
                  <a:pt x="19636" y="14236"/>
                </a:cubicBezTo>
                <a:cubicBezTo>
                  <a:pt x="19636" y="13965"/>
                  <a:pt x="19417" y="13745"/>
                  <a:pt x="19145" y="13745"/>
                </a:cubicBezTo>
                <a:cubicBezTo>
                  <a:pt x="19009" y="13745"/>
                  <a:pt x="18887" y="13801"/>
                  <a:pt x="18798" y="13890"/>
                </a:cubicBezTo>
                <a:lnTo>
                  <a:pt x="18164" y="14524"/>
                </a:lnTo>
                <a:cubicBezTo>
                  <a:pt x="18164" y="14524"/>
                  <a:pt x="17529" y="13890"/>
                  <a:pt x="17529" y="13890"/>
                </a:cubicBezTo>
                <a:close/>
                <a:moveTo>
                  <a:pt x="20618" y="20458"/>
                </a:moveTo>
                <a:lnTo>
                  <a:pt x="14727" y="18775"/>
                </a:lnTo>
                <a:lnTo>
                  <a:pt x="14727" y="7698"/>
                </a:lnTo>
                <a:cubicBezTo>
                  <a:pt x="14950" y="7802"/>
                  <a:pt x="15155" y="7914"/>
                  <a:pt x="15324" y="8034"/>
                </a:cubicBezTo>
                <a:lnTo>
                  <a:pt x="15893" y="7234"/>
                </a:lnTo>
                <a:cubicBezTo>
                  <a:pt x="15627" y="7044"/>
                  <a:pt x="15313" y="6872"/>
                  <a:pt x="14959" y="6721"/>
                </a:cubicBezTo>
                <a:lnTo>
                  <a:pt x="14727" y="7263"/>
                </a:lnTo>
                <a:lnTo>
                  <a:pt x="14727" y="1142"/>
                </a:lnTo>
                <a:lnTo>
                  <a:pt x="20618" y="2825"/>
                </a:lnTo>
                <a:cubicBezTo>
                  <a:pt x="20618" y="2825"/>
                  <a:pt x="20618" y="20458"/>
                  <a:pt x="20618" y="20458"/>
                </a:cubicBezTo>
                <a:close/>
                <a:moveTo>
                  <a:pt x="13745" y="18775"/>
                </a:moveTo>
                <a:lnTo>
                  <a:pt x="7855" y="20458"/>
                </a:lnTo>
                <a:lnTo>
                  <a:pt x="7855" y="9347"/>
                </a:lnTo>
                <a:lnTo>
                  <a:pt x="8249" y="10199"/>
                </a:lnTo>
                <a:cubicBezTo>
                  <a:pt x="8580" y="10045"/>
                  <a:pt x="8881" y="9843"/>
                  <a:pt x="9168" y="9581"/>
                </a:cubicBezTo>
                <a:lnTo>
                  <a:pt x="8505" y="8857"/>
                </a:lnTo>
                <a:cubicBezTo>
                  <a:pt x="8297" y="9048"/>
                  <a:pt x="8088" y="9187"/>
                  <a:pt x="7855" y="9299"/>
                </a:cubicBezTo>
                <a:lnTo>
                  <a:pt x="7855" y="2825"/>
                </a:lnTo>
                <a:lnTo>
                  <a:pt x="13745" y="1142"/>
                </a:lnTo>
                <a:cubicBezTo>
                  <a:pt x="13745" y="1142"/>
                  <a:pt x="13745" y="18775"/>
                  <a:pt x="13745" y="18775"/>
                </a:cubicBezTo>
                <a:close/>
                <a:moveTo>
                  <a:pt x="6873" y="20458"/>
                </a:moveTo>
                <a:lnTo>
                  <a:pt x="982" y="18775"/>
                </a:lnTo>
                <a:lnTo>
                  <a:pt x="982" y="1142"/>
                </a:lnTo>
                <a:lnTo>
                  <a:pt x="6873" y="2825"/>
                </a:lnTo>
                <a:cubicBezTo>
                  <a:pt x="6873" y="2825"/>
                  <a:pt x="6873" y="20458"/>
                  <a:pt x="6873" y="20458"/>
                </a:cubicBezTo>
                <a:close/>
                <a:moveTo>
                  <a:pt x="21241" y="1990"/>
                </a:moveTo>
                <a:lnTo>
                  <a:pt x="21244" y="1983"/>
                </a:lnTo>
                <a:lnTo>
                  <a:pt x="14372" y="19"/>
                </a:lnTo>
                <a:lnTo>
                  <a:pt x="14369" y="27"/>
                </a:lnTo>
                <a:cubicBezTo>
                  <a:pt x="14326" y="14"/>
                  <a:pt x="14283" y="0"/>
                  <a:pt x="14236" y="0"/>
                </a:cubicBezTo>
                <a:cubicBezTo>
                  <a:pt x="14189" y="0"/>
                  <a:pt x="14147" y="14"/>
                  <a:pt x="14104" y="27"/>
                </a:cubicBezTo>
                <a:lnTo>
                  <a:pt x="14102" y="19"/>
                </a:lnTo>
                <a:lnTo>
                  <a:pt x="7364" y="1944"/>
                </a:lnTo>
                <a:lnTo>
                  <a:pt x="626" y="19"/>
                </a:lnTo>
                <a:lnTo>
                  <a:pt x="623" y="27"/>
                </a:lnTo>
                <a:cubicBezTo>
                  <a:pt x="580" y="14"/>
                  <a:pt x="538" y="0"/>
                  <a:pt x="491" y="0"/>
                </a:cubicBezTo>
                <a:cubicBezTo>
                  <a:pt x="220" y="0"/>
                  <a:pt x="0" y="220"/>
                  <a:pt x="0" y="491"/>
                </a:cubicBezTo>
                <a:lnTo>
                  <a:pt x="0" y="19145"/>
                </a:lnTo>
                <a:cubicBezTo>
                  <a:pt x="0" y="19370"/>
                  <a:pt x="153" y="19551"/>
                  <a:pt x="359" y="19610"/>
                </a:cubicBezTo>
                <a:lnTo>
                  <a:pt x="356" y="19618"/>
                </a:lnTo>
                <a:lnTo>
                  <a:pt x="7228" y="21581"/>
                </a:lnTo>
                <a:lnTo>
                  <a:pt x="7231" y="21573"/>
                </a:lnTo>
                <a:cubicBezTo>
                  <a:pt x="7274" y="21586"/>
                  <a:pt x="7317" y="21600"/>
                  <a:pt x="7364" y="21600"/>
                </a:cubicBezTo>
                <a:cubicBezTo>
                  <a:pt x="7411" y="21600"/>
                  <a:pt x="7453" y="21586"/>
                  <a:pt x="7496" y="21573"/>
                </a:cubicBezTo>
                <a:lnTo>
                  <a:pt x="7499" y="21581"/>
                </a:lnTo>
                <a:lnTo>
                  <a:pt x="14236" y="19656"/>
                </a:lnTo>
                <a:lnTo>
                  <a:pt x="20975" y="21581"/>
                </a:lnTo>
                <a:lnTo>
                  <a:pt x="20977" y="21573"/>
                </a:lnTo>
                <a:cubicBezTo>
                  <a:pt x="21020" y="21586"/>
                  <a:pt x="21062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lnTo>
                  <a:pt x="21600" y="2455"/>
                </a:lnTo>
                <a:cubicBezTo>
                  <a:pt x="21600" y="2231"/>
                  <a:pt x="21447" y="2049"/>
                  <a:pt x="21241" y="1990"/>
                </a:cubicBezTo>
                <a:moveTo>
                  <a:pt x="16435" y="9275"/>
                </a:moveTo>
                <a:lnTo>
                  <a:pt x="16518" y="9374"/>
                </a:lnTo>
                <a:lnTo>
                  <a:pt x="17269" y="8740"/>
                </a:lnTo>
                <a:lnTo>
                  <a:pt x="17184" y="8640"/>
                </a:lnTo>
                <a:cubicBezTo>
                  <a:pt x="17013" y="8438"/>
                  <a:pt x="16840" y="8236"/>
                  <a:pt x="16677" y="8019"/>
                </a:cubicBezTo>
                <a:lnTo>
                  <a:pt x="15891" y="8606"/>
                </a:lnTo>
                <a:cubicBezTo>
                  <a:pt x="16066" y="8840"/>
                  <a:pt x="16251" y="9059"/>
                  <a:pt x="16435" y="9275"/>
                </a:cubicBezTo>
                <a:moveTo>
                  <a:pt x="6270" y="11022"/>
                </a:moveTo>
                <a:lnTo>
                  <a:pt x="5739" y="10196"/>
                </a:lnTo>
                <a:cubicBezTo>
                  <a:pt x="5432" y="10394"/>
                  <a:pt x="5153" y="10605"/>
                  <a:pt x="4909" y="10825"/>
                </a:cubicBezTo>
                <a:lnTo>
                  <a:pt x="5568" y="11554"/>
                </a:lnTo>
                <a:cubicBezTo>
                  <a:pt x="5772" y="11370"/>
                  <a:pt x="6008" y="11191"/>
                  <a:pt x="6270" y="11022"/>
                </a:cubicBezTo>
                <a:moveTo>
                  <a:pt x="5004" y="12185"/>
                </a:moveTo>
                <a:lnTo>
                  <a:pt x="4196" y="11628"/>
                </a:lnTo>
                <a:cubicBezTo>
                  <a:pt x="3975" y="11949"/>
                  <a:pt x="3812" y="12288"/>
                  <a:pt x="3713" y="12634"/>
                </a:cubicBezTo>
                <a:lnTo>
                  <a:pt x="4656" y="12906"/>
                </a:lnTo>
                <a:cubicBezTo>
                  <a:pt x="4727" y="12661"/>
                  <a:pt x="4844" y="12418"/>
                  <a:pt x="5004" y="12185"/>
                </a:cubicBezTo>
                <a:moveTo>
                  <a:pt x="10467" y="8318"/>
                </a:moveTo>
                <a:lnTo>
                  <a:pt x="9972" y="7470"/>
                </a:lnTo>
                <a:cubicBezTo>
                  <a:pt x="9623" y="7674"/>
                  <a:pt x="9362" y="7936"/>
                  <a:pt x="9132" y="8189"/>
                </a:cubicBezTo>
                <a:lnTo>
                  <a:pt x="9857" y="8850"/>
                </a:lnTo>
                <a:cubicBezTo>
                  <a:pt x="10063" y="8624"/>
                  <a:pt x="10245" y="8448"/>
                  <a:pt x="10467" y="8318"/>
                </a:cubicBezTo>
                <a:moveTo>
                  <a:pt x="3927" y="15709"/>
                </a:moveTo>
                <a:cubicBezTo>
                  <a:pt x="4469" y="15709"/>
                  <a:pt x="4909" y="15270"/>
                  <a:pt x="4909" y="14727"/>
                </a:cubicBezTo>
                <a:cubicBezTo>
                  <a:pt x="4909" y="14185"/>
                  <a:pt x="4469" y="13745"/>
                  <a:pt x="3927" y="13745"/>
                </a:cubicBezTo>
                <a:cubicBezTo>
                  <a:pt x="3385" y="13745"/>
                  <a:pt x="2945" y="14185"/>
                  <a:pt x="2945" y="14727"/>
                </a:cubicBezTo>
                <a:cubicBezTo>
                  <a:pt x="2945" y="15270"/>
                  <a:pt x="3385" y="15709"/>
                  <a:pt x="3927" y="15709"/>
                </a:cubicBezTo>
                <a:moveTo>
                  <a:pt x="12273" y="7855"/>
                </a:moveTo>
                <a:cubicBezTo>
                  <a:pt x="12815" y="7855"/>
                  <a:pt x="13255" y="7415"/>
                  <a:pt x="13255" y="6873"/>
                </a:cubicBezTo>
                <a:cubicBezTo>
                  <a:pt x="13255" y="6331"/>
                  <a:pt x="12815" y="5891"/>
                  <a:pt x="12273" y="5891"/>
                </a:cubicBezTo>
                <a:cubicBezTo>
                  <a:pt x="11730" y="5891"/>
                  <a:pt x="11291" y="6331"/>
                  <a:pt x="11291" y="6873"/>
                </a:cubicBezTo>
                <a:cubicBezTo>
                  <a:pt x="11291" y="7415"/>
                  <a:pt x="11730" y="7855"/>
                  <a:pt x="12273" y="785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40" name="Shape 2940"/>
          <p:cNvSpPr/>
          <p:nvPr/>
        </p:nvSpPr>
        <p:spPr>
          <a:xfrm>
            <a:off x="4080425" y="329589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345"/>
                </a:moveTo>
                <a:cubicBezTo>
                  <a:pt x="9444" y="8345"/>
                  <a:pt x="8345" y="9444"/>
                  <a:pt x="8345" y="10800"/>
                </a:cubicBezTo>
                <a:cubicBezTo>
                  <a:pt x="8345" y="12156"/>
                  <a:pt x="9444" y="13255"/>
                  <a:pt x="10800" y="13255"/>
                </a:cubicBezTo>
                <a:cubicBezTo>
                  <a:pt x="12156" y="13255"/>
                  <a:pt x="13255" y="12156"/>
                  <a:pt x="13255" y="10800"/>
                </a:cubicBezTo>
                <a:cubicBezTo>
                  <a:pt x="13255" y="9444"/>
                  <a:pt x="12156" y="8345"/>
                  <a:pt x="10800" y="8345"/>
                </a:cubicBezTo>
                <a:moveTo>
                  <a:pt x="11291" y="20593"/>
                </a:moveTo>
                <a:lnTo>
                  <a:pt x="11291" y="17182"/>
                </a:lnTo>
                <a:cubicBezTo>
                  <a:pt x="11291" y="16910"/>
                  <a:pt x="11071" y="16691"/>
                  <a:pt x="10800" y="16691"/>
                </a:cubicBezTo>
                <a:cubicBezTo>
                  <a:pt x="10529" y="16691"/>
                  <a:pt x="10309" y="16910"/>
                  <a:pt x="10309" y="17182"/>
                </a:cubicBezTo>
                <a:lnTo>
                  <a:pt x="10309" y="20593"/>
                </a:lnTo>
                <a:cubicBezTo>
                  <a:pt x="5280" y="20344"/>
                  <a:pt x="1255" y="16319"/>
                  <a:pt x="1006" y="11291"/>
                </a:cubicBezTo>
                <a:lnTo>
                  <a:pt x="4418" y="11291"/>
                </a:lnTo>
                <a:cubicBezTo>
                  <a:pt x="4690" y="11291"/>
                  <a:pt x="4909" y="11071"/>
                  <a:pt x="4909" y="10800"/>
                </a:cubicBezTo>
                <a:cubicBezTo>
                  <a:pt x="4909" y="10529"/>
                  <a:pt x="4690" y="10309"/>
                  <a:pt x="4418" y="10309"/>
                </a:cubicBezTo>
                <a:lnTo>
                  <a:pt x="1006" y="10309"/>
                </a:lnTo>
                <a:cubicBezTo>
                  <a:pt x="1255" y="5281"/>
                  <a:pt x="5280" y="1256"/>
                  <a:pt x="10309" y="1007"/>
                </a:cubicBezTo>
                <a:lnTo>
                  <a:pt x="10309" y="4418"/>
                </a:lnTo>
                <a:cubicBezTo>
                  <a:pt x="10309" y="4690"/>
                  <a:pt x="10529" y="4909"/>
                  <a:pt x="10800" y="4909"/>
                </a:cubicBezTo>
                <a:cubicBezTo>
                  <a:pt x="11071" y="4909"/>
                  <a:pt x="11291" y="4690"/>
                  <a:pt x="11291" y="4418"/>
                </a:cubicBezTo>
                <a:lnTo>
                  <a:pt x="11291" y="1007"/>
                </a:lnTo>
                <a:cubicBezTo>
                  <a:pt x="16320" y="1256"/>
                  <a:pt x="20345" y="5281"/>
                  <a:pt x="20594" y="10309"/>
                </a:cubicBezTo>
                <a:lnTo>
                  <a:pt x="17182" y="10309"/>
                </a:lnTo>
                <a:cubicBezTo>
                  <a:pt x="16910" y="10309"/>
                  <a:pt x="16691" y="10529"/>
                  <a:pt x="16691" y="10800"/>
                </a:cubicBezTo>
                <a:cubicBezTo>
                  <a:pt x="16691" y="11071"/>
                  <a:pt x="16910" y="11291"/>
                  <a:pt x="17182" y="11291"/>
                </a:cubicBezTo>
                <a:lnTo>
                  <a:pt x="20594" y="11291"/>
                </a:lnTo>
                <a:cubicBezTo>
                  <a:pt x="20345" y="16319"/>
                  <a:pt x="16320" y="20344"/>
                  <a:pt x="11291" y="20593"/>
                </a:cubicBezTo>
                <a:moveTo>
                  <a:pt x="10800" y="0"/>
                </a:moveTo>
                <a:cubicBezTo>
                  <a:pt x="10800" y="0"/>
                  <a:pt x="10800" y="0"/>
                  <a:pt x="10800" y="0"/>
                </a:cubicBezTo>
                <a:cubicBezTo>
                  <a:pt x="10800" y="0"/>
                  <a:pt x="10800" y="0"/>
                  <a:pt x="10800" y="0"/>
                </a:cubicBez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41" name="Shape 2941"/>
          <p:cNvSpPr/>
          <p:nvPr/>
        </p:nvSpPr>
        <p:spPr>
          <a:xfrm>
            <a:off x="4613686" y="329589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20593"/>
                </a:moveTo>
                <a:lnTo>
                  <a:pt x="11291" y="17648"/>
                </a:lnTo>
                <a:cubicBezTo>
                  <a:pt x="14694" y="17407"/>
                  <a:pt x="17408" y="14693"/>
                  <a:pt x="17649" y="11291"/>
                </a:cubicBezTo>
                <a:lnTo>
                  <a:pt x="20594" y="11291"/>
                </a:lnTo>
                <a:cubicBezTo>
                  <a:pt x="20345" y="16319"/>
                  <a:pt x="16320" y="20344"/>
                  <a:pt x="11291" y="20593"/>
                </a:cubicBezTo>
                <a:moveTo>
                  <a:pt x="11291" y="13205"/>
                </a:moveTo>
                <a:cubicBezTo>
                  <a:pt x="12252" y="13010"/>
                  <a:pt x="13005" y="12252"/>
                  <a:pt x="13201" y="11291"/>
                </a:cubicBezTo>
                <a:lnTo>
                  <a:pt x="16667" y="11291"/>
                </a:lnTo>
                <a:cubicBezTo>
                  <a:pt x="16431" y="14152"/>
                  <a:pt x="14152" y="16429"/>
                  <a:pt x="11291" y="16666"/>
                </a:cubicBezTo>
                <a:cubicBezTo>
                  <a:pt x="11291" y="16666"/>
                  <a:pt x="11291" y="13205"/>
                  <a:pt x="11291" y="13205"/>
                </a:cubicBezTo>
                <a:close/>
                <a:moveTo>
                  <a:pt x="11291" y="4934"/>
                </a:moveTo>
                <a:cubicBezTo>
                  <a:pt x="12233" y="5012"/>
                  <a:pt x="13111" y="5315"/>
                  <a:pt x="13875" y="5784"/>
                </a:cubicBezTo>
                <a:cubicBezTo>
                  <a:pt x="13793" y="5967"/>
                  <a:pt x="13745" y="6168"/>
                  <a:pt x="13745" y="6382"/>
                </a:cubicBezTo>
                <a:cubicBezTo>
                  <a:pt x="13745" y="7195"/>
                  <a:pt x="14405" y="7855"/>
                  <a:pt x="15218" y="7855"/>
                </a:cubicBezTo>
                <a:cubicBezTo>
                  <a:pt x="15432" y="7855"/>
                  <a:pt x="15633" y="7807"/>
                  <a:pt x="15816" y="7725"/>
                </a:cubicBezTo>
                <a:cubicBezTo>
                  <a:pt x="16286" y="8489"/>
                  <a:pt x="16589" y="9367"/>
                  <a:pt x="16667" y="10309"/>
                </a:cubicBezTo>
                <a:lnTo>
                  <a:pt x="13201" y="10309"/>
                </a:lnTo>
                <a:cubicBezTo>
                  <a:pt x="13005" y="9348"/>
                  <a:pt x="12252" y="8590"/>
                  <a:pt x="11291" y="8395"/>
                </a:cubicBezTo>
                <a:cubicBezTo>
                  <a:pt x="11291" y="8395"/>
                  <a:pt x="11291" y="4934"/>
                  <a:pt x="11291" y="4934"/>
                </a:cubicBezTo>
                <a:close/>
                <a:moveTo>
                  <a:pt x="11291" y="1007"/>
                </a:moveTo>
                <a:cubicBezTo>
                  <a:pt x="16320" y="1256"/>
                  <a:pt x="20345" y="5281"/>
                  <a:pt x="20594" y="10309"/>
                </a:cubicBezTo>
                <a:lnTo>
                  <a:pt x="17649" y="10309"/>
                </a:lnTo>
                <a:cubicBezTo>
                  <a:pt x="17563" y="9102"/>
                  <a:pt x="17162" y="7985"/>
                  <a:pt x="16534" y="7031"/>
                </a:cubicBezTo>
                <a:cubicBezTo>
                  <a:pt x="16631" y="6835"/>
                  <a:pt x="16691" y="6616"/>
                  <a:pt x="16691" y="6382"/>
                </a:cubicBezTo>
                <a:cubicBezTo>
                  <a:pt x="16691" y="5569"/>
                  <a:pt x="16032" y="4909"/>
                  <a:pt x="15218" y="4909"/>
                </a:cubicBezTo>
                <a:cubicBezTo>
                  <a:pt x="14984" y="4909"/>
                  <a:pt x="14765" y="4969"/>
                  <a:pt x="14568" y="5066"/>
                </a:cubicBezTo>
                <a:cubicBezTo>
                  <a:pt x="13614" y="4439"/>
                  <a:pt x="12498" y="4038"/>
                  <a:pt x="11291" y="3952"/>
                </a:cubicBezTo>
                <a:cubicBezTo>
                  <a:pt x="11291" y="3952"/>
                  <a:pt x="11291" y="1007"/>
                  <a:pt x="11291" y="1007"/>
                </a:cubicBezTo>
                <a:close/>
                <a:moveTo>
                  <a:pt x="10309" y="3949"/>
                </a:moveTo>
                <a:cubicBezTo>
                  <a:pt x="7225" y="4167"/>
                  <a:pt x="4703" y="6417"/>
                  <a:pt x="4078" y="9370"/>
                </a:cubicBezTo>
                <a:cubicBezTo>
                  <a:pt x="3590" y="9486"/>
                  <a:pt x="3196" y="9843"/>
                  <a:pt x="3030" y="10309"/>
                </a:cubicBezTo>
                <a:lnTo>
                  <a:pt x="1006" y="10309"/>
                </a:lnTo>
                <a:cubicBezTo>
                  <a:pt x="1255" y="5281"/>
                  <a:pt x="5280" y="1256"/>
                  <a:pt x="10309" y="1007"/>
                </a:cubicBezTo>
                <a:cubicBezTo>
                  <a:pt x="10309" y="1007"/>
                  <a:pt x="10309" y="3949"/>
                  <a:pt x="10309" y="3949"/>
                </a:cubicBezTo>
                <a:close/>
                <a:moveTo>
                  <a:pt x="10309" y="8395"/>
                </a:moveTo>
                <a:cubicBezTo>
                  <a:pt x="9348" y="8590"/>
                  <a:pt x="8595" y="9348"/>
                  <a:pt x="8399" y="10309"/>
                </a:cubicBezTo>
                <a:lnTo>
                  <a:pt x="5796" y="10309"/>
                </a:lnTo>
                <a:cubicBezTo>
                  <a:pt x="5666" y="9948"/>
                  <a:pt x="5405" y="9649"/>
                  <a:pt x="5062" y="9482"/>
                </a:cubicBezTo>
                <a:cubicBezTo>
                  <a:pt x="5626" y="7018"/>
                  <a:pt x="7730" y="5144"/>
                  <a:pt x="10309" y="4930"/>
                </a:cubicBezTo>
                <a:cubicBezTo>
                  <a:pt x="10309" y="4930"/>
                  <a:pt x="10309" y="8395"/>
                  <a:pt x="10309" y="8395"/>
                </a:cubicBezTo>
                <a:close/>
                <a:moveTo>
                  <a:pt x="10309" y="16670"/>
                </a:moveTo>
                <a:cubicBezTo>
                  <a:pt x="7730" y="16456"/>
                  <a:pt x="5626" y="14582"/>
                  <a:pt x="5062" y="12118"/>
                </a:cubicBezTo>
                <a:cubicBezTo>
                  <a:pt x="5405" y="11951"/>
                  <a:pt x="5666" y="11652"/>
                  <a:pt x="5796" y="11291"/>
                </a:cubicBezTo>
                <a:lnTo>
                  <a:pt x="8399" y="11291"/>
                </a:lnTo>
                <a:cubicBezTo>
                  <a:pt x="8595" y="12252"/>
                  <a:pt x="9348" y="13010"/>
                  <a:pt x="10309" y="13205"/>
                </a:cubicBezTo>
                <a:cubicBezTo>
                  <a:pt x="10309" y="13205"/>
                  <a:pt x="10309" y="16670"/>
                  <a:pt x="10309" y="16670"/>
                </a:cubicBezTo>
                <a:close/>
                <a:moveTo>
                  <a:pt x="10309" y="20593"/>
                </a:moveTo>
                <a:cubicBezTo>
                  <a:pt x="5280" y="20344"/>
                  <a:pt x="1255" y="16319"/>
                  <a:pt x="1006" y="11291"/>
                </a:cubicBezTo>
                <a:lnTo>
                  <a:pt x="3030" y="11291"/>
                </a:lnTo>
                <a:cubicBezTo>
                  <a:pt x="3196" y="11757"/>
                  <a:pt x="3590" y="12114"/>
                  <a:pt x="4078" y="12230"/>
                </a:cubicBezTo>
                <a:cubicBezTo>
                  <a:pt x="4703" y="15183"/>
                  <a:pt x="7225" y="17434"/>
                  <a:pt x="10309" y="17651"/>
                </a:cubicBezTo>
                <a:cubicBezTo>
                  <a:pt x="10309" y="17651"/>
                  <a:pt x="10309" y="20593"/>
                  <a:pt x="10309" y="20593"/>
                </a:cubicBezTo>
                <a:close/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42" name="Shape 2942"/>
          <p:cNvSpPr/>
          <p:nvPr/>
        </p:nvSpPr>
        <p:spPr>
          <a:xfrm>
            <a:off x="5172341" y="3295894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2524"/>
                </a:moveTo>
                <a:cubicBezTo>
                  <a:pt x="19362" y="12218"/>
                  <a:pt x="17455" y="11782"/>
                  <a:pt x="15000" y="11782"/>
                </a:cubicBezTo>
                <a:cubicBezTo>
                  <a:pt x="12625" y="11782"/>
                  <a:pt x="11514" y="12089"/>
                  <a:pt x="10534" y="12360"/>
                </a:cubicBezTo>
                <a:cubicBezTo>
                  <a:pt x="9751" y="12577"/>
                  <a:pt x="9076" y="12764"/>
                  <a:pt x="7800" y="12764"/>
                </a:cubicBezTo>
                <a:cubicBezTo>
                  <a:pt x="6097" y="12764"/>
                  <a:pt x="5268" y="12537"/>
                  <a:pt x="4390" y="12298"/>
                </a:cubicBezTo>
                <a:cubicBezTo>
                  <a:pt x="3564" y="12073"/>
                  <a:pt x="2709" y="11842"/>
                  <a:pt x="1200" y="11792"/>
                </a:cubicBezTo>
                <a:lnTo>
                  <a:pt x="1200" y="992"/>
                </a:lnTo>
                <a:cubicBezTo>
                  <a:pt x="2511" y="1038"/>
                  <a:pt x="3242" y="1238"/>
                  <a:pt x="4010" y="1448"/>
                </a:cubicBezTo>
                <a:cubicBezTo>
                  <a:pt x="4941" y="1701"/>
                  <a:pt x="5903" y="1964"/>
                  <a:pt x="7800" y="1964"/>
                </a:cubicBezTo>
                <a:cubicBezTo>
                  <a:pt x="9273" y="1964"/>
                  <a:pt x="10109" y="1733"/>
                  <a:pt x="10918" y="1508"/>
                </a:cubicBezTo>
                <a:cubicBezTo>
                  <a:pt x="11854" y="1250"/>
                  <a:pt x="12823" y="982"/>
                  <a:pt x="15000" y="982"/>
                </a:cubicBezTo>
                <a:cubicBezTo>
                  <a:pt x="17661" y="982"/>
                  <a:pt x="19648" y="1545"/>
                  <a:pt x="20400" y="1794"/>
                </a:cubicBezTo>
                <a:cubicBezTo>
                  <a:pt x="20400" y="1794"/>
                  <a:pt x="20400" y="12524"/>
                  <a:pt x="20400" y="12524"/>
                </a:cubicBezTo>
                <a:close/>
                <a:moveTo>
                  <a:pt x="21594" y="1473"/>
                </a:moveTo>
                <a:cubicBezTo>
                  <a:pt x="21594" y="1293"/>
                  <a:pt x="21478" y="1120"/>
                  <a:pt x="21268" y="1034"/>
                </a:cubicBezTo>
                <a:cubicBezTo>
                  <a:pt x="21165" y="991"/>
                  <a:pt x="18699" y="0"/>
                  <a:pt x="15000" y="0"/>
                </a:cubicBezTo>
                <a:cubicBezTo>
                  <a:pt x="12625" y="0"/>
                  <a:pt x="11514" y="308"/>
                  <a:pt x="10534" y="579"/>
                </a:cubicBezTo>
                <a:cubicBezTo>
                  <a:pt x="9751" y="795"/>
                  <a:pt x="9076" y="982"/>
                  <a:pt x="7800" y="982"/>
                </a:cubicBezTo>
                <a:cubicBezTo>
                  <a:pt x="6097" y="982"/>
                  <a:pt x="5268" y="756"/>
                  <a:pt x="4390" y="516"/>
                </a:cubicBezTo>
                <a:cubicBezTo>
                  <a:pt x="3459" y="263"/>
                  <a:pt x="2497" y="0"/>
                  <a:pt x="600" y="0"/>
                </a:cubicBezTo>
                <a:cubicBezTo>
                  <a:pt x="268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932" y="21600"/>
                  <a:pt x="1200" y="21380"/>
                  <a:pt x="1200" y="21109"/>
                </a:cubicBezTo>
                <a:lnTo>
                  <a:pt x="1200" y="12774"/>
                </a:lnTo>
                <a:cubicBezTo>
                  <a:pt x="2511" y="12820"/>
                  <a:pt x="3242" y="13020"/>
                  <a:pt x="4010" y="13230"/>
                </a:cubicBezTo>
                <a:cubicBezTo>
                  <a:pt x="4941" y="13483"/>
                  <a:pt x="5903" y="13745"/>
                  <a:pt x="7800" y="13745"/>
                </a:cubicBezTo>
                <a:cubicBezTo>
                  <a:pt x="9273" y="13745"/>
                  <a:pt x="10109" y="13514"/>
                  <a:pt x="10918" y="13291"/>
                </a:cubicBezTo>
                <a:cubicBezTo>
                  <a:pt x="11854" y="13031"/>
                  <a:pt x="12823" y="12764"/>
                  <a:pt x="15000" y="12764"/>
                </a:cubicBezTo>
                <a:cubicBezTo>
                  <a:pt x="18400" y="12764"/>
                  <a:pt x="20709" y="13685"/>
                  <a:pt x="20733" y="13694"/>
                </a:cubicBezTo>
                <a:cubicBezTo>
                  <a:pt x="21029" y="13814"/>
                  <a:pt x="21389" y="13716"/>
                  <a:pt x="21537" y="13473"/>
                </a:cubicBezTo>
                <a:cubicBezTo>
                  <a:pt x="21580" y="13403"/>
                  <a:pt x="21594" y="13328"/>
                  <a:pt x="21594" y="13255"/>
                </a:cubicBezTo>
                <a:lnTo>
                  <a:pt x="21600" y="13255"/>
                </a:lnTo>
                <a:lnTo>
                  <a:pt x="21600" y="1473"/>
                </a:lnTo>
                <a:cubicBezTo>
                  <a:pt x="21600" y="1473"/>
                  <a:pt x="21594" y="1473"/>
                  <a:pt x="21594" y="1473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43" name="Shape 2943"/>
          <p:cNvSpPr/>
          <p:nvPr/>
        </p:nvSpPr>
        <p:spPr>
          <a:xfrm>
            <a:off x="5705602" y="3295894"/>
            <a:ext cx="228541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11782"/>
                </a:moveTo>
                <a:lnTo>
                  <a:pt x="9600" y="10800"/>
                </a:lnTo>
                <a:lnTo>
                  <a:pt x="11400" y="10800"/>
                </a:lnTo>
                <a:cubicBezTo>
                  <a:pt x="11732" y="10800"/>
                  <a:pt x="12000" y="10580"/>
                  <a:pt x="12000" y="10309"/>
                </a:cubicBezTo>
                <a:lnTo>
                  <a:pt x="12000" y="2945"/>
                </a:lnTo>
                <a:lnTo>
                  <a:pt x="19940" y="2945"/>
                </a:lnTo>
                <a:lnTo>
                  <a:pt x="16886" y="7111"/>
                </a:lnTo>
                <a:lnTo>
                  <a:pt x="16894" y="7115"/>
                </a:lnTo>
                <a:cubicBezTo>
                  <a:pt x="16840" y="7189"/>
                  <a:pt x="16800" y="7272"/>
                  <a:pt x="16800" y="7364"/>
                </a:cubicBezTo>
                <a:cubicBezTo>
                  <a:pt x="16800" y="7457"/>
                  <a:pt x="16840" y="7538"/>
                  <a:pt x="16894" y="7612"/>
                </a:cubicBezTo>
                <a:lnTo>
                  <a:pt x="16886" y="7616"/>
                </a:lnTo>
                <a:lnTo>
                  <a:pt x="19940" y="11782"/>
                </a:lnTo>
                <a:cubicBezTo>
                  <a:pt x="19940" y="11782"/>
                  <a:pt x="9600" y="11782"/>
                  <a:pt x="9600" y="11782"/>
                </a:cubicBezTo>
                <a:close/>
                <a:moveTo>
                  <a:pt x="1200" y="982"/>
                </a:moveTo>
                <a:lnTo>
                  <a:pt x="10800" y="982"/>
                </a:lnTo>
                <a:lnTo>
                  <a:pt x="10800" y="9818"/>
                </a:lnTo>
                <a:lnTo>
                  <a:pt x="1200" y="9818"/>
                </a:lnTo>
                <a:cubicBezTo>
                  <a:pt x="1200" y="9818"/>
                  <a:pt x="1200" y="982"/>
                  <a:pt x="1200" y="982"/>
                </a:cubicBezTo>
                <a:close/>
                <a:moveTo>
                  <a:pt x="21514" y="12020"/>
                </a:moveTo>
                <a:lnTo>
                  <a:pt x="18100" y="7364"/>
                </a:lnTo>
                <a:lnTo>
                  <a:pt x="21514" y="2707"/>
                </a:lnTo>
                <a:lnTo>
                  <a:pt x="21506" y="2703"/>
                </a:lnTo>
                <a:cubicBezTo>
                  <a:pt x="21560" y="2629"/>
                  <a:pt x="21600" y="2547"/>
                  <a:pt x="21600" y="2455"/>
                </a:cubicBezTo>
                <a:cubicBezTo>
                  <a:pt x="21600" y="2183"/>
                  <a:pt x="21332" y="1964"/>
                  <a:pt x="21000" y="1964"/>
                </a:cubicBezTo>
                <a:lnTo>
                  <a:pt x="12000" y="1964"/>
                </a:lnTo>
                <a:lnTo>
                  <a:pt x="12000" y="491"/>
                </a:lnTo>
                <a:cubicBezTo>
                  <a:pt x="12000" y="220"/>
                  <a:pt x="11732" y="0"/>
                  <a:pt x="11400" y="0"/>
                </a:cubicBezTo>
                <a:lnTo>
                  <a:pt x="600" y="0"/>
                </a:lnTo>
                <a:cubicBezTo>
                  <a:pt x="268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932" y="21600"/>
                  <a:pt x="1200" y="21380"/>
                  <a:pt x="1200" y="21109"/>
                </a:cubicBezTo>
                <a:lnTo>
                  <a:pt x="1200" y="10800"/>
                </a:lnTo>
                <a:lnTo>
                  <a:pt x="8400" y="10800"/>
                </a:lnTo>
                <a:lnTo>
                  <a:pt x="8400" y="12273"/>
                </a:lnTo>
                <a:cubicBezTo>
                  <a:pt x="8400" y="12544"/>
                  <a:pt x="8668" y="12764"/>
                  <a:pt x="9000" y="12764"/>
                </a:cubicBezTo>
                <a:lnTo>
                  <a:pt x="21000" y="12764"/>
                </a:lnTo>
                <a:cubicBezTo>
                  <a:pt x="21332" y="12764"/>
                  <a:pt x="21600" y="12544"/>
                  <a:pt x="21600" y="12273"/>
                </a:cubicBezTo>
                <a:cubicBezTo>
                  <a:pt x="21600" y="12181"/>
                  <a:pt x="21560" y="12098"/>
                  <a:pt x="21506" y="12024"/>
                </a:cubicBezTo>
                <a:cubicBezTo>
                  <a:pt x="21506" y="12024"/>
                  <a:pt x="21514" y="12020"/>
                  <a:pt x="21514" y="12020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44" name="Shape 2944"/>
          <p:cNvSpPr/>
          <p:nvPr/>
        </p:nvSpPr>
        <p:spPr>
          <a:xfrm>
            <a:off x="6251560" y="3289337"/>
            <a:ext cx="279328" cy="2793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45" name="Shape 2945"/>
          <p:cNvSpPr/>
          <p:nvPr/>
        </p:nvSpPr>
        <p:spPr>
          <a:xfrm>
            <a:off x="6784821" y="3289337"/>
            <a:ext cx="279328" cy="2793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58" y="8342"/>
                </a:moveTo>
                <a:cubicBezTo>
                  <a:pt x="17614" y="6914"/>
                  <a:pt x="17383" y="5576"/>
                  <a:pt x="17008" y="4408"/>
                </a:cubicBezTo>
                <a:cubicBezTo>
                  <a:pt x="17543" y="4130"/>
                  <a:pt x="18018" y="3797"/>
                  <a:pt x="18435" y="3427"/>
                </a:cubicBezTo>
                <a:cubicBezTo>
                  <a:pt x="19673" y="4722"/>
                  <a:pt x="20474" y="6437"/>
                  <a:pt x="20593" y="8342"/>
                </a:cubicBezTo>
                <a:cubicBezTo>
                  <a:pt x="20593" y="8342"/>
                  <a:pt x="17658" y="8342"/>
                  <a:pt x="17658" y="8342"/>
                </a:cubicBezTo>
                <a:close/>
                <a:moveTo>
                  <a:pt x="15485" y="1482"/>
                </a:moveTo>
                <a:cubicBezTo>
                  <a:pt x="16306" y="1786"/>
                  <a:pt x="17058" y="2226"/>
                  <a:pt x="17723" y="2769"/>
                </a:cubicBezTo>
                <a:cubicBezTo>
                  <a:pt x="17412" y="3036"/>
                  <a:pt x="17056" y="3275"/>
                  <a:pt x="16666" y="3486"/>
                </a:cubicBezTo>
                <a:cubicBezTo>
                  <a:pt x="16337" y="2707"/>
                  <a:pt x="15939" y="2026"/>
                  <a:pt x="15485" y="1482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7"/>
                </a:cubicBezTo>
                <a:cubicBezTo>
                  <a:pt x="6514" y="3197"/>
                  <a:pt x="7287" y="3044"/>
                  <a:pt x="8086" y="2983"/>
                </a:cubicBezTo>
                <a:cubicBezTo>
                  <a:pt x="7991" y="2912"/>
                  <a:pt x="7892" y="2844"/>
                  <a:pt x="7804" y="2769"/>
                </a:cubicBezTo>
                <a:cubicBezTo>
                  <a:pt x="8469" y="2226"/>
                  <a:pt x="9222" y="1786"/>
                  <a:pt x="10042" y="1482"/>
                </a:cubicBezTo>
                <a:cubicBezTo>
                  <a:pt x="9694" y="1899"/>
                  <a:pt x="9380" y="2398"/>
                  <a:pt x="9104" y="2959"/>
                </a:cubicBezTo>
                <a:cubicBezTo>
                  <a:pt x="9451" y="2968"/>
                  <a:pt x="9793" y="2996"/>
                  <a:pt x="10131" y="3040"/>
                </a:cubicBezTo>
                <a:cubicBezTo>
                  <a:pt x="10712" y="1983"/>
                  <a:pt x="11449" y="1263"/>
                  <a:pt x="12269" y="1056"/>
                </a:cubicBezTo>
                <a:lnTo>
                  <a:pt x="12269" y="3575"/>
                </a:lnTo>
                <a:cubicBezTo>
                  <a:pt x="12608" y="3701"/>
                  <a:pt x="12938" y="3844"/>
                  <a:pt x="13258" y="4006"/>
                </a:cubicBezTo>
                <a:lnTo>
                  <a:pt x="13258" y="1056"/>
                </a:lnTo>
                <a:cubicBezTo>
                  <a:pt x="14282" y="1315"/>
                  <a:pt x="15181" y="2363"/>
                  <a:pt x="15801" y="3883"/>
                </a:cubicBezTo>
                <a:cubicBezTo>
                  <a:pt x="15207" y="4107"/>
                  <a:pt x="14555" y="4261"/>
                  <a:pt x="13865" y="4342"/>
                </a:cubicBezTo>
                <a:cubicBezTo>
                  <a:pt x="14263" y="4581"/>
                  <a:pt x="14647" y="4840"/>
                  <a:pt x="15006" y="5131"/>
                </a:cubicBezTo>
                <a:cubicBezTo>
                  <a:pt x="15391" y="5041"/>
                  <a:pt x="15767" y="4935"/>
                  <a:pt x="16122" y="4801"/>
                </a:cubicBezTo>
                <a:cubicBezTo>
                  <a:pt x="16296" y="5379"/>
                  <a:pt x="16430" y="6009"/>
                  <a:pt x="16526" y="6670"/>
                </a:cubicBezTo>
                <a:cubicBezTo>
                  <a:pt x="17157" y="7466"/>
                  <a:pt x="17663" y="8363"/>
                  <a:pt x="18025" y="9331"/>
                </a:cubicBezTo>
                <a:lnTo>
                  <a:pt x="20593" y="9331"/>
                </a:lnTo>
                <a:cubicBezTo>
                  <a:pt x="20478" y="11173"/>
                  <a:pt x="19721" y="12834"/>
                  <a:pt x="18551" y="14114"/>
                </a:cubicBezTo>
                <a:cubicBezTo>
                  <a:pt x="18470" y="14700"/>
                  <a:pt x="18342" y="15272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13731" y="12269"/>
                </a:moveTo>
                <a:cubicBezTo>
                  <a:pt x="13687" y="10842"/>
                  <a:pt x="13456" y="9504"/>
                  <a:pt x="13081" y="8335"/>
                </a:cubicBezTo>
                <a:cubicBezTo>
                  <a:pt x="13616" y="8057"/>
                  <a:pt x="14091" y="7725"/>
                  <a:pt x="14507" y="7354"/>
                </a:cubicBezTo>
                <a:cubicBezTo>
                  <a:pt x="15746" y="8649"/>
                  <a:pt x="16547" y="10365"/>
                  <a:pt x="16666" y="12269"/>
                </a:cubicBezTo>
                <a:cubicBezTo>
                  <a:pt x="16666" y="12269"/>
                  <a:pt x="13731" y="12269"/>
                  <a:pt x="13731" y="12269"/>
                </a:cubicBezTo>
                <a:close/>
                <a:moveTo>
                  <a:pt x="14507" y="18173"/>
                </a:moveTo>
                <a:cubicBezTo>
                  <a:pt x="14091" y="17803"/>
                  <a:pt x="13616" y="17470"/>
                  <a:pt x="13081" y="17192"/>
                </a:cubicBezTo>
                <a:cubicBezTo>
                  <a:pt x="13456" y="16024"/>
                  <a:pt x="13687" y="14686"/>
                  <a:pt x="13731" y="13258"/>
                </a:cubicBezTo>
                <a:lnTo>
                  <a:pt x="16666" y="13258"/>
                </a:lnTo>
                <a:cubicBezTo>
                  <a:pt x="16547" y="15163"/>
                  <a:pt x="15746" y="16878"/>
                  <a:pt x="14507" y="18173"/>
                </a:cubicBezTo>
                <a:moveTo>
                  <a:pt x="11558" y="20118"/>
                </a:moveTo>
                <a:cubicBezTo>
                  <a:pt x="12012" y="19574"/>
                  <a:pt x="12409" y="18893"/>
                  <a:pt x="12738" y="18114"/>
                </a:cubicBezTo>
                <a:cubicBezTo>
                  <a:pt x="13129" y="18325"/>
                  <a:pt x="13485" y="18564"/>
                  <a:pt x="13796" y="18831"/>
                </a:cubicBezTo>
                <a:cubicBezTo>
                  <a:pt x="13131" y="19374"/>
                  <a:pt x="12378" y="19814"/>
                  <a:pt x="11558" y="20118"/>
                </a:cubicBezTo>
                <a:moveTo>
                  <a:pt x="9331" y="20544"/>
                </a:moveTo>
                <a:lnTo>
                  <a:pt x="9331" y="17204"/>
                </a:lnTo>
                <a:cubicBezTo>
                  <a:pt x="10246" y="17253"/>
                  <a:pt x="11108" y="17428"/>
                  <a:pt x="11874" y="17717"/>
                </a:cubicBezTo>
                <a:cubicBezTo>
                  <a:pt x="11254" y="19237"/>
                  <a:pt x="10355" y="20286"/>
                  <a:pt x="9331" y="20544"/>
                </a:cubicBezTo>
                <a:moveTo>
                  <a:pt x="9331" y="13258"/>
                </a:moveTo>
                <a:lnTo>
                  <a:pt x="12749" y="13258"/>
                </a:lnTo>
                <a:cubicBezTo>
                  <a:pt x="12709" y="14550"/>
                  <a:pt x="12510" y="15752"/>
                  <a:pt x="12195" y="16799"/>
                </a:cubicBezTo>
                <a:cubicBezTo>
                  <a:pt x="11327" y="16471"/>
                  <a:pt x="10357" y="16273"/>
                  <a:pt x="9331" y="16223"/>
                </a:cubicBezTo>
                <a:cubicBezTo>
                  <a:pt x="9331" y="16223"/>
                  <a:pt x="9331" y="13258"/>
                  <a:pt x="9331" y="13258"/>
                </a:cubicBezTo>
                <a:close/>
                <a:moveTo>
                  <a:pt x="9331" y="9305"/>
                </a:moveTo>
                <a:cubicBezTo>
                  <a:pt x="10357" y="9254"/>
                  <a:pt x="11327" y="9056"/>
                  <a:pt x="12195" y="8728"/>
                </a:cubicBezTo>
                <a:cubicBezTo>
                  <a:pt x="12510" y="9775"/>
                  <a:pt x="12709" y="10977"/>
                  <a:pt x="12749" y="12269"/>
                </a:cubicBezTo>
                <a:lnTo>
                  <a:pt x="9331" y="12269"/>
                </a:lnTo>
                <a:cubicBezTo>
                  <a:pt x="9331" y="12269"/>
                  <a:pt x="9331" y="9305"/>
                  <a:pt x="9331" y="9305"/>
                </a:cubicBezTo>
                <a:close/>
                <a:moveTo>
                  <a:pt x="9331" y="4983"/>
                </a:moveTo>
                <a:cubicBezTo>
                  <a:pt x="10355" y="5242"/>
                  <a:pt x="11254" y="6290"/>
                  <a:pt x="11874" y="7810"/>
                </a:cubicBezTo>
                <a:cubicBezTo>
                  <a:pt x="11108" y="8099"/>
                  <a:pt x="10246" y="8275"/>
                  <a:pt x="9331" y="8323"/>
                </a:cubicBezTo>
                <a:cubicBezTo>
                  <a:pt x="9331" y="8323"/>
                  <a:pt x="9331" y="4983"/>
                  <a:pt x="9331" y="4983"/>
                </a:cubicBezTo>
                <a:close/>
                <a:moveTo>
                  <a:pt x="13796" y="6696"/>
                </a:moveTo>
                <a:cubicBezTo>
                  <a:pt x="13485" y="6963"/>
                  <a:pt x="13129" y="7203"/>
                  <a:pt x="12738" y="7413"/>
                </a:cubicBezTo>
                <a:cubicBezTo>
                  <a:pt x="12409" y="6634"/>
                  <a:pt x="12012" y="5954"/>
                  <a:pt x="11557" y="5410"/>
                </a:cubicBezTo>
                <a:cubicBezTo>
                  <a:pt x="12378" y="5714"/>
                  <a:pt x="13131" y="6153"/>
                  <a:pt x="13796" y="6696"/>
                </a:cubicBezTo>
                <a:moveTo>
                  <a:pt x="8342" y="8323"/>
                </a:moveTo>
                <a:cubicBezTo>
                  <a:pt x="7427" y="8275"/>
                  <a:pt x="6564" y="8099"/>
                  <a:pt x="5799" y="7810"/>
                </a:cubicBezTo>
                <a:cubicBezTo>
                  <a:pt x="6419" y="6290"/>
                  <a:pt x="7318" y="5242"/>
                  <a:pt x="8342" y="4983"/>
                </a:cubicBezTo>
                <a:cubicBezTo>
                  <a:pt x="8342" y="4983"/>
                  <a:pt x="8342" y="8323"/>
                  <a:pt x="8342" y="8323"/>
                </a:cubicBezTo>
                <a:close/>
                <a:moveTo>
                  <a:pt x="8342" y="12269"/>
                </a:moveTo>
                <a:lnTo>
                  <a:pt x="4923" y="12269"/>
                </a:lnTo>
                <a:cubicBezTo>
                  <a:pt x="4964" y="10977"/>
                  <a:pt x="5163" y="9775"/>
                  <a:pt x="5478" y="8728"/>
                </a:cubicBezTo>
                <a:cubicBezTo>
                  <a:pt x="6346" y="9056"/>
                  <a:pt x="7316" y="9254"/>
                  <a:pt x="8342" y="9305"/>
                </a:cubicBezTo>
                <a:cubicBezTo>
                  <a:pt x="8342" y="9305"/>
                  <a:pt x="8342" y="12269"/>
                  <a:pt x="8342" y="12269"/>
                </a:cubicBezTo>
                <a:close/>
                <a:moveTo>
                  <a:pt x="8342" y="16223"/>
                </a:moveTo>
                <a:cubicBezTo>
                  <a:pt x="7316" y="16273"/>
                  <a:pt x="6346" y="16471"/>
                  <a:pt x="5478" y="16799"/>
                </a:cubicBezTo>
                <a:cubicBezTo>
                  <a:pt x="5163" y="15752"/>
                  <a:pt x="4964" y="14550"/>
                  <a:pt x="4923" y="13258"/>
                </a:cubicBezTo>
                <a:lnTo>
                  <a:pt x="8342" y="13258"/>
                </a:lnTo>
                <a:cubicBezTo>
                  <a:pt x="8342" y="13258"/>
                  <a:pt x="8342" y="16223"/>
                  <a:pt x="8342" y="16223"/>
                </a:cubicBezTo>
                <a:close/>
                <a:moveTo>
                  <a:pt x="8342" y="20544"/>
                </a:moveTo>
                <a:cubicBezTo>
                  <a:pt x="7318" y="20286"/>
                  <a:pt x="6419" y="19237"/>
                  <a:pt x="5799" y="17717"/>
                </a:cubicBezTo>
                <a:cubicBezTo>
                  <a:pt x="6564" y="17428"/>
                  <a:pt x="7427" y="17253"/>
                  <a:pt x="8342" y="17204"/>
                </a:cubicBezTo>
                <a:cubicBezTo>
                  <a:pt x="8342" y="17204"/>
                  <a:pt x="8342" y="20544"/>
                  <a:pt x="8342" y="20544"/>
                </a:cubicBezTo>
                <a:close/>
                <a:moveTo>
                  <a:pt x="3877" y="18831"/>
                </a:moveTo>
                <a:cubicBezTo>
                  <a:pt x="4188" y="18564"/>
                  <a:pt x="4544" y="18325"/>
                  <a:pt x="4935" y="18114"/>
                </a:cubicBezTo>
                <a:cubicBezTo>
                  <a:pt x="5264" y="18893"/>
                  <a:pt x="5661" y="19574"/>
                  <a:pt x="6115" y="20118"/>
                </a:cubicBezTo>
                <a:cubicBezTo>
                  <a:pt x="5295" y="19814"/>
                  <a:pt x="4541" y="19374"/>
                  <a:pt x="3877" y="18831"/>
                </a:cubicBezTo>
                <a:moveTo>
                  <a:pt x="1007" y="13258"/>
                </a:moveTo>
                <a:lnTo>
                  <a:pt x="3942" y="13258"/>
                </a:lnTo>
                <a:cubicBezTo>
                  <a:pt x="3986" y="14686"/>
                  <a:pt x="4217" y="16024"/>
                  <a:pt x="4591" y="17192"/>
                </a:cubicBezTo>
                <a:cubicBezTo>
                  <a:pt x="4057" y="17470"/>
                  <a:pt x="3582" y="17803"/>
                  <a:pt x="3166" y="18173"/>
                </a:cubicBezTo>
                <a:cubicBezTo>
                  <a:pt x="1927" y="16878"/>
                  <a:pt x="1126" y="15163"/>
                  <a:pt x="1007" y="13258"/>
                </a:cubicBezTo>
                <a:moveTo>
                  <a:pt x="3166" y="7354"/>
                </a:moveTo>
                <a:cubicBezTo>
                  <a:pt x="3582" y="7725"/>
                  <a:pt x="4057" y="8057"/>
                  <a:pt x="4591" y="8335"/>
                </a:cubicBezTo>
                <a:cubicBezTo>
                  <a:pt x="4217" y="9504"/>
                  <a:pt x="3986" y="10842"/>
                  <a:pt x="3942" y="12269"/>
                </a:cubicBezTo>
                <a:lnTo>
                  <a:pt x="1007" y="12269"/>
                </a:lnTo>
                <a:cubicBezTo>
                  <a:pt x="1126" y="10365"/>
                  <a:pt x="1927" y="8649"/>
                  <a:pt x="3166" y="7354"/>
                </a:cubicBezTo>
                <a:moveTo>
                  <a:pt x="6115" y="5410"/>
                </a:moveTo>
                <a:cubicBezTo>
                  <a:pt x="5661" y="5954"/>
                  <a:pt x="5264" y="6634"/>
                  <a:pt x="4935" y="7413"/>
                </a:cubicBezTo>
                <a:cubicBezTo>
                  <a:pt x="4544" y="7203"/>
                  <a:pt x="4188" y="6963"/>
                  <a:pt x="3877" y="6696"/>
                </a:cubicBezTo>
                <a:cubicBezTo>
                  <a:pt x="4542" y="6153"/>
                  <a:pt x="5295" y="5714"/>
                  <a:pt x="6115" y="5410"/>
                </a:cubicBezTo>
                <a:moveTo>
                  <a:pt x="8836" y="3927"/>
                </a:moveTo>
                <a:cubicBezTo>
                  <a:pt x="3956" y="3927"/>
                  <a:pt x="0" y="7883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3"/>
                  <a:pt x="13717" y="3927"/>
                  <a:pt x="8836" y="3927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46" name="Shape 2946"/>
          <p:cNvSpPr/>
          <p:nvPr/>
        </p:nvSpPr>
        <p:spPr>
          <a:xfrm>
            <a:off x="7318082" y="3289337"/>
            <a:ext cx="279328" cy="2793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595" y="9980"/>
                </a:moveTo>
                <a:cubicBezTo>
                  <a:pt x="19587" y="9894"/>
                  <a:pt x="19575" y="9811"/>
                  <a:pt x="19565" y="9726"/>
                </a:cubicBezTo>
                <a:cubicBezTo>
                  <a:pt x="19542" y="9539"/>
                  <a:pt x="19514" y="9355"/>
                  <a:pt x="19480" y="9172"/>
                </a:cubicBezTo>
                <a:cubicBezTo>
                  <a:pt x="19463" y="9078"/>
                  <a:pt x="19444" y="8986"/>
                  <a:pt x="19424" y="8893"/>
                </a:cubicBezTo>
                <a:cubicBezTo>
                  <a:pt x="19384" y="8712"/>
                  <a:pt x="19337" y="8533"/>
                  <a:pt x="19286" y="8356"/>
                </a:cubicBezTo>
                <a:cubicBezTo>
                  <a:pt x="19263" y="8276"/>
                  <a:pt x="19244" y="8195"/>
                  <a:pt x="19218" y="8116"/>
                </a:cubicBezTo>
                <a:cubicBezTo>
                  <a:pt x="19143" y="7879"/>
                  <a:pt x="19057" y="7646"/>
                  <a:pt x="18963" y="7418"/>
                </a:cubicBezTo>
                <a:cubicBezTo>
                  <a:pt x="18923" y="7321"/>
                  <a:pt x="18876" y="7229"/>
                  <a:pt x="18833" y="7134"/>
                </a:cubicBezTo>
                <a:cubicBezTo>
                  <a:pt x="18771" y="6999"/>
                  <a:pt x="18708" y="6865"/>
                  <a:pt x="18640" y="6734"/>
                </a:cubicBezTo>
                <a:cubicBezTo>
                  <a:pt x="18580" y="6618"/>
                  <a:pt x="18516" y="6504"/>
                  <a:pt x="18450" y="6391"/>
                </a:cubicBezTo>
                <a:cubicBezTo>
                  <a:pt x="18392" y="6291"/>
                  <a:pt x="18331" y="6192"/>
                  <a:pt x="18269" y="6094"/>
                </a:cubicBezTo>
                <a:cubicBezTo>
                  <a:pt x="18192" y="5971"/>
                  <a:pt x="18114" y="5849"/>
                  <a:pt x="18031" y="5731"/>
                </a:cubicBezTo>
                <a:cubicBezTo>
                  <a:pt x="17986" y="5667"/>
                  <a:pt x="17936" y="5605"/>
                  <a:pt x="17889" y="5541"/>
                </a:cubicBezTo>
                <a:cubicBezTo>
                  <a:pt x="17544" y="5080"/>
                  <a:pt x="17159" y="4651"/>
                  <a:pt x="16732" y="4265"/>
                </a:cubicBezTo>
                <a:cubicBezTo>
                  <a:pt x="16705" y="4241"/>
                  <a:pt x="16679" y="4216"/>
                  <a:pt x="16652" y="4192"/>
                </a:cubicBezTo>
                <a:cubicBezTo>
                  <a:pt x="16499" y="4058"/>
                  <a:pt x="16343" y="3927"/>
                  <a:pt x="16181" y="3803"/>
                </a:cubicBezTo>
                <a:cubicBezTo>
                  <a:pt x="16173" y="3796"/>
                  <a:pt x="16165" y="3790"/>
                  <a:pt x="16156" y="3784"/>
                </a:cubicBezTo>
                <a:cubicBezTo>
                  <a:pt x="15459" y="3252"/>
                  <a:pt x="14680" y="2821"/>
                  <a:pt x="13842" y="2513"/>
                </a:cubicBezTo>
                <a:cubicBezTo>
                  <a:pt x="13592" y="2912"/>
                  <a:pt x="13337" y="3420"/>
                  <a:pt x="13040" y="3590"/>
                </a:cubicBezTo>
                <a:cubicBezTo>
                  <a:pt x="12610" y="3835"/>
                  <a:pt x="12641" y="4817"/>
                  <a:pt x="13469" y="4725"/>
                </a:cubicBezTo>
                <a:cubicBezTo>
                  <a:pt x="13469" y="4725"/>
                  <a:pt x="13224" y="4970"/>
                  <a:pt x="13469" y="5860"/>
                </a:cubicBezTo>
                <a:cubicBezTo>
                  <a:pt x="13715" y="6750"/>
                  <a:pt x="14126" y="6943"/>
                  <a:pt x="15341" y="6443"/>
                </a:cubicBezTo>
                <a:cubicBezTo>
                  <a:pt x="15862" y="6228"/>
                  <a:pt x="16258" y="6340"/>
                  <a:pt x="16200" y="6873"/>
                </a:cubicBezTo>
                <a:cubicBezTo>
                  <a:pt x="16077" y="8008"/>
                  <a:pt x="15202" y="7960"/>
                  <a:pt x="15862" y="9788"/>
                </a:cubicBezTo>
                <a:cubicBezTo>
                  <a:pt x="16261" y="10892"/>
                  <a:pt x="17243" y="11322"/>
                  <a:pt x="17611" y="12181"/>
                </a:cubicBezTo>
                <a:cubicBezTo>
                  <a:pt x="17814" y="12653"/>
                  <a:pt x="18591" y="13088"/>
                  <a:pt x="19250" y="13384"/>
                </a:cubicBezTo>
                <a:cubicBezTo>
                  <a:pt x="19321" y="13153"/>
                  <a:pt x="19380" y="12917"/>
                  <a:pt x="19432" y="12677"/>
                </a:cubicBezTo>
                <a:cubicBezTo>
                  <a:pt x="19452" y="12587"/>
                  <a:pt x="19467" y="12494"/>
                  <a:pt x="19484" y="12402"/>
                </a:cubicBezTo>
                <a:cubicBezTo>
                  <a:pt x="19517" y="12224"/>
                  <a:pt x="19545" y="12044"/>
                  <a:pt x="19566" y="11862"/>
                </a:cubicBezTo>
                <a:cubicBezTo>
                  <a:pt x="19576" y="11776"/>
                  <a:pt x="19588" y="11691"/>
                  <a:pt x="19596" y="11604"/>
                </a:cubicBezTo>
                <a:cubicBezTo>
                  <a:pt x="19620" y="11340"/>
                  <a:pt x="19636" y="11072"/>
                  <a:pt x="19636" y="10800"/>
                </a:cubicBezTo>
                <a:cubicBezTo>
                  <a:pt x="19636" y="10523"/>
                  <a:pt x="19620" y="10250"/>
                  <a:pt x="19595" y="998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6223"/>
                  <a:pt x="1622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8407" y="9726"/>
                </a:moveTo>
                <a:cubicBezTo>
                  <a:pt x="8468" y="9020"/>
                  <a:pt x="9603" y="8284"/>
                  <a:pt x="10370" y="7947"/>
                </a:cubicBezTo>
                <a:cubicBezTo>
                  <a:pt x="11137" y="7609"/>
                  <a:pt x="11843" y="7486"/>
                  <a:pt x="11751" y="6903"/>
                </a:cubicBezTo>
                <a:cubicBezTo>
                  <a:pt x="11659" y="6320"/>
                  <a:pt x="11444" y="5891"/>
                  <a:pt x="10248" y="5891"/>
                </a:cubicBezTo>
                <a:cubicBezTo>
                  <a:pt x="9051" y="5891"/>
                  <a:pt x="9573" y="7486"/>
                  <a:pt x="8591" y="6535"/>
                </a:cubicBezTo>
                <a:cubicBezTo>
                  <a:pt x="7609" y="5584"/>
                  <a:pt x="8805" y="5830"/>
                  <a:pt x="9296" y="5615"/>
                </a:cubicBezTo>
                <a:cubicBezTo>
                  <a:pt x="9787" y="5400"/>
                  <a:pt x="10278" y="4510"/>
                  <a:pt x="9419" y="4449"/>
                </a:cubicBezTo>
                <a:cubicBezTo>
                  <a:pt x="8560" y="4388"/>
                  <a:pt x="8744" y="4817"/>
                  <a:pt x="8069" y="4572"/>
                </a:cubicBezTo>
                <a:cubicBezTo>
                  <a:pt x="7394" y="4326"/>
                  <a:pt x="7087" y="5431"/>
                  <a:pt x="6658" y="5277"/>
                </a:cubicBezTo>
                <a:cubicBezTo>
                  <a:pt x="6373" y="5176"/>
                  <a:pt x="5613" y="4605"/>
                  <a:pt x="5110" y="4044"/>
                </a:cubicBezTo>
                <a:cubicBezTo>
                  <a:pt x="4094" y="4900"/>
                  <a:pt x="3277" y="5982"/>
                  <a:pt x="2729" y="7212"/>
                </a:cubicBezTo>
                <a:cubicBezTo>
                  <a:pt x="2875" y="8862"/>
                  <a:pt x="3774" y="9726"/>
                  <a:pt x="3774" y="9726"/>
                </a:cubicBezTo>
                <a:cubicBezTo>
                  <a:pt x="3774" y="9726"/>
                  <a:pt x="4234" y="10800"/>
                  <a:pt x="6995" y="12119"/>
                </a:cubicBezTo>
                <a:cubicBezTo>
                  <a:pt x="6995" y="12119"/>
                  <a:pt x="7517" y="12150"/>
                  <a:pt x="6903" y="11536"/>
                </a:cubicBezTo>
                <a:cubicBezTo>
                  <a:pt x="6290" y="10923"/>
                  <a:pt x="5615" y="10156"/>
                  <a:pt x="6382" y="9757"/>
                </a:cubicBezTo>
                <a:cubicBezTo>
                  <a:pt x="7149" y="9358"/>
                  <a:pt x="7364" y="9389"/>
                  <a:pt x="7548" y="10125"/>
                </a:cubicBezTo>
                <a:cubicBezTo>
                  <a:pt x="7732" y="10861"/>
                  <a:pt x="8345" y="10432"/>
                  <a:pt x="8407" y="9726"/>
                </a:cubicBezTo>
                <a:moveTo>
                  <a:pt x="16246" y="12871"/>
                </a:moveTo>
                <a:cubicBezTo>
                  <a:pt x="15893" y="13086"/>
                  <a:pt x="15908" y="13561"/>
                  <a:pt x="16200" y="13822"/>
                </a:cubicBezTo>
                <a:cubicBezTo>
                  <a:pt x="16491" y="14083"/>
                  <a:pt x="17074" y="14420"/>
                  <a:pt x="17258" y="13822"/>
                </a:cubicBezTo>
                <a:cubicBezTo>
                  <a:pt x="17442" y="13224"/>
                  <a:pt x="16599" y="12656"/>
                  <a:pt x="16246" y="12871"/>
                </a:cubicBezTo>
                <a:moveTo>
                  <a:pt x="12027" y="12948"/>
                </a:moveTo>
                <a:cubicBezTo>
                  <a:pt x="10984" y="12058"/>
                  <a:pt x="11107" y="11659"/>
                  <a:pt x="9787" y="11659"/>
                </a:cubicBezTo>
                <a:cubicBezTo>
                  <a:pt x="8468" y="11659"/>
                  <a:pt x="7640" y="11966"/>
                  <a:pt x="7977" y="13807"/>
                </a:cubicBezTo>
                <a:cubicBezTo>
                  <a:pt x="8315" y="15648"/>
                  <a:pt x="9296" y="14819"/>
                  <a:pt x="9205" y="16231"/>
                </a:cubicBezTo>
                <a:cubicBezTo>
                  <a:pt x="9112" y="17642"/>
                  <a:pt x="9450" y="17949"/>
                  <a:pt x="9665" y="18286"/>
                </a:cubicBezTo>
                <a:cubicBezTo>
                  <a:pt x="9880" y="18624"/>
                  <a:pt x="10524" y="19606"/>
                  <a:pt x="10769" y="18225"/>
                </a:cubicBezTo>
                <a:cubicBezTo>
                  <a:pt x="11015" y="16844"/>
                  <a:pt x="11475" y="16077"/>
                  <a:pt x="11996" y="15402"/>
                </a:cubicBezTo>
                <a:cubicBezTo>
                  <a:pt x="12518" y="14727"/>
                  <a:pt x="13070" y="13837"/>
                  <a:pt x="12027" y="12948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47" name="Shape 2947"/>
          <p:cNvSpPr/>
          <p:nvPr/>
        </p:nvSpPr>
        <p:spPr>
          <a:xfrm>
            <a:off x="7851343" y="3289337"/>
            <a:ext cx="279328" cy="2793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367" y="17673"/>
                </a:moveTo>
                <a:lnTo>
                  <a:pt x="20127" y="17673"/>
                </a:lnTo>
                <a:cubicBezTo>
                  <a:pt x="20398" y="17673"/>
                  <a:pt x="20618" y="17453"/>
                  <a:pt x="20618" y="17182"/>
                </a:cubicBezTo>
                <a:cubicBezTo>
                  <a:pt x="20618" y="16910"/>
                  <a:pt x="20398" y="16691"/>
                  <a:pt x="20127" y="16691"/>
                </a:cubicBezTo>
                <a:lnTo>
                  <a:pt x="17182" y="16691"/>
                </a:lnTo>
                <a:cubicBezTo>
                  <a:pt x="16911" y="16691"/>
                  <a:pt x="16691" y="16910"/>
                  <a:pt x="16691" y="17182"/>
                </a:cubicBezTo>
                <a:lnTo>
                  <a:pt x="16691" y="20127"/>
                </a:lnTo>
                <a:cubicBezTo>
                  <a:pt x="16691" y="20399"/>
                  <a:pt x="16911" y="20618"/>
                  <a:pt x="17182" y="20618"/>
                </a:cubicBezTo>
                <a:cubicBezTo>
                  <a:pt x="17453" y="20618"/>
                  <a:pt x="17673" y="20399"/>
                  <a:pt x="17673" y="20127"/>
                </a:cubicBezTo>
                <a:lnTo>
                  <a:pt x="17673" y="18367"/>
                </a:lnTo>
                <a:lnTo>
                  <a:pt x="20762" y="21456"/>
                </a:lnTo>
                <a:cubicBezTo>
                  <a:pt x="20851" y="21545"/>
                  <a:pt x="20974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8367" y="17673"/>
                  <a:pt x="18367" y="17673"/>
                </a:cubicBezTo>
                <a:close/>
                <a:moveTo>
                  <a:pt x="4418" y="16691"/>
                </a:moveTo>
                <a:lnTo>
                  <a:pt x="1473" y="16691"/>
                </a:lnTo>
                <a:cubicBezTo>
                  <a:pt x="1202" y="16691"/>
                  <a:pt x="982" y="16910"/>
                  <a:pt x="982" y="17182"/>
                </a:cubicBezTo>
                <a:cubicBezTo>
                  <a:pt x="982" y="17453"/>
                  <a:pt x="1202" y="17673"/>
                  <a:pt x="1473" y="17673"/>
                </a:cubicBezTo>
                <a:lnTo>
                  <a:pt x="3233" y="17673"/>
                </a:lnTo>
                <a:lnTo>
                  <a:pt x="144" y="20762"/>
                </a:lnTo>
                <a:cubicBezTo>
                  <a:pt x="55" y="20851"/>
                  <a:pt x="0" y="20974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cubicBezTo>
                  <a:pt x="626" y="21600"/>
                  <a:pt x="749" y="21545"/>
                  <a:pt x="838" y="21456"/>
                </a:cubicBezTo>
                <a:lnTo>
                  <a:pt x="3927" y="18367"/>
                </a:lnTo>
                <a:lnTo>
                  <a:pt x="3927" y="20127"/>
                </a:lnTo>
                <a:cubicBezTo>
                  <a:pt x="3927" y="20399"/>
                  <a:pt x="4147" y="20618"/>
                  <a:pt x="4418" y="20618"/>
                </a:cubicBezTo>
                <a:cubicBezTo>
                  <a:pt x="4689" y="20618"/>
                  <a:pt x="4909" y="20399"/>
                  <a:pt x="4909" y="20127"/>
                </a:cubicBezTo>
                <a:lnTo>
                  <a:pt x="4909" y="17182"/>
                </a:lnTo>
                <a:cubicBezTo>
                  <a:pt x="4909" y="16910"/>
                  <a:pt x="4689" y="16691"/>
                  <a:pt x="4418" y="16691"/>
                </a:cubicBezTo>
                <a:moveTo>
                  <a:pt x="14578" y="13923"/>
                </a:moveTo>
                <a:cubicBezTo>
                  <a:pt x="14366" y="13756"/>
                  <a:pt x="14123" y="13606"/>
                  <a:pt x="13863" y="13470"/>
                </a:cubicBezTo>
                <a:cubicBezTo>
                  <a:pt x="14060" y="12810"/>
                  <a:pt x="14189" y="12080"/>
                  <a:pt x="14228" y="11304"/>
                </a:cubicBezTo>
                <a:lnTo>
                  <a:pt x="15676" y="11304"/>
                </a:lnTo>
                <a:cubicBezTo>
                  <a:pt x="15574" y="12295"/>
                  <a:pt x="15177" y="13195"/>
                  <a:pt x="14578" y="13923"/>
                </a:cubicBezTo>
                <a:moveTo>
                  <a:pt x="13136" y="15120"/>
                </a:moveTo>
                <a:cubicBezTo>
                  <a:pt x="13280" y="14892"/>
                  <a:pt x="13410" y="14641"/>
                  <a:pt x="13529" y="14374"/>
                </a:cubicBezTo>
                <a:cubicBezTo>
                  <a:pt x="13660" y="14445"/>
                  <a:pt x="13781" y="14521"/>
                  <a:pt x="13893" y="14602"/>
                </a:cubicBezTo>
                <a:cubicBezTo>
                  <a:pt x="13656" y="14795"/>
                  <a:pt x="13407" y="14973"/>
                  <a:pt x="13136" y="15120"/>
                </a:cubicBezTo>
                <a:moveTo>
                  <a:pt x="11304" y="12785"/>
                </a:moveTo>
                <a:lnTo>
                  <a:pt x="11304" y="11304"/>
                </a:lnTo>
                <a:lnTo>
                  <a:pt x="13226" y="11304"/>
                </a:lnTo>
                <a:cubicBezTo>
                  <a:pt x="13193" y="11948"/>
                  <a:pt x="13093" y="12547"/>
                  <a:pt x="12949" y="13093"/>
                </a:cubicBezTo>
                <a:cubicBezTo>
                  <a:pt x="12443" y="12931"/>
                  <a:pt x="11890" y="12824"/>
                  <a:pt x="11304" y="12785"/>
                </a:cubicBezTo>
                <a:moveTo>
                  <a:pt x="11304" y="15605"/>
                </a:moveTo>
                <a:lnTo>
                  <a:pt x="11304" y="13766"/>
                </a:lnTo>
                <a:cubicBezTo>
                  <a:pt x="11784" y="13800"/>
                  <a:pt x="12233" y="13886"/>
                  <a:pt x="12642" y="14009"/>
                </a:cubicBezTo>
                <a:cubicBezTo>
                  <a:pt x="12301" y="14805"/>
                  <a:pt x="11837" y="15382"/>
                  <a:pt x="11304" y="15605"/>
                </a:cubicBezTo>
                <a:moveTo>
                  <a:pt x="11304" y="8815"/>
                </a:moveTo>
                <a:cubicBezTo>
                  <a:pt x="11890" y="8776"/>
                  <a:pt x="12443" y="8669"/>
                  <a:pt x="12949" y="8507"/>
                </a:cubicBezTo>
                <a:cubicBezTo>
                  <a:pt x="13093" y="9053"/>
                  <a:pt x="13193" y="9652"/>
                  <a:pt x="13226" y="10297"/>
                </a:cubicBezTo>
                <a:lnTo>
                  <a:pt x="11304" y="10297"/>
                </a:lnTo>
                <a:cubicBezTo>
                  <a:pt x="11304" y="10297"/>
                  <a:pt x="11304" y="8815"/>
                  <a:pt x="11304" y="8815"/>
                </a:cubicBezTo>
                <a:close/>
                <a:moveTo>
                  <a:pt x="11304" y="5995"/>
                </a:moveTo>
                <a:cubicBezTo>
                  <a:pt x="11837" y="6218"/>
                  <a:pt x="12301" y="6795"/>
                  <a:pt x="12642" y="7591"/>
                </a:cubicBezTo>
                <a:cubicBezTo>
                  <a:pt x="12233" y="7714"/>
                  <a:pt x="11784" y="7800"/>
                  <a:pt x="11304" y="7835"/>
                </a:cubicBezTo>
                <a:cubicBezTo>
                  <a:pt x="11304" y="7835"/>
                  <a:pt x="11304" y="5995"/>
                  <a:pt x="11304" y="5995"/>
                </a:cubicBezTo>
                <a:close/>
                <a:moveTo>
                  <a:pt x="13893" y="6998"/>
                </a:moveTo>
                <a:cubicBezTo>
                  <a:pt x="13781" y="7079"/>
                  <a:pt x="13660" y="7155"/>
                  <a:pt x="13529" y="7227"/>
                </a:cubicBezTo>
                <a:cubicBezTo>
                  <a:pt x="13410" y="6960"/>
                  <a:pt x="13280" y="6708"/>
                  <a:pt x="13136" y="6480"/>
                </a:cubicBezTo>
                <a:cubicBezTo>
                  <a:pt x="13407" y="6627"/>
                  <a:pt x="13656" y="6805"/>
                  <a:pt x="13893" y="6998"/>
                </a:cubicBezTo>
                <a:moveTo>
                  <a:pt x="15676" y="10297"/>
                </a:moveTo>
                <a:lnTo>
                  <a:pt x="14228" y="10297"/>
                </a:lnTo>
                <a:cubicBezTo>
                  <a:pt x="14189" y="9520"/>
                  <a:pt x="14060" y="8790"/>
                  <a:pt x="13863" y="8130"/>
                </a:cubicBezTo>
                <a:cubicBezTo>
                  <a:pt x="14123" y="7994"/>
                  <a:pt x="14366" y="7844"/>
                  <a:pt x="14578" y="7677"/>
                </a:cubicBezTo>
                <a:cubicBezTo>
                  <a:pt x="15177" y="8405"/>
                  <a:pt x="15574" y="9305"/>
                  <a:pt x="15676" y="10297"/>
                </a:cubicBezTo>
                <a:moveTo>
                  <a:pt x="10296" y="7835"/>
                </a:moveTo>
                <a:cubicBezTo>
                  <a:pt x="9816" y="7800"/>
                  <a:pt x="9367" y="7714"/>
                  <a:pt x="8958" y="7591"/>
                </a:cubicBezTo>
                <a:cubicBezTo>
                  <a:pt x="9299" y="6795"/>
                  <a:pt x="9764" y="6218"/>
                  <a:pt x="10296" y="5995"/>
                </a:cubicBezTo>
                <a:cubicBezTo>
                  <a:pt x="10296" y="5995"/>
                  <a:pt x="10296" y="7835"/>
                  <a:pt x="10296" y="7835"/>
                </a:cubicBezTo>
                <a:close/>
                <a:moveTo>
                  <a:pt x="10296" y="10297"/>
                </a:moveTo>
                <a:lnTo>
                  <a:pt x="8374" y="10297"/>
                </a:lnTo>
                <a:cubicBezTo>
                  <a:pt x="8407" y="9652"/>
                  <a:pt x="8507" y="9053"/>
                  <a:pt x="8651" y="8507"/>
                </a:cubicBezTo>
                <a:cubicBezTo>
                  <a:pt x="9158" y="8669"/>
                  <a:pt x="9710" y="8776"/>
                  <a:pt x="10296" y="8815"/>
                </a:cubicBezTo>
                <a:cubicBezTo>
                  <a:pt x="10296" y="8815"/>
                  <a:pt x="10296" y="10297"/>
                  <a:pt x="10296" y="10297"/>
                </a:cubicBezTo>
                <a:close/>
                <a:moveTo>
                  <a:pt x="10296" y="12785"/>
                </a:moveTo>
                <a:cubicBezTo>
                  <a:pt x="9710" y="12824"/>
                  <a:pt x="9158" y="12931"/>
                  <a:pt x="8651" y="13093"/>
                </a:cubicBezTo>
                <a:cubicBezTo>
                  <a:pt x="8507" y="12547"/>
                  <a:pt x="8407" y="11948"/>
                  <a:pt x="8374" y="11304"/>
                </a:cubicBezTo>
                <a:lnTo>
                  <a:pt x="10296" y="11304"/>
                </a:lnTo>
                <a:cubicBezTo>
                  <a:pt x="10296" y="11304"/>
                  <a:pt x="10296" y="12785"/>
                  <a:pt x="10296" y="12785"/>
                </a:cubicBezTo>
                <a:close/>
                <a:moveTo>
                  <a:pt x="10296" y="15605"/>
                </a:moveTo>
                <a:cubicBezTo>
                  <a:pt x="9764" y="15382"/>
                  <a:pt x="9299" y="14805"/>
                  <a:pt x="8958" y="14009"/>
                </a:cubicBezTo>
                <a:cubicBezTo>
                  <a:pt x="9367" y="13886"/>
                  <a:pt x="9816" y="13800"/>
                  <a:pt x="10296" y="13766"/>
                </a:cubicBezTo>
                <a:cubicBezTo>
                  <a:pt x="10296" y="13766"/>
                  <a:pt x="10296" y="15605"/>
                  <a:pt x="10296" y="15605"/>
                </a:cubicBezTo>
                <a:close/>
                <a:moveTo>
                  <a:pt x="7707" y="14602"/>
                </a:moveTo>
                <a:cubicBezTo>
                  <a:pt x="7819" y="14521"/>
                  <a:pt x="7941" y="14445"/>
                  <a:pt x="8071" y="14374"/>
                </a:cubicBezTo>
                <a:cubicBezTo>
                  <a:pt x="8190" y="14641"/>
                  <a:pt x="8321" y="14892"/>
                  <a:pt x="8464" y="15120"/>
                </a:cubicBezTo>
                <a:cubicBezTo>
                  <a:pt x="8193" y="14973"/>
                  <a:pt x="7944" y="14795"/>
                  <a:pt x="7707" y="14602"/>
                </a:cubicBezTo>
                <a:moveTo>
                  <a:pt x="5925" y="11304"/>
                </a:moveTo>
                <a:lnTo>
                  <a:pt x="7372" y="11304"/>
                </a:lnTo>
                <a:cubicBezTo>
                  <a:pt x="7411" y="12080"/>
                  <a:pt x="7540" y="12810"/>
                  <a:pt x="7737" y="13470"/>
                </a:cubicBezTo>
                <a:cubicBezTo>
                  <a:pt x="7477" y="13606"/>
                  <a:pt x="7235" y="13756"/>
                  <a:pt x="7022" y="13923"/>
                </a:cubicBezTo>
                <a:cubicBezTo>
                  <a:pt x="6423" y="13195"/>
                  <a:pt x="6026" y="12295"/>
                  <a:pt x="5925" y="11304"/>
                </a:cubicBezTo>
                <a:moveTo>
                  <a:pt x="7022" y="7677"/>
                </a:moveTo>
                <a:cubicBezTo>
                  <a:pt x="7235" y="7844"/>
                  <a:pt x="7477" y="7994"/>
                  <a:pt x="7737" y="8130"/>
                </a:cubicBezTo>
                <a:cubicBezTo>
                  <a:pt x="7540" y="8790"/>
                  <a:pt x="7411" y="9520"/>
                  <a:pt x="7372" y="10297"/>
                </a:cubicBezTo>
                <a:lnTo>
                  <a:pt x="5925" y="10297"/>
                </a:lnTo>
                <a:cubicBezTo>
                  <a:pt x="6026" y="9305"/>
                  <a:pt x="6423" y="8405"/>
                  <a:pt x="7022" y="7677"/>
                </a:cubicBezTo>
                <a:moveTo>
                  <a:pt x="8464" y="6480"/>
                </a:moveTo>
                <a:cubicBezTo>
                  <a:pt x="8321" y="6708"/>
                  <a:pt x="8190" y="6960"/>
                  <a:pt x="8071" y="7227"/>
                </a:cubicBezTo>
                <a:cubicBezTo>
                  <a:pt x="7941" y="7155"/>
                  <a:pt x="7819" y="7079"/>
                  <a:pt x="7707" y="6998"/>
                </a:cubicBezTo>
                <a:cubicBezTo>
                  <a:pt x="7944" y="6805"/>
                  <a:pt x="8193" y="6627"/>
                  <a:pt x="8464" y="6480"/>
                </a:cubicBezTo>
                <a:moveTo>
                  <a:pt x="10800" y="4909"/>
                </a:moveTo>
                <a:cubicBezTo>
                  <a:pt x="7546" y="4909"/>
                  <a:pt x="4909" y="7546"/>
                  <a:pt x="4909" y="10800"/>
                </a:cubicBezTo>
                <a:cubicBezTo>
                  <a:pt x="4909" y="14053"/>
                  <a:pt x="7546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6"/>
                  <a:pt x="14053" y="4909"/>
                  <a:pt x="10800" y="4909"/>
                </a:cubicBezTo>
                <a:moveTo>
                  <a:pt x="3233" y="3927"/>
                </a:moveTo>
                <a:lnTo>
                  <a:pt x="1473" y="3927"/>
                </a:lnTo>
                <a:cubicBezTo>
                  <a:pt x="1202" y="3927"/>
                  <a:pt x="982" y="4147"/>
                  <a:pt x="982" y="4418"/>
                </a:cubicBezTo>
                <a:cubicBezTo>
                  <a:pt x="982" y="4690"/>
                  <a:pt x="1202" y="4909"/>
                  <a:pt x="1473" y="4909"/>
                </a:cubicBezTo>
                <a:lnTo>
                  <a:pt x="4418" y="4909"/>
                </a:lnTo>
                <a:cubicBezTo>
                  <a:pt x="4689" y="4909"/>
                  <a:pt x="4909" y="4690"/>
                  <a:pt x="4909" y="4418"/>
                </a:cubicBezTo>
                <a:lnTo>
                  <a:pt x="4909" y="1473"/>
                </a:lnTo>
                <a:cubicBezTo>
                  <a:pt x="4909" y="1201"/>
                  <a:pt x="4689" y="982"/>
                  <a:pt x="4418" y="982"/>
                </a:cubicBezTo>
                <a:cubicBezTo>
                  <a:pt x="4147" y="982"/>
                  <a:pt x="3927" y="1201"/>
                  <a:pt x="3927" y="1473"/>
                </a:cubicBezTo>
                <a:lnTo>
                  <a:pt x="3927" y="3233"/>
                </a:lnTo>
                <a:lnTo>
                  <a:pt x="838" y="144"/>
                </a:lnTo>
                <a:cubicBezTo>
                  <a:pt x="749" y="55"/>
                  <a:pt x="626" y="0"/>
                  <a:pt x="491" y="0"/>
                </a:cubicBezTo>
                <a:cubicBezTo>
                  <a:pt x="220" y="0"/>
                  <a:pt x="0" y="220"/>
                  <a:pt x="0" y="491"/>
                </a:cubicBezTo>
                <a:cubicBezTo>
                  <a:pt x="0" y="627"/>
                  <a:pt x="55" y="749"/>
                  <a:pt x="144" y="838"/>
                </a:cubicBezTo>
                <a:cubicBezTo>
                  <a:pt x="144" y="838"/>
                  <a:pt x="3233" y="3927"/>
                  <a:pt x="3233" y="3927"/>
                </a:cubicBezTo>
                <a:close/>
                <a:moveTo>
                  <a:pt x="17182" y="4909"/>
                </a:moveTo>
                <a:lnTo>
                  <a:pt x="20127" y="4909"/>
                </a:lnTo>
                <a:cubicBezTo>
                  <a:pt x="20398" y="4909"/>
                  <a:pt x="20618" y="4690"/>
                  <a:pt x="20618" y="4418"/>
                </a:cubicBezTo>
                <a:cubicBezTo>
                  <a:pt x="20618" y="4147"/>
                  <a:pt x="20398" y="3927"/>
                  <a:pt x="20127" y="3927"/>
                </a:cubicBezTo>
                <a:lnTo>
                  <a:pt x="18367" y="3927"/>
                </a:lnTo>
                <a:lnTo>
                  <a:pt x="21456" y="838"/>
                </a:lnTo>
                <a:cubicBezTo>
                  <a:pt x="21545" y="749"/>
                  <a:pt x="21600" y="627"/>
                  <a:pt x="21600" y="491"/>
                </a:cubicBezTo>
                <a:cubicBezTo>
                  <a:pt x="21600" y="220"/>
                  <a:pt x="21380" y="0"/>
                  <a:pt x="21109" y="0"/>
                </a:cubicBezTo>
                <a:cubicBezTo>
                  <a:pt x="20974" y="0"/>
                  <a:pt x="20851" y="55"/>
                  <a:pt x="20762" y="144"/>
                </a:cubicBezTo>
                <a:lnTo>
                  <a:pt x="17673" y="3233"/>
                </a:lnTo>
                <a:lnTo>
                  <a:pt x="17673" y="1473"/>
                </a:lnTo>
                <a:cubicBezTo>
                  <a:pt x="17673" y="1201"/>
                  <a:pt x="17453" y="982"/>
                  <a:pt x="17182" y="982"/>
                </a:cubicBezTo>
                <a:cubicBezTo>
                  <a:pt x="16911" y="982"/>
                  <a:pt x="16691" y="1201"/>
                  <a:pt x="16691" y="1473"/>
                </a:cubicBezTo>
                <a:lnTo>
                  <a:pt x="16691" y="4418"/>
                </a:lnTo>
                <a:cubicBezTo>
                  <a:pt x="16691" y="4690"/>
                  <a:pt x="16911" y="4909"/>
                  <a:pt x="17182" y="4909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48" name="Shape 2948"/>
          <p:cNvSpPr/>
          <p:nvPr/>
        </p:nvSpPr>
        <p:spPr>
          <a:xfrm>
            <a:off x="8422694" y="3289337"/>
            <a:ext cx="203148" cy="2793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275" y="6273"/>
                </a:moveTo>
                <a:cubicBezTo>
                  <a:pt x="6275" y="6273"/>
                  <a:pt x="6661" y="6914"/>
                  <a:pt x="8976" y="7703"/>
                </a:cubicBezTo>
                <a:cubicBezTo>
                  <a:pt x="8976" y="7703"/>
                  <a:pt x="9413" y="7721"/>
                  <a:pt x="8899" y="7354"/>
                </a:cubicBezTo>
                <a:cubicBezTo>
                  <a:pt x="8384" y="6987"/>
                  <a:pt x="7819" y="6529"/>
                  <a:pt x="8462" y="6291"/>
                </a:cubicBezTo>
                <a:cubicBezTo>
                  <a:pt x="9104" y="6052"/>
                  <a:pt x="9285" y="6071"/>
                  <a:pt x="9439" y="6511"/>
                </a:cubicBezTo>
                <a:cubicBezTo>
                  <a:pt x="9594" y="6950"/>
                  <a:pt x="10108" y="6694"/>
                  <a:pt x="10159" y="6273"/>
                </a:cubicBezTo>
                <a:cubicBezTo>
                  <a:pt x="10211" y="5851"/>
                  <a:pt x="11163" y="5411"/>
                  <a:pt x="11806" y="5209"/>
                </a:cubicBezTo>
                <a:cubicBezTo>
                  <a:pt x="12449" y="5007"/>
                  <a:pt x="13040" y="4934"/>
                  <a:pt x="12963" y="4585"/>
                </a:cubicBezTo>
                <a:cubicBezTo>
                  <a:pt x="12886" y="4237"/>
                  <a:pt x="12706" y="3980"/>
                  <a:pt x="11703" y="3980"/>
                </a:cubicBezTo>
                <a:cubicBezTo>
                  <a:pt x="10699" y="3980"/>
                  <a:pt x="11137" y="4934"/>
                  <a:pt x="10314" y="4365"/>
                </a:cubicBezTo>
                <a:cubicBezTo>
                  <a:pt x="9491" y="3797"/>
                  <a:pt x="10493" y="3944"/>
                  <a:pt x="10905" y="3816"/>
                </a:cubicBezTo>
                <a:cubicBezTo>
                  <a:pt x="11317" y="3687"/>
                  <a:pt x="11729" y="3155"/>
                  <a:pt x="11009" y="3119"/>
                </a:cubicBezTo>
                <a:cubicBezTo>
                  <a:pt x="10287" y="3082"/>
                  <a:pt x="10442" y="3339"/>
                  <a:pt x="9876" y="3192"/>
                </a:cubicBezTo>
                <a:cubicBezTo>
                  <a:pt x="9310" y="3045"/>
                  <a:pt x="9053" y="3706"/>
                  <a:pt x="8693" y="3614"/>
                </a:cubicBezTo>
                <a:cubicBezTo>
                  <a:pt x="8519" y="3570"/>
                  <a:pt x="8131" y="3374"/>
                  <a:pt x="7770" y="3142"/>
                </a:cubicBezTo>
                <a:cubicBezTo>
                  <a:pt x="6767" y="3765"/>
                  <a:pt x="6022" y="4597"/>
                  <a:pt x="5656" y="5546"/>
                </a:cubicBezTo>
                <a:cubicBezTo>
                  <a:pt x="5919" y="6021"/>
                  <a:pt x="6275" y="6273"/>
                  <a:pt x="6275" y="6273"/>
                </a:cubicBezTo>
                <a:moveTo>
                  <a:pt x="20588" y="12027"/>
                </a:moveTo>
                <a:cubicBezTo>
                  <a:pt x="20407" y="12027"/>
                  <a:pt x="20245" y="12080"/>
                  <a:pt x="20124" y="12164"/>
                </a:cubicBezTo>
                <a:lnTo>
                  <a:pt x="20119" y="12161"/>
                </a:lnTo>
                <a:cubicBezTo>
                  <a:pt x="18145" y="13734"/>
                  <a:pt x="15310" y="14727"/>
                  <a:pt x="12150" y="14727"/>
                </a:cubicBezTo>
                <a:cubicBezTo>
                  <a:pt x="6186" y="14727"/>
                  <a:pt x="1350" y="11211"/>
                  <a:pt x="1350" y="6873"/>
                </a:cubicBezTo>
                <a:cubicBezTo>
                  <a:pt x="1350" y="4606"/>
                  <a:pt x="2678" y="2571"/>
                  <a:pt x="4788" y="1137"/>
                </a:cubicBezTo>
                <a:lnTo>
                  <a:pt x="4777" y="1127"/>
                </a:lnTo>
                <a:cubicBezTo>
                  <a:pt x="4945" y="1037"/>
                  <a:pt x="5062" y="900"/>
                  <a:pt x="5062" y="736"/>
                </a:cubicBezTo>
                <a:cubicBezTo>
                  <a:pt x="5062" y="465"/>
                  <a:pt x="4760" y="245"/>
                  <a:pt x="4388" y="245"/>
                </a:cubicBezTo>
                <a:cubicBezTo>
                  <a:pt x="4192" y="245"/>
                  <a:pt x="4020" y="308"/>
                  <a:pt x="3897" y="405"/>
                </a:cubicBezTo>
                <a:lnTo>
                  <a:pt x="3895" y="403"/>
                </a:lnTo>
                <a:cubicBezTo>
                  <a:pt x="1505" y="2016"/>
                  <a:pt x="0" y="4314"/>
                  <a:pt x="0" y="6873"/>
                </a:cubicBezTo>
                <a:cubicBezTo>
                  <a:pt x="0" y="11587"/>
                  <a:pt x="5081" y="15428"/>
                  <a:pt x="11475" y="15684"/>
                </a:cubicBezTo>
                <a:lnTo>
                  <a:pt x="11475" y="20618"/>
                </a:lnTo>
                <a:lnTo>
                  <a:pt x="7425" y="20618"/>
                </a:lnTo>
                <a:cubicBezTo>
                  <a:pt x="7052" y="20618"/>
                  <a:pt x="6750" y="20838"/>
                  <a:pt x="6750" y="21109"/>
                </a:cubicBezTo>
                <a:cubicBezTo>
                  <a:pt x="6750" y="21380"/>
                  <a:pt x="7052" y="21600"/>
                  <a:pt x="7425" y="21600"/>
                </a:cubicBezTo>
                <a:lnTo>
                  <a:pt x="16875" y="21600"/>
                </a:lnTo>
                <a:cubicBezTo>
                  <a:pt x="17247" y="21600"/>
                  <a:pt x="17550" y="21380"/>
                  <a:pt x="17550" y="21109"/>
                </a:cubicBezTo>
                <a:cubicBezTo>
                  <a:pt x="17550" y="20838"/>
                  <a:pt x="17247" y="20618"/>
                  <a:pt x="16875" y="20618"/>
                </a:cubicBezTo>
                <a:lnTo>
                  <a:pt x="12825" y="20618"/>
                </a:lnTo>
                <a:lnTo>
                  <a:pt x="12825" y="15684"/>
                </a:lnTo>
                <a:cubicBezTo>
                  <a:pt x="16068" y="15554"/>
                  <a:pt x="18970" y="14500"/>
                  <a:pt x="21045" y="12880"/>
                </a:cubicBezTo>
                <a:lnTo>
                  <a:pt x="21041" y="12877"/>
                </a:lnTo>
                <a:cubicBezTo>
                  <a:pt x="21175" y="12788"/>
                  <a:pt x="21262" y="12661"/>
                  <a:pt x="21262" y="12518"/>
                </a:cubicBezTo>
                <a:cubicBezTo>
                  <a:pt x="21262" y="12247"/>
                  <a:pt x="20960" y="12027"/>
                  <a:pt x="20588" y="12027"/>
                </a:cubicBezTo>
                <a:moveTo>
                  <a:pt x="12150" y="982"/>
                </a:moveTo>
                <a:cubicBezTo>
                  <a:pt x="16623" y="982"/>
                  <a:pt x="20250" y="3619"/>
                  <a:pt x="20250" y="6873"/>
                </a:cubicBezTo>
                <a:cubicBezTo>
                  <a:pt x="20250" y="10127"/>
                  <a:pt x="16623" y="12764"/>
                  <a:pt x="12150" y="12764"/>
                </a:cubicBezTo>
                <a:cubicBezTo>
                  <a:pt x="7677" y="12764"/>
                  <a:pt x="4050" y="10127"/>
                  <a:pt x="4050" y="6873"/>
                </a:cubicBezTo>
                <a:cubicBezTo>
                  <a:pt x="4050" y="3619"/>
                  <a:pt x="7677" y="982"/>
                  <a:pt x="12150" y="982"/>
                </a:cubicBezTo>
                <a:moveTo>
                  <a:pt x="12150" y="13745"/>
                </a:moveTo>
                <a:cubicBezTo>
                  <a:pt x="17369" y="13745"/>
                  <a:pt x="21600" y="10669"/>
                  <a:pt x="21600" y="6873"/>
                </a:cubicBezTo>
                <a:cubicBezTo>
                  <a:pt x="21600" y="3077"/>
                  <a:pt x="17369" y="0"/>
                  <a:pt x="12150" y="0"/>
                </a:cubicBezTo>
                <a:cubicBezTo>
                  <a:pt x="6931" y="0"/>
                  <a:pt x="2700" y="3077"/>
                  <a:pt x="2700" y="6873"/>
                </a:cubicBezTo>
                <a:cubicBezTo>
                  <a:pt x="2700" y="10669"/>
                  <a:pt x="6931" y="13745"/>
                  <a:pt x="12150" y="13745"/>
                </a:cubicBezTo>
                <a:moveTo>
                  <a:pt x="16733" y="8152"/>
                </a:moveTo>
                <a:cubicBezTo>
                  <a:pt x="16437" y="8280"/>
                  <a:pt x="16449" y="8564"/>
                  <a:pt x="16693" y="8720"/>
                </a:cubicBezTo>
                <a:cubicBezTo>
                  <a:pt x="16938" y="8876"/>
                  <a:pt x="17427" y="9078"/>
                  <a:pt x="17581" y="8720"/>
                </a:cubicBezTo>
                <a:cubicBezTo>
                  <a:pt x="17736" y="8362"/>
                  <a:pt x="17028" y="8023"/>
                  <a:pt x="16733" y="8152"/>
                </a:cubicBezTo>
                <a:moveTo>
                  <a:pt x="11317" y="7428"/>
                </a:moveTo>
                <a:cubicBezTo>
                  <a:pt x="10211" y="7428"/>
                  <a:pt x="9516" y="7611"/>
                  <a:pt x="9800" y="8711"/>
                </a:cubicBezTo>
                <a:cubicBezTo>
                  <a:pt x="10082" y="9811"/>
                  <a:pt x="10905" y="9316"/>
                  <a:pt x="10828" y="10160"/>
                </a:cubicBezTo>
                <a:cubicBezTo>
                  <a:pt x="10751" y="11003"/>
                  <a:pt x="11034" y="11186"/>
                  <a:pt x="11214" y="11388"/>
                </a:cubicBezTo>
                <a:cubicBezTo>
                  <a:pt x="11315" y="11501"/>
                  <a:pt x="11532" y="11731"/>
                  <a:pt x="11738" y="11767"/>
                </a:cubicBezTo>
                <a:cubicBezTo>
                  <a:pt x="11768" y="11768"/>
                  <a:pt x="11798" y="11769"/>
                  <a:pt x="11828" y="11770"/>
                </a:cubicBezTo>
                <a:cubicBezTo>
                  <a:pt x="11954" y="11751"/>
                  <a:pt x="12068" y="11642"/>
                  <a:pt x="12140" y="11351"/>
                </a:cubicBezTo>
                <a:cubicBezTo>
                  <a:pt x="12346" y="10526"/>
                  <a:pt x="12732" y="10067"/>
                  <a:pt x="13169" y="9664"/>
                </a:cubicBezTo>
                <a:cubicBezTo>
                  <a:pt x="13606" y="9261"/>
                  <a:pt x="14070" y="8729"/>
                  <a:pt x="13195" y="8197"/>
                </a:cubicBezTo>
                <a:cubicBezTo>
                  <a:pt x="12320" y="7666"/>
                  <a:pt x="12423" y="7428"/>
                  <a:pt x="11317" y="7428"/>
                </a:cubicBezTo>
                <a:moveTo>
                  <a:pt x="14404" y="3284"/>
                </a:moveTo>
                <a:cubicBezTo>
                  <a:pt x="14404" y="3284"/>
                  <a:pt x="14198" y="3431"/>
                  <a:pt x="14404" y="3962"/>
                </a:cubicBezTo>
                <a:cubicBezTo>
                  <a:pt x="14610" y="4494"/>
                  <a:pt x="14955" y="4609"/>
                  <a:pt x="15974" y="4311"/>
                </a:cubicBezTo>
                <a:cubicBezTo>
                  <a:pt x="16411" y="4182"/>
                  <a:pt x="16742" y="4248"/>
                  <a:pt x="16693" y="4567"/>
                </a:cubicBezTo>
                <a:cubicBezTo>
                  <a:pt x="16591" y="5246"/>
                  <a:pt x="15858" y="5217"/>
                  <a:pt x="16411" y="6309"/>
                </a:cubicBezTo>
                <a:cubicBezTo>
                  <a:pt x="16745" y="6969"/>
                  <a:pt x="17568" y="7226"/>
                  <a:pt x="17877" y="7739"/>
                </a:cubicBezTo>
                <a:cubicBezTo>
                  <a:pt x="17984" y="7918"/>
                  <a:pt x="18288" y="8083"/>
                  <a:pt x="18633" y="8228"/>
                </a:cubicBezTo>
                <a:cubicBezTo>
                  <a:pt x="18803" y="7797"/>
                  <a:pt x="18900" y="7344"/>
                  <a:pt x="18900" y="6873"/>
                </a:cubicBezTo>
                <a:cubicBezTo>
                  <a:pt x="18900" y="4752"/>
                  <a:pt x="17047" y="2950"/>
                  <a:pt x="14457" y="2264"/>
                </a:cubicBezTo>
                <a:cubicBezTo>
                  <a:pt x="14328" y="2411"/>
                  <a:pt x="14192" y="2545"/>
                  <a:pt x="14044" y="2605"/>
                </a:cubicBezTo>
                <a:cubicBezTo>
                  <a:pt x="13684" y="2752"/>
                  <a:pt x="13710" y="3339"/>
                  <a:pt x="14404" y="3284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49" name="Shape 2949"/>
          <p:cNvSpPr/>
          <p:nvPr/>
        </p:nvSpPr>
        <p:spPr>
          <a:xfrm>
            <a:off x="8943258" y="3289337"/>
            <a:ext cx="228541" cy="2793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52" y="16691"/>
                </a:moveTo>
                <a:lnTo>
                  <a:pt x="3600" y="16691"/>
                </a:lnTo>
                <a:lnTo>
                  <a:pt x="3600" y="11782"/>
                </a:lnTo>
                <a:lnTo>
                  <a:pt x="17152" y="11782"/>
                </a:lnTo>
                <a:lnTo>
                  <a:pt x="20152" y="14236"/>
                </a:lnTo>
                <a:cubicBezTo>
                  <a:pt x="20152" y="14236"/>
                  <a:pt x="17152" y="16691"/>
                  <a:pt x="17152" y="16691"/>
                </a:cubicBezTo>
                <a:close/>
                <a:moveTo>
                  <a:pt x="11400" y="20618"/>
                </a:moveTo>
                <a:lnTo>
                  <a:pt x="10200" y="20618"/>
                </a:lnTo>
                <a:lnTo>
                  <a:pt x="10200" y="17673"/>
                </a:lnTo>
                <a:lnTo>
                  <a:pt x="11400" y="17673"/>
                </a:lnTo>
                <a:cubicBezTo>
                  <a:pt x="11400" y="17673"/>
                  <a:pt x="11400" y="20618"/>
                  <a:pt x="11400" y="20618"/>
                </a:cubicBezTo>
                <a:close/>
                <a:moveTo>
                  <a:pt x="11400" y="10800"/>
                </a:moveTo>
                <a:lnTo>
                  <a:pt x="10200" y="10800"/>
                </a:lnTo>
                <a:lnTo>
                  <a:pt x="10200" y="8836"/>
                </a:lnTo>
                <a:lnTo>
                  <a:pt x="11400" y="8836"/>
                </a:lnTo>
                <a:cubicBezTo>
                  <a:pt x="11400" y="8836"/>
                  <a:pt x="11400" y="10800"/>
                  <a:pt x="11400" y="10800"/>
                </a:cubicBezTo>
                <a:close/>
                <a:moveTo>
                  <a:pt x="4448" y="7855"/>
                </a:moveTo>
                <a:lnTo>
                  <a:pt x="1448" y="5400"/>
                </a:lnTo>
                <a:lnTo>
                  <a:pt x="4448" y="2945"/>
                </a:lnTo>
                <a:lnTo>
                  <a:pt x="18000" y="2945"/>
                </a:lnTo>
                <a:lnTo>
                  <a:pt x="18000" y="7855"/>
                </a:lnTo>
                <a:cubicBezTo>
                  <a:pt x="18000" y="7855"/>
                  <a:pt x="4448" y="7855"/>
                  <a:pt x="4448" y="7855"/>
                </a:cubicBezTo>
                <a:close/>
                <a:moveTo>
                  <a:pt x="10200" y="982"/>
                </a:moveTo>
                <a:lnTo>
                  <a:pt x="11400" y="982"/>
                </a:lnTo>
                <a:lnTo>
                  <a:pt x="11400" y="1964"/>
                </a:lnTo>
                <a:lnTo>
                  <a:pt x="10200" y="1964"/>
                </a:lnTo>
                <a:cubicBezTo>
                  <a:pt x="10200" y="1964"/>
                  <a:pt x="10200" y="982"/>
                  <a:pt x="10200" y="982"/>
                </a:cubicBezTo>
                <a:close/>
                <a:moveTo>
                  <a:pt x="21424" y="13889"/>
                </a:moveTo>
                <a:lnTo>
                  <a:pt x="17824" y="10944"/>
                </a:lnTo>
                <a:cubicBezTo>
                  <a:pt x="17715" y="10855"/>
                  <a:pt x="17565" y="10800"/>
                  <a:pt x="17400" y="10800"/>
                </a:cubicBezTo>
                <a:lnTo>
                  <a:pt x="12600" y="10800"/>
                </a:lnTo>
                <a:lnTo>
                  <a:pt x="12600" y="8836"/>
                </a:lnTo>
                <a:lnTo>
                  <a:pt x="18600" y="8836"/>
                </a:lnTo>
                <a:cubicBezTo>
                  <a:pt x="18932" y="8836"/>
                  <a:pt x="19200" y="8616"/>
                  <a:pt x="19200" y="8345"/>
                </a:cubicBezTo>
                <a:lnTo>
                  <a:pt x="19200" y="2455"/>
                </a:lnTo>
                <a:cubicBezTo>
                  <a:pt x="19200" y="2184"/>
                  <a:pt x="18932" y="1964"/>
                  <a:pt x="18600" y="1964"/>
                </a:cubicBezTo>
                <a:lnTo>
                  <a:pt x="12600" y="1964"/>
                </a:lnTo>
                <a:lnTo>
                  <a:pt x="12600" y="982"/>
                </a:lnTo>
                <a:cubicBezTo>
                  <a:pt x="12600" y="440"/>
                  <a:pt x="12063" y="0"/>
                  <a:pt x="11400" y="0"/>
                </a:cubicBezTo>
                <a:lnTo>
                  <a:pt x="10200" y="0"/>
                </a:lnTo>
                <a:cubicBezTo>
                  <a:pt x="9537" y="0"/>
                  <a:pt x="9000" y="440"/>
                  <a:pt x="9000" y="982"/>
                </a:cubicBezTo>
                <a:lnTo>
                  <a:pt x="9000" y="1964"/>
                </a:lnTo>
                <a:lnTo>
                  <a:pt x="4200" y="1964"/>
                </a:lnTo>
                <a:cubicBezTo>
                  <a:pt x="4034" y="1964"/>
                  <a:pt x="3885" y="2019"/>
                  <a:pt x="3776" y="2107"/>
                </a:cubicBezTo>
                <a:lnTo>
                  <a:pt x="176" y="5053"/>
                </a:lnTo>
                <a:cubicBezTo>
                  <a:pt x="67" y="5142"/>
                  <a:pt x="0" y="5265"/>
                  <a:pt x="0" y="5400"/>
                </a:cubicBezTo>
                <a:cubicBezTo>
                  <a:pt x="0" y="5536"/>
                  <a:pt x="67" y="5658"/>
                  <a:pt x="176" y="5747"/>
                </a:cubicBezTo>
                <a:lnTo>
                  <a:pt x="3776" y="8693"/>
                </a:lnTo>
                <a:cubicBezTo>
                  <a:pt x="3885" y="8782"/>
                  <a:pt x="4034" y="8836"/>
                  <a:pt x="4200" y="8836"/>
                </a:cubicBezTo>
                <a:lnTo>
                  <a:pt x="9000" y="8836"/>
                </a:lnTo>
                <a:lnTo>
                  <a:pt x="9000" y="10800"/>
                </a:lnTo>
                <a:lnTo>
                  <a:pt x="3000" y="10800"/>
                </a:lnTo>
                <a:cubicBezTo>
                  <a:pt x="2668" y="10800"/>
                  <a:pt x="2400" y="11020"/>
                  <a:pt x="2400" y="11291"/>
                </a:cubicBezTo>
                <a:lnTo>
                  <a:pt x="2400" y="17182"/>
                </a:lnTo>
                <a:cubicBezTo>
                  <a:pt x="2400" y="17453"/>
                  <a:pt x="2668" y="17673"/>
                  <a:pt x="3000" y="17673"/>
                </a:cubicBezTo>
                <a:lnTo>
                  <a:pt x="9000" y="17673"/>
                </a:lnTo>
                <a:lnTo>
                  <a:pt x="9000" y="20618"/>
                </a:lnTo>
                <a:cubicBezTo>
                  <a:pt x="9000" y="21160"/>
                  <a:pt x="9537" y="21600"/>
                  <a:pt x="10200" y="21600"/>
                </a:cubicBezTo>
                <a:lnTo>
                  <a:pt x="11400" y="21600"/>
                </a:lnTo>
                <a:cubicBezTo>
                  <a:pt x="12063" y="21600"/>
                  <a:pt x="12600" y="21160"/>
                  <a:pt x="12600" y="20618"/>
                </a:cubicBezTo>
                <a:lnTo>
                  <a:pt x="12600" y="17673"/>
                </a:lnTo>
                <a:lnTo>
                  <a:pt x="17400" y="17673"/>
                </a:lnTo>
                <a:cubicBezTo>
                  <a:pt x="17565" y="17673"/>
                  <a:pt x="17715" y="17618"/>
                  <a:pt x="17824" y="17529"/>
                </a:cubicBezTo>
                <a:lnTo>
                  <a:pt x="21424" y="14583"/>
                </a:lnTo>
                <a:cubicBezTo>
                  <a:pt x="21533" y="14495"/>
                  <a:pt x="21600" y="14372"/>
                  <a:pt x="21600" y="14236"/>
                </a:cubicBezTo>
                <a:cubicBezTo>
                  <a:pt x="21600" y="14101"/>
                  <a:pt x="21533" y="13978"/>
                  <a:pt x="21424" y="13889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50" name="Shape 2950"/>
          <p:cNvSpPr/>
          <p:nvPr/>
        </p:nvSpPr>
        <p:spPr>
          <a:xfrm>
            <a:off x="9476519" y="3289337"/>
            <a:ext cx="228541" cy="2793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200" y="7855"/>
                </a:moveTo>
                <a:lnTo>
                  <a:pt x="7800" y="7855"/>
                </a:lnTo>
                <a:cubicBezTo>
                  <a:pt x="8132" y="7855"/>
                  <a:pt x="8400" y="7635"/>
                  <a:pt x="8400" y="7364"/>
                </a:cubicBezTo>
                <a:cubicBezTo>
                  <a:pt x="8400" y="7092"/>
                  <a:pt x="8132" y="6873"/>
                  <a:pt x="7800" y="6873"/>
                </a:cubicBezTo>
                <a:lnTo>
                  <a:pt x="4200" y="6873"/>
                </a:lnTo>
                <a:cubicBezTo>
                  <a:pt x="3868" y="6873"/>
                  <a:pt x="3600" y="7092"/>
                  <a:pt x="3600" y="7364"/>
                </a:cubicBezTo>
                <a:cubicBezTo>
                  <a:pt x="3600" y="7635"/>
                  <a:pt x="3868" y="7855"/>
                  <a:pt x="4200" y="7855"/>
                </a:cubicBezTo>
                <a:moveTo>
                  <a:pt x="4200" y="11782"/>
                </a:moveTo>
                <a:lnTo>
                  <a:pt x="16200" y="11782"/>
                </a:lnTo>
                <a:cubicBezTo>
                  <a:pt x="16532" y="11782"/>
                  <a:pt x="16800" y="11562"/>
                  <a:pt x="16800" y="11291"/>
                </a:cubicBezTo>
                <a:cubicBezTo>
                  <a:pt x="16800" y="11020"/>
                  <a:pt x="16532" y="10800"/>
                  <a:pt x="16200" y="10800"/>
                </a:cubicBezTo>
                <a:lnTo>
                  <a:pt x="4200" y="10800"/>
                </a:lnTo>
                <a:cubicBezTo>
                  <a:pt x="3868" y="10800"/>
                  <a:pt x="3600" y="11020"/>
                  <a:pt x="3600" y="11291"/>
                </a:cubicBezTo>
                <a:cubicBezTo>
                  <a:pt x="3600" y="11562"/>
                  <a:pt x="3868" y="11782"/>
                  <a:pt x="4200" y="11782"/>
                </a:cubicBezTo>
                <a:moveTo>
                  <a:pt x="4200" y="9818"/>
                </a:moveTo>
                <a:lnTo>
                  <a:pt x="11400" y="9818"/>
                </a:lnTo>
                <a:cubicBezTo>
                  <a:pt x="11732" y="9818"/>
                  <a:pt x="12000" y="9599"/>
                  <a:pt x="12000" y="9327"/>
                </a:cubicBezTo>
                <a:cubicBezTo>
                  <a:pt x="12000" y="9056"/>
                  <a:pt x="11732" y="8836"/>
                  <a:pt x="114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4200" y="5891"/>
                </a:moveTo>
                <a:lnTo>
                  <a:pt x="15000" y="5891"/>
                </a:lnTo>
                <a:cubicBezTo>
                  <a:pt x="15332" y="5891"/>
                  <a:pt x="15600" y="5671"/>
                  <a:pt x="15600" y="5400"/>
                </a:cubicBezTo>
                <a:cubicBezTo>
                  <a:pt x="15600" y="5129"/>
                  <a:pt x="15332" y="4909"/>
                  <a:pt x="15000" y="4909"/>
                </a:cubicBezTo>
                <a:lnTo>
                  <a:pt x="4200" y="4909"/>
                </a:lnTo>
                <a:cubicBezTo>
                  <a:pt x="3868" y="4909"/>
                  <a:pt x="3600" y="5129"/>
                  <a:pt x="3600" y="5400"/>
                </a:cubicBezTo>
                <a:cubicBezTo>
                  <a:pt x="3600" y="5671"/>
                  <a:pt x="3868" y="5891"/>
                  <a:pt x="4200" y="5891"/>
                </a:cubicBezTo>
                <a:moveTo>
                  <a:pt x="20400" y="13745"/>
                </a:moveTo>
                <a:lnTo>
                  <a:pt x="1200" y="13745"/>
                </a:lnTo>
                <a:lnTo>
                  <a:pt x="1200" y="2945"/>
                </a:lnTo>
                <a:lnTo>
                  <a:pt x="20400" y="2945"/>
                </a:lnTo>
                <a:cubicBezTo>
                  <a:pt x="20400" y="2945"/>
                  <a:pt x="20400" y="13745"/>
                  <a:pt x="20400" y="13745"/>
                </a:cubicBezTo>
                <a:close/>
                <a:moveTo>
                  <a:pt x="11400" y="20618"/>
                </a:moveTo>
                <a:lnTo>
                  <a:pt x="10200" y="20618"/>
                </a:lnTo>
                <a:lnTo>
                  <a:pt x="10200" y="14727"/>
                </a:lnTo>
                <a:lnTo>
                  <a:pt x="11400" y="14727"/>
                </a:lnTo>
                <a:cubicBezTo>
                  <a:pt x="11400" y="14727"/>
                  <a:pt x="11400" y="20618"/>
                  <a:pt x="11400" y="20618"/>
                </a:cubicBezTo>
                <a:close/>
                <a:moveTo>
                  <a:pt x="10200" y="982"/>
                </a:moveTo>
                <a:lnTo>
                  <a:pt x="11400" y="982"/>
                </a:lnTo>
                <a:lnTo>
                  <a:pt x="11400" y="1964"/>
                </a:lnTo>
                <a:lnTo>
                  <a:pt x="10200" y="1964"/>
                </a:lnTo>
                <a:cubicBezTo>
                  <a:pt x="10200" y="1964"/>
                  <a:pt x="10200" y="982"/>
                  <a:pt x="10200" y="982"/>
                </a:cubicBezTo>
                <a:close/>
                <a:moveTo>
                  <a:pt x="20400" y="1964"/>
                </a:moveTo>
                <a:lnTo>
                  <a:pt x="12600" y="1964"/>
                </a:lnTo>
                <a:lnTo>
                  <a:pt x="12600" y="982"/>
                </a:lnTo>
                <a:cubicBezTo>
                  <a:pt x="12600" y="440"/>
                  <a:pt x="12062" y="0"/>
                  <a:pt x="11400" y="0"/>
                </a:cubicBezTo>
                <a:lnTo>
                  <a:pt x="10200" y="0"/>
                </a:lnTo>
                <a:cubicBezTo>
                  <a:pt x="9537" y="0"/>
                  <a:pt x="9000" y="440"/>
                  <a:pt x="9000" y="982"/>
                </a:cubicBezTo>
                <a:lnTo>
                  <a:pt x="9000" y="1964"/>
                </a:lnTo>
                <a:lnTo>
                  <a:pt x="1200" y="1964"/>
                </a:lnTo>
                <a:cubicBezTo>
                  <a:pt x="537" y="1964"/>
                  <a:pt x="0" y="2404"/>
                  <a:pt x="0" y="2945"/>
                </a:cubicBezTo>
                <a:lnTo>
                  <a:pt x="0" y="13745"/>
                </a:lnTo>
                <a:cubicBezTo>
                  <a:pt x="0" y="14287"/>
                  <a:pt x="537" y="14727"/>
                  <a:pt x="1200" y="14727"/>
                </a:cubicBezTo>
                <a:lnTo>
                  <a:pt x="9000" y="14727"/>
                </a:lnTo>
                <a:lnTo>
                  <a:pt x="9000" y="20618"/>
                </a:lnTo>
                <a:cubicBezTo>
                  <a:pt x="9000" y="21160"/>
                  <a:pt x="9537" y="21600"/>
                  <a:pt x="10200" y="21600"/>
                </a:cubicBezTo>
                <a:lnTo>
                  <a:pt x="11400" y="21600"/>
                </a:lnTo>
                <a:cubicBezTo>
                  <a:pt x="12062" y="21600"/>
                  <a:pt x="12600" y="21160"/>
                  <a:pt x="12600" y="20618"/>
                </a:cubicBezTo>
                <a:lnTo>
                  <a:pt x="12600" y="14727"/>
                </a:lnTo>
                <a:lnTo>
                  <a:pt x="20400" y="14727"/>
                </a:lnTo>
                <a:cubicBezTo>
                  <a:pt x="21062" y="14727"/>
                  <a:pt x="21600" y="14287"/>
                  <a:pt x="21600" y="13745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17400" y="8836"/>
                </a:moveTo>
                <a:lnTo>
                  <a:pt x="13800" y="8836"/>
                </a:lnTo>
                <a:cubicBezTo>
                  <a:pt x="13468" y="8836"/>
                  <a:pt x="13200" y="9056"/>
                  <a:pt x="13200" y="9327"/>
                </a:cubicBezTo>
                <a:cubicBezTo>
                  <a:pt x="13200" y="9599"/>
                  <a:pt x="13468" y="9818"/>
                  <a:pt x="13800" y="9818"/>
                </a:cubicBezTo>
                <a:lnTo>
                  <a:pt x="17400" y="9818"/>
                </a:lnTo>
                <a:cubicBezTo>
                  <a:pt x="17732" y="9818"/>
                  <a:pt x="18000" y="9599"/>
                  <a:pt x="18000" y="9327"/>
                </a:cubicBezTo>
                <a:cubicBezTo>
                  <a:pt x="18000" y="9056"/>
                  <a:pt x="17732" y="8836"/>
                  <a:pt x="17400" y="8836"/>
                </a:cubicBezTo>
                <a:moveTo>
                  <a:pt x="9600" y="7364"/>
                </a:moveTo>
                <a:cubicBezTo>
                  <a:pt x="9600" y="7635"/>
                  <a:pt x="9868" y="7855"/>
                  <a:pt x="10200" y="7855"/>
                </a:cubicBezTo>
                <a:lnTo>
                  <a:pt x="17400" y="7855"/>
                </a:lnTo>
                <a:cubicBezTo>
                  <a:pt x="17732" y="7855"/>
                  <a:pt x="18000" y="7635"/>
                  <a:pt x="18000" y="7364"/>
                </a:cubicBezTo>
                <a:cubicBezTo>
                  <a:pt x="18000" y="7092"/>
                  <a:pt x="17732" y="6873"/>
                  <a:pt x="17400" y="6873"/>
                </a:cubicBezTo>
                <a:lnTo>
                  <a:pt x="10200" y="6873"/>
                </a:lnTo>
                <a:cubicBezTo>
                  <a:pt x="9868" y="6873"/>
                  <a:pt x="9600" y="7092"/>
                  <a:pt x="9600" y="7364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51" name="Shape 2951"/>
          <p:cNvSpPr/>
          <p:nvPr/>
        </p:nvSpPr>
        <p:spPr>
          <a:xfrm>
            <a:off x="9984387" y="3314730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6" y="18796"/>
                  <a:pt x="1048" y="18735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5" y="1873"/>
                </a:lnTo>
                <a:cubicBezTo>
                  <a:pt x="9929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5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3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7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5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5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3255" y="8400"/>
                </a:moveTo>
                <a:lnTo>
                  <a:pt x="10309" y="8400"/>
                </a:lnTo>
                <a:cubicBezTo>
                  <a:pt x="10038" y="8400"/>
                  <a:pt x="9818" y="8668"/>
                  <a:pt x="9818" y="9000"/>
                </a:cubicBezTo>
                <a:cubicBezTo>
                  <a:pt x="9818" y="9332"/>
                  <a:pt x="10038" y="9600"/>
                  <a:pt x="10309" y="9600"/>
                </a:cubicBezTo>
                <a:lnTo>
                  <a:pt x="11821" y="9600"/>
                </a:lnTo>
                <a:cubicBezTo>
                  <a:pt x="10310" y="11177"/>
                  <a:pt x="7852" y="14224"/>
                  <a:pt x="7852" y="17384"/>
                </a:cubicBezTo>
                <a:lnTo>
                  <a:pt x="7857" y="17384"/>
                </a:lnTo>
                <a:cubicBezTo>
                  <a:pt x="7857" y="17389"/>
                  <a:pt x="7855" y="17394"/>
                  <a:pt x="7855" y="17400"/>
                </a:cubicBezTo>
                <a:cubicBezTo>
                  <a:pt x="7855" y="17732"/>
                  <a:pt x="8074" y="18000"/>
                  <a:pt x="8345" y="18000"/>
                </a:cubicBezTo>
                <a:cubicBezTo>
                  <a:pt x="8617" y="18000"/>
                  <a:pt x="8836" y="17732"/>
                  <a:pt x="8836" y="17400"/>
                </a:cubicBezTo>
                <a:cubicBezTo>
                  <a:pt x="8836" y="17394"/>
                  <a:pt x="8833" y="17389"/>
                  <a:pt x="8833" y="17384"/>
                </a:cubicBezTo>
                <a:cubicBezTo>
                  <a:pt x="8833" y="14516"/>
                  <a:pt x="11431" y="11542"/>
                  <a:pt x="12764" y="10204"/>
                </a:cubicBezTo>
                <a:lnTo>
                  <a:pt x="12764" y="12600"/>
                </a:lnTo>
                <a:cubicBezTo>
                  <a:pt x="12764" y="12932"/>
                  <a:pt x="12983" y="13200"/>
                  <a:pt x="13255" y="13200"/>
                </a:cubicBezTo>
                <a:cubicBezTo>
                  <a:pt x="13526" y="13200"/>
                  <a:pt x="13745" y="12932"/>
                  <a:pt x="13745" y="12600"/>
                </a:cubicBezTo>
                <a:lnTo>
                  <a:pt x="13745" y="9000"/>
                </a:lnTo>
                <a:cubicBezTo>
                  <a:pt x="13745" y="8668"/>
                  <a:pt x="13526" y="8400"/>
                  <a:pt x="13255" y="84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52" name="Shape 2952"/>
          <p:cNvSpPr/>
          <p:nvPr/>
        </p:nvSpPr>
        <p:spPr>
          <a:xfrm>
            <a:off x="10517648" y="3289337"/>
            <a:ext cx="279328" cy="2793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3745"/>
                </a:moveTo>
                <a:lnTo>
                  <a:pt x="982" y="13745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3745"/>
                  <a:pt x="20618" y="13745"/>
                </a:cubicBezTo>
                <a:close/>
                <a:moveTo>
                  <a:pt x="17673" y="15015"/>
                </a:moveTo>
                <a:lnTo>
                  <a:pt x="16691" y="15997"/>
                </a:lnTo>
                <a:lnTo>
                  <a:pt x="16691" y="14727"/>
                </a:lnTo>
                <a:lnTo>
                  <a:pt x="17673" y="14727"/>
                </a:lnTo>
                <a:cubicBezTo>
                  <a:pt x="17673" y="14727"/>
                  <a:pt x="17673" y="15015"/>
                  <a:pt x="17673" y="15015"/>
                </a:cubicBezTo>
                <a:close/>
                <a:moveTo>
                  <a:pt x="17673" y="17960"/>
                </a:moveTo>
                <a:lnTo>
                  <a:pt x="16894" y="17182"/>
                </a:lnTo>
                <a:lnTo>
                  <a:pt x="17673" y="16403"/>
                </a:lnTo>
                <a:cubicBezTo>
                  <a:pt x="17673" y="16403"/>
                  <a:pt x="17673" y="17960"/>
                  <a:pt x="17673" y="17960"/>
                </a:cubicBezTo>
                <a:close/>
                <a:moveTo>
                  <a:pt x="16691" y="19924"/>
                </a:moveTo>
                <a:lnTo>
                  <a:pt x="16691" y="18367"/>
                </a:lnTo>
                <a:lnTo>
                  <a:pt x="17469" y="19145"/>
                </a:lnTo>
                <a:cubicBezTo>
                  <a:pt x="17469" y="19145"/>
                  <a:pt x="16691" y="19924"/>
                  <a:pt x="16691" y="19924"/>
                </a:cubicBezTo>
                <a:close/>
                <a:moveTo>
                  <a:pt x="4909" y="15997"/>
                </a:moveTo>
                <a:lnTo>
                  <a:pt x="3927" y="15015"/>
                </a:lnTo>
                <a:lnTo>
                  <a:pt x="3927" y="14727"/>
                </a:lnTo>
                <a:lnTo>
                  <a:pt x="4909" y="14727"/>
                </a:lnTo>
                <a:cubicBezTo>
                  <a:pt x="4909" y="14727"/>
                  <a:pt x="4909" y="15997"/>
                  <a:pt x="4909" y="15997"/>
                </a:cubicBezTo>
                <a:close/>
                <a:moveTo>
                  <a:pt x="3927" y="17960"/>
                </a:moveTo>
                <a:lnTo>
                  <a:pt x="3927" y="16403"/>
                </a:lnTo>
                <a:lnTo>
                  <a:pt x="4706" y="17182"/>
                </a:lnTo>
                <a:cubicBezTo>
                  <a:pt x="4706" y="17182"/>
                  <a:pt x="3927" y="17960"/>
                  <a:pt x="3927" y="17960"/>
                </a:cubicBezTo>
                <a:close/>
                <a:moveTo>
                  <a:pt x="4909" y="19924"/>
                </a:moveTo>
                <a:lnTo>
                  <a:pt x="4131" y="19145"/>
                </a:lnTo>
                <a:lnTo>
                  <a:pt x="4909" y="18367"/>
                </a:lnTo>
                <a:cubicBezTo>
                  <a:pt x="4909" y="18367"/>
                  <a:pt x="4909" y="19924"/>
                  <a:pt x="4909" y="19924"/>
                </a:cubicBezTo>
                <a:close/>
                <a:moveTo>
                  <a:pt x="1964" y="1964"/>
                </a:moveTo>
                <a:lnTo>
                  <a:pt x="19636" y="1964"/>
                </a:lnTo>
                <a:lnTo>
                  <a:pt x="19636" y="11782"/>
                </a:lnTo>
                <a:lnTo>
                  <a:pt x="1964" y="11782"/>
                </a:lnTo>
                <a:cubicBezTo>
                  <a:pt x="1964" y="11782"/>
                  <a:pt x="1964" y="1964"/>
                  <a:pt x="1964" y="1964"/>
                </a:cubicBezTo>
                <a:close/>
                <a:moveTo>
                  <a:pt x="20618" y="11782"/>
                </a:moveTo>
                <a:lnTo>
                  <a:pt x="20618" y="1964"/>
                </a:lnTo>
                <a:cubicBezTo>
                  <a:pt x="20618" y="1422"/>
                  <a:pt x="20178" y="982"/>
                  <a:pt x="19636" y="982"/>
                </a:cubicBezTo>
                <a:lnTo>
                  <a:pt x="17673" y="982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982"/>
                </a:lnTo>
                <a:lnTo>
                  <a:pt x="4909" y="982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982"/>
                </a:lnTo>
                <a:lnTo>
                  <a:pt x="1964" y="982"/>
                </a:lnTo>
                <a:cubicBezTo>
                  <a:pt x="1422" y="982"/>
                  <a:pt x="982" y="1422"/>
                  <a:pt x="982" y="1964"/>
                </a:cubicBez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3745"/>
                </a:lnTo>
                <a:cubicBezTo>
                  <a:pt x="0" y="14287"/>
                  <a:pt x="440" y="14727"/>
                  <a:pt x="982" y="14727"/>
                </a:cubicBezTo>
                <a:lnTo>
                  <a:pt x="2945" y="14727"/>
                </a:lnTo>
                <a:lnTo>
                  <a:pt x="2945" y="21109"/>
                </a:lnTo>
                <a:cubicBezTo>
                  <a:pt x="2945" y="21380"/>
                  <a:pt x="3165" y="21600"/>
                  <a:pt x="3436" y="21600"/>
                </a:cubicBezTo>
                <a:cubicBezTo>
                  <a:pt x="3708" y="21600"/>
                  <a:pt x="3927" y="21380"/>
                  <a:pt x="3927" y="21109"/>
                </a:cubicBezTo>
                <a:lnTo>
                  <a:pt x="3927" y="20331"/>
                </a:lnTo>
                <a:lnTo>
                  <a:pt x="5053" y="21456"/>
                </a:lnTo>
                <a:cubicBezTo>
                  <a:pt x="5141" y="21545"/>
                  <a:pt x="5264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4727"/>
                </a:lnTo>
                <a:lnTo>
                  <a:pt x="15709" y="14727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336" y="21600"/>
                  <a:pt x="16459" y="21545"/>
                  <a:pt x="16548" y="21456"/>
                </a:cubicBezTo>
                <a:lnTo>
                  <a:pt x="17673" y="20331"/>
                </a:lnTo>
                <a:lnTo>
                  <a:pt x="17673" y="21109"/>
                </a:lnTo>
                <a:cubicBezTo>
                  <a:pt x="17673" y="21380"/>
                  <a:pt x="17892" y="21600"/>
                  <a:pt x="18164" y="21600"/>
                </a:cubicBezTo>
                <a:cubicBezTo>
                  <a:pt x="18435" y="21600"/>
                  <a:pt x="18655" y="21380"/>
                  <a:pt x="18655" y="21109"/>
                </a:cubicBezTo>
                <a:lnTo>
                  <a:pt x="18655" y="14727"/>
                </a:lnTo>
                <a:lnTo>
                  <a:pt x="20618" y="14727"/>
                </a:lnTo>
                <a:cubicBezTo>
                  <a:pt x="21160" y="14727"/>
                  <a:pt x="21600" y="14287"/>
                  <a:pt x="21600" y="13745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53" name="Shape 2953"/>
          <p:cNvSpPr/>
          <p:nvPr/>
        </p:nvSpPr>
        <p:spPr>
          <a:xfrm>
            <a:off x="11050909" y="3289337"/>
            <a:ext cx="279328" cy="2793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3745"/>
                </a:moveTo>
                <a:lnTo>
                  <a:pt x="982" y="13745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3745"/>
                  <a:pt x="20618" y="13745"/>
                </a:cubicBezTo>
                <a:close/>
                <a:moveTo>
                  <a:pt x="17673" y="15015"/>
                </a:moveTo>
                <a:lnTo>
                  <a:pt x="16691" y="15997"/>
                </a:lnTo>
                <a:lnTo>
                  <a:pt x="16691" y="14727"/>
                </a:lnTo>
                <a:lnTo>
                  <a:pt x="17673" y="14727"/>
                </a:lnTo>
                <a:cubicBezTo>
                  <a:pt x="17673" y="14727"/>
                  <a:pt x="17673" y="15015"/>
                  <a:pt x="17673" y="15015"/>
                </a:cubicBezTo>
                <a:close/>
                <a:moveTo>
                  <a:pt x="17673" y="17960"/>
                </a:moveTo>
                <a:lnTo>
                  <a:pt x="16894" y="17182"/>
                </a:lnTo>
                <a:lnTo>
                  <a:pt x="17673" y="16403"/>
                </a:lnTo>
                <a:cubicBezTo>
                  <a:pt x="17673" y="16403"/>
                  <a:pt x="17673" y="17960"/>
                  <a:pt x="17673" y="17960"/>
                </a:cubicBezTo>
                <a:close/>
                <a:moveTo>
                  <a:pt x="16691" y="19924"/>
                </a:moveTo>
                <a:lnTo>
                  <a:pt x="16691" y="18367"/>
                </a:lnTo>
                <a:lnTo>
                  <a:pt x="17469" y="19145"/>
                </a:lnTo>
                <a:cubicBezTo>
                  <a:pt x="17469" y="19145"/>
                  <a:pt x="16691" y="19924"/>
                  <a:pt x="16691" y="19924"/>
                </a:cubicBezTo>
                <a:close/>
                <a:moveTo>
                  <a:pt x="4909" y="15997"/>
                </a:moveTo>
                <a:lnTo>
                  <a:pt x="3927" y="15015"/>
                </a:lnTo>
                <a:lnTo>
                  <a:pt x="3927" y="14727"/>
                </a:lnTo>
                <a:lnTo>
                  <a:pt x="4909" y="14727"/>
                </a:lnTo>
                <a:cubicBezTo>
                  <a:pt x="4909" y="14727"/>
                  <a:pt x="4909" y="15997"/>
                  <a:pt x="4909" y="15997"/>
                </a:cubicBezTo>
                <a:close/>
                <a:moveTo>
                  <a:pt x="3927" y="17960"/>
                </a:moveTo>
                <a:lnTo>
                  <a:pt x="3927" y="16403"/>
                </a:lnTo>
                <a:lnTo>
                  <a:pt x="4706" y="17182"/>
                </a:lnTo>
                <a:cubicBezTo>
                  <a:pt x="4706" y="17182"/>
                  <a:pt x="3927" y="17960"/>
                  <a:pt x="3927" y="17960"/>
                </a:cubicBezTo>
                <a:close/>
                <a:moveTo>
                  <a:pt x="4909" y="19924"/>
                </a:moveTo>
                <a:lnTo>
                  <a:pt x="4131" y="19145"/>
                </a:lnTo>
                <a:lnTo>
                  <a:pt x="4909" y="18367"/>
                </a:lnTo>
                <a:cubicBezTo>
                  <a:pt x="4909" y="18367"/>
                  <a:pt x="4909" y="19924"/>
                  <a:pt x="4909" y="19924"/>
                </a:cubicBezTo>
                <a:close/>
                <a:moveTo>
                  <a:pt x="1964" y="1964"/>
                </a:moveTo>
                <a:lnTo>
                  <a:pt x="19636" y="1964"/>
                </a:lnTo>
                <a:lnTo>
                  <a:pt x="19636" y="11782"/>
                </a:lnTo>
                <a:lnTo>
                  <a:pt x="1964" y="11782"/>
                </a:lnTo>
                <a:cubicBezTo>
                  <a:pt x="1964" y="11782"/>
                  <a:pt x="1964" y="1964"/>
                  <a:pt x="1964" y="1964"/>
                </a:cubicBezTo>
                <a:close/>
                <a:moveTo>
                  <a:pt x="20618" y="11782"/>
                </a:moveTo>
                <a:lnTo>
                  <a:pt x="20618" y="1964"/>
                </a:lnTo>
                <a:cubicBezTo>
                  <a:pt x="20618" y="1422"/>
                  <a:pt x="20178" y="982"/>
                  <a:pt x="19636" y="982"/>
                </a:cubicBezTo>
                <a:lnTo>
                  <a:pt x="17673" y="982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982"/>
                </a:lnTo>
                <a:lnTo>
                  <a:pt x="4909" y="982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982"/>
                </a:lnTo>
                <a:lnTo>
                  <a:pt x="1964" y="982"/>
                </a:lnTo>
                <a:cubicBezTo>
                  <a:pt x="1422" y="982"/>
                  <a:pt x="982" y="1422"/>
                  <a:pt x="982" y="1964"/>
                </a:cubicBez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3745"/>
                </a:lnTo>
                <a:cubicBezTo>
                  <a:pt x="0" y="14287"/>
                  <a:pt x="440" y="14727"/>
                  <a:pt x="982" y="14727"/>
                </a:cubicBezTo>
                <a:lnTo>
                  <a:pt x="2945" y="14727"/>
                </a:lnTo>
                <a:lnTo>
                  <a:pt x="2945" y="21109"/>
                </a:lnTo>
                <a:cubicBezTo>
                  <a:pt x="2945" y="21380"/>
                  <a:pt x="3165" y="21600"/>
                  <a:pt x="3436" y="21600"/>
                </a:cubicBezTo>
                <a:cubicBezTo>
                  <a:pt x="3708" y="21600"/>
                  <a:pt x="3927" y="21380"/>
                  <a:pt x="3927" y="21109"/>
                </a:cubicBezTo>
                <a:lnTo>
                  <a:pt x="3927" y="20331"/>
                </a:lnTo>
                <a:lnTo>
                  <a:pt x="5053" y="21456"/>
                </a:lnTo>
                <a:cubicBezTo>
                  <a:pt x="5141" y="21545"/>
                  <a:pt x="5264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4727"/>
                </a:lnTo>
                <a:lnTo>
                  <a:pt x="15709" y="14727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336" y="21600"/>
                  <a:pt x="16458" y="21545"/>
                  <a:pt x="16548" y="21456"/>
                </a:cubicBezTo>
                <a:lnTo>
                  <a:pt x="17673" y="20331"/>
                </a:lnTo>
                <a:lnTo>
                  <a:pt x="17673" y="21109"/>
                </a:lnTo>
                <a:cubicBezTo>
                  <a:pt x="17673" y="21380"/>
                  <a:pt x="17892" y="21600"/>
                  <a:pt x="18164" y="21600"/>
                </a:cubicBezTo>
                <a:cubicBezTo>
                  <a:pt x="18435" y="21600"/>
                  <a:pt x="18655" y="21380"/>
                  <a:pt x="18655" y="21109"/>
                </a:cubicBezTo>
                <a:lnTo>
                  <a:pt x="18655" y="14727"/>
                </a:lnTo>
                <a:lnTo>
                  <a:pt x="20618" y="14727"/>
                </a:lnTo>
                <a:cubicBezTo>
                  <a:pt x="21160" y="14727"/>
                  <a:pt x="21600" y="14287"/>
                  <a:pt x="21600" y="13745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12620" y="4072"/>
                </a:moveTo>
                <a:cubicBezTo>
                  <a:pt x="12531" y="3982"/>
                  <a:pt x="12408" y="3927"/>
                  <a:pt x="12273" y="3927"/>
                </a:cubicBezTo>
                <a:cubicBezTo>
                  <a:pt x="12001" y="3927"/>
                  <a:pt x="11782" y="4147"/>
                  <a:pt x="11782" y="4418"/>
                </a:cubicBezTo>
                <a:cubicBezTo>
                  <a:pt x="11782" y="4554"/>
                  <a:pt x="11837" y="4677"/>
                  <a:pt x="11926" y="4765"/>
                </a:cubicBezTo>
                <a:lnTo>
                  <a:pt x="13542" y="6382"/>
                </a:lnTo>
                <a:lnTo>
                  <a:pt x="6873" y="6382"/>
                </a:lnTo>
                <a:cubicBezTo>
                  <a:pt x="6601" y="6382"/>
                  <a:pt x="6382" y="6602"/>
                  <a:pt x="6382" y="6873"/>
                </a:cubicBezTo>
                <a:cubicBezTo>
                  <a:pt x="6382" y="7144"/>
                  <a:pt x="6601" y="7364"/>
                  <a:pt x="6873" y="7364"/>
                </a:cubicBezTo>
                <a:lnTo>
                  <a:pt x="13542" y="7364"/>
                </a:lnTo>
                <a:lnTo>
                  <a:pt x="11926" y="8980"/>
                </a:lnTo>
                <a:cubicBezTo>
                  <a:pt x="11837" y="9069"/>
                  <a:pt x="11782" y="9192"/>
                  <a:pt x="11782" y="9327"/>
                </a:cubicBezTo>
                <a:cubicBezTo>
                  <a:pt x="11782" y="9599"/>
                  <a:pt x="12001" y="9818"/>
                  <a:pt x="12273" y="9818"/>
                </a:cubicBezTo>
                <a:cubicBezTo>
                  <a:pt x="12408" y="9818"/>
                  <a:pt x="12531" y="9764"/>
                  <a:pt x="12620" y="9674"/>
                </a:cubicBezTo>
                <a:lnTo>
                  <a:pt x="15074" y="7220"/>
                </a:lnTo>
                <a:cubicBezTo>
                  <a:pt x="15163" y="7131"/>
                  <a:pt x="15218" y="7008"/>
                  <a:pt x="15218" y="6873"/>
                </a:cubicBezTo>
                <a:cubicBezTo>
                  <a:pt x="15218" y="6738"/>
                  <a:pt x="15163" y="6614"/>
                  <a:pt x="15074" y="6526"/>
                </a:cubicBezTo>
                <a:cubicBezTo>
                  <a:pt x="15074" y="6526"/>
                  <a:pt x="12620" y="4072"/>
                  <a:pt x="12620" y="4072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55" name="Shape 2955"/>
          <p:cNvSpPr/>
          <p:nvPr/>
        </p:nvSpPr>
        <p:spPr>
          <a:xfrm>
            <a:off x="880859" y="463922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7673"/>
                </a:moveTo>
                <a:cubicBezTo>
                  <a:pt x="10529" y="17673"/>
                  <a:pt x="10309" y="17892"/>
                  <a:pt x="10309" y="18164"/>
                </a:cubicBezTo>
                <a:lnTo>
                  <a:pt x="10309" y="21109"/>
                </a:lnTo>
                <a:cubicBezTo>
                  <a:pt x="10309" y="21380"/>
                  <a:pt x="10529" y="21600"/>
                  <a:pt x="10800" y="21600"/>
                </a:cubicBezTo>
                <a:cubicBezTo>
                  <a:pt x="11071" y="21600"/>
                  <a:pt x="11291" y="21380"/>
                  <a:pt x="11291" y="21109"/>
                </a:cubicBezTo>
                <a:lnTo>
                  <a:pt x="11291" y="18164"/>
                </a:lnTo>
                <a:cubicBezTo>
                  <a:pt x="11291" y="17892"/>
                  <a:pt x="11071" y="17673"/>
                  <a:pt x="10800" y="17673"/>
                </a:cubicBezTo>
                <a:moveTo>
                  <a:pt x="10800" y="15709"/>
                </a:moveTo>
                <a:cubicBezTo>
                  <a:pt x="8089" y="15709"/>
                  <a:pt x="5891" y="13511"/>
                  <a:pt x="5891" y="10800"/>
                </a:cubicBezTo>
                <a:cubicBezTo>
                  <a:pt x="5891" y="8088"/>
                  <a:pt x="8089" y="5891"/>
                  <a:pt x="10800" y="5891"/>
                </a:cubicBezTo>
                <a:cubicBezTo>
                  <a:pt x="13511" y="5891"/>
                  <a:pt x="15709" y="8088"/>
                  <a:pt x="15709" y="10800"/>
                </a:cubicBezTo>
                <a:cubicBezTo>
                  <a:pt x="15709" y="13511"/>
                  <a:pt x="13511" y="15709"/>
                  <a:pt x="10800" y="15709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16354" y="15660"/>
                </a:moveTo>
                <a:cubicBezTo>
                  <a:pt x="16162" y="15468"/>
                  <a:pt x="15851" y="15468"/>
                  <a:pt x="15659" y="15660"/>
                </a:cubicBezTo>
                <a:cubicBezTo>
                  <a:pt x="15468" y="15851"/>
                  <a:pt x="15468" y="16163"/>
                  <a:pt x="15659" y="16354"/>
                </a:cubicBezTo>
                <a:lnTo>
                  <a:pt x="17742" y="18437"/>
                </a:lnTo>
                <a:cubicBezTo>
                  <a:pt x="17934" y="18629"/>
                  <a:pt x="18245" y="18629"/>
                  <a:pt x="18437" y="18437"/>
                </a:cubicBezTo>
                <a:cubicBezTo>
                  <a:pt x="18628" y="18245"/>
                  <a:pt x="18628" y="17934"/>
                  <a:pt x="18437" y="17743"/>
                </a:cubicBezTo>
                <a:cubicBezTo>
                  <a:pt x="18437" y="17743"/>
                  <a:pt x="16354" y="15660"/>
                  <a:pt x="16354" y="15660"/>
                </a:cubicBezTo>
                <a:close/>
                <a:moveTo>
                  <a:pt x="21109" y="10309"/>
                </a:moveTo>
                <a:lnTo>
                  <a:pt x="18164" y="10309"/>
                </a:lnTo>
                <a:cubicBezTo>
                  <a:pt x="17893" y="10309"/>
                  <a:pt x="17673" y="10529"/>
                  <a:pt x="17673" y="10800"/>
                </a:cubicBezTo>
                <a:cubicBezTo>
                  <a:pt x="17673" y="11071"/>
                  <a:pt x="17893" y="11291"/>
                  <a:pt x="18164" y="11291"/>
                </a:cubicBezTo>
                <a:lnTo>
                  <a:pt x="21109" y="11291"/>
                </a:lnTo>
                <a:cubicBezTo>
                  <a:pt x="21380" y="11291"/>
                  <a:pt x="21600" y="11071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  <a:moveTo>
                  <a:pt x="5246" y="15660"/>
                </a:moveTo>
                <a:lnTo>
                  <a:pt x="3163" y="17743"/>
                </a:lnTo>
                <a:cubicBezTo>
                  <a:pt x="2972" y="17934"/>
                  <a:pt x="2972" y="18245"/>
                  <a:pt x="3163" y="18437"/>
                </a:cubicBezTo>
                <a:cubicBezTo>
                  <a:pt x="3355" y="18629"/>
                  <a:pt x="3666" y="18629"/>
                  <a:pt x="3858" y="18437"/>
                </a:cubicBezTo>
                <a:lnTo>
                  <a:pt x="5941" y="16354"/>
                </a:lnTo>
                <a:cubicBezTo>
                  <a:pt x="6132" y="16163"/>
                  <a:pt x="6132" y="15851"/>
                  <a:pt x="5941" y="15660"/>
                </a:cubicBezTo>
                <a:cubicBezTo>
                  <a:pt x="5749" y="15468"/>
                  <a:pt x="5438" y="15468"/>
                  <a:pt x="5246" y="15660"/>
                </a:cubicBezTo>
                <a:moveTo>
                  <a:pt x="16354" y="5941"/>
                </a:moveTo>
                <a:lnTo>
                  <a:pt x="18437" y="3857"/>
                </a:lnTo>
                <a:cubicBezTo>
                  <a:pt x="18628" y="3666"/>
                  <a:pt x="18628" y="3355"/>
                  <a:pt x="18437" y="3163"/>
                </a:cubicBezTo>
                <a:cubicBezTo>
                  <a:pt x="18245" y="2971"/>
                  <a:pt x="17934" y="2971"/>
                  <a:pt x="17742" y="3163"/>
                </a:cubicBezTo>
                <a:lnTo>
                  <a:pt x="15659" y="5247"/>
                </a:lnTo>
                <a:cubicBezTo>
                  <a:pt x="15468" y="5437"/>
                  <a:pt x="15468" y="5749"/>
                  <a:pt x="15659" y="5941"/>
                </a:cubicBezTo>
                <a:cubicBezTo>
                  <a:pt x="15851" y="6132"/>
                  <a:pt x="16162" y="6132"/>
                  <a:pt x="16354" y="5941"/>
                </a:cubicBezTo>
                <a:moveTo>
                  <a:pt x="10800" y="3927"/>
                </a:moveTo>
                <a:cubicBezTo>
                  <a:pt x="11071" y="3927"/>
                  <a:pt x="11291" y="3708"/>
                  <a:pt x="11291" y="3436"/>
                </a:cubicBez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3436"/>
                </a:lnTo>
                <a:cubicBezTo>
                  <a:pt x="10309" y="3708"/>
                  <a:pt x="10529" y="3927"/>
                  <a:pt x="10800" y="3927"/>
                </a:cubicBezTo>
                <a:moveTo>
                  <a:pt x="3927" y="10800"/>
                </a:moveTo>
                <a:cubicBezTo>
                  <a:pt x="3927" y="10529"/>
                  <a:pt x="3707" y="10309"/>
                  <a:pt x="3436" y="10309"/>
                </a:cubicBezTo>
                <a:lnTo>
                  <a:pt x="491" y="10309"/>
                </a:lnTo>
                <a:cubicBezTo>
                  <a:pt x="220" y="10309"/>
                  <a:pt x="0" y="10529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lnTo>
                  <a:pt x="3436" y="11291"/>
                </a:lnTo>
                <a:cubicBezTo>
                  <a:pt x="3707" y="11291"/>
                  <a:pt x="3927" y="11071"/>
                  <a:pt x="3927" y="10800"/>
                </a:cubicBezTo>
                <a:moveTo>
                  <a:pt x="5246" y="5941"/>
                </a:moveTo>
                <a:cubicBezTo>
                  <a:pt x="5438" y="6132"/>
                  <a:pt x="5749" y="6132"/>
                  <a:pt x="5941" y="5941"/>
                </a:cubicBezTo>
                <a:cubicBezTo>
                  <a:pt x="6132" y="5749"/>
                  <a:pt x="6132" y="5437"/>
                  <a:pt x="5941" y="5247"/>
                </a:cubicBezTo>
                <a:lnTo>
                  <a:pt x="3858" y="3163"/>
                </a:lnTo>
                <a:cubicBezTo>
                  <a:pt x="3666" y="2971"/>
                  <a:pt x="3355" y="2971"/>
                  <a:pt x="3163" y="3163"/>
                </a:cubicBezTo>
                <a:cubicBezTo>
                  <a:pt x="2972" y="3355"/>
                  <a:pt x="2972" y="3666"/>
                  <a:pt x="3163" y="3857"/>
                </a:cubicBezTo>
                <a:cubicBezTo>
                  <a:pt x="3163" y="3857"/>
                  <a:pt x="5246" y="5941"/>
                  <a:pt x="5246" y="5941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56" name="Shape 2956"/>
          <p:cNvSpPr/>
          <p:nvPr/>
        </p:nvSpPr>
        <p:spPr>
          <a:xfrm>
            <a:off x="1414120" y="463922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415"/>
                </a:moveTo>
                <a:lnTo>
                  <a:pt x="9040" y="18655"/>
                </a:lnTo>
                <a:lnTo>
                  <a:pt x="9327" y="18655"/>
                </a:lnTo>
                <a:cubicBezTo>
                  <a:pt x="9598" y="18655"/>
                  <a:pt x="9818" y="18435"/>
                  <a:pt x="9818" y="18164"/>
                </a:cubicBezTo>
                <a:lnTo>
                  <a:pt x="9818" y="15709"/>
                </a:lnTo>
                <a:lnTo>
                  <a:pt x="11782" y="15709"/>
                </a:lnTo>
                <a:lnTo>
                  <a:pt x="11782" y="18164"/>
                </a:lnTo>
                <a:cubicBezTo>
                  <a:pt x="11782" y="18435"/>
                  <a:pt x="12002" y="18655"/>
                  <a:pt x="12273" y="18655"/>
                </a:cubicBezTo>
                <a:lnTo>
                  <a:pt x="12560" y="18655"/>
                </a:lnTo>
                <a:cubicBezTo>
                  <a:pt x="12560" y="18655"/>
                  <a:pt x="10800" y="20415"/>
                  <a:pt x="10800" y="20415"/>
                </a:cubicBezTo>
                <a:close/>
                <a:moveTo>
                  <a:pt x="13745" y="17673"/>
                </a:moveTo>
                <a:lnTo>
                  <a:pt x="12764" y="17673"/>
                </a:lnTo>
                <a:lnTo>
                  <a:pt x="12764" y="15218"/>
                </a:lnTo>
                <a:cubicBezTo>
                  <a:pt x="12764" y="14947"/>
                  <a:pt x="12544" y="14727"/>
                  <a:pt x="12273" y="14727"/>
                </a:cubicBezTo>
                <a:lnTo>
                  <a:pt x="9327" y="14727"/>
                </a:lnTo>
                <a:cubicBezTo>
                  <a:pt x="9056" y="14727"/>
                  <a:pt x="8836" y="14947"/>
                  <a:pt x="8836" y="15218"/>
                </a:cubicBezTo>
                <a:lnTo>
                  <a:pt x="8836" y="17673"/>
                </a:lnTo>
                <a:lnTo>
                  <a:pt x="7855" y="17673"/>
                </a:lnTo>
                <a:cubicBezTo>
                  <a:pt x="7584" y="17673"/>
                  <a:pt x="7364" y="17892"/>
                  <a:pt x="7364" y="18164"/>
                </a:cubicBezTo>
                <a:cubicBezTo>
                  <a:pt x="7364" y="18299"/>
                  <a:pt x="7419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5" y="21600"/>
                  <a:pt x="10800" y="21600"/>
                </a:cubicBezTo>
                <a:cubicBezTo>
                  <a:pt x="10935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1" y="18422"/>
                  <a:pt x="14236" y="18299"/>
                  <a:pt x="14236" y="18164"/>
                </a:cubicBezTo>
                <a:cubicBezTo>
                  <a:pt x="14236" y="17892"/>
                  <a:pt x="14016" y="17673"/>
                  <a:pt x="13745" y="17673"/>
                </a:cubicBezTo>
                <a:moveTo>
                  <a:pt x="5891" y="10800"/>
                </a:moveTo>
                <a:cubicBezTo>
                  <a:pt x="5891" y="8088"/>
                  <a:pt x="8089" y="5891"/>
                  <a:pt x="10800" y="5891"/>
                </a:cubicBezTo>
                <a:cubicBezTo>
                  <a:pt x="13511" y="5891"/>
                  <a:pt x="15709" y="8088"/>
                  <a:pt x="15709" y="10800"/>
                </a:cubicBezTo>
                <a:cubicBezTo>
                  <a:pt x="15709" y="10800"/>
                  <a:pt x="5891" y="10800"/>
                  <a:pt x="5891" y="10800"/>
                </a:cubicBezTo>
                <a:close/>
                <a:moveTo>
                  <a:pt x="21109" y="10800"/>
                </a:moveTo>
                <a:lnTo>
                  <a:pt x="16691" y="10800"/>
                </a:lnTo>
                <a:cubicBezTo>
                  <a:pt x="16691" y="7547"/>
                  <a:pt x="14053" y="4909"/>
                  <a:pt x="10800" y="4909"/>
                </a:cubicBezTo>
                <a:cubicBezTo>
                  <a:pt x="7547" y="4909"/>
                  <a:pt x="4909" y="7547"/>
                  <a:pt x="4909" y="10800"/>
                </a:cubicBezTo>
                <a:lnTo>
                  <a:pt x="491" y="10800"/>
                </a:lnTo>
                <a:cubicBezTo>
                  <a:pt x="220" y="10800"/>
                  <a:pt x="0" y="11020"/>
                  <a:pt x="0" y="11291"/>
                </a:cubicBezTo>
                <a:cubicBezTo>
                  <a:pt x="0" y="11562"/>
                  <a:pt x="220" y="11782"/>
                  <a:pt x="491" y="11782"/>
                </a:cubicBezTo>
                <a:lnTo>
                  <a:pt x="21109" y="11782"/>
                </a:lnTo>
                <a:cubicBezTo>
                  <a:pt x="21380" y="11782"/>
                  <a:pt x="21600" y="11562"/>
                  <a:pt x="21600" y="11291"/>
                </a:cubicBezTo>
                <a:cubicBezTo>
                  <a:pt x="21600" y="11020"/>
                  <a:pt x="21380" y="10800"/>
                  <a:pt x="21109" y="10800"/>
                </a:cubicBezTo>
                <a:moveTo>
                  <a:pt x="10800" y="3927"/>
                </a:moveTo>
                <a:cubicBezTo>
                  <a:pt x="11071" y="3927"/>
                  <a:pt x="11291" y="3708"/>
                  <a:pt x="11291" y="3436"/>
                </a:cubicBez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3436"/>
                </a:lnTo>
                <a:cubicBezTo>
                  <a:pt x="10309" y="3708"/>
                  <a:pt x="10529" y="3927"/>
                  <a:pt x="10800" y="3927"/>
                </a:cubicBezTo>
                <a:moveTo>
                  <a:pt x="16354" y="5940"/>
                </a:moveTo>
                <a:lnTo>
                  <a:pt x="18437" y="3857"/>
                </a:lnTo>
                <a:cubicBezTo>
                  <a:pt x="18628" y="3666"/>
                  <a:pt x="18628" y="3355"/>
                  <a:pt x="18437" y="3163"/>
                </a:cubicBezTo>
                <a:cubicBezTo>
                  <a:pt x="18245" y="2971"/>
                  <a:pt x="17934" y="2971"/>
                  <a:pt x="17742" y="3163"/>
                </a:cubicBezTo>
                <a:lnTo>
                  <a:pt x="15659" y="5247"/>
                </a:lnTo>
                <a:cubicBezTo>
                  <a:pt x="15468" y="5437"/>
                  <a:pt x="15468" y="5749"/>
                  <a:pt x="15659" y="5940"/>
                </a:cubicBezTo>
                <a:cubicBezTo>
                  <a:pt x="15851" y="6132"/>
                  <a:pt x="16162" y="6132"/>
                  <a:pt x="16354" y="5940"/>
                </a:cubicBezTo>
                <a:moveTo>
                  <a:pt x="5246" y="5940"/>
                </a:moveTo>
                <a:cubicBezTo>
                  <a:pt x="5438" y="6132"/>
                  <a:pt x="5749" y="6132"/>
                  <a:pt x="5941" y="5940"/>
                </a:cubicBezTo>
                <a:cubicBezTo>
                  <a:pt x="6132" y="5749"/>
                  <a:pt x="6132" y="5437"/>
                  <a:pt x="5941" y="5247"/>
                </a:cubicBezTo>
                <a:lnTo>
                  <a:pt x="3858" y="3163"/>
                </a:lnTo>
                <a:cubicBezTo>
                  <a:pt x="3666" y="2971"/>
                  <a:pt x="3355" y="2971"/>
                  <a:pt x="3163" y="3163"/>
                </a:cubicBezTo>
                <a:cubicBezTo>
                  <a:pt x="2972" y="3355"/>
                  <a:pt x="2972" y="3666"/>
                  <a:pt x="3163" y="3857"/>
                </a:cubicBezTo>
                <a:cubicBezTo>
                  <a:pt x="3163" y="3857"/>
                  <a:pt x="5246" y="5940"/>
                  <a:pt x="5246" y="5940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57" name="Shape 2957"/>
          <p:cNvSpPr/>
          <p:nvPr/>
        </p:nvSpPr>
        <p:spPr>
          <a:xfrm>
            <a:off x="1947381" y="463922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185"/>
                </a:moveTo>
                <a:lnTo>
                  <a:pt x="12560" y="2945"/>
                </a:lnTo>
                <a:lnTo>
                  <a:pt x="12273" y="2945"/>
                </a:lnTo>
                <a:cubicBezTo>
                  <a:pt x="12002" y="2945"/>
                  <a:pt x="11782" y="3165"/>
                  <a:pt x="11782" y="3436"/>
                </a:cubicBezTo>
                <a:lnTo>
                  <a:pt x="11782" y="5891"/>
                </a:lnTo>
                <a:lnTo>
                  <a:pt x="9818" y="5891"/>
                </a:lnTo>
                <a:lnTo>
                  <a:pt x="9818" y="3436"/>
                </a:lnTo>
                <a:cubicBezTo>
                  <a:pt x="9818" y="3165"/>
                  <a:pt x="9598" y="2945"/>
                  <a:pt x="9327" y="2945"/>
                </a:cubicBezTo>
                <a:lnTo>
                  <a:pt x="9040" y="2945"/>
                </a:lnTo>
                <a:cubicBezTo>
                  <a:pt x="9040" y="2945"/>
                  <a:pt x="10800" y="1185"/>
                  <a:pt x="10800" y="1185"/>
                </a:cubicBezTo>
                <a:close/>
                <a:moveTo>
                  <a:pt x="7855" y="3927"/>
                </a:moveTo>
                <a:lnTo>
                  <a:pt x="8836" y="3927"/>
                </a:lnTo>
                <a:lnTo>
                  <a:pt x="8836" y="6382"/>
                </a:lnTo>
                <a:cubicBezTo>
                  <a:pt x="8836" y="6653"/>
                  <a:pt x="9056" y="6873"/>
                  <a:pt x="9327" y="6873"/>
                </a:cubicBezTo>
                <a:lnTo>
                  <a:pt x="12273" y="6873"/>
                </a:lnTo>
                <a:cubicBezTo>
                  <a:pt x="12544" y="6873"/>
                  <a:pt x="12764" y="6653"/>
                  <a:pt x="12764" y="6382"/>
                </a:cubicBezTo>
                <a:lnTo>
                  <a:pt x="12764" y="3927"/>
                </a:lnTo>
                <a:lnTo>
                  <a:pt x="13745" y="3927"/>
                </a:lnTo>
                <a:cubicBezTo>
                  <a:pt x="14016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9" y="55"/>
                  <a:pt x="10935" y="0"/>
                  <a:pt x="10800" y="0"/>
                </a:cubicBezTo>
                <a:cubicBezTo>
                  <a:pt x="10665" y="0"/>
                  <a:pt x="10542" y="55"/>
                  <a:pt x="10452" y="144"/>
                </a:cubicBezTo>
                <a:lnTo>
                  <a:pt x="7507" y="3089"/>
                </a:lnTo>
                <a:cubicBezTo>
                  <a:pt x="7419" y="3178"/>
                  <a:pt x="7364" y="3301"/>
                  <a:pt x="7364" y="3436"/>
                </a:cubicBezTo>
                <a:cubicBezTo>
                  <a:pt x="7364" y="3708"/>
                  <a:pt x="7584" y="3927"/>
                  <a:pt x="7855" y="3927"/>
                </a:cubicBezTo>
                <a:moveTo>
                  <a:pt x="5246" y="15759"/>
                </a:moveTo>
                <a:cubicBezTo>
                  <a:pt x="5438" y="15950"/>
                  <a:pt x="5749" y="15950"/>
                  <a:pt x="5941" y="15759"/>
                </a:cubicBezTo>
                <a:cubicBezTo>
                  <a:pt x="6132" y="15567"/>
                  <a:pt x="6132" y="15256"/>
                  <a:pt x="5941" y="15064"/>
                </a:cubicBezTo>
                <a:lnTo>
                  <a:pt x="3858" y="12981"/>
                </a:lnTo>
                <a:cubicBezTo>
                  <a:pt x="3666" y="12790"/>
                  <a:pt x="3355" y="12790"/>
                  <a:pt x="3163" y="12981"/>
                </a:cubicBezTo>
                <a:cubicBezTo>
                  <a:pt x="2971" y="13173"/>
                  <a:pt x="2971" y="13484"/>
                  <a:pt x="3163" y="13675"/>
                </a:cubicBezTo>
                <a:cubicBezTo>
                  <a:pt x="3163" y="13675"/>
                  <a:pt x="5246" y="15759"/>
                  <a:pt x="5246" y="15759"/>
                </a:cubicBezTo>
                <a:close/>
                <a:moveTo>
                  <a:pt x="10309" y="10309"/>
                </a:moveTo>
                <a:lnTo>
                  <a:pt x="10309" y="13255"/>
                </a:lnTo>
                <a:cubicBezTo>
                  <a:pt x="10309" y="13526"/>
                  <a:pt x="10529" y="13745"/>
                  <a:pt x="10800" y="13745"/>
                </a:cubicBezTo>
                <a:cubicBezTo>
                  <a:pt x="11071" y="13745"/>
                  <a:pt x="11291" y="13526"/>
                  <a:pt x="11291" y="13255"/>
                </a:cubicBezTo>
                <a:lnTo>
                  <a:pt x="11291" y="10309"/>
                </a:lnTo>
                <a:cubicBezTo>
                  <a:pt x="11291" y="10038"/>
                  <a:pt x="11071" y="9818"/>
                  <a:pt x="10800" y="9818"/>
                </a:cubicBezTo>
                <a:cubicBezTo>
                  <a:pt x="10529" y="9818"/>
                  <a:pt x="10309" y="10038"/>
                  <a:pt x="10309" y="10309"/>
                </a:cubicBezTo>
                <a:moveTo>
                  <a:pt x="16354" y="15759"/>
                </a:moveTo>
                <a:lnTo>
                  <a:pt x="18437" y="13675"/>
                </a:lnTo>
                <a:cubicBezTo>
                  <a:pt x="18628" y="13484"/>
                  <a:pt x="18628" y="13173"/>
                  <a:pt x="18437" y="12981"/>
                </a:cubicBezTo>
                <a:cubicBezTo>
                  <a:pt x="18245" y="12790"/>
                  <a:pt x="17934" y="12790"/>
                  <a:pt x="17742" y="12981"/>
                </a:cubicBezTo>
                <a:lnTo>
                  <a:pt x="15659" y="15064"/>
                </a:lnTo>
                <a:cubicBezTo>
                  <a:pt x="15468" y="15256"/>
                  <a:pt x="15468" y="15567"/>
                  <a:pt x="15659" y="15759"/>
                </a:cubicBezTo>
                <a:cubicBezTo>
                  <a:pt x="15851" y="15950"/>
                  <a:pt x="16162" y="15950"/>
                  <a:pt x="16354" y="15759"/>
                </a:cubicBezTo>
                <a:moveTo>
                  <a:pt x="5891" y="20618"/>
                </a:moveTo>
                <a:cubicBezTo>
                  <a:pt x="5891" y="17907"/>
                  <a:pt x="8089" y="15709"/>
                  <a:pt x="10800" y="15709"/>
                </a:cubicBezTo>
                <a:cubicBezTo>
                  <a:pt x="13511" y="15709"/>
                  <a:pt x="15709" y="17907"/>
                  <a:pt x="15709" y="20618"/>
                </a:cubicBezTo>
                <a:cubicBezTo>
                  <a:pt x="15709" y="20618"/>
                  <a:pt x="5891" y="20618"/>
                  <a:pt x="5891" y="20618"/>
                </a:cubicBezTo>
                <a:close/>
                <a:moveTo>
                  <a:pt x="21109" y="20618"/>
                </a:moveTo>
                <a:lnTo>
                  <a:pt x="16691" y="20618"/>
                </a:lnTo>
                <a:cubicBezTo>
                  <a:pt x="16691" y="17365"/>
                  <a:pt x="14053" y="14727"/>
                  <a:pt x="10800" y="14727"/>
                </a:cubicBezTo>
                <a:cubicBezTo>
                  <a:pt x="7547" y="14727"/>
                  <a:pt x="4909" y="17365"/>
                  <a:pt x="4909" y="20618"/>
                </a:cubicBezTo>
                <a:lnTo>
                  <a:pt x="491" y="20618"/>
                </a:lnTo>
                <a:cubicBezTo>
                  <a:pt x="220" y="20618"/>
                  <a:pt x="0" y="20838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cubicBezTo>
                  <a:pt x="21600" y="20838"/>
                  <a:pt x="21380" y="20618"/>
                  <a:pt x="21109" y="20618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58" name="Shape 2958"/>
          <p:cNvSpPr/>
          <p:nvPr/>
        </p:nvSpPr>
        <p:spPr>
          <a:xfrm>
            <a:off x="2480642" y="463922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964"/>
                </a:moveTo>
                <a:lnTo>
                  <a:pt x="19636" y="1964"/>
                </a:lnTo>
                <a:lnTo>
                  <a:pt x="18900" y="0"/>
                </a:lnTo>
                <a:lnTo>
                  <a:pt x="18164" y="1964"/>
                </a:lnTo>
                <a:lnTo>
                  <a:pt x="16200" y="1964"/>
                </a:lnTo>
                <a:lnTo>
                  <a:pt x="17795" y="3191"/>
                </a:lnTo>
                <a:lnTo>
                  <a:pt x="17059" y="5400"/>
                </a:lnTo>
                <a:lnTo>
                  <a:pt x="18900" y="4050"/>
                </a:lnTo>
                <a:lnTo>
                  <a:pt x="20741" y="5400"/>
                </a:lnTo>
                <a:lnTo>
                  <a:pt x="20005" y="3191"/>
                </a:lnTo>
                <a:cubicBezTo>
                  <a:pt x="20005" y="3191"/>
                  <a:pt x="21600" y="1964"/>
                  <a:pt x="21600" y="1964"/>
                </a:cubicBezTo>
                <a:close/>
                <a:moveTo>
                  <a:pt x="10800" y="20616"/>
                </a:moveTo>
                <a:cubicBezTo>
                  <a:pt x="5386" y="20616"/>
                  <a:pt x="982" y="16203"/>
                  <a:pt x="982" y="10777"/>
                </a:cubicBezTo>
                <a:cubicBezTo>
                  <a:pt x="982" y="6434"/>
                  <a:pt x="3745" y="2741"/>
                  <a:pt x="7690" y="1441"/>
                </a:cubicBezTo>
                <a:cubicBezTo>
                  <a:pt x="6837" y="3102"/>
                  <a:pt x="6382" y="4957"/>
                  <a:pt x="6382" y="6841"/>
                </a:cubicBezTo>
                <a:cubicBezTo>
                  <a:pt x="6382" y="13004"/>
                  <a:pt x="11118" y="18079"/>
                  <a:pt x="17134" y="18604"/>
                </a:cubicBezTo>
                <a:cubicBezTo>
                  <a:pt x="15361" y="19863"/>
                  <a:pt x="13065" y="20616"/>
                  <a:pt x="10800" y="20616"/>
                </a:cubicBezTo>
                <a:moveTo>
                  <a:pt x="7364" y="6841"/>
                </a:moveTo>
                <a:cubicBezTo>
                  <a:pt x="7364" y="4248"/>
                  <a:pt x="8276" y="1870"/>
                  <a:pt x="9794" y="5"/>
                </a:cubicBezTo>
                <a:cubicBezTo>
                  <a:pt x="4302" y="514"/>
                  <a:pt x="0" y="5140"/>
                  <a:pt x="0" y="10777"/>
                </a:cubicBezTo>
                <a:cubicBezTo>
                  <a:pt x="0" y="16755"/>
                  <a:pt x="4836" y="21600"/>
                  <a:pt x="10800" y="21600"/>
                </a:cubicBezTo>
                <a:cubicBezTo>
                  <a:pt x="14176" y="21600"/>
                  <a:pt x="17656" y="20045"/>
                  <a:pt x="19636" y="17613"/>
                </a:cubicBezTo>
                <a:cubicBezTo>
                  <a:pt x="19305" y="17644"/>
                  <a:pt x="18503" y="17665"/>
                  <a:pt x="18164" y="17665"/>
                </a:cubicBezTo>
                <a:cubicBezTo>
                  <a:pt x="12199" y="17665"/>
                  <a:pt x="7364" y="12819"/>
                  <a:pt x="7364" y="6841"/>
                </a:cubicBezTo>
                <a:moveTo>
                  <a:pt x="17673" y="10309"/>
                </a:moveTo>
                <a:lnTo>
                  <a:pt x="17137" y="11737"/>
                </a:lnTo>
                <a:lnTo>
                  <a:pt x="15709" y="11737"/>
                </a:lnTo>
                <a:lnTo>
                  <a:pt x="16869" y="12629"/>
                </a:lnTo>
                <a:lnTo>
                  <a:pt x="16334" y="14236"/>
                </a:lnTo>
                <a:lnTo>
                  <a:pt x="17673" y="13255"/>
                </a:lnTo>
                <a:lnTo>
                  <a:pt x="19011" y="14236"/>
                </a:lnTo>
                <a:lnTo>
                  <a:pt x="18476" y="12629"/>
                </a:lnTo>
                <a:lnTo>
                  <a:pt x="19636" y="11737"/>
                </a:lnTo>
                <a:lnTo>
                  <a:pt x="18208" y="11737"/>
                </a:lnTo>
                <a:cubicBezTo>
                  <a:pt x="18208" y="11737"/>
                  <a:pt x="17673" y="10309"/>
                  <a:pt x="17673" y="10309"/>
                </a:cubicBezTo>
                <a:close/>
                <a:moveTo>
                  <a:pt x="11425" y="9327"/>
                </a:moveTo>
                <a:lnTo>
                  <a:pt x="12764" y="8345"/>
                </a:lnTo>
                <a:lnTo>
                  <a:pt x="14102" y="9327"/>
                </a:lnTo>
                <a:lnTo>
                  <a:pt x="13567" y="7721"/>
                </a:lnTo>
                <a:lnTo>
                  <a:pt x="14727" y="6828"/>
                </a:lnTo>
                <a:lnTo>
                  <a:pt x="13299" y="6828"/>
                </a:lnTo>
                <a:lnTo>
                  <a:pt x="12764" y="5400"/>
                </a:lnTo>
                <a:lnTo>
                  <a:pt x="12228" y="6828"/>
                </a:lnTo>
                <a:lnTo>
                  <a:pt x="10800" y="6828"/>
                </a:lnTo>
                <a:lnTo>
                  <a:pt x="11960" y="7721"/>
                </a:lnTo>
                <a:cubicBezTo>
                  <a:pt x="11960" y="7721"/>
                  <a:pt x="11425" y="9327"/>
                  <a:pt x="11425" y="9327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59" name="Shape 2959"/>
          <p:cNvSpPr/>
          <p:nvPr/>
        </p:nvSpPr>
        <p:spPr>
          <a:xfrm>
            <a:off x="3013903" y="463922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8836"/>
                </a:moveTo>
                <a:cubicBezTo>
                  <a:pt x="6770" y="8836"/>
                  <a:pt x="5891" y="7957"/>
                  <a:pt x="5891" y="6873"/>
                </a:cubicBezTo>
                <a:cubicBezTo>
                  <a:pt x="5891" y="5788"/>
                  <a:pt x="6770" y="4909"/>
                  <a:pt x="7855" y="4909"/>
                </a:cubicBezTo>
                <a:cubicBezTo>
                  <a:pt x="8939" y="4909"/>
                  <a:pt x="9818" y="5788"/>
                  <a:pt x="9818" y="6873"/>
                </a:cubicBezTo>
                <a:cubicBezTo>
                  <a:pt x="9818" y="7957"/>
                  <a:pt x="8939" y="8836"/>
                  <a:pt x="7855" y="8836"/>
                </a:cubicBezTo>
                <a:moveTo>
                  <a:pt x="7855" y="3927"/>
                </a:moveTo>
                <a:cubicBezTo>
                  <a:pt x="6228" y="3927"/>
                  <a:pt x="4909" y="5247"/>
                  <a:pt x="4909" y="6873"/>
                </a:cubicBezTo>
                <a:cubicBezTo>
                  <a:pt x="4909" y="8500"/>
                  <a:pt x="6228" y="9818"/>
                  <a:pt x="7855" y="9818"/>
                </a:cubicBezTo>
                <a:cubicBezTo>
                  <a:pt x="9481" y="9818"/>
                  <a:pt x="10800" y="8500"/>
                  <a:pt x="10800" y="6873"/>
                </a:cubicBezTo>
                <a:cubicBezTo>
                  <a:pt x="10800" y="5247"/>
                  <a:pt x="9481" y="3927"/>
                  <a:pt x="7855" y="3927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2273" y="10800"/>
                </a:moveTo>
                <a:cubicBezTo>
                  <a:pt x="12002" y="10800"/>
                  <a:pt x="11782" y="11020"/>
                  <a:pt x="11782" y="11291"/>
                </a:cubicBezTo>
                <a:cubicBezTo>
                  <a:pt x="11782" y="11562"/>
                  <a:pt x="12002" y="11782"/>
                  <a:pt x="12273" y="11782"/>
                </a:cubicBezTo>
                <a:cubicBezTo>
                  <a:pt x="12544" y="11782"/>
                  <a:pt x="12764" y="11562"/>
                  <a:pt x="12764" y="11291"/>
                </a:cubicBezTo>
                <a:cubicBezTo>
                  <a:pt x="12764" y="11020"/>
                  <a:pt x="12544" y="10800"/>
                  <a:pt x="12273" y="10800"/>
                </a:cubicBezTo>
                <a:moveTo>
                  <a:pt x="9327" y="15709"/>
                </a:moveTo>
                <a:cubicBezTo>
                  <a:pt x="9056" y="15709"/>
                  <a:pt x="8836" y="15490"/>
                  <a:pt x="8836" y="15218"/>
                </a:cubicBezTo>
                <a:cubicBezTo>
                  <a:pt x="8836" y="14947"/>
                  <a:pt x="9056" y="14727"/>
                  <a:pt x="9327" y="14727"/>
                </a:cubicBezTo>
                <a:cubicBezTo>
                  <a:pt x="9598" y="14727"/>
                  <a:pt x="9818" y="14947"/>
                  <a:pt x="9818" y="15218"/>
                </a:cubicBezTo>
                <a:cubicBezTo>
                  <a:pt x="9818" y="15490"/>
                  <a:pt x="9598" y="15709"/>
                  <a:pt x="9327" y="15709"/>
                </a:cubicBezTo>
                <a:moveTo>
                  <a:pt x="9327" y="13745"/>
                </a:moveTo>
                <a:cubicBezTo>
                  <a:pt x="8514" y="13745"/>
                  <a:pt x="7855" y="14405"/>
                  <a:pt x="7855" y="15218"/>
                </a:cubicBezTo>
                <a:cubicBezTo>
                  <a:pt x="7855" y="16032"/>
                  <a:pt x="8514" y="16691"/>
                  <a:pt x="9327" y="16691"/>
                </a:cubicBezTo>
                <a:cubicBezTo>
                  <a:pt x="10141" y="16691"/>
                  <a:pt x="10800" y="16032"/>
                  <a:pt x="10800" y="15218"/>
                </a:cubicBezTo>
                <a:cubicBezTo>
                  <a:pt x="10800" y="14405"/>
                  <a:pt x="10141" y="13745"/>
                  <a:pt x="9327" y="13745"/>
                </a:cubicBezTo>
                <a:moveTo>
                  <a:pt x="4909" y="11782"/>
                </a:moveTo>
                <a:cubicBezTo>
                  <a:pt x="4367" y="11782"/>
                  <a:pt x="3927" y="12222"/>
                  <a:pt x="3927" y="12764"/>
                </a:cubicBezTo>
                <a:cubicBezTo>
                  <a:pt x="3927" y="13305"/>
                  <a:pt x="4367" y="13745"/>
                  <a:pt x="4909" y="13745"/>
                </a:cubicBezTo>
                <a:cubicBezTo>
                  <a:pt x="5451" y="13745"/>
                  <a:pt x="5891" y="13305"/>
                  <a:pt x="5891" y="12764"/>
                </a:cubicBezTo>
                <a:cubicBezTo>
                  <a:pt x="5891" y="12222"/>
                  <a:pt x="5451" y="11782"/>
                  <a:pt x="4909" y="11782"/>
                </a:cubicBezTo>
                <a:moveTo>
                  <a:pt x="14236" y="16691"/>
                </a:moveTo>
                <a:cubicBezTo>
                  <a:pt x="13966" y="16691"/>
                  <a:pt x="13745" y="16911"/>
                  <a:pt x="13745" y="17182"/>
                </a:cubicBezTo>
                <a:cubicBezTo>
                  <a:pt x="13745" y="17453"/>
                  <a:pt x="13966" y="17673"/>
                  <a:pt x="14236" y="17673"/>
                </a:cubicBezTo>
                <a:cubicBezTo>
                  <a:pt x="14507" y="17673"/>
                  <a:pt x="14727" y="17453"/>
                  <a:pt x="14727" y="17182"/>
                </a:cubicBezTo>
                <a:cubicBezTo>
                  <a:pt x="14727" y="16911"/>
                  <a:pt x="14507" y="16691"/>
                  <a:pt x="14236" y="16691"/>
                </a:cubicBezTo>
                <a:moveTo>
                  <a:pt x="16691" y="11782"/>
                </a:moveTo>
                <a:cubicBezTo>
                  <a:pt x="16149" y="11782"/>
                  <a:pt x="15709" y="11342"/>
                  <a:pt x="15709" y="10800"/>
                </a:cubicBezTo>
                <a:cubicBezTo>
                  <a:pt x="15709" y="10258"/>
                  <a:pt x="16149" y="9818"/>
                  <a:pt x="16691" y="9818"/>
                </a:cubicBezTo>
                <a:cubicBezTo>
                  <a:pt x="17233" y="9818"/>
                  <a:pt x="17673" y="10258"/>
                  <a:pt x="17673" y="10800"/>
                </a:cubicBezTo>
                <a:cubicBezTo>
                  <a:pt x="17673" y="11342"/>
                  <a:pt x="17233" y="11782"/>
                  <a:pt x="16691" y="11782"/>
                </a:cubicBezTo>
                <a:moveTo>
                  <a:pt x="16691" y="8836"/>
                </a:moveTo>
                <a:cubicBezTo>
                  <a:pt x="15606" y="8836"/>
                  <a:pt x="14727" y="9716"/>
                  <a:pt x="14727" y="10800"/>
                </a:cubicBezTo>
                <a:cubicBezTo>
                  <a:pt x="14727" y="11884"/>
                  <a:pt x="15606" y="12764"/>
                  <a:pt x="16691" y="12764"/>
                </a:cubicBezTo>
                <a:cubicBezTo>
                  <a:pt x="17775" y="12764"/>
                  <a:pt x="18655" y="11884"/>
                  <a:pt x="18655" y="10800"/>
                </a:cubicBezTo>
                <a:cubicBezTo>
                  <a:pt x="18655" y="9716"/>
                  <a:pt x="17775" y="8836"/>
                  <a:pt x="16691" y="8836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60" name="Shape 2960"/>
          <p:cNvSpPr/>
          <p:nvPr/>
        </p:nvSpPr>
        <p:spPr>
          <a:xfrm>
            <a:off x="3547164" y="4677314"/>
            <a:ext cx="279362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16" h="21600" extrusionOk="0">
                <a:moveTo>
                  <a:pt x="17140" y="11946"/>
                </a:moveTo>
                <a:cubicBezTo>
                  <a:pt x="15736" y="13192"/>
                  <a:pt x="13853" y="14375"/>
                  <a:pt x="11542" y="15211"/>
                </a:cubicBezTo>
                <a:cubicBezTo>
                  <a:pt x="9755" y="15857"/>
                  <a:pt x="7947" y="16197"/>
                  <a:pt x="6315" y="16197"/>
                </a:cubicBezTo>
                <a:cubicBezTo>
                  <a:pt x="5843" y="16197"/>
                  <a:pt x="5401" y="16158"/>
                  <a:pt x="4974" y="16102"/>
                </a:cubicBezTo>
                <a:cubicBezTo>
                  <a:pt x="4247" y="14590"/>
                  <a:pt x="3822" y="12766"/>
                  <a:pt x="3822" y="10800"/>
                </a:cubicBezTo>
                <a:cubicBezTo>
                  <a:pt x="3822" y="5581"/>
                  <a:pt x="6815" y="1350"/>
                  <a:pt x="10508" y="1350"/>
                </a:cubicBezTo>
                <a:cubicBezTo>
                  <a:pt x="14201" y="1350"/>
                  <a:pt x="17194" y="5581"/>
                  <a:pt x="17194" y="10800"/>
                </a:cubicBezTo>
                <a:cubicBezTo>
                  <a:pt x="17194" y="11189"/>
                  <a:pt x="17172" y="11570"/>
                  <a:pt x="17140" y="11946"/>
                </a:cubicBezTo>
                <a:moveTo>
                  <a:pt x="10508" y="20250"/>
                </a:moveTo>
                <a:cubicBezTo>
                  <a:pt x="8681" y="20250"/>
                  <a:pt x="7028" y="19212"/>
                  <a:pt x="5821" y="17534"/>
                </a:cubicBezTo>
                <a:cubicBezTo>
                  <a:pt x="5984" y="17541"/>
                  <a:pt x="6147" y="17547"/>
                  <a:pt x="6315" y="17547"/>
                </a:cubicBezTo>
                <a:cubicBezTo>
                  <a:pt x="7976" y="17547"/>
                  <a:pt x="9848" y="17215"/>
                  <a:pt x="11778" y="16518"/>
                </a:cubicBezTo>
                <a:cubicBezTo>
                  <a:pt x="13697" y="15824"/>
                  <a:pt x="15425" y="14854"/>
                  <a:pt x="16859" y="13742"/>
                </a:cubicBezTo>
                <a:cubicBezTo>
                  <a:pt x="15984" y="17519"/>
                  <a:pt x="13473" y="20250"/>
                  <a:pt x="10508" y="20250"/>
                </a:cubicBezTo>
                <a:moveTo>
                  <a:pt x="20938" y="6356"/>
                </a:moveTo>
                <a:cubicBezTo>
                  <a:pt x="20592" y="4617"/>
                  <a:pt x="19141" y="3452"/>
                  <a:pt x="17072" y="2964"/>
                </a:cubicBezTo>
                <a:cubicBezTo>
                  <a:pt x="17380" y="3481"/>
                  <a:pt x="17660" y="4034"/>
                  <a:pt x="17905" y="4620"/>
                </a:cubicBezTo>
                <a:cubicBezTo>
                  <a:pt x="19058" y="5088"/>
                  <a:pt x="19838" y="5815"/>
                  <a:pt x="20018" y="6721"/>
                </a:cubicBezTo>
                <a:cubicBezTo>
                  <a:pt x="20123" y="7246"/>
                  <a:pt x="20033" y="7861"/>
                  <a:pt x="19752" y="8549"/>
                </a:cubicBezTo>
                <a:cubicBezTo>
                  <a:pt x="19449" y="9292"/>
                  <a:pt x="18904" y="10122"/>
                  <a:pt x="18143" y="10958"/>
                </a:cubicBezTo>
                <a:cubicBezTo>
                  <a:pt x="18144" y="10905"/>
                  <a:pt x="18149" y="10853"/>
                  <a:pt x="18149" y="10800"/>
                </a:cubicBezTo>
                <a:cubicBezTo>
                  <a:pt x="18149" y="4835"/>
                  <a:pt x="14728" y="0"/>
                  <a:pt x="10508" y="0"/>
                </a:cubicBezTo>
                <a:cubicBezTo>
                  <a:pt x="6288" y="0"/>
                  <a:pt x="2867" y="4835"/>
                  <a:pt x="2867" y="10800"/>
                </a:cubicBezTo>
                <a:cubicBezTo>
                  <a:pt x="2867" y="12627"/>
                  <a:pt x="3190" y="14345"/>
                  <a:pt x="3756" y="15853"/>
                </a:cubicBezTo>
                <a:cubicBezTo>
                  <a:pt x="2245" y="15418"/>
                  <a:pt x="1209" y="14595"/>
                  <a:pt x="997" y="13528"/>
                </a:cubicBezTo>
                <a:cubicBezTo>
                  <a:pt x="893" y="13003"/>
                  <a:pt x="982" y="12389"/>
                  <a:pt x="1263" y="11700"/>
                </a:cubicBezTo>
                <a:cubicBezTo>
                  <a:pt x="1416" y="11327"/>
                  <a:pt x="1650" y="10926"/>
                  <a:pt x="1922" y="10518"/>
                </a:cubicBezTo>
                <a:cubicBezTo>
                  <a:pt x="1933" y="9817"/>
                  <a:pt x="1982" y="9128"/>
                  <a:pt x="2074" y="8461"/>
                </a:cubicBezTo>
                <a:cubicBezTo>
                  <a:pt x="528" y="10248"/>
                  <a:pt x="-261" y="12188"/>
                  <a:pt x="78" y="13893"/>
                </a:cubicBezTo>
                <a:cubicBezTo>
                  <a:pt x="452" y="15777"/>
                  <a:pt x="2118" y="16988"/>
                  <a:pt x="4465" y="17394"/>
                </a:cubicBezTo>
                <a:cubicBezTo>
                  <a:pt x="5863" y="19948"/>
                  <a:pt x="8046" y="21600"/>
                  <a:pt x="10508" y="21600"/>
                </a:cubicBezTo>
                <a:cubicBezTo>
                  <a:pt x="14255" y="21600"/>
                  <a:pt x="17365" y="17785"/>
                  <a:pt x="18017" y="12755"/>
                </a:cubicBezTo>
                <a:cubicBezTo>
                  <a:pt x="20167" y="10724"/>
                  <a:pt x="21339" y="8374"/>
                  <a:pt x="20938" y="6356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61" name="Shape 2961"/>
          <p:cNvSpPr/>
          <p:nvPr/>
        </p:nvSpPr>
        <p:spPr>
          <a:xfrm>
            <a:off x="4118515" y="4639224"/>
            <a:ext cx="20314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581" y="20618"/>
                  <a:pt x="1350" y="17422"/>
                  <a:pt x="1350" y="13478"/>
                </a:cubicBezTo>
                <a:cubicBezTo>
                  <a:pt x="1350" y="8836"/>
                  <a:pt x="10125" y="1166"/>
                  <a:pt x="10800" y="1166"/>
                </a:cubicBezTo>
                <a:cubicBezTo>
                  <a:pt x="11475" y="1166"/>
                  <a:pt x="20250" y="8836"/>
                  <a:pt x="20250" y="13478"/>
                </a:cubicBezTo>
                <a:cubicBezTo>
                  <a:pt x="20250" y="17422"/>
                  <a:pt x="16019" y="20618"/>
                  <a:pt x="10800" y="20618"/>
                </a:cubicBezTo>
                <a:moveTo>
                  <a:pt x="10800" y="0"/>
                </a:moveTo>
                <a:cubicBezTo>
                  <a:pt x="9450" y="0"/>
                  <a:pt x="0" y="8345"/>
                  <a:pt x="0" y="13745"/>
                </a:cubicBezTo>
                <a:cubicBezTo>
                  <a:pt x="0" y="18083"/>
                  <a:pt x="4836" y="21600"/>
                  <a:pt x="10800" y="21600"/>
                </a:cubicBezTo>
                <a:cubicBezTo>
                  <a:pt x="16765" y="21600"/>
                  <a:pt x="21600" y="18083"/>
                  <a:pt x="21600" y="13745"/>
                </a:cubicBezTo>
                <a:cubicBezTo>
                  <a:pt x="21600" y="8345"/>
                  <a:pt x="12150" y="0"/>
                  <a:pt x="10800" y="0"/>
                </a:cubicBezTo>
                <a:moveTo>
                  <a:pt x="10800" y="18655"/>
                </a:moveTo>
                <a:cubicBezTo>
                  <a:pt x="7072" y="18655"/>
                  <a:pt x="4050" y="16456"/>
                  <a:pt x="4050" y="13745"/>
                </a:cubicBezTo>
                <a:cubicBezTo>
                  <a:pt x="4050" y="13474"/>
                  <a:pt x="3748" y="13255"/>
                  <a:pt x="3375" y="13255"/>
                </a:cubicBezTo>
                <a:cubicBezTo>
                  <a:pt x="3002" y="13255"/>
                  <a:pt x="2700" y="13474"/>
                  <a:pt x="2700" y="13745"/>
                </a:cubicBezTo>
                <a:cubicBezTo>
                  <a:pt x="2700" y="16999"/>
                  <a:pt x="6327" y="19636"/>
                  <a:pt x="10800" y="19636"/>
                </a:cubicBezTo>
                <a:cubicBezTo>
                  <a:pt x="11173" y="19636"/>
                  <a:pt x="11475" y="19417"/>
                  <a:pt x="11475" y="19145"/>
                </a:cubicBezTo>
                <a:cubicBezTo>
                  <a:pt x="11475" y="18875"/>
                  <a:pt x="11173" y="18655"/>
                  <a:pt x="10800" y="1865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62" name="Shape 2962"/>
          <p:cNvSpPr/>
          <p:nvPr/>
        </p:nvSpPr>
        <p:spPr>
          <a:xfrm>
            <a:off x="4613686" y="463922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745" y="3927"/>
                </a:moveTo>
                <a:cubicBezTo>
                  <a:pt x="13204" y="3927"/>
                  <a:pt x="12764" y="4367"/>
                  <a:pt x="12764" y="4909"/>
                </a:cubicBezTo>
                <a:cubicBezTo>
                  <a:pt x="12764" y="5451"/>
                  <a:pt x="13204" y="5891"/>
                  <a:pt x="13745" y="5891"/>
                </a:cubicBezTo>
                <a:cubicBezTo>
                  <a:pt x="14287" y="5891"/>
                  <a:pt x="14727" y="5451"/>
                  <a:pt x="14727" y="4909"/>
                </a:cubicBezTo>
                <a:cubicBezTo>
                  <a:pt x="14727" y="4367"/>
                  <a:pt x="14287" y="3927"/>
                  <a:pt x="13745" y="3927"/>
                </a:cubicBezTo>
                <a:moveTo>
                  <a:pt x="16691" y="7855"/>
                </a:moveTo>
                <a:cubicBezTo>
                  <a:pt x="16149" y="7855"/>
                  <a:pt x="15709" y="8295"/>
                  <a:pt x="15709" y="8836"/>
                </a:cubicBezTo>
                <a:cubicBezTo>
                  <a:pt x="15709" y="9378"/>
                  <a:pt x="16149" y="9818"/>
                  <a:pt x="16691" y="9818"/>
                </a:cubicBezTo>
                <a:cubicBezTo>
                  <a:pt x="17233" y="9818"/>
                  <a:pt x="17673" y="9378"/>
                  <a:pt x="17673" y="8836"/>
                </a:cubicBezTo>
                <a:cubicBezTo>
                  <a:pt x="17673" y="8295"/>
                  <a:pt x="17233" y="7855"/>
                  <a:pt x="16691" y="7855"/>
                </a:cubicBezTo>
                <a:moveTo>
                  <a:pt x="7855" y="4909"/>
                </a:moveTo>
                <a:cubicBezTo>
                  <a:pt x="7313" y="4909"/>
                  <a:pt x="6873" y="5349"/>
                  <a:pt x="6873" y="5891"/>
                </a:cubicBezTo>
                <a:cubicBezTo>
                  <a:pt x="6873" y="6433"/>
                  <a:pt x="7313" y="6873"/>
                  <a:pt x="7855" y="6873"/>
                </a:cubicBezTo>
                <a:cubicBezTo>
                  <a:pt x="8396" y="6873"/>
                  <a:pt x="8836" y="6433"/>
                  <a:pt x="8836" y="5891"/>
                </a:cubicBezTo>
                <a:cubicBezTo>
                  <a:pt x="8836" y="5349"/>
                  <a:pt x="8396" y="4909"/>
                  <a:pt x="7855" y="4909"/>
                </a:cubicBezTo>
                <a:moveTo>
                  <a:pt x="3927" y="7855"/>
                </a:moveTo>
                <a:cubicBezTo>
                  <a:pt x="3385" y="7855"/>
                  <a:pt x="2945" y="8295"/>
                  <a:pt x="2945" y="8836"/>
                </a:cubicBezTo>
                <a:cubicBezTo>
                  <a:pt x="2945" y="9378"/>
                  <a:pt x="3385" y="9818"/>
                  <a:pt x="3927" y="9818"/>
                </a:cubicBezTo>
                <a:cubicBezTo>
                  <a:pt x="4469" y="9818"/>
                  <a:pt x="4909" y="9378"/>
                  <a:pt x="4909" y="8836"/>
                </a:cubicBezTo>
                <a:cubicBezTo>
                  <a:pt x="4909" y="8295"/>
                  <a:pt x="4469" y="7855"/>
                  <a:pt x="3927" y="7855"/>
                </a:cubicBezTo>
                <a:moveTo>
                  <a:pt x="1008" y="10800"/>
                </a:moveTo>
                <a:cubicBezTo>
                  <a:pt x="1278" y="5878"/>
                  <a:pt x="5552" y="1964"/>
                  <a:pt x="10800" y="1964"/>
                </a:cubicBezTo>
                <a:cubicBezTo>
                  <a:pt x="16048" y="1964"/>
                  <a:pt x="20322" y="5878"/>
                  <a:pt x="20592" y="10800"/>
                </a:cubicBezTo>
                <a:cubicBezTo>
                  <a:pt x="20592" y="10800"/>
                  <a:pt x="1008" y="10800"/>
                  <a:pt x="1008" y="10800"/>
                </a:cubicBezTo>
                <a:close/>
                <a:moveTo>
                  <a:pt x="11291" y="1005"/>
                </a:move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005"/>
                </a:lnTo>
                <a:cubicBezTo>
                  <a:pt x="4574" y="1252"/>
                  <a:pt x="0" y="5756"/>
                  <a:pt x="0" y="11291"/>
                </a:cubicBezTo>
                <a:cubicBezTo>
                  <a:pt x="0" y="11562"/>
                  <a:pt x="220" y="11782"/>
                  <a:pt x="491" y="11782"/>
                </a:cubicBezTo>
                <a:lnTo>
                  <a:pt x="10309" y="11782"/>
                </a:lnTo>
                <a:lnTo>
                  <a:pt x="10309" y="18655"/>
                </a:lnTo>
                <a:cubicBezTo>
                  <a:pt x="10309" y="19739"/>
                  <a:pt x="9430" y="20618"/>
                  <a:pt x="8345" y="20618"/>
                </a:cubicBezTo>
                <a:cubicBezTo>
                  <a:pt x="7261" y="20618"/>
                  <a:pt x="6382" y="19739"/>
                  <a:pt x="6382" y="18655"/>
                </a:cubicBezTo>
                <a:cubicBezTo>
                  <a:pt x="6382" y="18383"/>
                  <a:pt x="6162" y="18164"/>
                  <a:pt x="5891" y="18164"/>
                </a:cubicBezTo>
                <a:cubicBezTo>
                  <a:pt x="5620" y="18164"/>
                  <a:pt x="5400" y="18383"/>
                  <a:pt x="5400" y="18655"/>
                </a:cubicBezTo>
                <a:cubicBezTo>
                  <a:pt x="5400" y="20281"/>
                  <a:pt x="6719" y="21600"/>
                  <a:pt x="8345" y="21600"/>
                </a:cubicBezTo>
                <a:cubicBezTo>
                  <a:pt x="9804" y="21600"/>
                  <a:pt x="11007" y="20537"/>
                  <a:pt x="11242" y="19145"/>
                </a:cubicBezTo>
                <a:lnTo>
                  <a:pt x="11291" y="19145"/>
                </a:lnTo>
                <a:lnTo>
                  <a:pt x="11291" y="11782"/>
                </a:lnTo>
                <a:lnTo>
                  <a:pt x="21109" y="11782"/>
                </a:lnTo>
                <a:cubicBezTo>
                  <a:pt x="21380" y="11782"/>
                  <a:pt x="21600" y="11562"/>
                  <a:pt x="21600" y="11291"/>
                </a:cubicBezTo>
                <a:cubicBezTo>
                  <a:pt x="21600" y="5756"/>
                  <a:pt x="17026" y="1252"/>
                  <a:pt x="11291" y="1005"/>
                </a:cubicBezTo>
                <a:moveTo>
                  <a:pt x="10800" y="6873"/>
                </a:moveTo>
                <a:cubicBezTo>
                  <a:pt x="10258" y="6873"/>
                  <a:pt x="9818" y="7313"/>
                  <a:pt x="9818" y="7855"/>
                </a:cubicBezTo>
                <a:cubicBezTo>
                  <a:pt x="9818" y="8396"/>
                  <a:pt x="10258" y="8836"/>
                  <a:pt x="10800" y="8836"/>
                </a:cubicBezTo>
                <a:cubicBezTo>
                  <a:pt x="11342" y="8836"/>
                  <a:pt x="11782" y="8396"/>
                  <a:pt x="11782" y="7855"/>
                </a:cubicBezTo>
                <a:cubicBezTo>
                  <a:pt x="11782" y="7313"/>
                  <a:pt x="11342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63" name="Shape 2963"/>
          <p:cNvSpPr/>
          <p:nvPr/>
        </p:nvSpPr>
        <p:spPr>
          <a:xfrm>
            <a:off x="5146947" y="4702708"/>
            <a:ext cx="279328" cy="1523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2" y="19800"/>
                </a:moveTo>
                <a:cubicBezTo>
                  <a:pt x="18391" y="11772"/>
                  <a:pt x="14982" y="5400"/>
                  <a:pt x="10800" y="5400"/>
                </a:cubicBezTo>
                <a:cubicBezTo>
                  <a:pt x="6618" y="5400"/>
                  <a:pt x="3209" y="11772"/>
                  <a:pt x="2968" y="19800"/>
                </a:cubicBezTo>
                <a:lnTo>
                  <a:pt x="1005" y="19800"/>
                </a:lnTo>
                <a:cubicBezTo>
                  <a:pt x="1251" y="9783"/>
                  <a:pt x="5535" y="1800"/>
                  <a:pt x="10800" y="1800"/>
                </a:cubicBezTo>
                <a:cubicBezTo>
                  <a:pt x="16065" y="1800"/>
                  <a:pt x="20349" y="9783"/>
                  <a:pt x="20595" y="19800"/>
                </a:cubicBezTo>
                <a:cubicBezTo>
                  <a:pt x="20595" y="19800"/>
                  <a:pt x="18632" y="19800"/>
                  <a:pt x="18632" y="19800"/>
                </a:cubicBezTo>
                <a:close/>
                <a:moveTo>
                  <a:pt x="15687" y="19800"/>
                </a:moveTo>
                <a:cubicBezTo>
                  <a:pt x="15461" y="14755"/>
                  <a:pt x="13360" y="10800"/>
                  <a:pt x="10800" y="10800"/>
                </a:cubicBezTo>
                <a:cubicBezTo>
                  <a:pt x="8240" y="10800"/>
                  <a:pt x="6139" y="14755"/>
                  <a:pt x="5913" y="19800"/>
                </a:cubicBezTo>
                <a:lnTo>
                  <a:pt x="3950" y="19800"/>
                </a:lnTo>
                <a:cubicBezTo>
                  <a:pt x="4187" y="12767"/>
                  <a:pt x="7159" y="7200"/>
                  <a:pt x="10800" y="7200"/>
                </a:cubicBezTo>
                <a:cubicBezTo>
                  <a:pt x="14441" y="7200"/>
                  <a:pt x="17413" y="12767"/>
                  <a:pt x="17650" y="19800"/>
                </a:cubicBezTo>
                <a:cubicBezTo>
                  <a:pt x="17650" y="19800"/>
                  <a:pt x="15687" y="19800"/>
                  <a:pt x="15687" y="19800"/>
                </a:cubicBezTo>
                <a:close/>
                <a:moveTo>
                  <a:pt x="12724" y="19800"/>
                </a:moveTo>
                <a:cubicBezTo>
                  <a:pt x="12542" y="17747"/>
                  <a:pt x="11750" y="16200"/>
                  <a:pt x="10800" y="16200"/>
                </a:cubicBezTo>
                <a:cubicBezTo>
                  <a:pt x="9850" y="16200"/>
                  <a:pt x="9058" y="17747"/>
                  <a:pt x="8876" y="19800"/>
                </a:cubicBezTo>
                <a:lnTo>
                  <a:pt x="6899" y="19800"/>
                </a:lnTo>
                <a:cubicBezTo>
                  <a:pt x="7115" y="15751"/>
                  <a:pt x="8779" y="12600"/>
                  <a:pt x="10800" y="12600"/>
                </a:cubicBezTo>
                <a:cubicBezTo>
                  <a:pt x="12821" y="12600"/>
                  <a:pt x="14485" y="15751"/>
                  <a:pt x="14701" y="19800"/>
                </a:cubicBezTo>
                <a:cubicBezTo>
                  <a:pt x="14701" y="19800"/>
                  <a:pt x="12724" y="19800"/>
                  <a:pt x="12724" y="19800"/>
                </a:cubicBezTo>
                <a:close/>
                <a:moveTo>
                  <a:pt x="10800" y="0"/>
                </a:moveTo>
                <a:cubicBezTo>
                  <a:pt x="4835" y="0"/>
                  <a:pt x="0" y="9268"/>
                  <a:pt x="0" y="20700"/>
                </a:cubicBezTo>
                <a:cubicBezTo>
                  <a:pt x="0" y="21197"/>
                  <a:pt x="220" y="21600"/>
                  <a:pt x="491" y="21600"/>
                </a:cubicBezTo>
                <a:lnTo>
                  <a:pt x="9327" y="21600"/>
                </a:lnTo>
                <a:cubicBezTo>
                  <a:pt x="9599" y="21600"/>
                  <a:pt x="9818" y="21197"/>
                  <a:pt x="9818" y="20700"/>
                </a:cubicBezTo>
                <a:cubicBezTo>
                  <a:pt x="9818" y="19209"/>
                  <a:pt x="10258" y="18000"/>
                  <a:pt x="10800" y="18000"/>
                </a:cubicBezTo>
                <a:cubicBezTo>
                  <a:pt x="11342" y="18000"/>
                  <a:pt x="11782" y="19209"/>
                  <a:pt x="11782" y="20700"/>
                </a:cubicBezTo>
                <a:cubicBezTo>
                  <a:pt x="11782" y="21197"/>
                  <a:pt x="12001" y="21600"/>
                  <a:pt x="12273" y="21600"/>
                </a:cubicBezTo>
                <a:lnTo>
                  <a:pt x="21109" y="21600"/>
                </a:lnTo>
                <a:cubicBezTo>
                  <a:pt x="21380" y="21600"/>
                  <a:pt x="21600" y="21197"/>
                  <a:pt x="21600" y="20700"/>
                </a:cubicBezTo>
                <a:cubicBezTo>
                  <a:pt x="21600" y="9268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64" name="Shape 2964"/>
          <p:cNvSpPr/>
          <p:nvPr/>
        </p:nvSpPr>
        <p:spPr>
          <a:xfrm>
            <a:off x="5680208" y="4677314"/>
            <a:ext cx="279328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250"/>
                </a:moveTo>
                <a:lnTo>
                  <a:pt x="4418" y="20250"/>
                </a:lnTo>
                <a:cubicBezTo>
                  <a:pt x="2524" y="20250"/>
                  <a:pt x="982" y="18130"/>
                  <a:pt x="982" y="15525"/>
                </a:cubicBezTo>
                <a:cubicBezTo>
                  <a:pt x="982" y="13489"/>
                  <a:pt x="1926" y="11690"/>
                  <a:pt x="3333" y="11045"/>
                </a:cubicBezTo>
                <a:lnTo>
                  <a:pt x="4165" y="10664"/>
                </a:lnTo>
                <a:lnTo>
                  <a:pt x="3982" y="9484"/>
                </a:lnTo>
                <a:cubicBezTo>
                  <a:pt x="3946" y="9247"/>
                  <a:pt x="3927" y="9008"/>
                  <a:pt x="3927" y="8775"/>
                </a:cubicBezTo>
                <a:cubicBezTo>
                  <a:pt x="3927" y="6914"/>
                  <a:pt x="5028" y="5400"/>
                  <a:pt x="6382" y="5400"/>
                </a:cubicBezTo>
                <a:cubicBezTo>
                  <a:pt x="6662" y="5400"/>
                  <a:pt x="6942" y="5470"/>
                  <a:pt x="7215" y="5605"/>
                </a:cubicBezTo>
                <a:lnTo>
                  <a:pt x="8019" y="6006"/>
                </a:lnTo>
                <a:lnTo>
                  <a:pt x="8418" y="4965"/>
                </a:lnTo>
                <a:cubicBezTo>
                  <a:pt x="9272" y="2735"/>
                  <a:pt x="10937" y="1350"/>
                  <a:pt x="12764" y="1350"/>
                </a:cubicBezTo>
                <a:cubicBezTo>
                  <a:pt x="15470" y="1350"/>
                  <a:pt x="17673" y="4378"/>
                  <a:pt x="17673" y="8100"/>
                </a:cubicBezTo>
                <a:cubicBezTo>
                  <a:pt x="17673" y="8218"/>
                  <a:pt x="17666" y="8333"/>
                  <a:pt x="17660" y="8449"/>
                </a:cubicBezTo>
                <a:lnTo>
                  <a:pt x="17655" y="8565"/>
                </a:lnTo>
                <a:lnTo>
                  <a:pt x="17610" y="9515"/>
                </a:lnTo>
                <a:lnTo>
                  <a:pt x="18245" y="9892"/>
                </a:lnTo>
                <a:cubicBezTo>
                  <a:pt x="19687" y="10747"/>
                  <a:pt x="20618" y="12693"/>
                  <a:pt x="20618" y="14850"/>
                </a:cubicBezTo>
                <a:cubicBezTo>
                  <a:pt x="20618" y="17828"/>
                  <a:pt x="18856" y="20250"/>
                  <a:pt x="16691" y="20250"/>
                </a:cubicBezTo>
                <a:moveTo>
                  <a:pt x="18634" y="8652"/>
                </a:moveTo>
                <a:cubicBezTo>
                  <a:pt x="18643" y="8469"/>
                  <a:pt x="18655" y="8287"/>
                  <a:pt x="18655" y="8100"/>
                </a:cubicBezTo>
                <a:cubicBezTo>
                  <a:pt x="18655" y="3627"/>
                  <a:pt x="16017" y="0"/>
                  <a:pt x="12764" y="0"/>
                </a:cubicBezTo>
                <a:cubicBezTo>
                  <a:pt x="10499" y="0"/>
                  <a:pt x="8536" y="1759"/>
                  <a:pt x="7550" y="4336"/>
                </a:cubicBezTo>
                <a:cubicBezTo>
                  <a:pt x="7185" y="4154"/>
                  <a:pt x="6793" y="4050"/>
                  <a:pt x="6382" y="4050"/>
                </a:cubicBezTo>
                <a:cubicBezTo>
                  <a:pt x="4484" y="4050"/>
                  <a:pt x="2945" y="6165"/>
                  <a:pt x="2945" y="8775"/>
                </a:cubicBezTo>
                <a:cubicBezTo>
                  <a:pt x="2945" y="9114"/>
                  <a:pt x="2973" y="9445"/>
                  <a:pt x="3022" y="9764"/>
                </a:cubicBezTo>
                <a:cubicBezTo>
                  <a:pt x="1267" y="10569"/>
                  <a:pt x="0" y="12841"/>
                  <a:pt x="0" y="15525"/>
                </a:cubicBezTo>
                <a:cubicBezTo>
                  <a:pt x="0" y="18880"/>
                  <a:pt x="1978" y="21600"/>
                  <a:pt x="4418" y="21600"/>
                </a:cubicBezTo>
                <a:lnTo>
                  <a:pt x="16691" y="21600"/>
                </a:lnTo>
                <a:cubicBezTo>
                  <a:pt x="19401" y="21600"/>
                  <a:pt x="21600" y="18578"/>
                  <a:pt x="21600" y="14850"/>
                </a:cubicBezTo>
                <a:cubicBezTo>
                  <a:pt x="21600" y="12072"/>
                  <a:pt x="20378" y="9687"/>
                  <a:pt x="18634" y="8652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65" name="Shape 2965"/>
          <p:cNvSpPr/>
          <p:nvPr/>
        </p:nvSpPr>
        <p:spPr>
          <a:xfrm>
            <a:off x="880859" y="5235969"/>
            <a:ext cx="279328" cy="1650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19938"/>
                </a:moveTo>
                <a:lnTo>
                  <a:pt x="3927" y="19938"/>
                </a:lnTo>
                <a:cubicBezTo>
                  <a:pt x="2303" y="19938"/>
                  <a:pt x="982" y="17703"/>
                  <a:pt x="982" y="14954"/>
                </a:cubicBezTo>
                <a:cubicBezTo>
                  <a:pt x="982" y="12638"/>
                  <a:pt x="1912" y="10647"/>
                  <a:pt x="3244" y="10110"/>
                </a:cubicBezTo>
                <a:cubicBezTo>
                  <a:pt x="3634" y="9954"/>
                  <a:pt x="3929" y="9410"/>
                  <a:pt x="3988" y="8739"/>
                </a:cubicBezTo>
                <a:cubicBezTo>
                  <a:pt x="4343" y="4704"/>
                  <a:pt x="6427" y="1662"/>
                  <a:pt x="8836" y="1662"/>
                </a:cubicBezTo>
                <a:cubicBezTo>
                  <a:pt x="10501" y="1662"/>
                  <a:pt x="12038" y="3081"/>
                  <a:pt x="12948" y="5461"/>
                </a:cubicBezTo>
                <a:cubicBezTo>
                  <a:pt x="13103" y="5866"/>
                  <a:pt x="13354" y="6137"/>
                  <a:pt x="13636" y="6203"/>
                </a:cubicBezTo>
                <a:cubicBezTo>
                  <a:pt x="13682" y="6215"/>
                  <a:pt x="13727" y="6219"/>
                  <a:pt x="13773" y="6219"/>
                </a:cubicBezTo>
                <a:cubicBezTo>
                  <a:pt x="14009" y="6219"/>
                  <a:pt x="14238" y="6076"/>
                  <a:pt x="14419" y="5809"/>
                </a:cubicBezTo>
                <a:cubicBezTo>
                  <a:pt x="14777" y="5278"/>
                  <a:pt x="15236" y="4985"/>
                  <a:pt x="15709" y="4985"/>
                </a:cubicBezTo>
                <a:cubicBezTo>
                  <a:pt x="16792" y="4985"/>
                  <a:pt x="17673" y="6476"/>
                  <a:pt x="17671" y="8326"/>
                </a:cubicBezTo>
                <a:lnTo>
                  <a:pt x="17667" y="8447"/>
                </a:lnTo>
                <a:cubicBezTo>
                  <a:pt x="17646" y="9234"/>
                  <a:pt x="17953" y="9937"/>
                  <a:pt x="18404" y="10132"/>
                </a:cubicBezTo>
                <a:cubicBezTo>
                  <a:pt x="19708" y="10697"/>
                  <a:pt x="20618" y="12680"/>
                  <a:pt x="20618" y="14954"/>
                </a:cubicBezTo>
                <a:cubicBezTo>
                  <a:pt x="20618" y="17703"/>
                  <a:pt x="19297" y="19938"/>
                  <a:pt x="17673" y="19938"/>
                </a:cubicBezTo>
                <a:moveTo>
                  <a:pt x="18648" y="8523"/>
                </a:moveTo>
                <a:cubicBezTo>
                  <a:pt x="18650" y="8451"/>
                  <a:pt x="18655" y="8381"/>
                  <a:pt x="18655" y="8308"/>
                </a:cubicBezTo>
                <a:cubicBezTo>
                  <a:pt x="18655" y="5556"/>
                  <a:pt x="17335" y="3323"/>
                  <a:pt x="15709" y="3323"/>
                </a:cubicBezTo>
                <a:cubicBezTo>
                  <a:pt x="14967" y="3323"/>
                  <a:pt x="14290" y="3791"/>
                  <a:pt x="13773" y="4558"/>
                </a:cubicBezTo>
                <a:cubicBezTo>
                  <a:pt x="12724" y="1819"/>
                  <a:pt x="10909" y="0"/>
                  <a:pt x="8836" y="0"/>
                </a:cubicBezTo>
                <a:cubicBezTo>
                  <a:pt x="5880" y="0"/>
                  <a:pt x="3439" y="3690"/>
                  <a:pt x="3017" y="8494"/>
                </a:cubicBezTo>
                <a:cubicBezTo>
                  <a:pt x="1288" y="9190"/>
                  <a:pt x="0" y="11814"/>
                  <a:pt x="0" y="14954"/>
                </a:cubicBezTo>
                <a:cubicBezTo>
                  <a:pt x="0" y="18624"/>
                  <a:pt x="1758" y="21600"/>
                  <a:pt x="3927" y="21600"/>
                </a:cubicBezTo>
                <a:lnTo>
                  <a:pt x="17673" y="21600"/>
                </a:lnTo>
                <a:cubicBezTo>
                  <a:pt x="19842" y="21600"/>
                  <a:pt x="21600" y="18624"/>
                  <a:pt x="21600" y="14954"/>
                </a:cubicBezTo>
                <a:cubicBezTo>
                  <a:pt x="21600" y="11855"/>
                  <a:pt x="20344" y="9259"/>
                  <a:pt x="18648" y="852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66" name="Shape 2966"/>
          <p:cNvSpPr/>
          <p:nvPr/>
        </p:nvSpPr>
        <p:spPr>
          <a:xfrm>
            <a:off x="1414120" y="5197879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20400"/>
                </a:moveTo>
                <a:lnTo>
                  <a:pt x="3927" y="20400"/>
                </a:lnTo>
                <a:cubicBezTo>
                  <a:pt x="2303" y="20400"/>
                  <a:pt x="982" y="18785"/>
                  <a:pt x="982" y="16800"/>
                </a:cubicBezTo>
                <a:cubicBezTo>
                  <a:pt x="982" y="15128"/>
                  <a:pt x="1912" y="13690"/>
                  <a:pt x="3244" y="13302"/>
                </a:cubicBezTo>
                <a:cubicBezTo>
                  <a:pt x="3634" y="13189"/>
                  <a:pt x="3929" y="12796"/>
                  <a:pt x="3988" y="12312"/>
                </a:cubicBezTo>
                <a:cubicBezTo>
                  <a:pt x="4343" y="9397"/>
                  <a:pt x="6427" y="7200"/>
                  <a:pt x="8836" y="7200"/>
                </a:cubicBezTo>
                <a:cubicBezTo>
                  <a:pt x="10501" y="7200"/>
                  <a:pt x="11547" y="7626"/>
                  <a:pt x="12457" y="9344"/>
                </a:cubicBezTo>
                <a:cubicBezTo>
                  <a:pt x="12612" y="9636"/>
                  <a:pt x="13354" y="10432"/>
                  <a:pt x="13636" y="10480"/>
                </a:cubicBezTo>
                <a:cubicBezTo>
                  <a:pt x="13682" y="10488"/>
                  <a:pt x="13773" y="10492"/>
                  <a:pt x="13773" y="10492"/>
                </a:cubicBezTo>
                <a:cubicBezTo>
                  <a:pt x="14009" y="10492"/>
                  <a:pt x="14238" y="10388"/>
                  <a:pt x="14419" y="10195"/>
                </a:cubicBezTo>
                <a:cubicBezTo>
                  <a:pt x="14777" y="9812"/>
                  <a:pt x="15236" y="9600"/>
                  <a:pt x="15709" y="9600"/>
                </a:cubicBezTo>
                <a:cubicBezTo>
                  <a:pt x="16792" y="9600"/>
                  <a:pt x="17673" y="10677"/>
                  <a:pt x="17671" y="12013"/>
                </a:cubicBezTo>
                <a:lnTo>
                  <a:pt x="17667" y="12101"/>
                </a:lnTo>
                <a:cubicBezTo>
                  <a:pt x="17646" y="12669"/>
                  <a:pt x="17953" y="13177"/>
                  <a:pt x="18404" y="13318"/>
                </a:cubicBezTo>
                <a:cubicBezTo>
                  <a:pt x="19708" y="13726"/>
                  <a:pt x="20618" y="15158"/>
                  <a:pt x="20618" y="16800"/>
                </a:cubicBezTo>
                <a:cubicBezTo>
                  <a:pt x="20618" y="18785"/>
                  <a:pt x="19297" y="20400"/>
                  <a:pt x="17673" y="20400"/>
                </a:cubicBezTo>
                <a:moveTo>
                  <a:pt x="15709" y="1200"/>
                </a:moveTo>
                <a:cubicBezTo>
                  <a:pt x="18420" y="1200"/>
                  <a:pt x="20618" y="3887"/>
                  <a:pt x="20618" y="7200"/>
                </a:cubicBezTo>
                <a:cubicBezTo>
                  <a:pt x="20618" y="9162"/>
                  <a:pt x="19844" y="10898"/>
                  <a:pt x="18654" y="11992"/>
                </a:cubicBezTo>
                <a:cubicBezTo>
                  <a:pt x="18651" y="10008"/>
                  <a:pt x="17334" y="8400"/>
                  <a:pt x="15709" y="8400"/>
                </a:cubicBezTo>
                <a:cubicBezTo>
                  <a:pt x="14967" y="8400"/>
                  <a:pt x="14290" y="8738"/>
                  <a:pt x="13773" y="9292"/>
                </a:cubicBezTo>
                <a:cubicBezTo>
                  <a:pt x="13082" y="7989"/>
                  <a:pt x="12054" y="6984"/>
                  <a:pt x="10843" y="6443"/>
                </a:cubicBezTo>
                <a:cubicBezTo>
                  <a:pt x="11149" y="3488"/>
                  <a:pt x="13208" y="1200"/>
                  <a:pt x="15709" y="1200"/>
                </a:cubicBezTo>
                <a:moveTo>
                  <a:pt x="19575" y="12625"/>
                </a:moveTo>
                <a:cubicBezTo>
                  <a:pt x="20814" y="11304"/>
                  <a:pt x="21600" y="9367"/>
                  <a:pt x="21600" y="7200"/>
                </a:cubicBezTo>
                <a:cubicBezTo>
                  <a:pt x="21600" y="3224"/>
                  <a:pt x="18962" y="0"/>
                  <a:pt x="15709" y="0"/>
                </a:cubicBezTo>
                <a:cubicBezTo>
                  <a:pt x="12754" y="0"/>
                  <a:pt x="10314" y="2663"/>
                  <a:pt x="9890" y="6130"/>
                </a:cubicBezTo>
                <a:cubicBezTo>
                  <a:pt x="9547" y="6053"/>
                  <a:pt x="9198" y="6000"/>
                  <a:pt x="8836" y="6000"/>
                </a:cubicBezTo>
                <a:cubicBezTo>
                  <a:pt x="5880" y="6000"/>
                  <a:pt x="3439" y="8665"/>
                  <a:pt x="3017" y="12135"/>
                </a:cubicBezTo>
                <a:cubicBezTo>
                  <a:pt x="1288" y="12638"/>
                  <a:pt x="0" y="14532"/>
                  <a:pt x="0" y="16800"/>
                </a:cubicBezTo>
                <a:cubicBezTo>
                  <a:pt x="0" y="19451"/>
                  <a:pt x="1758" y="21600"/>
                  <a:pt x="3927" y="21600"/>
                </a:cubicBezTo>
                <a:lnTo>
                  <a:pt x="17673" y="21600"/>
                </a:lnTo>
                <a:cubicBezTo>
                  <a:pt x="19842" y="21600"/>
                  <a:pt x="21600" y="19451"/>
                  <a:pt x="21600" y="16800"/>
                </a:cubicBezTo>
                <a:cubicBezTo>
                  <a:pt x="21600" y="14997"/>
                  <a:pt x="20778" y="13443"/>
                  <a:pt x="19575" y="1262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67" name="Shape 2967"/>
          <p:cNvSpPr/>
          <p:nvPr/>
        </p:nvSpPr>
        <p:spPr>
          <a:xfrm>
            <a:off x="1947381" y="5185182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9440"/>
                </a:moveTo>
                <a:cubicBezTo>
                  <a:pt x="14727" y="20036"/>
                  <a:pt x="15167" y="20520"/>
                  <a:pt x="15709" y="20520"/>
                </a:cubicBezTo>
                <a:cubicBezTo>
                  <a:pt x="16251" y="20520"/>
                  <a:pt x="16691" y="20036"/>
                  <a:pt x="16691" y="19440"/>
                </a:cubicBezTo>
                <a:cubicBezTo>
                  <a:pt x="16691" y="18360"/>
                  <a:pt x="15709" y="17280"/>
                  <a:pt x="15709" y="17280"/>
                </a:cubicBezTo>
                <a:cubicBezTo>
                  <a:pt x="15709" y="17280"/>
                  <a:pt x="14727" y="18360"/>
                  <a:pt x="14727" y="19440"/>
                </a:cubicBezTo>
                <a:moveTo>
                  <a:pt x="4909" y="20520"/>
                </a:moveTo>
                <a:cubicBezTo>
                  <a:pt x="4909" y="21117"/>
                  <a:pt x="5349" y="21600"/>
                  <a:pt x="5891" y="21600"/>
                </a:cubicBezTo>
                <a:cubicBezTo>
                  <a:pt x="6433" y="21600"/>
                  <a:pt x="6873" y="21117"/>
                  <a:pt x="6873" y="20520"/>
                </a:cubicBezTo>
                <a:cubicBezTo>
                  <a:pt x="6873" y="19440"/>
                  <a:pt x="5891" y="18360"/>
                  <a:pt x="5891" y="18360"/>
                </a:cubicBezTo>
                <a:cubicBezTo>
                  <a:pt x="5891" y="18360"/>
                  <a:pt x="4909" y="19440"/>
                  <a:pt x="4909" y="20520"/>
                </a:cubicBezTo>
                <a:moveTo>
                  <a:pt x="9818" y="17280"/>
                </a:moveTo>
                <a:cubicBezTo>
                  <a:pt x="9818" y="17876"/>
                  <a:pt x="10258" y="18360"/>
                  <a:pt x="10800" y="18360"/>
                </a:cubicBezTo>
                <a:cubicBezTo>
                  <a:pt x="11342" y="18360"/>
                  <a:pt x="11782" y="17876"/>
                  <a:pt x="11782" y="17280"/>
                </a:cubicBezTo>
                <a:cubicBezTo>
                  <a:pt x="11782" y="16200"/>
                  <a:pt x="10800" y="15120"/>
                  <a:pt x="10800" y="15120"/>
                </a:cubicBezTo>
                <a:cubicBezTo>
                  <a:pt x="10800" y="15120"/>
                  <a:pt x="9818" y="16200"/>
                  <a:pt x="9818" y="17280"/>
                </a:cubicBezTo>
                <a:moveTo>
                  <a:pt x="17673" y="12960"/>
                </a:moveTo>
                <a:lnTo>
                  <a:pt x="3927" y="12960"/>
                </a:lnTo>
                <a:cubicBezTo>
                  <a:pt x="2303" y="12960"/>
                  <a:pt x="982" y="11507"/>
                  <a:pt x="982" y="9720"/>
                </a:cubicBezTo>
                <a:cubicBezTo>
                  <a:pt x="982" y="8215"/>
                  <a:pt x="1912" y="6920"/>
                  <a:pt x="3244" y="6572"/>
                </a:cubicBezTo>
                <a:cubicBezTo>
                  <a:pt x="3634" y="6470"/>
                  <a:pt x="3929" y="6117"/>
                  <a:pt x="3988" y="5681"/>
                </a:cubicBezTo>
                <a:cubicBezTo>
                  <a:pt x="4343" y="3058"/>
                  <a:pt x="6427" y="1080"/>
                  <a:pt x="8836" y="1080"/>
                </a:cubicBezTo>
                <a:cubicBezTo>
                  <a:pt x="10501" y="1080"/>
                  <a:pt x="11547" y="1463"/>
                  <a:pt x="12457" y="3010"/>
                </a:cubicBezTo>
                <a:cubicBezTo>
                  <a:pt x="12612" y="3273"/>
                  <a:pt x="13354" y="3989"/>
                  <a:pt x="13636" y="4032"/>
                </a:cubicBezTo>
                <a:cubicBezTo>
                  <a:pt x="13682" y="4039"/>
                  <a:pt x="13773" y="4043"/>
                  <a:pt x="13773" y="4043"/>
                </a:cubicBezTo>
                <a:cubicBezTo>
                  <a:pt x="14009" y="4043"/>
                  <a:pt x="14238" y="3949"/>
                  <a:pt x="14419" y="3776"/>
                </a:cubicBezTo>
                <a:cubicBezTo>
                  <a:pt x="14777" y="3431"/>
                  <a:pt x="15236" y="3240"/>
                  <a:pt x="15709" y="3240"/>
                </a:cubicBezTo>
                <a:cubicBezTo>
                  <a:pt x="16792" y="3240"/>
                  <a:pt x="17673" y="4209"/>
                  <a:pt x="17671" y="5412"/>
                </a:cubicBezTo>
                <a:lnTo>
                  <a:pt x="17667" y="5491"/>
                </a:lnTo>
                <a:cubicBezTo>
                  <a:pt x="17646" y="6002"/>
                  <a:pt x="17953" y="6459"/>
                  <a:pt x="18404" y="6586"/>
                </a:cubicBezTo>
                <a:cubicBezTo>
                  <a:pt x="19708" y="6954"/>
                  <a:pt x="20618" y="8242"/>
                  <a:pt x="20618" y="9720"/>
                </a:cubicBezTo>
                <a:cubicBezTo>
                  <a:pt x="20618" y="11507"/>
                  <a:pt x="19297" y="12960"/>
                  <a:pt x="17673" y="12960"/>
                </a:cubicBezTo>
                <a:moveTo>
                  <a:pt x="18648" y="5540"/>
                </a:moveTo>
                <a:cubicBezTo>
                  <a:pt x="18650" y="5493"/>
                  <a:pt x="18655" y="5447"/>
                  <a:pt x="18655" y="5400"/>
                </a:cubicBezTo>
                <a:cubicBezTo>
                  <a:pt x="18655" y="3611"/>
                  <a:pt x="17335" y="2160"/>
                  <a:pt x="15709" y="2160"/>
                </a:cubicBezTo>
                <a:cubicBezTo>
                  <a:pt x="14967" y="2160"/>
                  <a:pt x="14290" y="2464"/>
                  <a:pt x="13773" y="2963"/>
                </a:cubicBezTo>
                <a:cubicBezTo>
                  <a:pt x="12724" y="1182"/>
                  <a:pt x="10909" y="0"/>
                  <a:pt x="8836" y="0"/>
                </a:cubicBezTo>
                <a:cubicBezTo>
                  <a:pt x="5880" y="0"/>
                  <a:pt x="3439" y="2398"/>
                  <a:pt x="3017" y="5521"/>
                </a:cubicBezTo>
                <a:cubicBezTo>
                  <a:pt x="1288" y="5974"/>
                  <a:pt x="0" y="7679"/>
                  <a:pt x="0" y="9720"/>
                </a:cubicBezTo>
                <a:cubicBezTo>
                  <a:pt x="0" y="12106"/>
                  <a:pt x="1758" y="14040"/>
                  <a:pt x="3927" y="14040"/>
                </a:cubicBezTo>
                <a:lnTo>
                  <a:pt x="17673" y="14040"/>
                </a:lnTo>
                <a:cubicBezTo>
                  <a:pt x="19842" y="14040"/>
                  <a:pt x="21600" y="12106"/>
                  <a:pt x="21600" y="9720"/>
                </a:cubicBezTo>
                <a:cubicBezTo>
                  <a:pt x="21600" y="7706"/>
                  <a:pt x="20344" y="6018"/>
                  <a:pt x="18648" y="554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68" name="Shape 2968"/>
          <p:cNvSpPr/>
          <p:nvPr/>
        </p:nvSpPr>
        <p:spPr>
          <a:xfrm>
            <a:off x="2480642" y="5197879"/>
            <a:ext cx="279328" cy="2285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14400"/>
                </a:moveTo>
                <a:lnTo>
                  <a:pt x="3927" y="14400"/>
                </a:lnTo>
                <a:cubicBezTo>
                  <a:pt x="2303" y="14400"/>
                  <a:pt x="982" y="12785"/>
                  <a:pt x="982" y="10800"/>
                </a:cubicBezTo>
                <a:cubicBezTo>
                  <a:pt x="982" y="9128"/>
                  <a:pt x="1912" y="7690"/>
                  <a:pt x="3244" y="7302"/>
                </a:cubicBezTo>
                <a:cubicBezTo>
                  <a:pt x="3634" y="7189"/>
                  <a:pt x="3929" y="6796"/>
                  <a:pt x="3988" y="6312"/>
                </a:cubicBezTo>
                <a:cubicBezTo>
                  <a:pt x="4343" y="3397"/>
                  <a:pt x="6427" y="1200"/>
                  <a:pt x="8836" y="1200"/>
                </a:cubicBezTo>
                <a:cubicBezTo>
                  <a:pt x="10501" y="1200"/>
                  <a:pt x="11547" y="1626"/>
                  <a:pt x="12457" y="3344"/>
                </a:cubicBezTo>
                <a:cubicBezTo>
                  <a:pt x="12612" y="3636"/>
                  <a:pt x="13354" y="4432"/>
                  <a:pt x="13636" y="4480"/>
                </a:cubicBezTo>
                <a:cubicBezTo>
                  <a:pt x="13682" y="4488"/>
                  <a:pt x="13773" y="4492"/>
                  <a:pt x="13773" y="4492"/>
                </a:cubicBezTo>
                <a:cubicBezTo>
                  <a:pt x="14009" y="4492"/>
                  <a:pt x="14238" y="4388"/>
                  <a:pt x="14419" y="4195"/>
                </a:cubicBezTo>
                <a:cubicBezTo>
                  <a:pt x="14777" y="3812"/>
                  <a:pt x="15236" y="3600"/>
                  <a:pt x="15709" y="3600"/>
                </a:cubicBezTo>
                <a:cubicBezTo>
                  <a:pt x="16792" y="3600"/>
                  <a:pt x="17673" y="4676"/>
                  <a:pt x="17671" y="6013"/>
                </a:cubicBezTo>
                <a:lnTo>
                  <a:pt x="17667" y="6101"/>
                </a:lnTo>
                <a:cubicBezTo>
                  <a:pt x="17646" y="6669"/>
                  <a:pt x="17953" y="7177"/>
                  <a:pt x="18404" y="7318"/>
                </a:cubicBezTo>
                <a:cubicBezTo>
                  <a:pt x="19708" y="7726"/>
                  <a:pt x="20618" y="9158"/>
                  <a:pt x="20618" y="10800"/>
                </a:cubicBezTo>
                <a:cubicBezTo>
                  <a:pt x="20618" y="12785"/>
                  <a:pt x="19297" y="14400"/>
                  <a:pt x="17673" y="14400"/>
                </a:cubicBezTo>
                <a:moveTo>
                  <a:pt x="18648" y="6156"/>
                </a:moveTo>
                <a:cubicBezTo>
                  <a:pt x="18650" y="6104"/>
                  <a:pt x="18655" y="6053"/>
                  <a:pt x="18655" y="6000"/>
                </a:cubicBezTo>
                <a:cubicBezTo>
                  <a:pt x="18655" y="4012"/>
                  <a:pt x="17335" y="2400"/>
                  <a:pt x="15709" y="2400"/>
                </a:cubicBezTo>
                <a:cubicBezTo>
                  <a:pt x="14967" y="2400"/>
                  <a:pt x="14290" y="2738"/>
                  <a:pt x="13773" y="3292"/>
                </a:cubicBezTo>
                <a:cubicBezTo>
                  <a:pt x="12724" y="1314"/>
                  <a:pt x="10909" y="0"/>
                  <a:pt x="8836" y="0"/>
                </a:cubicBezTo>
                <a:cubicBezTo>
                  <a:pt x="5880" y="0"/>
                  <a:pt x="3439" y="2665"/>
                  <a:pt x="3017" y="6135"/>
                </a:cubicBezTo>
                <a:cubicBezTo>
                  <a:pt x="1288" y="6638"/>
                  <a:pt x="0" y="8532"/>
                  <a:pt x="0" y="10800"/>
                </a:cubicBezTo>
                <a:cubicBezTo>
                  <a:pt x="0" y="13451"/>
                  <a:pt x="1758" y="15600"/>
                  <a:pt x="3927" y="15600"/>
                </a:cubicBezTo>
                <a:lnTo>
                  <a:pt x="17673" y="15600"/>
                </a:lnTo>
                <a:cubicBezTo>
                  <a:pt x="19842" y="15600"/>
                  <a:pt x="21600" y="13451"/>
                  <a:pt x="21600" y="10800"/>
                </a:cubicBezTo>
                <a:cubicBezTo>
                  <a:pt x="21600" y="8562"/>
                  <a:pt x="20344" y="6687"/>
                  <a:pt x="18648" y="6156"/>
                </a:cubicBezTo>
                <a:moveTo>
                  <a:pt x="15218" y="16800"/>
                </a:moveTo>
                <a:cubicBezTo>
                  <a:pt x="15083" y="16800"/>
                  <a:pt x="14960" y="16867"/>
                  <a:pt x="14871" y="16976"/>
                </a:cubicBezTo>
                <a:lnTo>
                  <a:pt x="11926" y="20575"/>
                </a:lnTo>
                <a:cubicBezTo>
                  <a:pt x="11837" y="20685"/>
                  <a:pt x="11782" y="20835"/>
                  <a:pt x="11782" y="21000"/>
                </a:cubicBezTo>
                <a:cubicBezTo>
                  <a:pt x="11782" y="21332"/>
                  <a:pt x="12002" y="21600"/>
                  <a:pt x="12273" y="21600"/>
                </a:cubicBezTo>
                <a:cubicBezTo>
                  <a:pt x="12408" y="21600"/>
                  <a:pt x="12531" y="21533"/>
                  <a:pt x="12620" y="21424"/>
                </a:cubicBezTo>
                <a:lnTo>
                  <a:pt x="15565" y="17824"/>
                </a:lnTo>
                <a:cubicBezTo>
                  <a:pt x="15654" y="17716"/>
                  <a:pt x="15709" y="17566"/>
                  <a:pt x="15709" y="17400"/>
                </a:cubicBezTo>
                <a:cubicBezTo>
                  <a:pt x="15709" y="17069"/>
                  <a:pt x="15489" y="16800"/>
                  <a:pt x="15218" y="16800"/>
                </a:cubicBezTo>
                <a:moveTo>
                  <a:pt x="12764" y="17400"/>
                </a:moveTo>
                <a:cubicBezTo>
                  <a:pt x="12764" y="17069"/>
                  <a:pt x="12544" y="16800"/>
                  <a:pt x="12273" y="16800"/>
                </a:cubicBezTo>
                <a:cubicBezTo>
                  <a:pt x="12137" y="16800"/>
                  <a:pt x="12015" y="16867"/>
                  <a:pt x="11925" y="16976"/>
                </a:cubicBezTo>
                <a:lnTo>
                  <a:pt x="8981" y="20575"/>
                </a:lnTo>
                <a:cubicBezTo>
                  <a:pt x="8891" y="20685"/>
                  <a:pt x="8836" y="20835"/>
                  <a:pt x="8836" y="21000"/>
                </a:cubicBezTo>
                <a:cubicBezTo>
                  <a:pt x="8836" y="21332"/>
                  <a:pt x="9056" y="21600"/>
                  <a:pt x="9327" y="21600"/>
                </a:cubicBezTo>
                <a:cubicBezTo>
                  <a:pt x="9463" y="21600"/>
                  <a:pt x="9585" y="21533"/>
                  <a:pt x="9674" y="21424"/>
                </a:cubicBezTo>
                <a:lnTo>
                  <a:pt x="12620" y="17824"/>
                </a:lnTo>
                <a:cubicBezTo>
                  <a:pt x="12709" y="17716"/>
                  <a:pt x="12764" y="17566"/>
                  <a:pt x="12764" y="17400"/>
                </a:cubicBezTo>
                <a:moveTo>
                  <a:pt x="6873" y="17400"/>
                </a:moveTo>
                <a:cubicBezTo>
                  <a:pt x="6873" y="17069"/>
                  <a:pt x="6653" y="16800"/>
                  <a:pt x="6382" y="16800"/>
                </a:cubicBezTo>
                <a:cubicBezTo>
                  <a:pt x="6246" y="16800"/>
                  <a:pt x="6124" y="16867"/>
                  <a:pt x="6034" y="16976"/>
                </a:cubicBezTo>
                <a:lnTo>
                  <a:pt x="3090" y="20575"/>
                </a:lnTo>
                <a:cubicBezTo>
                  <a:pt x="3000" y="20685"/>
                  <a:pt x="2945" y="20835"/>
                  <a:pt x="2945" y="21000"/>
                </a:cubicBezTo>
                <a:cubicBezTo>
                  <a:pt x="2945" y="21332"/>
                  <a:pt x="3166" y="21600"/>
                  <a:pt x="3436" y="21600"/>
                </a:cubicBezTo>
                <a:cubicBezTo>
                  <a:pt x="3572" y="21600"/>
                  <a:pt x="3695" y="21533"/>
                  <a:pt x="3783" y="21424"/>
                </a:cubicBezTo>
                <a:lnTo>
                  <a:pt x="6729" y="17824"/>
                </a:lnTo>
                <a:cubicBezTo>
                  <a:pt x="6818" y="17716"/>
                  <a:pt x="6873" y="17566"/>
                  <a:pt x="6873" y="17400"/>
                </a:cubicBezTo>
                <a:moveTo>
                  <a:pt x="9818" y="17400"/>
                </a:moveTo>
                <a:cubicBezTo>
                  <a:pt x="9818" y="17069"/>
                  <a:pt x="9598" y="16800"/>
                  <a:pt x="9327" y="16800"/>
                </a:cubicBezTo>
                <a:cubicBezTo>
                  <a:pt x="9192" y="16800"/>
                  <a:pt x="9069" y="16867"/>
                  <a:pt x="8980" y="16976"/>
                </a:cubicBezTo>
                <a:lnTo>
                  <a:pt x="6035" y="20575"/>
                </a:lnTo>
                <a:cubicBezTo>
                  <a:pt x="5946" y="20685"/>
                  <a:pt x="5891" y="20835"/>
                  <a:pt x="5891" y="21000"/>
                </a:cubicBezTo>
                <a:cubicBezTo>
                  <a:pt x="5891" y="21332"/>
                  <a:pt x="6111" y="21600"/>
                  <a:pt x="6382" y="21600"/>
                </a:cubicBezTo>
                <a:cubicBezTo>
                  <a:pt x="6517" y="21600"/>
                  <a:pt x="6640" y="21533"/>
                  <a:pt x="6729" y="21424"/>
                </a:cubicBezTo>
                <a:lnTo>
                  <a:pt x="9674" y="17824"/>
                </a:lnTo>
                <a:cubicBezTo>
                  <a:pt x="9763" y="17716"/>
                  <a:pt x="9818" y="17566"/>
                  <a:pt x="9818" y="174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69" name="Shape 2969"/>
          <p:cNvSpPr/>
          <p:nvPr/>
        </p:nvSpPr>
        <p:spPr>
          <a:xfrm>
            <a:off x="3013903" y="5185182"/>
            <a:ext cx="279328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15120"/>
                </a:moveTo>
                <a:cubicBezTo>
                  <a:pt x="17893" y="15120"/>
                  <a:pt x="17673" y="15362"/>
                  <a:pt x="17673" y="15660"/>
                </a:cubicBezTo>
                <a:lnTo>
                  <a:pt x="17673" y="17820"/>
                </a:lnTo>
                <a:cubicBezTo>
                  <a:pt x="17673" y="18118"/>
                  <a:pt x="17893" y="18360"/>
                  <a:pt x="18164" y="18360"/>
                </a:cubicBezTo>
                <a:cubicBezTo>
                  <a:pt x="18434" y="18360"/>
                  <a:pt x="18655" y="18118"/>
                  <a:pt x="18655" y="17820"/>
                </a:cubicBezTo>
                <a:lnTo>
                  <a:pt x="18655" y="15660"/>
                </a:lnTo>
                <a:cubicBezTo>
                  <a:pt x="18655" y="15362"/>
                  <a:pt x="18434" y="15120"/>
                  <a:pt x="18164" y="15120"/>
                </a:cubicBezTo>
                <a:moveTo>
                  <a:pt x="15218" y="15120"/>
                </a:moveTo>
                <a:cubicBezTo>
                  <a:pt x="14947" y="15120"/>
                  <a:pt x="14727" y="15362"/>
                  <a:pt x="14727" y="15660"/>
                </a:cubicBezTo>
                <a:lnTo>
                  <a:pt x="14727" y="18900"/>
                </a:lnTo>
                <a:cubicBezTo>
                  <a:pt x="14727" y="19198"/>
                  <a:pt x="14947" y="19440"/>
                  <a:pt x="15218" y="19440"/>
                </a:cubicBezTo>
                <a:cubicBezTo>
                  <a:pt x="15489" y="19440"/>
                  <a:pt x="15709" y="19198"/>
                  <a:pt x="15709" y="18900"/>
                </a:cubicBezTo>
                <a:lnTo>
                  <a:pt x="15709" y="15660"/>
                </a:lnTo>
                <a:cubicBezTo>
                  <a:pt x="15709" y="15362"/>
                  <a:pt x="15489" y="15120"/>
                  <a:pt x="15218" y="15120"/>
                </a:cubicBezTo>
                <a:moveTo>
                  <a:pt x="17673" y="12960"/>
                </a:moveTo>
                <a:lnTo>
                  <a:pt x="3927" y="12960"/>
                </a:lnTo>
                <a:cubicBezTo>
                  <a:pt x="2303" y="12960"/>
                  <a:pt x="982" y="11507"/>
                  <a:pt x="982" y="9720"/>
                </a:cubicBezTo>
                <a:cubicBezTo>
                  <a:pt x="982" y="8215"/>
                  <a:pt x="1912" y="6920"/>
                  <a:pt x="3244" y="6572"/>
                </a:cubicBezTo>
                <a:cubicBezTo>
                  <a:pt x="3634" y="6470"/>
                  <a:pt x="3929" y="6117"/>
                  <a:pt x="3988" y="5681"/>
                </a:cubicBezTo>
                <a:cubicBezTo>
                  <a:pt x="4343" y="3058"/>
                  <a:pt x="6427" y="1080"/>
                  <a:pt x="8836" y="1080"/>
                </a:cubicBezTo>
                <a:cubicBezTo>
                  <a:pt x="10501" y="1080"/>
                  <a:pt x="11547" y="1463"/>
                  <a:pt x="12457" y="3010"/>
                </a:cubicBezTo>
                <a:cubicBezTo>
                  <a:pt x="12612" y="3273"/>
                  <a:pt x="13354" y="3989"/>
                  <a:pt x="13636" y="4032"/>
                </a:cubicBezTo>
                <a:cubicBezTo>
                  <a:pt x="13682" y="4039"/>
                  <a:pt x="13773" y="4043"/>
                  <a:pt x="13773" y="4043"/>
                </a:cubicBezTo>
                <a:cubicBezTo>
                  <a:pt x="14009" y="4043"/>
                  <a:pt x="14238" y="3949"/>
                  <a:pt x="14419" y="3776"/>
                </a:cubicBezTo>
                <a:cubicBezTo>
                  <a:pt x="14777" y="3431"/>
                  <a:pt x="15236" y="3240"/>
                  <a:pt x="15709" y="3240"/>
                </a:cubicBezTo>
                <a:cubicBezTo>
                  <a:pt x="16792" y="3240"/>
                  <a:pt x="17673" y="4209"/>
                  <a:pt x="17671" y="5412"/>
                </a:cubicBezTo>
                <a:lnTo>
                  <a:pt x="17667" y="5491"/>
                </a:lnTo>
                <a:cubicBezTo>
                  <a:pt x="17646" y="6002"/>
                  <a:pt x="17953" y="6459"/>
                  <a:pt x="18404" y="6586"/>
                </a:cubicBezTo>
                <a:cubicBezTo>
                  <a:pt x="19708" y="6954"/>
                  <a:pt x="20618" y="8242"/>
                  <a:pt x="20618" y="9720"/>
                </a:cubicBezTo>
                <a:cubicBezTo>
                  <a:pt x="20618" y="11507"/>
                  <a:pt x="19297" y="12960"/>
                  <a:pt x="17673" y="12960"/>
                </a:cubicBezTo>
                <a:moveTo>
                  <a:pt x="18648" y="5540"/>
                </a:moveTo>
                <a:cubicBezTo>
                  <a:pt x="18650" y="5493"/>
                  <a:pt x="18655" y="5447"/>
                  <a:pt x="18655" y="5400"/>
                </a:cubicBezTo>
                <a:cubicBezTo>
                  <a:pt x="18655" y="3611"/>
                  <a:pt x="17335" y="2160"/>
                  <a:pt x="15709" y="2160"/>
                </a:cubicBezTo>
                <a:cubicBezTo>
                  <a:pt x="14967" y="2160"/>
                  <a:pt x="14290" y="2464"/>
                  <a:pt x="13773" y="2963"/>
                </a:cubicBezTo>
                <a:cubicBezTo>
                  <a:pt x="12724" y="1182"/>
                  <a:pt x="10909" y="0"/>
                  <a:pt x="8836" y="0"/>
                </a:cubicBezTo>
                <a:cubicBezTo>
                  <a:pt x="5880" y="0"/>
                  <a:pt x="3439" y="2398"/>
                  <a:pt x="3017" y="5521"/>
                </a:cubicBezTo>
                <a:cubicBezTo>
                  <a:pt x="1288" y="5974"/>
                  <a:pt x="0" y="7679"/>
                  <a:pt x="0" y="9720"/>
                </a:cubicBezTo>
                <a:cubicBezTo>
                  <a:pt x="0" y="12106"/>
                  <a:pt x="1758" y="14040"/>
                  <a:pt x="3927" y="14040"/>
                </a:cubicBezTo>
                <a:lnTo>
                  <a:pt x="17673" y="14040"/>
                </a:lnTo>
                <a:cubicBezTo>
                  <a:pt x="19842" y="14040"/>
                  <a:pt x="21600" y="12106"/>
                  <a:pt x="21600" y="9720"/>
                </a:cubicBezTo>
                <a:cubicBezTo>
                  <a:pt x="21600" y="7706"/>
                  <a:pt x="20344" y="6018"/>
                  <a:pt x="18648" y="5540"/>
                </a:cubicBezTo>
                <a:moveTo>
                  <a:pt x="6382" y="16200"/>
                </a:moveTo>
                <a:cubicBezTo>
                  <a:pt x="6111" y="16200"/>
                  <a:pt x="5891" y="16442"/>
                  <a:pt x="5891" y="16740"/>
                </a:cubicBezTo>
                <a:lnTo>
                  <a:pt x="5891" y="18900"/>
                </a:lnTo>
                <a:cubicBezTo>
                  <a:pt x="5891" y="19198"/>
                  <a:pt x="6111" y="19440"/>
                  <a:pt x="6382" y="19440"/>
                </a:cubicBezTo>
                <a:cubicBezTo>
                  <a:pt x="6653" y="19440"/>
                  <a:pt x="6873" y="19198"/>
                  <a:pt x="6873" y="18900"/>
                </a:cubicBezTo>
                <a:lnTo>
                  <a:pt x="6873" y="16740"/>
                </a:lnTo>
                <a:cubicBezTo>
                  <a:pt x="6873" y="16442"/>
                  <a:pt x="6653" y="16200"/>
                  <a:pt x="6382" y="16200"/>
                </a:cubicBezTo>
                <a:moveTo>
                  <a:pt x="3436" y="15120"/>
                </a:moveTo>
                <a:cubicBezTo>
                  <a:pt x="3166" y="15120"/>
                  <a:pt x="2945" y="15362"/>
                  <a:pt x="2945" y="15660"/>
                </a:cubicBezTo>
                <a:lnTo>
                  <a:pt x="2945" y="18900"/>
                </a:lnTo>
                <a:cubicBezTo>
                  <a:pt x="2945" y="19198"/>
                  <a:pt x="3166" y="19440"/>
                  <a:pt x="3436" y="19440"/>
                </a:cubicBezTo>
                <a:cubicBezTo>
                  <a:pt x="3707" y="19440"/>
                  <a:pt x="3927" y="19198"/>
                  <a:pt x="3927" y="18900"/>
                </a:cubicBezTo>
                <a:lnTo>
                  <a:pt x="3927" y="15660"/>
                </a:lnTo>
                <a:cubicBezTo>
                  <a:pt x="3927" y="15362"/>
                  <a:pt x="3707" y="15120"/>
                  <a:pt x="3436" y="15120"/>
                </a:cubicBezTo>
                <a:moveTo>
                  <a:pt x="12273" y="16200"/>
                </a:moveTo>
                <a:cubicBezTo>
                  <a:pt x="12002" y="16200"/>
                  <a:pt x="11782" y="16442"/>
                  <a:pt x="11782" y="16740"/>
                </a:cubicBezTo>
                <a:lnTo>
                  <a:pt x="11782" y="19980"/>
                </a:lnTo>
                <a:cubicBezTo>
                  <a:pt x="11782" y="20278"/>
                  <a:pt x="12002" y="20520"/>
                  <a:pt x="12273" y="20520"/>
                </a:cubicBezTo>
                <a:cubicBezTo>
                  <a:pt x="12544" y="20520"/>
                  <a:pt x="12764" y="20278"/>
                  <a:pt x="12764" y="19980"/>
                </a:cubicBezTo>
                <a:lnTo>
                  <a:pt x="12764" y="16740"/>
                </a:lnTo>
                <a:cubicBezTo>
                  <a:pt x="12764" y="16442"/>
                  <a:pt x="12544" y="16200"/>
                  <a:pt x="12273" y="16200"/>
                </a:cubicBezTo>
                <a:moveTo>
                  <a:pt x="9327" y="17280"/>
                </a:moveTo>
                <a:cubicBezTo>
                  <a:pt x="9056" y="17280"/>
                  <a:pt x="8836" y="17522"/>
                  <a:pt x="8836" y="17820"/>
                </a:cubicBezTo>
                <a:lnTo>
                  <a:pt x="8836" y="21060"/>
                </a:lnTo>
                <a:cubicBezTo>
                  <a:pt x="8836" y="21358"/>
                  <a:pt x="9056" y="21600"/>
                  <a:pt x="9327" y="21600"/>
                </a:cubicBezTo>
                <a:cubicBezTo>
                  <a:pt x="9598" y="21600"/>
                  <a:pt x="9818" y="21358"/>
                  <a:pt x="9818" y="21060"/>
                </a:cubicBezTo>
                <a:lnTo>
                  <a:pt x="9818" y="17820"/>
                </a:lnTo>
                <a:cubicBezTo>
                  <a:pt x="9818" y="17522"/>
                  <a:pt x="9598" y="17280"/>
                  <a:pt x="9327" y="1728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70" name="Shape 2970"/>
          <p:cNvSpPr/>
          <p:nvPr/>
        </p:nvSpPr>
        <p:spPr>
          <a:xfrm>
            <a:off x="3547164" y="5172485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9636"/>
                </a:moveTo>
                <a:cubicBezTo>
                  <a:pt x="15167" y="19636"/>
                  <a:pt x="14727" y="20076"/>
                  <a:pt x="14727" y="20618"/>
                </a:cubicBezTo>
                <a:cubicBezTo>
                  <a:pt x="14727" y="21160"/>
                  <a:pt x="15167" y="21600"/>
                  <a:pt x="15709" y="21600"/>
                </a:cubicBezTo>
                <a:cubicBezTo>
                  <a:pt x="16251" y="21600"/>
                  <a:pt x="16691" y="21160"/>
                  <a:pt x="16691" y="20618"/>
                </a:cubicBezTo>
                <a:cubicBezTo>
                  <a:pt x="16691" y="20076"/>
                  <a:pt x="16251" y="19636"/>
                  <a:pt x="15709" y="19636"/>
                </a:cubicBezTo>
                <a:moveTo>
                  <a:pt x="18655" y="16691"/>
                </a:moveTo>
                <a:cubicBezTo>
                  <a:pt x="18113" y="16691"/>
                  <a:pt x="17673" y="17131"/>
                  <a:pt x="17673" y="17673"/>
                </a:cubicBezTo>
                <a:cubicBezTo>
                  <a:pt x="17673" y="18215"/>
                  <a:pt x="18113" y="18655"/>
                  <a:pt x="18655" y="18655"/>
                </a:cubicBezTo>
                <a:cubicBezTo>
                  <a:pt x="19196" y="18655"/>
                  <a:pt x="19636" y="18215"/>
                  <a:pt x="19636" y="17673"/>
                </a:cubicBezTo>
                <a:cubicBezTo>
                  <a:pt x="19636" y="17131"/>
                  <a:pt x="19196" y="16691"/>
                  <a:pt x="18655" y="16691"/>
                </a:cubicBezTo>
                <a:moveTo>
                  <a:pt x="17673" y="11782"/>
                </a:moveTo>
                <a:lnTo>
                  <a:pt x="3927" y="11782"/>
                </a:lnTo>
                <a:cubicBezTo>
                  <a:pt x="2303" y="11782"/>
                  <a:pt x="982" y="10461"/>
                  <a:pt x="982" y="8836"/>
                </a:cubicBezTo>
                <a:cubicBezTo>
                  <a:pt x="982" y="7468"/>
                  <a:pt x="1911" y="6292"/>
                  <a:pt x="3244" y="5975"/>
                </a:cubicBezTo>
                <a:cubicBezTo>
                  <a:pt x="3634" y="5882"/>
                  <a:pt x="3929" y="5561"/>
                  <a:pt x="3988" y="5164"/>
                </a:cubicBezTo>
                <a:cubicBezTo>
                  <a:pt x="4342" y="2780"/>
                  <a:pt x="6427" y="982"/>
                  <a:pt x="8836" y="982"/>
                </a:cubicBezTo>
                <a:cubicBezTo>
                  <a:pt x="10501" y="982"/>
                  <a:pt x="11547" y="1330"/>
                  <a:pt x="12457" y="2736"/>
                </a:cubicBezTo>
                <a:cubicBezTo>
                  <a:pt x="12612" y="2975"/>
                  <a:pt x="13354" y="3626"/>
                  <a:pt x="13636" y="3666"/>
                </a:cubicBezTo>
                <a:cubicBezTo>
                  <a:pt x="13682" y="3672"/>
                  <a:pt x="13772" y="3675"/>
                  <a:pt x="13772" y="3675"/>
                </a:cubicBezTo>
                <a:cubicBezTo>
                  <a:pt x="14009" y="3675"/>
                  <a:pt x="14238" y="3590"/>
                  <a:pt x="14419" y="3433"/>
                </a:cubicBezTo>
                <a:cubicBezTo>
                  <a:pt x="14777" y="3119"/>
                  <a:pt x="15236" y="2945"/>
                  <a:pt x="15709" y="2945"/>
                </a:cubicBezTo>
                <a:cubicBezTo>
                  <a:pt x="16792" y="2945"/>
                  <a:pt x="17673" y="3826"/>
                  <a:pt x="17671" y="4920"/>
                </a:cubicBezTo>
                <a:lnTo>
                  <a:pt x="17667" y="4992"/>
                </a:lnTo>
                <a:cubicBezTo>
                  <a:pt x="17646" y="5457"/>
                  <a:pt x="17954" y="5872"/>
                  <a:pt x="18404" y="5987"/>
                </a:cubicBezTo>
                <a:cubicBezTo>
                  <a:pt x="19708" y="6321"/>
                  <a:pt x="20618" y="7493"/>
                  <a:pt x="20618" y="8836"/>
                </a:cubicBezTo>
                <a:cubicBezTo>
                  <a:pt x="20618" y="10461"/>
                  <a:pt x="19297" y="11782"/>
                  <a:pt x="17673" y="11782"/>
                </a:cubicBezTo>
                <a:moveTo>
                  <a:pt x="18648" y="5036"/>
                </a:moveTo>
                <a:cubicBezTo>
                  <a:pt x="18650" y="4994"/>
                  <a:pt x="18655" y="4952"/>
                  <a:pt x="18655" y="4909"/>
                </a:cubicBezTo>
                <a:cubicBezTo>
                  <a:pt x="18655" y="3283"/>
                  <a:pt x="17335" y="1964"/>
                  <a:pt x="15709" y="1964"/>
                </a:cubicBezTo>
                <a:cubicBezTo>
                  <a:pt x="14967" y="1964"/>
                  <a:pt x="14291" y="2240"/>
                  <a:pt x="13772" y="2693"/>
                </a:cubicBezTo>
                <a:cubicBezTo>
                  <a:pt x="12724" y="1075"/>
                  <a:pt x="10909" y="0"/>
                  <a:pt x="8836" y="0"/>
                </a:cubicBezTo>
                <a:cubicBezTo>
                  <a:pt x="5879" y="0"/>
                  <a:pt x="3439" y="2180"/>
                  <a:pt x="3017" y="5019"/>
                </a:cubicBezTo>
                <a:cubicBezTo>
                  <a:pt x="1288" y="5431"/>
                  <a:pt x="0" y="6981"/>
                  <a:pt x="0" y="8836"/>
                </a:cubicBezTo>
                <a:cubicBezTo>
                  <a:pt x="0" y="11005"/>
                  <a:pt x="1758" y="12764"/>
                  <a:pt x="3927" y="12764"/>
                </a:cubicBezTo>
                <a:lnTo>
                  <a:pt x="17673" y="12764"/>
                </a:lnTo>
                <a:cubicBezTo>
                  <a:pt x="19842" y="12764"/>
                  <a:pt x="21600" y="11005"/>
                  <a:pt x="21600" y="8836"/>
                </a:cubicBezTo>
                <a:cubicBezTo>
                  <a:pt x="21600" y="7005"/>
                  <a:pt x="20344" y="5471"/>
                  <a:pt x="18648" y="5036"/>
                </a:cubicBezTo>
                <a:moveTo>
                  <a:pt x="15709" y="15709"/>
                </a:moveTo>
                <a:cubicBezTo>
                  <a:pt x="15709" y="15167"/>
                  <a:pt x="15269" y="14727"/>
                  <a:pt x="14727" y="14727"/>
                </a:cubicBezTo>
                <a:cubicBezTo>
                  <a:pt x="14186" y="14727"/>
                  <a:pt x="13745" y="15167"/>
                  <a:pt x="13745" y="15709"/>
                </a:cubicBezTo>
                <a:cubicBezTo>
                  <a:pt x="13745" y="16252"/>
                  <a:pt x="14186" y="16691"/>
                  <a:pt x="14727" y="16691"/>
                </a:cubicBezTo>
                <a:cubicBezTo>
                  <a:pt x="15269" y="16691"/>
                  <a:pt x="15709" y="16252"/>
                  <a:pt x="15709" y="15709"/>
                </a:cubicBezTo>
                <a:moveTo>
                  <a:pt x="10800" y="17673"/>
                </a:moveTo>
                <a:cubicBezTo>
                  <a:pt x="10258" y="17673"/>
                  <a:pt x="9818" y="18113"/>
                  <a:pt x="9818" y="18655"/>
                </a:cubicBezTo>
                <a:cubicBezTo>
                  <a:pt x="9818" y="19196"/>
                  <a:pt x="10258" y="19636"/>
                  <a:pt x="10800" y="19636"/>
                </a:cubicBezTo>
                <a:cubicBezTo>
                  <a:pt x="11342" y="19636"/>
                  <a:pt x="11782" y="19196"/>
                  <a:pt x="11782" y="18655"/>
                </a:cubicBezTo>
                <a:cubicBezTo>
                  <a:pt x="11782" y="18113"/>
                  <a:pt x="11342" y="17673"/>
                  <a:pt x="10800" y="17673"/>
                </a:cubicBezTo>
                <a:moveTo>
                  <a:pt x="2945" y="15709"/>
                </a:moveTo>
                <a:cubicBezTo>
                  <a:pt x="2404" y="15709"/>
                  <a:pt x="1964" y="16149"/>
                  <a:pt x="1964" y="16691"/>
                </a:cubicBezTo>
                <a:cubicBezTo>
                  <a:pt x="1964" y="17233"/>
                  <a:pt x="2404" y="17673"/>
                  <a:pt x="2945" y="17673"/>
                </a:cubicBezTo>
                <a:cubicBezTo>
                  <a:pt x="3487" y="17673"/>
                  <a:pt x="3927" y="17233"/>
                  <a:pt x="3927" y="16691"/>
                </a:cubicBezTo>
                <a:cubicBezTo>
                  <a:pt x="3927" y="16149"/>
                  <a:pt x="3487" y="15709"/>
                  <a:pt x="2945" y="15709"/>
                </a:cubicBezTo>
                <a:moveTo>
                  <a:pt x="4909" y="18655"/>
                </a:moveTo>
                <a:cubicBezTo>
                  <a:pt x="4367" y="18655"/>
                  <a:pt x="3927" y="19095"/>
                  <a:pt x="3927" y="19636"/>
                </a:cubicBezTo>
                <a:cubicBezTo>
                  <a:pt x="3927" y="20179"/>
                  <a:pt x="4367" y="20618"/>
                  <a:pt x="4909" y="20618"/>
                </a:cubicBezTo>
                <a:cubicBezTo>
                  <a:pt x="5451" y="20618"/>
                  <a:pt x="5891" y="20179"/>
                  <a:pt x="5891" y="19636"/>
                </a:cubicBezTo>
                <a:cubicBezTo>
                  <a:pt x="5891" y="19095"/>
                  <a:pt x="5451" y="18655"/>
                  <a:pt x="4909" y="18655"/>
                </a:cubicBezTo>
                <a:moveTo>
                  <a:pt x="7855" y="13745"/>
                </a:moveTo>
                <a:cubicBezTo>
                  <a:pt x="7313" y="13745"/>
                  <a:pt x="6873" y="14186"/>
                  <a:pt x="6873" y="14727"/>
                </a:cubicBezTo>
                <a:cubicBezTo>
                  <a:pt x="6873" y="15270"/>
                  <a:pt x="7313" y="15709"/>
                  <a:pt x="7855" y="15709"/>
                </a:cubicBezTo>
                <a:cubicBezTo>
                  <a:pt x="8396" y="15709"/>
                  <a:pt x="8836" y="15270"/>
                  <a:pt x="8836" y="14727"/>
                </a:cubicBezTo>
                <a:cubicBezTo>
                  <a:pt x="8836" y="14186"/>
                  <a:pt x="8396" y="13745"/>
                  <a:pt x="7855" y="1374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71" name="Shape 2971"/>
          <p:cNvSpPr/>
          <p:nvPr/>
        </p:nvSpPr>
        <p:spPr>
          <a:xfrm>
            <a:off x="4080425" y="5172485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5709"/>
                </a:moveTo>
                <a:cubicBezTo>
                  <a:pt x="16555" y="15709"/>
                  <a:pt x="16433" y="15764"/>
                  <a:pt x="16344" y="15853"/>
                </a:cubicBezTo>
                <a:lnTo>
                  <a:pt x="13399" y="18798"/>
                </a:lnTo>
                <a:cubicBezTo>
                  <a:pt x="13310" y="18888"/>
                  <a:pt x="13255" y="19010"/>
                  <a:pt x="13255" y="19145"/>
                </a:cubicBezTo>
                <a:cubicBezTo>
                  <a:pt x="13255" y="19417"/>
                  <a:pt x="13474" y="19636"/>
                  <a:pt x="13745" y="19636"/>
                </a:cubicBezTo>
                <a:cubicBezTo>
                  <a:pt x="13881" y="19636"/>
                  <a:pt x="14003" y="19582"/>
                  <a:pt x="14093" y="19493"/>
                </a:cubicBezTo>
                <a:lnTo>
                  <a:pt x="17038" y="16547"/>
                </a:lnTo>
                <a:cubicBezTo>
                  <a:pt x="17127" y="16458"/>
                  <a:pt x="17182" y="16336"/>
                  <a:pt x="17182" y="16200"/>
                </a:cubicBezTo>
                <a:cubicBezTo>
                  <a:pt x="17182" y="15929"/>
                  <a:pt x="16962" y="15709"/>
                  <a:pt x="16691" y="15709"/>
                </a:cubicBezTo>
                <a:moveTo>
                  <a:pt x="17673" y="11782"/>
                </a:moveTo>
                <a:lnTo>
                  <a:pt x="3927" y="11782"/>
                </a:lnTo>
                <a:cubicBezTo>
                  <a:pt x="2303" y="11782"/>
                  <a:pt x="982" y="10461"/>
                  <a:pt x="982" y="8836"/>
                </a:cubicBezTo>
                <a:cubicBezTo>
                  <a:pt x="982" y="7468"/>
                  <a:pt x="1911" y="6292"/>
                  <a:pt x="3244" y="5975"/>
                </a:cubicBezTo>
                <a:cubicBezTo>
                  <a:pt x="3634" y="5882"/>
                  <a:pt x="3929" y="5561"/>
                  <a:pt x="3988" y="5164"/>
                </a:cubicBezTo>
                <a:cubicBezTo>
                  <a:pt x="4342" y="2780"/>
                  <a:pt x="6427" y="982"/>
                  <a:pt x="8836" y="982"/>
                </a:cubicBezTo>
                <a:cubicBezTo>
                  <a:pt x="10501" y="982"/>
                  <a:pt x="11547" y="1330"/>
                  <a:pt x="12457" y="2736"/>
                </a:cubicBezTo>
                <a:cubicBezTo>
                  <a:pt x="12612" y="2975"/>
                  <a:pt x="13354" y="3626"/>
                  <a:pt x="13636" y="3666"/>
                </a:cubicBezTo>
                <a:cubicBezTo>
                  <a:pt x="13682" y="3672"/>
                  <a:pt x="13772" y="3675"/>
                  <a:pt x="13772" y="3675"/>
                </a:cubicBezTo>
                <a:cubicBezTo>
                  <a:pt x="14009" y="3675"/>
                  <a:pt x="14238" y="3590"/>
                  <a:pt x="14419" y="3433"/>
                </a:cubicBezTo>
                <a:cubicBezTo>
                  <a:pt x="14777" y="3119"/>
                  <a:pt x="15236" y="2945"/>
                  <a:pt x="15709" y="2945"/>
                </a:cubicBezTo>
                <a:cubicBezTo>
                  <a:pt x="16792" y="2945"/>
                  <a:pt x="17673" y="3826"/>
                  <a:pt x="17671" y="4920"/>
                </a:cubicBezTo>
                <a:lnTo>
                  <a:pt x="17667" y="4992"/>
                </a:lnTo>
                <a:cubicBezTo>
                  <a:pt x="17646" y="5457"/>
                  <a:pt x="17954" y="5872"/>
                  <a:pt x="18404" y="5987"/>
                </a:cubicBezTo>
                <a:cubicBezTo>
                  <a:pt x="19707" y="6321"/>
                  <a:pt x="20618" y="7493"/>
                  <a:pt x="20618" y="8836"/>
                </a:cubicBezTo>
                <a:cubicBezTo>
                  <a:pt x="20618" y="10461"/>
                  <a:pt x="19297" y="11782"/>
                  <a:pt x="17673" y="11782"/>
                </a:cubicBezTo>
                <a:moveTo>
                  <a:pt x="18648" y="5037"/>
                </a:moveTo>
                <a:cubicBezTo>
                  <a:pt x="18650" y="4994"/>
                  <a:pt x="18655" y="4952"/>
                  <a:pt x="18655" y="4909"/>
                </a:cubicBezTo>
                <a:cubicBezTo>
                  <a:pt x="18655" y="3283"/>
                  <a:pt x="17335" y="1964"/>
                  <a:pt x="15709" y="1964"/>
                </a:cubicBezTo>
                <a:cubicBezTo>
                  <a:pt x="14967" y="1964"/>
                  <a:pt x="14291" y="2240"/>
                  <a:pt x="13772" y="2693"/>
                </a:cubicBezTo>
                <a:cubicBezTo>
                  <a:pt x="12724" y="1075"/>
                  <a:pt x="10909" y="0"/>
                  <a:pt x="8836" y="0"/>
                </a:cubicBezTo>
                <a:cubicBezTo>
                  <a:pt x="5879" y="0"/>
                  <a:pt x="3439" y="2180"/>
                  <a:pt x="3016" y="5019"/>
                </a:cubicBezTo>
                <a:cubicBezTo>
                  <a:pt x="1288" y="5431"/>
                  <a:pt x="0" y="6981"/>
                  <a:pt x="0" y="8836"/>
                </a:cubicBezTo>
                <a:cubicBezTo>
                  <a:pt x="0" y="11005"/>
                  <a:pt x="1758" y="12764"/>
                  <a:pt x="3927" y="12764"/>
                </a:cubicBezTo>
                <a:lnTo>
                  <a:pt x="17673" y="12764"/>
                </a:lnTo>
                <a:cubicBezTo>
                  <a:pt x="19842" y="12764"/>
                  <a:pt x="21600" y="11005"/>
                  <a:pt x="21600" y="8836"/>
                </a:cubicBezTo>
                <a:cubicBezTo>
                  <a:pt x="21600" y="7005"/>
                  <a:pt x="20344" y="5471"/>
                  <a:pt x="18648" y="5037"/>
                </a:cubicBezTo>
                <a:moveTo>
                  <a:pt x="6382" y="15709"/>
                </a:moveTo>
                <a:cubicBezTo>
                  <a:pt x="6246" y="15709"/>
                  <a:pt x="6123" y="15764"/>
                  <a:pt x="6035" y="15853"/>
                </a:cubicBezTo>
                <a:lnTo>
                  <a:pt x="3090" y="18798"/>
                </a:lnTo>
                <a:cubicBezTo>
                  <a:pt x="3001" y="18888"/>
                  <a:pt x="2945" y="19010"/>
                  <a:pt x="2945" y="19145"/>
                </a:cubicBezTo>
                <a:cubicBezTo>
                  <a:pt x="2945" y="19417"/>
                  <a:pt x="3165" y="19636"/>
                  <a:pt x="3436" y="19636"/>
                </a:cubicBezTo>
                <a:cubicBezTo>
                  <a:pt x="3572" y="19636"/>
                  <a:pt x="3695" y="19582"/>
                  <a:pt x="3783" y="19493"/>
                </a:cubicBezTo>
                <a:lnTo>
                  <a:pt x="6729" y="16547"/>
                </a:lnTo>
                <a:cubicBezTo>
                  <a:pt x="6818" y="16458"/>
                  <a:pt x="6873" y="16336"/>
                  <a:pt x="6873" y="16200"/>
                </a:cubicBezTo>
                <a:cubicBezTo>
                  <a:pt x="6873" y="15929"/>
                  <a:pt x="6653" y="15709"/>
                  <a:pt x="6382" y="15709"/>
                </a:cubicBezTo>
                <a:moveTo>
                  <a:pt x="11782" y="15218"/>
                </a:moveTo>
                <a:cubicBezTo>
                  <a:pt x="11782" y="14947"/>
                  <a:pt x="11562" y="14727"/>
                  <a:pt x="11291" y="14727"/>
                </a:cubicBezTo>
                <a:cubicBezTo>
                  <a:pt x="11155" y="14727"/>
                  <a:pt x="11032" y="14782"/>
                  <a:pt x="10944" y="14872"/>
                </a:cubicBezTo>
                <a:lnTo>
                  <a:pt x="7999" y="17816"/>
                </a:lnTo>
                <a:cubicBezTo>
                  <a:pt x="7910" y="17906"/>
                  <a:pt x="7855" y="18028"/>
                  <a:pt x="7855" y="18164"/>
                </a:cubicBezTo>
                <a:cubicBezTo>
                  <a:pt x="7855" y="18435"/>
                  <a:pt x="8074" y="18655"/>
                  <a:pt x="8345" y="18655"/>
                </a:cubicBezTo>
                <a:lnTo>
                  <a:pt x="10106" y="18655"/>
                </a:lnTo>
                <a:lnTo>
                  <a:pt x="7998" y="20762"/>
                </a:lnTo>
                <a:cubicBezTo>
                  <a:pt x="7910" y="20851"/>
                  <a:pt x="7855" y="20974"/>
                  <a:pt x="7855" y="21109"/>
                </a:cubicBezTo>
                <a:cubicBezTo>
                  <a:pt x="7855" y="21380"/>
                  <a:pt x="8074" y="21600"/>
                  <a:pt x="8345" y="21600"/>
                </a:cubicBezTo>
                <a:cubicBezTo>
                  <a:pt x="8481" y="21600"/>
                  <a:pt x="8604" y="21545"/>
                  <a:pt x="8693" y="21456"/>
                </a:cubicBezTo>
                <a:lnTo>
                  <a:pt x="11638" y="18511"/>
                </a:lnTo>
                <a:cubicBezTo>
                  <a:pt x="11727" y="18422"/>
                  <a:pt x="11782" y="18299"/>
                  <a:pt x="11782" y="18164"/>
                </a:cubicBezTo>
                <a:cubicBezTo>
                  <a:pt x="11782" y="17892"/>
                  <a:pt x="11562" y="17673"/>
                  <a:pt x="11291" y="17673"/>
                </a:cubicBezTo>
                <a:lnTo>
                  <a:pt x="11290" y="17673"/>
                </a:lnTo>
                <a:lnTo>
                  <a:pt x="9531" y="17673"/>
                </a:lnTo>
                <a:lnTo>
                  <a:pt x="11638" y="15565"/>
                </a:lnTo>
                <a:cubicBezTo>
                  <a:pt x="11727" y="15477"/>
                  <a:pt x="11782" y="15354"/>
                  <a:pt x="11782" y="15218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72" name="Shape 2972"/>
          <p:cNvSpPr/>
          <p:nvPr/>
        </p:nvSpPr>
        <p:spPr>
          <a:xfrm>
            <a:off x="4613686" y="5172485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11782"/>
                </a:moveTo>
                <a:lnTo>
                  <a:pt x="3927" y="11782"/>
                </a:lnTo>
                <a:cubicBezTo>
                  <a:pt x="2303" y="11782"/>
                  <a:pt x="982" y="10461"/>
                  <a:pt x="982" y="8836"/>
                </a:cubicBezTo>
                <a:cubicBezTo>
                  <a:pt x="982" y="7468"/>
                  <a:pt x="1911" y="6292"/>
                  <a:pt x="3244" y="5975"/>
                </a:cubicBezTo>
                <a:cubicBezTo>
                  <a:pt x="3634" y="5882"/>
                  <a:pt x="3929" y="5561"/>
                  <a:pt x="3988" y="5164"/>
                </a:cubicBezTo>
                <a:cubicBezTo>
                  <a:pt x="4342" y="2780"/>
                  <a:pt x="6427" y="982"/>
                  <a:pt x="8836" y="982"/>
                </a:cubicBezTo>
                <a:cubicBezTo>
                  <a:pt x="10501" y="982"/>
                  <a:pt x="11547" y="1330"/>
                  <a:pt x="12457" y="2736"/>
                </a:cubicBezTo>
                <a:cubicBezTo>
                  <a:pt x="12612" y="2975"/>
                  <a:pt x="13354" y="3626"/>
                  <a:pt x="13636" y="3666"/>
                </a:cubicBezTo>
                <a:cubicBezTo>
                  <a:pt x="13682" y="3672"/>
                  <a:pt x="13772" y="3675"/>
                  <a:pt x="13772" y="3675"/>
                </a:cubicBezTo>
                <a:cubicBezTo>
                  <a:pt x="14009" y="3675"/>
                  <a:pt x="14238" y="3590"/>
                  <a:pt x="14419" y="3433"/>
                </a:cubicBezTo>
                <a:cubicBezTo>
                  <a:pt x="14777" y="3119"/>
                  <a:pt x="15236" y="2945"/>
                  <a:pt x="15709" y="2945"/>
                </a:cubicBezTo>
                <a:cubicBezTo>
                  <a:pt x="16792" y="2945"/>
                  <a:pt x="17673" y="3826"/>
                  <a:pt x="17671" y="4920"/>
                </a:cubicBezTo>
                <a:lnTo>
                  <a:pt x="17667" y="4992"/>
                </a:lnTo>
                <a:cubicBezTo>
                  <a:pt x="17646" y="5457"/>
                  <a:pt x="17954" y="5872"/>
                  <a:pt x="18404" y="5987"/>
                </a:cubicBezTo>
                <a:cubicBezTo>
                  <a:pt x="19708" y="6321"/>
                  <a:pt x="20618" y="7493"/>
                  <a:pt x="20618" y="8836"/>
                </a:cubicBezTo>
                <a:cubicBezTo>
                  <a:pt x="20618" y="10461"/>
                  <a:pt x="19297" y="11782"/>
                  <a:pt x="17673" y="11782"/>
                </a:cubicBezTo>
                <a:moveTo>
                  <a:pt x="18648" y="5037"/>
                </a:moveTo>
                <a:cubicBezTo>
                  <a:pt x="18650" y="4994"/>
                  <a:pt x="18655" y="4952"/>
                  <a:pt x="18655" y="4909"/>
                </a:cubicBezTo>
                <a:cubicBezTo>
                  <a:pt x="18655" y="3283"/>
                  <a:pt x="17335" y="1964"/>
                  <a:pt x="15709" y="1964"/>
                </a:cubicBezTo>
                <a:cubicBezTo>
                  <a:pt x="14967" y="1964"/>
                  <a:pt x="14291" y="2240"/>
                  <a:pt x="13772" y="2693"/>
                </a:cubicBezTo>
                <a:cubicBezTo>
                  <a:pt x="12724" y="1075"/>
                  <a:pt x="10909" y="0"/>
                  <a:pt x="8836" y="0"/>
                </a:cubicBezTo>
                <a:cubicBezTo>
                  <a:pt x="5879" y="0"/>
                  <a:pt x="3439" y="2180"/>
                  <a:pt x="3016" y="5019"/>
                </a:cubicBezTo>
                <a:cubicBezTo>
                  <a:pt x="1288" y="5431"/>
                  <a:pt x="0" y="6981"/>
                  <a:pt x="0" y="8836"/>
                </a:cubicBezTo>
                <a:cubicBezTo>
                  <a:pt x="0" y="11005"/>
                  <a:pt x="1758" y="12764"/>
                  <a:pt x="3927" y="12764"/>
                </a:cubicBezTo>
                <a:lnTo>
                  <a:pt x="17673" y="12764"/>
                </a:lnTo>
                <a:cubicBezTo>
                  <a:pt x="19842" y="12764"/>
                  <a:pt x="21600" y="11005"/>
                  <a:pt x="21600" y="8836"/>
                </a:cubicBezTo>
                <a:cubicBezTo>
                  <a:pt x="21600" y="7005"/>
                  <a:pt x="20344" y="5471"/>
                  <a:pt x="18648" y="5037"/>
                </a:cubicBezTo>
                <a:moveTo>
                  <a:pt x="11782" y="15218"/>
                </a:moveTo>
                <a:cubicBezTo>
                  <a:pt x="11782" y="14947"/>
                  <a:pt x="11562" y="14727"/>
                  <a:pt x="11291" y="14727"/>
                </a:cubicBezTo>
                <a:cubicBezTo>
                  <a:pt x="11155" y="14727"/>
                  <a:pt x="11032" y="14782"/>
                  <a:pt x="10944" y="14872"/>
                </a:cubicBezTo>
                <a:lnTo>
                  <a:pt x="7999" y="17816"/>
                </a:lnTo>
                <a:cubicBezTo>
                  <a:pt x="7910" y="17906"/>
                  <a:pt x="7855" y="18028"/>
                  <a:pt x="7855" y="18164"/>
                </a:cubicBezTo>
                <a:cubicBezTo>
                  <a:pt x="7855" y="18435"/>
                  <a:pt x="8074" y="18655"/>
                  <a:pt x="8345" y="18655"/>
                </a:cubicBezTo>
                <a:lnTo>
                  <a:pt x="10106" y="18655"/>
                </a:lnTo>
                <a:lnTo>
                  <a:pt x="7998" y="20762"/>
                </a:lnTo>
                <a:cubicBezTo>
                  <a:pt x="7909" y="20851"/>
                  <a:pt x="7855" y="20974"/>
                  <a:pt x="7855" y="21109"/>
                </a:cubicBezTo>
                <a:cubicBezTo>
                  <a:pt x="7855" y="21380"/>
                  <a:pt x="8074" y="21600"/>
                  <a:pt x="8345" y="21600"/>
                </a:cubicBezTo>
                <a:cubicBezTo>
                  <a:pt x="8481" y="21600"/>
                  <a:pt x="8603" y="21545"/>
                  <a:pt x="8693" y="21456"/>
                </a:cubicBezTo>
                <a:lnTo>
                  <a:pt x="11638" y="18511"/>
                </a:lnTo>
                <a:cubicBezTo>
                  <a:pt x="11727" y="18422"/>
                  <a:pt x="11782" y="18299"/>
                  <a:pt x="11782" y="18164"/>
                </a:cubicBezTo>
                <a:cubicBezTo>
                  <a:pt x="11782" y="17892"/>
                  <a:pt x="11562" y="17673"/>
                  <a:pt x="11291" y="17673"/>
                </a:cubicBezTo>
                <a:lnTo>
                  <a:pt x="11290" y="17673"/>
                </a:lnTo>
                <a:lnTo>
                  <a:pt x="9531" y="17673"/>
                </a:lnTo>
                <a:lnTo>
                  <a:pt x="11638" y="15565"/>
                </a:lnTo>
                <a:cubicBezTo>
                  <a:pt x="11727" y="15477"/>
                  <a:pt x="11782" y="15354"/>
                  <a:pt x="11782" y="15218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73" name="Shape 2973"/>
          <p:cNvSpPr/>
          <p:nvPr/>
        </p:nvSpPr>
        <p:spPr>
          <a:xfrm>
            <a:off x="5146947" y="5191530"/>
            <a:ext cx="279328" cy="2412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82" y="12505"/>
                </a:moveTo>
                <a:lnTo>
                  <a:pt x="4418" y="12505"/>
                </a:lnTo>
                <a:cubicBezTo>
                  <a:pt x="4147" y="12505"/>
                  <a:pt x="3927" y="12759"/>
                  <a:pt x="3927" y="13074"/>
                </a:cubicBezTo>
                <a:cubicBezTo>
                  <a:pt x="3927" y="13388"/>
                  <a:pt x="4147" y="13642"/>
                  <a:pt x="4418" y="13642"/>
                </a:cubicBezTo>
                <a:lnTo>
                  <a:pt x="11782" y="13642"/>
                </a:lnTo>
                <a:cubicBezTo>
                  <a:pt x="13408" y="13642"/>
                  <a:pt x="14727" y="15170"/>
                  <a:pt x="14727" y="17053"/>
                </a:cubicBezTo>
                <a:cubicBezTo>
                  <a:pt x="14727" y="18937"/>
                  <a:pt x="13408" y="20463"/>
                  <a:pt x="11782" y="20463"/>
                </a:cubicBezTo>
                <a:lnTo>
                  <a:pt x="11291" y="20463"/>
                </a:lnTo>
                <a:cubicBezTo>
                  <a:pt x="11020" y="20463"/>
                  <a:pt x="10800" y="20717"/>
                  <a:pt x="10800" y="21032"/>
                </a:cubicBezTo>
                <a:cubicBezTo>
                  <a:pt x="10800" y="21346"/>
                  <a:pt x="11020" y="21600"/>
                  <a:pt x="11291" y="21600"/>
                </a:cubicBezTo>
                <a:lnTo>
                  <a:pt x="11782" y="21600"/>
                </a:lnTo>
                <a:cubicBezTo>
                  <a:pt x="13951" y="21600"/>
                  <a:pt x="15709" y="19564"/>
                  <a:pt x="15709" y="17053"/>
                </a:cubicBezTo>
                <a:cubicBezTo>
                  <a:pt x="15709" y="14541"/>
                  <a:pt x="13951" y="12505"/>
                  <a:pt x="11782" y="12505"/>
                </a:cubicBezTo>
                <a:moveTo>
                  <a:pt x="18655" y="10232"/>
                </a:moveTo>
                <a:lnTo>
                  <a:pt x="2455" y="10232"/>
                </a:lnTo>
                <a:cubicBezTo>
                  <a:pt x="2183" y="10232"/>
                  <a:pt x="1964" y="10486"/>
                  <a:pt x="1964" y="10800"/>
                </a:cubicBezTo>
                <a:cubicBezTo>
                  <a:pt x="1964" y="11114"/>
                  <a:pt x="2183" y="11368"/>
                  <a:pt x="2455" y="11368"/>
                </a:cubicBezTo>
                <a:lnTo>
                  <a:pt x="18655" y="11368"/>
                </a:lnTo>
                <a:cubicBezTo>
                  <a:pt x="19739" y="11368"/>
                  <a:pt x="20618" y="12386"/>
                  <a:pt x="20618" y="13642"/>
                </a:cubicBezTo>
                <a:cubicBezTo>
                  <a:pt x="20618" y="14898"/>
                  <a:pt x="19739" y="15916"/>
                  <a:pt x="18655" y="15916"/>
                </a:cubicBezTo>
                <a:lnTo>
                  <a:pt x="18164" y="15916"/>
                </a:lnTo>
                <a:cubicBezTo>
                  <a:pt x="17892" y="15916"/>
                  <a:pt x="17673" y="16170"/>
                  <a:pt x="17673" y="16484"/>
                </a:cubicBezTo>
                <a:cubicBezTo>
                  <a:pt x="17673" y="16798"/>
                  <a:pt x="17892" y="17053"/>
                  <a:pt x="18164" y="17053"/>
                </a:cubicBezTo>
                <a:lnTo>
                  <a:pt x="18655" y="17053"/>
                </a:lnTo>
                <a:cubicBezTo>
                  <a:pt x="20281" y="17053"/>
                  <a:pt x="21600" y="15526"/>
                  <a:pt x="21600" y="13642"/>
                </a:cubicBezTo>
                <a:cubicBezTo>
                  <a:pt x="21600" y="11759"/>
                  <a:pt x="20281" y="10232"/>
                  <a:pt x="18655" y="10232"/>
                </a:cubicBezTo>
                <a:moveTo>
                  <a:pt x="17673" y="6821"/>
                </a:moveTo>
                <a:cubicBezTo>
                  <a:pt x="17673" y="5565"/>
                  <a:pt x="16794" y="4547"/>
                  <a:pt x="15709" y="4547"/>
                </a:cubicBezTo>
                <a:lnTo>
                  <a:pt x="15218" y="4547"/>
                </a:lnTo>
                <a:cubicBezTo>
                  <a:pt x="14947" y="4547"/>
                  <a:pt x="14727" y="4802"/>
                  <a:pt x="14727" y="5116"/>
                </a:cubicBezTo>
                <a:cubicBezTo>
                  <a:pt x="14727" y="5430"/>
                  <a:pt x="14947" y="5684"/>
                  <a:pt x="15218" y="5684"/>
                </a:cubicBezTo>
                <a:lnTo>
                  <a:pt x="15709" y="5684"/>
                </a:lnTo>
                <a:cubicBezTo>
                  <a:pt x="16251" y="5684"/>
                  <a:pt x="16691" y="6194"/>
                  <a:pt x="16691" y="6821"/>
                </a:cubicBezTo>
                <a:cubicBezTo>
                  <a:pt x="16691" y="7448"/>
                  <a:pt x="16251" y="7958"/>
                  <a:pt x="15709" y="7958"/>
                </a:cubicBezTo>
                <a:lnTo>
                  <a:pt x="491" y="7958"/>
                </a:lnTo>
                <a:cubicBezTo>
                  <a:pt x="220" y="7958"/>
                  <a:pt x="0" y="8212"/>
                  <a:pt x="0" y="8526"/>
                </a:cubicBezTo>
                <a:cubicBezTo>
                  <a:pt x="0" y="8841"/>
                  <a:pt x="220" y="9095"/>
                  <a:pt x="491" y="9095"/>
                </a:cubicBezTo>
                <a:lnTo>
                  <a:pt x="15709" y="9095"/>
                </a:lnTo>
                <a:cubicBezTo>
                  <a:pt x="16794" y="9095"/>
                  <a:pt x="17673" y="8077"/>
                  <a:pt x="17673" y="6821"/>
                </a:cubicBezTo>
                <a:moveTo>
                  <a:pt x="2455" y="6821"/>
                </a:moveTo>
                <a:lnTo>
                  <a:pt x="9818" y="6821"/>
                </a:lnTo>
                <a:cubicBezTo>
                  <a:pt x="11444" y="6821"/>
                  <a:pt x="12764" y="5294"/>
                  <a:pt x="12764" y="3411"/>
                </a:cubicBezTo>
                <a:cubicBezTo>
                  <a:pt x="12764" y="1528"/>
                  <a:pt x="11444" y="0"/>
                  <a:pt x="9818" y="0"/>
                </a:cubicBezTo>
                <a:lnTo>
                  <a:pt x="9327" y="0"/>
                </a:lnTo>
                <a:cubicBezTo>
                  <a:pt x="9056" y="0"/>
                  <a:pt x="8836" y="254"/>
                  <a:pt x="8836" y="568"/>
                </a:cubicBezTo>
                <a:cubicBezTo>
                  <a:pt x="8836" y="883"/>
                  <a:pt x="9056" y="1137"/>
                  <a:pt x="9327" y="1137"/>
                </a:cubicBezTo>
                <a:lnTo>
                  <a:pt x="9818" y="1137"/>
                </a:lnTo>
                <a:cubicBezTo>
                  <a:pt x="10903" y="1137"/>
                  <a:pt x="11782" y="2155"/>
                  <a:pt x="11782" y="3411"/>
                </a:cubicBezTo>
                <a:cubicBezTo>
                  <a:pt x="11782" y="4666"/>
                  <a:pt x="10903" y="5684"/>
                  <a:pt x="9818" y="5684"/>
                </a:cubicBezTo>
                <a:lnTo>
                  <a:pt x="2455" y="5684"/>
                </a:lnTo>
                <a:cubicBezTo>
                  <a:pt x="2183" y="5684"/>
                  <a:pt x="1964" y="5938"/>
                  <a:pt x="1964" y="6253"/>
                </a:cubicBezTo>
                <a:cubicBezTo>
                  <a:pt x="1964" y="6567"/>
                  <a:pt x="2183" y="6821"/>
                  <a:pt x="2455" y="6821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74" name="Shape 2974"/>
          <p:cNvSpPr/>
          <p:nvPr/>
        </p:nvSpPr>
        <p:spPr>
          <a:xfrm>
            <a:off x="5680208" y="5172485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480" y="13937"/>
                </a:moveTo>
                <a:cubicBezTo>
                  <a:pt x="14147" y="14117"/>
                  <a:pt x="13804" y="14208"/>
                  <a:pt x="13451" y="14208"/>
                </a:cubicBezTo>
                <a:cubicBezTo>
                  <a:pt x="12999" y="14208"/>
                  <a:pt x="12590" y="14119"/>
                  <a:pt x="12225" y="13943"/>
                </a:cubicBezTo>
                <a:cubicBezTo>
                  <a:pt x="11859" y="13768"/>
                  <a:pt x="11545" y="13525"/>
                  <a:pt x="11282" y="13217"/>
                </a:cubicBezTo>
                <a:cubicBezTo>
                  <a:pt x="11020" y="12909"/>
                  <a:pt x="10816" y="12544"/>
                  <a:pt x="10672" y="12121"/>
                </a:cubicBezTo>
                <a:cubicBezTo>
                  <a:pt x="10529" y="11698"/>
                  <a:pt x="10457" y="11236"/>
                  <a:pt x="10457" y="10734"/>
                </a:cubicBezTo>
                <a:cubicBezTo>
                  <a:pt x="10457" y="10268"/>
                  <a:pt x="10529" y="9832"/>
                  <a:pt x="10672" y="9427"/>
                </a:cubicBezTo>
                <a:cubicBezTo>
                  <a:pt x="10816" y="9022"/>
                  <a:pt x="11020" y="8668"/>
                  <a:pt x="11282" y="8364"/>
                </a:cubicBezTo>
                <a:cubicBezTo>
                  <a:pt x="11545" y="8060"/>
                  <a:pt x="11859" y="7823"/>
                  <a:pt x="12225" y="7651"/>
                </a:cubicBezTo>
                <a:cubicBezTo>
                  <a:pt x="12590" y="7479"/>
                  <a:pt x="12999" y="7393"/>
                  <a:pt x="13451" y="7393"/>
                </a:cubicBezTo>
                <a:cubicBezTo>
                  <a:pt x="13755" y="7393"/>
                  <a:pt x="14057" y="7456"/>
                  <a:pt x="14357" y="7579"/>
                </a:cubicBezTo>
                <a:cubicBezTo>
                  <a:pt x="14656" y="7702"/>
                  <a:pt x="14966" y="7948"/>
                  <a:pt x="15287" y="8318"/>
                </a:cubicBezTo>
                <a:lnTo>
                  <a:pt x="16494" y="7367"/>
                </a:lnTo>
                <a:cubicBezTo>
                  <a:pt x="16059" y="6830"/>
                  <a:pt x="15589" y="6449"/>
                  <a:pt x="15083" y="6225"/>
                </a:cubicBezTo>
                <a:cubicBezTo>
                  <a:pt x="14578" y="6000"/>
                  <a:pt x="14030" y="5888"/>
                  <a:pt x="13439" y="5888"/>
                </a:cubicBezTo>
                <a:cubicBezTo>
                  <a:pt x="12765" y="5888"/>
                  <a:pt x="12147" y="6005"/>
                  <a:pt x="11584" y="6238"/>
                </a:cubicBezTo>
                <a:cubicBezTo>
                  <a:pt x="11021" y="6471"/>
                  <a:pt x="10537" y="6804"/>
                  <a:pt x="10131" y="7235"/>
                </a:cubicBezTo>
                <a:cubicBezTo>
                  <a:pt x="9724" y="7666"/>
                  <a:pt x="9405" y="8188"/>
                  <a:pt x="9176" y="8800"/>
                </a:cubicBezTo>
                <a:cubicBezTo>
                  <a:pt x="8946" y="9412"/>
                  <a:pt x="8831" y="10092"/>
                  <a:pt x="8831" y="10840"/>
                </a:cubicBezTo>
                <a:cubicBezTo>
                  <a:pt x="8831" y="11571"/>
                  <a:pt x="8946" y="12235"/>
                  <a:pt x="9176" y="12835"/>
                </a:cubicBezTo>
                <a:cubicBezTo>
                  <a:pt x="9405" y="13433"/>
                  <a:pt x="9724" y="13946"/>
                  <a:pt x="10131" y="14373"/>
                </a:cubicBezTo>
                <a:cubicBezTo>
                  <a:pt x="10537" y="14800"/>
                  <a:pt x="11021" y="15130"/>
                  <a:pt x="11584" y="15363"/>
                </a:cubicBezTo>
                <a:cubicBezTo>
                  <a:pt x="12147" y="15597"/>
                  <a:pt x="12765" y="15713"/>
                  <a:pt x="13439" y="15713"/>
                </a:cubicBezTo>
                <a:cubicBezTo>
                  <a:pt x="14079" y="15713"/>
                  <a:pt x="14683" y="15581"/>
                  <a:pt x="15250" y="15317"/>
                </a:cubicBezTo>
                <a:cubicBezTo>
                  <a:pt x="15816" y="15053"/>
                  <a:pt x="16297" y="14630"/>
                  <a:pt x="16691" y="14049"/>
                </a:cubicBezTo>
                <a:lnTo>
                  <a:pt x="15410" y="13072"/>
                </a:lnTo>
                <a:cubicBezTo>
                  <a:pt x="15122" y="13468"/>
                  <a:pt x="14813" y="13756"/>
                  <a:pt x="14480" y="13937"/>
                </a:cubicBezTo>
                <a:moveTo>
                  <a:pt x="5891" y="6873"/>
                </a:moveTo>
                <a:cubicBezTo>
                  <a:pt x="5349" y="6873"/>
                  <a:pt x="4909" y="6433"/>
                  <a:pt x="4909" y="5891"/>
                </a:cubicBezTo>
                <a:cubicBezTo>
                  <a:pt x="4909" y="5349"/>
                  <a:pt x="5349" y="4909"/>
                  <a:pt x="5891" y="4909"/>
                </a:cubicBezTo>
                <a:cubicBezTo>
                  <a:pt x="6433" y="4909"/>
                  <a:pt x="6873" y="5349"/>
                  <a:pt x="6873" y="5891"/>
                </a:cubicBezTo>
                <a:cubicBezTo>
                  <a:pt x="6873" y="6433"/>
                  <a:pt x="6433" y="6873"/>
                  <a:pt x="5891" y="6873"/>
                </a:cubicBezTo>
                <a:moveTo>
                  <a:pt x="5891" y="3927"/>
                </a:moveTo>
                <a:cubicBezTo>
                  <a:pt x="4806" y="3927"/>
                  <a:pt x="3927" y="4806"/>
                  <a:pt x="3927" y="5891"/>
                </a:cubicBezTo>
                <a:cubicBezTo>
                  <a:pt x="3927" y="6975"/>
                  <a:pt x="4806" y="7855"/>
                  <a:pt x="5891" y="7855"/>
                </a:cubicBezTo>
                <a:cubicBezTo>
                  <a:pt x="6975" y="7855"/>
                  <a:pt x="7855" y="6975"/>
                  <a:pt x="7855" y="5891"/>
                </a:cubicBezTo>
                <a:cubicBezTo>
                  <a:pt x="7855" y="4806"/>
                  <a:pt x="6975" y="3927"/>
                  <a:pt x="5891" y="3927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75" name="Shape 2975"/>
          <p:cNvSpPr/>
          <p:nvPr/>
        </p:nvSpPr>
        <p:spPr>
          <a:xfrm>
            <a:off x="6289650" y="467731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9825" y="15704"/>
                </a:moveTo>
                <a:lnTo>
                  <a:pt x="11291" y="15709"/>
                </a:lnTo>
                <a:lnTo>
                  <a:pt x="11291" y="11782"/>
                </a:lnTo>
                <a:lnTo>
                  <a:pt x="15218" y="11782"/>
                </a:lnTo>
                <a:lnTo>
                  <a:pt x="15218" y="10309"/>
                </a:lnTo>
                <a:lnTo>
                  <a:pt x="11291" y="10309"/>
                </a:lnTo>
                <a:lnTo>
                  <a:pt x="11291" y="7364"/>
                </a:lnTo>
                <a:lnTo>
                  <a:pt x="15709" y="7364"/>
                </a:lnTo>
                <a:lnTo>
                  <a:pt x="15711" y="5897"/>
                </a:lnTo>
                <a:lnTo>
                  <a:pt x="9825" y="5897"/>
                </a:lnTo>
                <a:cubicBezTo>
                  <a:pt x="9825" y="5897"/>
                  <a:pt x="9825" y="15704"/>
                  <a:pt x="9825" y="15704"/>
                </a:cubicBezTo>
                <a:close/>
                <a:moveTo>
                  <a:pt x="5891" y="6873"/>
                </a:moveTo>
                <a:cubicBezTo>
                  <a:pt x="5349" y="6873"/>
                  <a:pt x="4909" y="6434"/>
                  <a:pt x="4909" y="5891"/>
                </a:cubicBezTo>
                <a:cubicBezTo>
                  <a:pt x="4909" y="5349"/>
                  <a:pt x="5349" y="4909"/>
                  <a:pt x="5891" y="4909"/>
                </a:cubicBezTo>
                <a:cubicBezTo>
                  <a:pt x="6433" y="4909"/>
                  <a:pt x="6873" y="5349"/>
                  <a:pt x="6873" y="5891"/>
                </a:cubicBezTo>
                <a:cubicBezTo>
                  <a:pt x="6873" y="6434"/>
                  <a:pt x="6433" y="6873"/>
                  <a:pt x="5891" y="6873"/>
                </a:cubicBezTo>
                <a:moveTo>
                  <a:pt x="5891" y="3927"/>
                </a:moveTo>
                <a:cubicBezTo>
                  <a:pt x="4806" y="3927"/>
                  <a:pt x="3927" y="4806"/>
                  <a:pt x="3927" y="5891"/>
                </a:cubicBezTo>
                <a:cubicBezTo>
                  <a:pt x="3927" y="6975"/>
                  <a:pt x="4806" y="7855"/>
                  <a:pt x="5891" y="7855"/>
                </a:cubicBezTo>
                <a:cubicBezTo>
                  <a:pt x="6975" y="7855"/>
                  <a:pt x="7855" y="6975"/>
                  <a:pt x="7855" y="5891"/>
                </a:cubicBezTo>
                <a:cubicBezTo>
                  <a:pt x="7855" y="4806"/>
                  <a:pt x="6975" y="3927"/>
                  <a:pt x="5891" y="3927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76" name="Shape 2976"/>
          <p:cNvSpPr/>
          <p:nvPr/>
        </p:nvSpPr>
        <p:spPr>
          <a:xfrm>
            <a:off x="6822911" y="467731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77" name="Shape 2977"/>
          <p:cNvSpPr/>
          <p:nvPr/>
        </p:nvSpPr>
        <p:spPr>
          <a:xfrm>
            <a:off x="7356172" y="467731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86" y="20524"/>
                </a:moveTo>
                <a:cubicBezTo>
                  <a:pt x="11664" y="20580"/>
                  <a:pt x="11237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1237" y="982"/>
                  <a:pt x="11665" y="1020"/>
                  <a:pt x="12086" y="1076"/>
                </a:cubicBezTo>
                <a:cubicBezTo>
                  <a:pt x="14339" y="3664"/>
                  <a:pt x="15709" y="7100"/>
                  <a:pt x="15709" y="10800"/>
                </a:cubicBezTo>
                <a:cubicBezTo>
                  <a:pt x="15709" y="14500"/>
                  <a:pt x="14339" y="17936"/>
                  <a:pt x="12086" y="20524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78" name="Shape 2978"/>
          <p:cNvSpPr/>
          <p:nvPr/>
        </p:nvSpPr>
        <p:spPr>
          <a:xfrm>
            <a:off x="7889433" y="467731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0800" y="982"/>
                  <a:pt x="10800" y="20618"/>
                  <a:pt x="10800" y="20618"/>
                </a:cubicBezTo>
                <a:close/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79" name="Shape 2979"/>
          <p:cNvSpPr/>
          <p:nvPr/>
        </p:nvSpPr>
        <p:spPr>
          <a:xfrm>
            <a:off x="8422694" y="467731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70" y="20533"/>
                </a:moveTo>
                <a:cubicBezTo>
                  <a:pt x="4730" y="19927"/>
                  <a:pt x="982" y="15805"/>
                  <a:pt x="982" y="10800"/>
                </a:cubicBezTo>
                <a:cubicBezTo>
                  <a:pt x="982" y="5795"/>
                  <a:pt x="4730" y="1673"/>
                  <a:pt x="9570" y="1067"/>
                </a:cubicBezTo>
                <a:cubicBezTo>
                  <a:pt x="7282" y="3663"/>
                  <a:pt x="5891" y="7068"/>
                  <a:pt x="5891" y="10800"/>
                </a:cubicBezTo>
                <a:cubicBezTo>
                  <a:pt x="5891" y="14532"/>
                  <a:pt x="7282" y="17937"/>
                  <a:pt x="9570" y="20533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80" name="Shape 2980"/>
          <p:cNvSpPr/>
          <p:nvPr/>
        </p:nvSpPr>
        <p:spPr>
          <a:xfrm>
            <a:off x="8955955" y="4677314"/>
            <a:ext cx="279328" cy="279328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81" name="Shape 2981"/>
          <p:cNvSpPr/>
          <p:nvPr/>
        </p:nvSpPr>
        <p:spPr>
          <a:xfrm>
            <a:off x="9489216" y="467731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30" y="20533"/>
                </a:moveTo>
                <a:cubicBezTo>
                  <a:pt x="14318" y="17937"/>
                  <a:pt x="15709" y="14532"/>
                  <a:pt x="15709" y="10800"/>
                </a:cubicBezTo>
                <a:cubicBezTo>
                  <a:pt x="15709" y="7068"/>
                  <a:pt x="14318" y="3663"/>
                  <a:pt x="12030" y="1067"/>
                </a:cubicBezTo>
                <a:cubicBezTo>
                  <a:pt x="16870" y="1673"/>
                  <a:pt x="20618" y="5795"/>
                  <a:pt x="20618" y="10800"/>
                </a:cubicBezTo>
                <a:cubicBezTo>
                  <a:pt x="20618" y="15805"/>
                  <a:pt x="16870" y="19927"/>
                  <a:pt x="12030" y="20533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82" name="Shape 2982"/>
          <p:cNvSpPr/>
          <p:nvPr/>
        </p:nvSpPr>
        <p:spPr>
          <a:xfrm>
            <a:off x="10022477" y="467731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lnTo>
                  <a:pt x="10800" y="982"/>
                </a:ln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83" name="Shape 2983"/>
          <p:cNvSpPr/>
          <p:nvPr/>
        </p:nvSpPr>
        <p:spPr>
          <a:xfrm>
            <a:off x="10555738" y="4677314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10378" y="20618"/>
                  <a:pt x="9964" y="20583"/>
                  <a:pt x="9556" y="20531"/>
                </a:cubicBezTo>
                <a:cubicBezTo>
                  <a:pt x="7276" y="17937"/>
                  <a:pt x="5891" y="14524"/>
                  <a:pt x="5891" y="10800"/>
                </a:cubicBezTo>
                <a:cubicBezTo>
                  <a:pt x="5891" y="7076"/>
                  <a:pt x="7276" y="3663"/>
                  <a:pt x="9556" y="1069"/>
                </a:cubicBezTo>
                <a:cubicBezTo>
                  <a:pt x="9964" y="1017"/>
                  <a:pt x="10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2984" name="Shape 2984"/>
          <p:cNvSpPr/>
          <p:nvPr/>
        </p:nvSpPr>
        <p:spPr>
          <a:xfrm>
            <a:off x="11165180" y="4677314"/>
            <a:ext cx="12696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6029" y="20618"/>
                  <a:pt x="2160" y="18860"/>
                  <a:pt x="2160" y="16691"/>
                </a:cubicBezTo>
                <a:cubicBezTo>
                  <a:pt x="2160" y="15238"/>
                  <a:pt x="3900" y="13973"/>
                  <a:pt x="6480" y="13293"/>
                </a:cubicBezTo>
                <a:lnTo>
                  <a:pt x="6480" y="2945"/>
                </a:lnTo>
                <a:cubicBezTo>
                  <a:pt x="6480" y="1861"/>
                  <a:pt x="8414" y="982"/>
                  <a:pt x="10800" y="982"/>
                </a:cubicBezTo>
                <a:cubicBezTo>
                  <a:pt x="13186" y="982"/>
                  <a:pt x="15120" y="1861"/>
                  <a:pt x="15120" y="2945"/>
                </a:cubicBezTo>
                <a:lnTo>
                  <a:pt x="15120" y="13293"/>
                </a:lnTo>
                <a:cubicBezTo>
                  <a:pt x="17700" y="13973"/>
                  <a:pt x="19440" y="15238"/>
                  <a:pt x="19440" y="16691"/>
                </a:cubicBezTo>
                <a:cubicBezTo>
                  <a:pt x="19440" y="18860"/>
                  <a:pt x="15571" y="20618"/>
                  <a:pt x="10800" y="20618"/>
                </a:cubicBezTo>
                <a:moveTo>
                  <a:pt x="17280" y="12770"/>
                </a:moveTo>
                <a:lnTo>
                  <a:pt x="17280" y="2945"/>
                </a:lnTo>
                <a:cubicBezTo>
                  <a:pt x="17280" y="1318"/>
                  <a:pt x="14378" y="0"/>
                  <a:pt x="10800" y="0"/>
                </a:cubicBezTo>
                <a:cubicBezTo>
                  <a:pt x="7221" y="0"/>
                  <a:pt x="4320" y="1318"/>
                  <a:pt x="4320" y="2945"/>
                </a:cubicBezTo>
                <a:lnTo>
                  <a:pt x="4320" y="12770"/>
                </a:lnTo>
                <a:cubicBezTo>
                  <a:pt x="1701" y="13666"/>
                  <a:pt x="0" y="15087"/>
                  <a:pt x="0" y="16691"/>
                </a:cubicBezTo>
                <a:cubicBezTo>
                  <a:pt x="0" y="19402"/>
                  <a:pt x="4835" y="21600"/>
                  <a:pt x="10800" y="21600"/>
                </a:cubicBezTo>
                <a:cubicBezTo>
                  <a:pt x="16763" y="21600"/>
                  <a:pt x="21600" y="19402"/>
                  <a:pt x="21600" y="16691"/>
                </a:cubicBezTo>
                <a:cubicBezTo>
                  <a:pt x="21600" y="15087"/>
                  <a:pt x="19899" y="13666"/>
                  <a:pt x="17280" y="12770"/>
                </a:cubicBezTo>
                <a:moveTo>
                  <a:pt x="12960" y="13917"/>
                </a:moveTo>
                <a:lnTo>
                  <a:pt x="12960" y="7855"/>
                </a:lnTo>
                <a:cubicBezTo>
                  <a:pt x="12960" y="7313"/>
                  <a:pt x="11992" y="6873"/>
                  <a:pt x="10800" y="6873"/>
                </a:cubicBezTo>
                <a:cubicBezTo>
                  <a:pt x="9608" y="6873"/>
                  <a:pt x="8640" y="7313"/>
                  <a:pt x="8640" y="7855"/>
                </a:cubicBezTo>
                <a:lnTo>
                  <a:pt x="8640" y="13917"/>
                </a:lnTo>
                <a:cubicBezTo>
                  <a:pt x="6126" y="14322"/>
                  <a:pt x="4320" y="15409"/>
                  <a:pt x="4320" y="16691"/>
                </a:cubicBezTo>
                <a:cubicBezTo>
                  <a:pt x="4320" y="18318"/>
                  <a:pt x="7221" y="19636"/>
                  <a:pt x="10800" y="19636"/>
                </a:cubicBezTo>
                <a:cubicBezTo>
                  <a:pt x="14378" y="19636"/>
                  <a:pt x="17280" y="18318"/>
                  <a:pt x="17280" y="16691"/>
                </a:cubicBezTo>
                <a:cubicBezTo>
                  <a:pt x="17280" y="15409"/>
                  <a:pt x="15475" y="14322"/>
                  <a:pt x="12960" y="13917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en-US" sz="1500" dirty="0"/>
          </a:p>
        </p:txBody>
      </p:sp>
      <p:sp>
        <p:nvSpPr>
          <p:cNvPr id="98" name="Title 4">
            <a:extLst>
              <a:ext uri="{FF2B5EF4-FFF2-40B4-BE49-F238E27FC236}">
                <a16:creationId xmlns:a16="http://schemas.microsoft.com/office/drawing/2014/main" id="{AD6EB97A-9ADE-431D-82C6-6C2364BD1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rows, Location, Weathe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90B0F-8C56-824D-8586-36D78522F1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A0592D-46CE-E54F-8F8F-FCEE281862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29D581-EC8F-A342-B502-42421D0A8A52}" type="slidenum">
              <a:rPr lang="en-US" smtClean="0"/>
              <a:pPr/>
              <a:t>63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1893855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9" name="Freeform 199"/>
          <p:cNvSpPr>
            <a:spLocks noChangeArrowheads="1"/>
          </p:cNvSpPr>
          <p:nvPr/>
        </p:nvSpPr>
        <p:spPr bwMode="auto">
          <a:xfrm>
            <a:off x="889362" y="4787951"/>
            <a:ext cx="310561" cy="271009"/>
          </a:xfrm>
          <a:custGeom>
            <a:avLst/>
            <a:gdLst>
              <a:gd name="T0" fmla="*/ 0 w 934"/>
              <a:gd name="T1" fmla="*/ 239 h 815"/>
              <a:gd name="T2" fmla="*/ 0 w 934"/>
              <a:gd name="T3" fmla="*/ 239 h 815"/>
              <a:gd name="T4" fmla="*/ 463 w 934"/>
              <a:gd name="T5" fmla="*/ 814 h 815"/>
              <a:gd name="T6" fmla="*/ 933 w 934"/>
              <a:gd name="T7" fmla="*/ 239 h 815"/>
              <a:gd name="T8" fmla="*/ 702 w 934"/>
              <a:gd name="T9" fmla="*/ 0 h 815"/>
              <a:gd name="T10" fmla="*/ 463 w 934"/>
              <a:gd name="T11" fmla="*/ 209 h 815"/>
              <a:gd name="T12" fmla="*/ 224 w 934"/>
              <a:gd name="T13" fmla="*/ 0 h 815"/>
              <a:gd name="T14" fmla="*/ 0 w 934"/>
              <a:gd name="T15" fmla="*/ 239 h 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34" h="815">
                <a:moveTo>
                  <a:pt x="0" y="239"/>
                </a:moveTo>
                <a:lnTo>
                  <a:pt x="0" y="239"/>
                </a:lnTo>
                <a:cubicBezTo>
                  <a:pt x="0" y="537"/>
                  <a:pt x="463" y="814"/>
                  <a:pt x="463" y="814"/>
                </a:cubicBezTo>
                <a:cubicBezTo>
                  <a:pt x="463" y="814"/>
                  <a:pt x="933" y="537"/>
                  <a:pt x="933" y="239"/>
                </a:cubicBezTo>
                <a:cubicBezTo>
                  <a:pt x="933" y="119"/>
                  <a:pt x="844" y="0"/>
                  <a:pt x="702" y="0"/>
                </a:cubicBezTo>
                <a:cubicBezTo>
                  <a:pt x="583" y="0"/>
                  <a:pt x="463" y="90"/>
                  <a:pt x="463" y="209"/>
                </a:cubicBezTo>
                <a:cubicBezTo>
                  <a:pt x="463" y="90"/>
                  <a:pt x="351" y="0"/>
                  <a:pt x="224" y="0"/>
                </a:cubicBezTo>
                <a:cubicBezTo>
                  <a:pt x="90" y="0"/>
                  <a:pt x="0" y="119"/>
                  <a:pt x="0" y="239"/>
                </a:cubicBezTo>
              </a:path>
            </a:pathLst>
          </a:custGeom>
          <a:noFill/>
          <a:ln w="6350" cap="flat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Montserrat Light" charset="0"/>
            </a:endParaRPr>
          </a:p>
        </p:txBody>
      </p:sp>
      <p:sp>
        <p:nvSpPr>
          <p:cNvPr id="5320" name="Freeform 200"/>
          <p:cNvSpPr>
            <a:spLocks noChangeArrowheads="1"/>
          </p:cNvSpPr>
          <p:nvPr/>
        </p:nvSpPr>
        <p:spPr bwMode="auto">
          <a:xfrm>
            <a:off x="1572010" y="4767443"/>
            <a:ext cx="231456" cy="310561"/>
          </a:xfrm>
          <a:custGeom>
            <a:avLst/>
            <a:gdLst>
              <a:gd name="T0" fmla="*/ 351 w 695"/>
              <a:gd name="T1" fmla="*/ 934 h 935"/>
              <a:gd name="T2" fmla="*/ 694 w 695"/>
              <a:gd name="T3" fmla="*/ 463 h 935"/>
              <a:gd name="T4" fmla="*/ 351 w 695"/>
              <a:gd name="T5" fmla="*/ 0 h 935"/>
              <a:gd name="T6" fmla="*/ 0 w 695"/>
              <a:gd name="T7" fmla="*/ 463 h 935"/>
              <a:gd name="T8" fmla="*/ 351 w 695"/>
              <a:gd name="T9" fmla="*/ 934 h 9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95" h="935">
                <a:moveTo>
                  <a:pt x="351" y="934"/>
                </a:moveTo>
                <a:lnTo>
                  <a:pt x="694" y="463"/>
                </a:lnTo>
                <a:lnTo>
                  <a:pt x="351" y="0"/>
                </a:lnTo>
                <a:lnTo>
                  <a:pt x="0" y="463"/>
                </a:lnTo>
                <a:lnTo>
                  <a:pt x="351" y="934"/>
                </a:lnTo>
              </a:path>
            </a:pathLst>
          </a:custGeom>
          <a:noFill/>
          <a:ln w="6350" cap="flat">
            <a:solidFill>
              <a:schemeClr val="accent1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Montserrat Light" charset="0"/>
            </a:endParaRPr>
          </a:p>
        </p:txBody>
      </p:sp>
      <p:sp>
        <p:nvSpPr>
          <p:cNvPr id="5321" name="Freeform 201"/>
          <p:cNvSpPr>
            <a:spLocks noChangeArrowheads="1"/>
          </p:cNvSpPr>
          <p:nvPr/>
        </p:nvSpPr>
        <p:spPr bwMode="auto">
          <a:xfrm>
            <a:off x="2177018" y="4767443"/>
            <a:ext cx="290053" cy="310561"/>
          </a:xfrm>
          <a:custGeom>
            <a:avLst/>
            <a:gdLst>
              <a:gd name="T0" fmla="*/ 432 w 874"/>
              <a:gd name="T1" fmla="*/ 934 h 935"/>
              <a:gd name="T2" fmla="*/ 432 w 874"/>
              <a:gd name="T3" fmla="*/ 934 h 935"/>
              <a:gd name="T4" fmla="*/ 567 w 874"/>
              <a:gd name="T5" fmla="*/ 934 h 935"/>
              <a:gd name="T6" fmla="*/ 462 w 874"/>
              <a:gd name="T7" fmla="*/ 650 h 935"/>
              <a:gd name="T8" fmla="*/ 462 w 874"/>
              <a:gd name="T9" fmla="*/ 553 h 935"/>
              <a:gd name="T10" fmla="*/ 656 w 874"/>
              <a:gd name="T11" fmla="*/ 754 h 935"/>
              <a:gd name="T12" fmla="*/ 873 w 874"/>
              <a:gd name="T13" fmla="*/ 523 h 935"/>
              <a:gd name="T14" fmla="*/ 432 w 874"/>
              <a:gd name="T15" fmla="*/ 0 h 935"/>
              <a:gd name="T16" fmla="*/ 0 w 874"/>
              <a:gd name="T17" fmla="*/ 523 h 935"/>
              <a:gd name="T18" fmla="*/ 223 w 874"/>
              <a:gd name="T19" fmla="*/ 754 h 935"/>
              <a:gd name="T20" fmla="*/ 403 w 874"/>
              <a:gd name="T21" fmla="*/ 553 h 935"/>
              <a:gd name="T22" fmla="*/ 403 w 874"/>
              <a:gd name="T23" fmla="*/ 650 h 935"/>
              <a:gd name="T24" fmla="*/ 298 w 874"/>
              <a:gd name="T25" fmla="*/ 934 h 935"/>
              <a:gd name="T26" fmla="*/ 432 w 874"/>
              <a:gd name="T27" fmla="*/ 934 h 9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74" h="935">
                <a:moveTo>
                  <a:pt x="432" y="934"/>
                </a:moveTo>
                <a:lnTo>
                  <a:pt x="432" y="934"/>
                </a:lnTo>
                <a:cubicBezTo>
                  <a:pt x="567" y="934"/>
                  <a:pt x="567" y="934"/>
                  <a:pt x="567" y="934"/>
                </a:cubicBezTo>
                <a:cubicBezTo>
                  <a:pt x="462" y="934"/>
                  <a:pt x="462" y="650"/>
                  <a:pt x="462" y="650"/>
                </a:cubicBezTo>
                <a:cubicBezTo>
                  <a:pt x="462" y="553"/>
                  <a:pt x="462" y="553"/>
                  <a:pt x="462" y="553"/>
                </a:cubicBezTo>
                <a:cubicBezTo>
                  <a:pt x="462" y="672"/>
                  <a:pt x="552" y="754"/>
                  <a:pt x="656" y="754"/>
                </a:cubicBezTo>
                <a:cubicBezTo>
                  <a:pt x="783" y="754"/>
                  <a:pt x="873" y="642"/>
                  <a:pt x="873" y="523"/>
                </a:cubicBezTo>
                <a:cubicBezTo>
                  <a:pt x="873" y="247"/>
                  <a:pt x="432" y="0"/>
                  <a:pt x="432" y="0"/>
                </a:cubicBezTo>
                <a:cubicBezTo>
                  <a:pt x="432" y="0"/>
                  <a:pt x="0" y="247"/>
                  <a:pt x="0" y="523"/>
                </a:cubicBezTo>
                <a:cubicBezTo>
                  <a:pt x="0" y="642"/>
                  <a:pt x="97" y="754"/>
                  <a:pt x="223" y="754"/>
                </a:cubicBezTo>
                <a:cubicBezTo>
                  <a:pt x="328" y="754"/>
                  <a:pt x="395" y="665"/>
                  <a:pt x="403" y="553"/>
                </a:cubicBezTo>
                <a:cubicBezTo>
                  <a:pt x="403" y="650"/>
                  <a:pt x="403" y="650"/>
                  <a:pt x="403" y="650"/>
                </a:cubicBezTo>
                <a:cubicBezTo>
                  <a:pt x="403" y="650"/>
                  <a:pt x="403" y="934"/>
                  <a:pt x="298" y="934"/>
                </a:cubicBezTo>
                <a:cubicBezTo>
                  <a:pt x="432" y="934"/>
                  <a:pt x="432" y="934"/>
                  <a:pt x="432" y="934"/>
                </a:cubicBezTo>
              </a:path>
            </a:pathLst>
          </a:custGeom>
          <a:noFill/>
          <a:ln w="6350" cap="flat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Montserrat Light" charset="0"/>
            </a:endParaRPr>
          </a:p>
        </p:txBody>
      </p:sp>
      <p:grpSp>
        <p:nvGrpSpPr>
          <p:cNvPr id="5860" name="Group 5859">
            <a:extLst>
              <a:ext uri="{FF2B5EF4-FFF2-40B4-BE49-F238E27FC236}">
                <a16:creationId xmlns:a16="http://schemas.microsoft.com/office/drawing/2014/main" id="{22FE8140-4A24-C54A-A7F9-DBD76F663032}"/>
              </a:ext>
            </a:extLst>
          </p:cNvPr>
          <p:cNvGrpSpPr/>
          <p:nvPr/>
        </p:nvGrpSpPr>
        <p:grpSpPr>
          <a:xfrm>
            <a:off x="2803999" y="4777698"/>
            <a:ext cx="310561" cy="300306"/>
            <a:chOff x="2803999" y="4777698"/>
            <a:chExt cx="310561" cy="300306"/>
          </a:xfrm>
        </p:grpSpPr>
        <p:sp>
          <p:nvSpPr>
            <p:cNvPr id="5322" name="Freeform 202"/>
            <p:cNvSpPr>
              <a:spLocks noChangeArrowheads="1"/>
            </p:cNvSpPr>
            <p:nvPr/>
          </p:nvSpPr>
          <p:spPr bwMode="auto">
            <a:xfrm>
              <a:off x="2915332" y="4950557"/>
              <a:ext cx="45412" cy="127447"/>
            </a:xfrm>
            <a:custGeom>
              <a:avLst/>
              <a:gdLst>
                <a:gd name="T0" fmla="*/ 105 w 135"/>
                <a:gd name="T1" fmla="*/ 0 h 382"/>
                <a:gd name="T2" fmla="*/ 105 w 135"/>
                <a:gd name="T3" fmla="*/ 0 h 382"/>
                <a:gd name="T4" fmla="*/ 105 w 135"/>
                <a:gd name="T5" fmla="*/ 97 h 382"/>
                <a:gd name="T6" fmla="*/ 0 w 135"/>
                <a:gd name="T7" fmla="*/ 381 h 382"/>
                <a:gd name="T8" fmla="*/ 134 w 135"/>
                <a:gd name="T9" fmla="*/ 381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382">
                  <a:moveTo>
                    <a:pt x="105" y="0"/>
                  </a:moveTo>
                  <a:lnTo>
                    <a:pt x="105" y="0"/>
                  </a:lnTo>
                  <a:cubicBezTo>
                    <a:pt x="105" y="97"/>
                    <a:pt x="105" y="97"/>
                    <a:pt x="105" y="97"/>
                  </a:cubicBezTo>
                  <a:cubicBezTo>
                    <a:pt x="105" y="97"/>
                    <a:pt x="105" y="381"/>
                    <a:pt x="0" y="381"/>
                  </a:cubicBezTo>
                  <a:cubicBezTo>
                    <a:pt x="134" y="381"/>
                    <a:pt x="134" y="381"/>
                    <a:pt x="134" y="381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23" name="Freeform 203"/>
            <p:cNvSpPr>
              <a:spLocks noChangeArrowheads="1"/>
            </p:cNvSpPr>
            <p:nvPr/>
          </p:nvSpPr>
          <p:spPr bwMode="auto">
            <a:xfrm>
              <a:off x="2960745" y="4950557"/>
              <a:ext cx="45413" cy="127447"/>
            </a:xfrm>
            <a:custGeom>
              <a:avLst/>
              <a:gdLst>
                <a:gd name="T0" fmla="*/ 0 w 136"/>
                <a:gd name="T1" fmla="*/ 381 h 382"/>
                <a:gd name="T2" fmla="*/ 0 w 136"/>
                <a:gd name="T3" fmla="*/ 381 h 382"/>
                <a:gd name="T4" fmla="*/ 135 w 136"/>
                <a:gd name="T5" fmla="*/ 381 h 382"/>
                <a:gd name="T6" fmla="*/ 30 w 136"/>
                <a:gd name="T7" fmla="*/ 97 h 382"/>
                <a:gd name="T8" fmla="*/ 30 w 136"/>
                <a:gd name="T9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382">
                  <a:moveTo>
                    <a:pt x="0" y="381"/>
                  </a:moveTo>
                  <a:lnTo>
                    <a:pt x="0" y="381"/>
                  </a:lnTo>
                  <a:cubicBezTo>
                    <a:pt x="135" y="381"/>
                    <a:pt x="135" y="381"/>
                    <a:pt x="135" y="381"/>
                  </a:cubicBezTo>
                  <a:cubicBezTo>
                    <a:pt x="30" y="381"/>
                    <a:pt x="30" y="97"/>
                    <a:pt x="30" y="97"/>
                  </a:cubicBezTo>
                  <a:cubicBezTo>
                    <a:pt x="30" y="0"/>
                    <a:pt x="30" y="0"/>
                    <a:pt x="30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24" name="Freeform 204"/>
            <p:cNvSpPr>
              <a:spLocks noChangeArrowheads="1"/>
            </p:cNvSpPr>
            <p:nvPr/>
          </p:nvSpPr>
          <p:spPr bwMode="auto">
            <a:xfrm>
              <a:off x="2803999" y="4777698"/>
              <a:ext cx="310561" cy="235850"/>
            </a:xfrm>
            <a:custGeom>
              <a:avLst/>
              <a:gdLst>
                <a:gd name="T0" fmla="*/ 500 w 934"/>
                <a:gd name="T1" fmla="*/ 523 h 710"/>
                <a:gd name="T2" fmla="*/ 500 w 934"/>
                <a:gd name="T3" fmla="*/ 523 h 710"/>
                <a:gd name="T4" fmla="*/ 731 w 934"/>
                <a:gd name="T5" fmla="*/ 709 h 710"/>
                <a:gd name="T6" fmla="*/ 933 w 934"/>
                <a:gd name="T7" fmla="*/ 508 h 710"/>
                <a:gd name="T8" fmla="*/ 731 w 934"/>
                <a:gd name="T9" fmla="*/ 306 h 710"/>
                <a:gd name="T10" fmla="*/ 620 w 934"/>
                <a:gd name="T11" fmla="*/ 336 h 710"/>
                <a:gd name="T12" fmla="*/ 672 w 934"/>
                <a:gd name="T13" fmla="*/ 202 h 710"/>
                <a:gd name="T14" fmla="*/ 470 w 934"/>
                <a:gd name="T15" fmla="*/ 0 h 710"/>
                <a:gd name="T16" fmla="*/ 269 w 934"/>
                <a:gd name="T17" fmla="*/ 202 h 710"/>
                <a:gd name="T18" fmla="*/ 313 w 934"/>
                <a:gd name="T19" fmla="*/ 336 h 710"/>
                <a:gd name="T20" fmla="*/ 209 w 934"/>
                <a:gd name="T21" fmla="*/ 306 h 710"/>
                <a:gd name="T22" fmla="*/ 0 w 934"/>
                <a:gd name="T23" fmla="*/ 508 h 710"/>
                <a:gd name="T24" fmla="*/ 209 w 934"/>
                <a:gd name="T25" fmla="*/ 709 h 710"/>
                <a:gd name="T26" fmla="*/ 441 w 934"/>
                <a:gd name="T27" fmla="*/ 523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4" h="710">
                  <a:moveTo>
                    <a:pt x="500" y="523"/>
                  </a:moveTo>
                  <a:lnTo>
                    <a:pt x="500" y="523"/>
                  </a:lnTo>
                  <a:cubicBezTo>
                    <a:pt x="500" y="635"/>
                    <a:pt x="620" y="709"/>
                    <a:pt x="731" y="709"/>
                  </a:cubicBezTo>
                  <a:cubicBezTo>
                    <a:pt x="843" y="709"/>
                    <a:pt x="933" y="620"/>
                    <a:pt x="933" y="508"/>
                  </a:cubicBezTo>
                  <a:cubicBezTo>
                    <a:pt x="933" y="396"/>
                    <a:pt x="843" y="306"/>
                    <a:pt x="731" y="306"/>
                  </a:cubicBezTo>
                  <a:cubicBezTo>
                    <a:pt x="694" y="306"/>
                    <a:pt x="657" y="314"/>
                    <a:pt x="620" y="336"/>
                  </a:cubicBezTo>
                  <a:cubicBezTo>
                    <a:pt x="650" y="299"/>
                    <a:pt x="672" y="254"/>
                    <a:pt x="672" y="202"/>
                  </a:cubicBezTo>
                  <a:cubicBezTo>
                    <a:pt x="672" y="90"/>
                    <a:pt x="582" y="0"/>
                    <a:pt x="470" y="0"/>
                  </a:cubicBezTo>
                  <a:cubicBezTo>
                    <a:pt x="358" y="0"/>
                    <a:pt x="269" y="90"/>
                    <a:pt x="269" y="202"/>
                  </a:cubicBezTo>
                  <a:cubicBezTo>
                    <a:pt x="269" y="254"/>
                    <a:pt x="284" y="299"/>
                    <a:pt x="313" y="336"/>
                  </a:cubicBezTo>
                  <a:cubicBezTo>
                    <a:pt x="284" y="314"/>
                    <a:pt x="246" y="306"/>
                    <a:pt x="209" y="306"/>
                  </a:cubicBezTo>
                  <a:cubicBezTo>
                    <a:pt x="97" y="306"/>
                    <a:pt x="0" y="396"/>
                    <a:pt x="0" y="508"/>
                  </a:cubicBezTo>
                  <a:cubicBezTo>
                    <a:pt x="0" y="620"/>
                    <a:pt x="97" y="709"/>
                    <a:pt x="209" y="709"/>
                  </a:cubicBezTo>
                  <a:cubicBezTo>
                    <a:pt x="321" y="709"/>
                    <a:pt x="441" y="635"/>
                    <a:pt x="441" y="523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59" name="Group 5858">
            <a:extLst>
              <a:ext uri="{FF2B5EF4-FFF2-40B4-BE49-F238E27FC236}">
                <a16:creationId xmlns:a16="http://schemas.microsoft.com/office/drawing/2014/main" id="{65D77C21-89A0-0241-A6D7-BBAFE5045E2F}"/>
              </a:ext>
            </a:extLst>
          </p:cNvPr>
          <p:cNvGrpSpPr/>
          <p:nvPr/>
        </p:nvGrpSpPr>
        <p:grpSpPr>
          <a:xfrm>
            <a:off x="3444164" y="4787951"/>
            <a:ext cx="310562" cy="271009"/>
            <a:chOff x="3444164" y="4787951"/>
            <a:chExt cx="310562" cy="271009"/>
          </a:xfrm>
        </p:grpSpPr>
        <p:sp>
          <p:nvSpPr>
            <p:cNvPr id="5325" name="Freeform 205"/>
            <p:cNvSpPr>
              <a:spLocks noChangeArrowheads="1"/>
            </p:cNvSpPr>
            <p:nvPr/>
          </p:nvSpPr>
          <p:spPr bwMode="auto">
            <a:xfrm>
              <a:off x="3518876" y="4787951"/>
              <a:ext cx="235850" cy="271009"/>
            </a:xfrm>
            <a:custGeom>
              <a:avLst/>
              <a:gdLst>
                <a:gd name="T0" fmla="*/ 418 w 710"/>
                <a:gd name="T1" fmla="*/ 814 h 815"/>
                <a:gd name="T2" fmla="*/ 0 w 710"/>
                <a:gd name="T3" fmla="*/ 605 h 815"/>
                <a:gd name="T4" fmla="*/ 298 w 710"/>
                <a:gd name="T5" fmla="*/ 0 h 815"/>
                <a:gd name="T6" fmla="*/ 709 w 710"/>
                <a:gd name="T7" fmla="*/ 209 h 815"/>
                <a:gd name="T8" fmla="*/ 418 w 710"/>
                <a:gd name="T9" fmla="*/ 814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0" h="815">
                  <a:moveTo>
                    <a:pt x="418" y="814"/>
                  </a:moveTo>
                  <a:lnTo>
                    <a:pt x="0" y="605"/>
                  </a:lnTo>
                  <a:lnTo>
                    <a:pt x="298" y="0"/>
                  </a:lnTo>
                  <a:lnTo>
                    <a:pt x="709" y="209"/>
                  </a:lnTo>
                  <a:lnTo>
                    <a:pt x="418" y="814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26" name="Freeform 206"/>
            <p:cNvSpPr>
              <a:spLocks noChangeArrowheads="1"/>
            </p:cNvSpPr>
            <p:nvPr/>
          </p:nvSpPr>
          <p:spPr bwMode="auto">
            <a:xfrm>
              <a:off x="3444164" y="4792346"/>
              <a:ext cx="153816" cy="265148"/>
            </a:xfrm>
            <a:custGeom>
              <a:avLst/>
              <a:gdLst>
                <a:gd name="T0" fmla="*/ 463 w 464"/>
                <a:gd name="T1" fmla="*/ 119 h 800"/>
                <a:gd name="T2" fmla="*/ 403 w 464"/>
                <a:gd name="T3" fmla="*/ 0 h 800"/>
                <a:gd name="T4" fmla="*/ 0 w 464"/>
                <a:gd name="T5" fmla="*/ 209 h 800"/>
                <a:gd name="T6" fmla="*/ 268 w 464"/>
                <a:gd name="T7" fmla="*/ 799 h 800"/>
                <a:gd name="T8" fmla="*/ 463 w 464"/>
                <a:gd name="T9" fmla="*/ 709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4" h="800">
                  <a:moveTo>
                    <a:pt x="463" y="119"/>
                  </a:moveTo>
                  <a:lnTo>
                    <a:pt x="403" y="0"/>
                  </a:lnTo>
                  <a:lnTo>
                    <a:pt x="0" y="209"/>
                  </a:lnTo>
                  <a:lnTo>
                    <a:pt x="268" y="799"/>
                  </a:lnTo>
                  <a:lnTo>
                    <a:pt x="463" y="70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27" name="Freeform 207"/>
            <p:cNvSpPr>
              <a:spLocks noChangeArrowheads="1"/>
            </p:cNvSpPr>
            <p:nvPr/>
          </p:nvSpPr>
          <p:spPr bwMode="auto">
            <a:xfrm>
              <a:off x="3608234" y="4881706"/>
              <a:ext cx="60062" cy="84965"/>
            </a:xfrm>
            <a:custGeom>
              <a:avLst/>
              <a:gdLst>
                <a:gd name="T0" fmla="*/ 14 w 180"/>
                <a:gd name="T1" fmla="*/ 253 h 254"/>
                <a:gd name="T2" fmla="*/ 179 w 180"/>
                <a:gd name="T3" fmla="*/ 179 h 254"/>
                <a:gd name="T4" fmla="*/ 164 w 180"/>
                <a:gd name="T5" fmla="*/ 0 h 254"/>
                <a:gd name="T6" fmla="*/ 0 w 180"/>
                <a:gd name="T7" fmla="*/ 74 h 254"/>
                <a:gd name="T8" fmla="*/ 14 w 180"/>
                <a:gd name="T9" fmla="*/ 253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254">
                  <a:moveTo>
                    <a:pt x="14" y="253"/>
                  </a:moveTo>
                  <a:lnTo>
                    <a:pt x="179" y="179"/>
                  </a:lnTo>
                  <a:lnTo>
                    <a:pt x="164" y="0"/>
                  </a:lnTo>
                  <a:lnTo>
                    <a:pt x="0" y="74"/>
                  </a:lnTo>
                  <a:lnTo>
                    <a:pt x="14" y="25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28" name="Line 208"/>
            <p:cNvSpPr>
              <a:spLocks noChangeShapeType="1"/>
            </p:cNvSpPr>
            <p:nvPr/>
          </p:nvSpPr>
          <p:spPr bwMode="auto">
            <a:xfrm flipH="1">
              <a:off x="3621419" y="4806995"/>
              <a:ext cx="7324" cy="1025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29" name="Line 209"/>
            <p:cNvSpPr>
              <a:spLocks noChangeShapeType="1"/>
            </p:cNvSpPr>
            <p:nvPr/>
          </p:nvSpPr>
          <p:spPr bwMode="auto">
            <a:xfrm flipH="1" flipV="1">
              <a:off x="3467604" y="4865592"/>
              <a:ext cx="7325" cy="1318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30" name="Line 210"/>
            <p:cNvSpPr>
              <a:spLocks noChangeShapeType="1"/>
            </p:cNvSpPr>
            <p:nvPr/>
          </p:nvSpPr>
          <p:spPr bwMode="auto">
            <a:xfrm flipH="1">
              <a:off x="3646322" y="5028197"/>
              <a:ext cx="7325" cy="1025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57" name="Group 5856">
            <a:extLst>
              <a:ext uri="{FF2B5EF4-FFF2-40B4-BE49-F238E27FC236}">
                <a16:creationId xmlns:a16="http://schemas.microsoft.com/office/drawing/2014/main" id="{2D931111-60DE-7548-B5FE-B76DFD5E9572}"/>
              </a:ext>
            </a:extLst>
          </p:cNvPr>
          <p:cNvGrpSpPr/>
          <p:nvPr/>
        </p:nvGrpSpPr>
        <p:grpSpPr>
          <a:xfrm>
            <a:off x="4079936" y="4787951"/>
            <a:ext cx="310561" cy="271009"/>
            <a:chOff x="4079936" y="4787951"/>
            <a:chExt cx="310561" cy="271009"/>
          </a:xfrm>
        </p:grpSpPr>
        <p:sp>
          <p:nvSpPr>
            <p:cNvPr id="5331" name="Freeform 211"/>
            <p:cNvSpPr>
              <a:spLocks noChangeArrowheads="1"/>
            </p:cNvSpPr>
            <p:nvPr/>
          </p:nvSpPr>
          <p:spPr bwMode="auto">
            <a:xfrm>
              <a:off x="4157576" y="4787951"/>
              <a:ext cx="232921" cy="271009"/>
            </a:xfrm>
            <a:custGeom>
              <a:avLst/>
              <a:gdLst>
                <a:gd name="T0" fmla="*/ 418 w 702"/>
                <a:gd name="T1" fmla="*/ 814 h 815"/>
                <a:gd name="T2" fmla="*/ 0 w 702"/>
                <a:gd name="T3" fmla="*/ 605 h 815"/>
                <a:gd name="T4" fmla="*/ 298 w 702"/>
                <a:gd name="T5" fmla="*/ 0 h 815"/>
                <a:gd name="T6" fmla="*/ 701 w 702"/>
                <a:gd name="T7" fmla="*/ 209 h 815"/>
                <a:gd name="T8" fmla="*/ 418 w 702"/>
                <a:gd name="T9" fmla="*/ 814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2" h="815">
                  <a:moveTo>
                    <a:pt x="418" y="814"/>
                  </a:moveTo>
                  <a:lnTo>
                    <a:pt x="0" y="605"/>
                  </a:lnTo>
                  <a:lnTo>
                    <a:pt x="298" y="0"/>
                  </a:lnTo>
                  <a:lnTo>
                    <a:pt x="701" y="209"/>
                  </a:lnTo>
                  <a:lnTo>
                    <a:pt x="418" y="814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32" name="Freeform 212"/>
            <p:cNvSpPr>
              <a:spLocks noChangeArrowheads="1"/>
            </p:cNvSpPr>
            <p:nvPr/>
          </p:nvSpPr>
          <p:spPr bwMode="auto">
            <a:xfrm>
              <a:off x="4079936" y="4792346"/>
              <a:ext cx="156746" cy="265148"/>
            </a:xfrm>
            <a:custGeom>
              <a:avLst/>
              <a:gdLst>
                <a:gd name="T0" fmla="*/ 470 w 471"/>
                <a:gd name="T1" fmla="*/ 119 h 800"/>
                <a:gd name="T2" fmla="*/ 411 w 471"/>
                <a:gd name="T3" fmla="*/ 0 h 800"/>
                <a:gd name="T4" fmla="*/ 0 w 471"/>
                <a:gd name="T5" fmla="*/ 209 h 800"/>
                <a:gd name="T6" fmla="*/ 276 w 471"/>
                <a:gd name="T7" fmla="*/ 799 h 800"/>
                <a:gd name="T8" fmla="*/ 470 w 471"/>
                <a:gd name="T9" fmla="*/ 709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1" h="800">
                  <a:moveTo>
                    <a:pt x="470" y="119"/>
                  </a:moveTo>
                  <a:lnTo>
                    <a:pt x="411" y="0"/>
                  </a:lnTo>
                  <a:lnTo>
                    <a:pt x="0" y="209"/>
                  </a:lnTo>
                  <a:lnTo>
                    <a:pt x="276" y="799"/>
                  </a:lnTo>
                  <a:lnTo>
                    <a:pt x="470" y="70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33" name="Line 213"/>
            <p:cNvSpPr>
              <a:spLocks noChangeShapeType="1"/>
            </p:cNvSpPr>
            <p:nvPr/>
          </p:nvSpPr>
          <p:spPr bwMode="auto">
            <a:xfrm flipH="1">
              <a:off x="4260120" y="4806995"/>
              <a:ext cx="7324" cy="1025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34" name="Line 214"/>
            <p:cNvSpPr>
              <a:spLocks noChangeShapeType="1"/>
            </p:cNvSpPr>
            <p:nvPr/>
          </p:nvSpPr>
          <p:spPr bwMode="auto">
            <a:xfrm flipH="1" flipV="1">
              <a:off x="4104840" y="4865592"/>
              <a:ext cx="7324" cy="1318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35" name="Line 215"/>
            <p:cNvSpPr>
              <a:spLocks noChangeShapeType="1"/>
            </p:cNvSpPr>
            <p:nvPr/>
          </p:nvSpPr>
          <p:spPr bwMode="auto">
            <a:xfrm flipH="1">
              <a:off x="4285023" y="5028197"/>
              <a:ext cx="7325" cy="1025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36" name="Freeform 216"/>
            <p:cNvSpPr>
              <a:spLocks noChangeArrowheads="1"/>
            </p:cNvSpPr>
            <p:nvPr/>
          </p:nvSpPr>
          <p:spPr bwMode="auto">
            <a:xfrm>
              <a:off x="4226427" y="4871451"/>
              <a:ext cx="106939" cy="92289"/>
            </a:xfrm>
            <a:custGeom>
              <a:avLst/>
              <a:gdLst>
                <a:gd name="T0" fmla="*/ 44 w 322"/>
                <a:gd name="T1" fmla="*/ 45 h 277"/>
                <a:gd name="T2" fmla="*/ 44 w 322"/>
                <a:gd name="T3" fmla="*/ 45 h 277"/>
                <a:gd name="T4" fmla="*/ 89 w 322"/>
                <a:gd name="T5" fmla="*/ 269 h 277"/>
                <a:gd name="T6" fmla="*/ 298 w 322"/>
                <a:gd name="T7" fmla="*/ 194 h 277"/>
                <a:gd name="T8" fmla="*/ 283 w 322"/>
                <a:gd name="T9" fmla="*/ 89 h 277"/>
                <a:gd name="T10" fmla="*/ 179 w 322"/>
                <a:gd name="T11" fmla="*/ 104 h 277"/>
                <a:gd name="T12" fmla="*/ 149 w 322"/>
                <a:gd name="T13" fmla="*/ 15 h 277"/>
                <a:gd name="T14" fmla="*/ 44 w 322"/>
                <a:gd name="T15" fmla="*/ 4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2" h="277">
                  <a:moveTo>
                    <a:pt x="44" y="45"/>
                  </a:moveTo>
                  <a:lnTo>
                    <a:pt x="44" y="45"/>
                  </a:lnTo>
                  <a:cubicBezTo>
                    <a:pt x="0" y="127"/>
                    <a:pt x="89" y="269"/>
                    <a:pt x="89" y="269"/>
                  </a:cubicBezTo>
                  <a:cubicBezTo>
                    <a:pt x="89" y="269"/>
                    <a:pt x="253" y="276"/>
                    <a:pt x="298" y="194"/>
                  </a:cubicBezTo>
                  <a:cubicBezTo>
                    <a:pt x="313" y="164"/>
                    <a:pt x="321" y="112"/>
                    <a:pt x="283" y="89"/>
                  </a:cubicBezTo>
                  <a:cubicBezTo>
                    <a:pt x="253" y="74"/>
                    <a:pt x="194" y="74"/>
                    <a:pt x="179" y="104"/>
                  </a:cubicBezTo>
                  <a:cubicBezTo>
                    <a:pt x="194" y="74"/>
                    <a:pt x="179" y="37"/>
                    <a:pt x="149" y="15"/>
                  </a:cubicBezTo>
                  <a:cubicBezTo>
                    <a:pt x="112" y="0"/>
                    <a:pt x="59" y="15"/>
                    <a:pt x="44" y="45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889362" y="995299"/>
            <a:ext cx="310561" cy="186043"/>
            <a:chOff x="1775548" y="1990598"/>
            <a:chExt cx="621122" cy="372086"/>
          </a:xfrm>
        </p:grpSpPr>
        <p:sp>
          <p:nvSpPr>
            <p:cNvPr id="5346" name="Freeform 226"/>
            <p:cNvSpPr>
              <a:spLocks noChangeArrowheads="1"/>
            </p:cNvSpPr>
            <p:nvPr/>
          </p:nvSpPr>
          <p:spPr bwMode="auto">
            <a:xfrm>
              <a:off x="1775548" y="1990598"/>
              <a:ext cx="621122" cy="372086"/>
            </a:xfrm>
            <a:custGeom>
              <a:avLst/>
              <a:gdLst>
                <a:gd name="T0" fmla="*/ 933 w 934"/>
                <a:gd name="T1" fmla="*/ 559 h 560"/>
                <a:gd name="T2" fmla="*/ 0 w 934"/>
                <a:gd name="T3" fmla="*/ 559 h 560"/>
                <a:gd name="T4" fmla="*/ 0 w 934"/>
                <a:gd name="T5" fmla="*/ 0 h 560"/>
                <a:gd name="T6" fmla="*/ 933 w 934"/>
                <a:gd name="T7" fmla="*/ 0 h 560"/>
                <a:gd name="T8" fmla="*/ 933 w 934"/>
                <a:gd name="T9" fmla="*/ 559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4" h="560">
                  <a:moveTo>
                    <a:pt x="933" y="559"/>
                  </a:moveTo>
                  <a:lnTo>
                    <a:pt x="0" y="559"/>
                  </a:lnTo>
                  <a:lnTo>
                    <a:pt x="0" y="0"/>
                  </a:lnTo>
                  <a:lnTo>
                    <a:pt x="933" y="0"/>
                  </a:lnTo>
                  <a:lnTo>
                    <a:pt x="933" y="55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47" name="Freeform 227"/>
            <p:cNvSpPr>
              <a:spLocks noChangeArrowheads="1"/>
            </p:cNvSpPr>
            <p:nvPr/>
          </p:nvSpPr>
          <p:spPr bwMode="auto">
            <a:xfrm>
              <a:off x="1775548" y="1990598"/>
              <a:ext cx="621122" cy="199228"/>
            </a:xfrm>
            <a:custGeom>
              <a:avLst/>
              <a:gdLst>
                <a:gd name="T0" fmla="*/ 0 w 934"/>
                <a:gd name="T1" fmla="*/ 0 h 299"/>
                <a:gd name="T2" fmla="*/ 463 w 934"/>
                <a:gd name="T3" fmla="*/ 298 h 299"/>
                <a:gd name="T4" fmla="*/ 933 w 934"/>
                <a:gd name="T5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4" h="299">
                  <a:moveTo>
                    <a:pt x="0" y="0"/>
                  </a:moveTo>
                  <a:lnTo>
                    <a:pt x="463" y="298"/>
                  </a:lnTo>
                  <a:lnTo>
                    <a:pt x="933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526598" y="936703"/>
            <a:ext cx="310561" cy="310561"/>
            <a:chOff x="3050021" y="1873405"/>
            <a:chExt cx="621122" cy="621122"/>
          </a:xfrm>
        </p:grpSpPr>
        <p:sp>
          <p:nvSpPr>
            <p:cNvPr id="5348" name="Freeform 228"/>
            <p:cNvSpPr>
              <a:spLocks noChangeArrowheads="1"/>
            </p:cNvSpPr>
            <p:nvPr/>
          </p:nvSpPr>
          <p:spPr bwMode="auto">
            <a:xfrm>
              <a:off x="3050021" y="2119511"/>
              <a:ext cx="621122" cy="193368"/>
            </a:xfrm>
            <a:custGeom>
              <a:avLst/>
              <a:gdLst>
                <a:gd name="T0" fmla="*/ 0 w 934"/>
                <a:gd name="T1" fmla="*/ 0 h 292"/>
                <a:gd name="T2" fmla="*/ 470 w 934"/>
                <a:gd name="T3" fmla="*/ 291 h 292"/>
                <a:gd name="T4" fmla="*/ 933 w 934"/>
                <a:gd name="T5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4" h="292">
                  <a:moveTo>
                    <a:pt x="0" y="0"/>
                  </a:moveTo>
                  <a:lnTo>
                    <a:pt x="470" y="291"/>
                  </a:lnTo>
                  <a:lnTo>
                    <a:pt x="933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49" name="Freeform 229"/>
            <p:cNvSpPr>
              <a:spLocks noChangeArrowheads="1"/>
            </p:cNvSpPr>
            <p:nvPr/>
          </p:nvSpPr>
          <p:spPr bwMode="auto">
            <a:xfrm>
              <a:off x="3050021" y="2081422"/>
              <a:ext cx="621122" cy="413105"/>
            </a:xfrm>
            <a:custGeom>
              <a:avLst/>
              <a:gdLst>
                <a:gd name="T0" fmla="*/ 156 w 934"/>
                <a:gd name="T1" fmla="*/ 0 h 620"/>
                <a:gd name="T2" fmla="*/ 0 w 934"/>
                <a:gd name="T3" fmla="*/ 60 h 620"/>
                <a:gd name="T4" fmla="*/ 0 w 934"/>
                <a:gd name="T5" fmla="*/ 619 h 620"/>
                <a:gd name="T6" fmla="*/ 933 w 934"/>
                <a:gd name="T7" fmla="*/ 619 h 620"/>
                <a:gd name="T8" fmla="*/ 933 w 934"/>
                <a:gd name="T9" fmla="*/ 60 h 620"/>
                <a:gd name="T10" fmla="*/ 933 w 934"/>
                <a:gd name="T11" fmla="*/ 60 h 620"/>
                <a:gd name="T12" fmla="*/ 776 w 934"/>
                <a:gd name="T13" fmla="*/ 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4" h="620">
                  <a:moveTo>
                    <a:pt x="156" y="0"/>
                  </a:moveTo>
                  <a:lnTo>
                    <a:pt x="0" y="60"/>
                  </a:lnTo>
                  <a:lnTo>
                    <a:pt x="0" y="619"/>
                  </a:lnTo>
                  <a:lnTo>
                    <a:pt x="933" y="619"/>
                  </a:lnTo>
                  <a:lnTo>
                    <a:pt x="933" y="60"/>
                  </a:lnTo>
                  <a:lnTo>
                    <a:pt x="933" y="60"/>
                  </a:lnTo>
                  <a:lnTo>
                    <a:pt x="776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50" name="Freeform 230"/>
            <p:cNvSpPr>
              <a:spLocks noChangeArrowheads="1"/>
            </p:cNvSpPr>
            <p:nvPr/>
          </p:nvSpPr>
          <p:spPr bwMode="auto">
            <a:xfrm>
              <a:off x="3155494" y="1873405"/>
              <a:ext cx="416034" cy="307630"/>
            </a:xfrm>
            <a:custGeom>
              <a:avLst/>
              <a:gdLst>
                <a:gd name="T0" fmla="*/ 0 w 628"/>
                <a:gd name="T1" fmla="*/ 463 h 464"/>
                <a:gd name="T2" fmla="*/ 0 w 628"/>
                <a:gd name="T3" fmla="*/ 0 h 464"/>
                <a:gd name="T4" fmla="*/ 627 w 628"/>
                <a:gd name="T5" fmla="*/ 0 h 464"/>
                <a:gd name="T6" fmla="*/ 627 w 628"/>
                <a:gd name="T7" fmla="*/ 46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8" h="464">
                  <a:moveTo>
                    <a:pt x="0" y="463"/>
                  </a:moveTo>
                  <a:lnTo>
                    <a:pt x="0" y="0"/>
                  </a:lnTo>
                  <a:lnTo>
                    <a:pt x="627" y="0"/>
                  </a:lnTo>
                  <a:lnTo>
                    <a:pt x="627" y="46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166763" y="936703"/>
            <a:ext cx="310561" cy="310561"/>
            <a:chOff x="4330350" y="1873405"/>
            <a:chExt cx="621122" cy="621122"/>
          </a:xfrm>
        </p:grpSpPr>
        <p:sp>
          <p:nvSpPr>
            <p:cNvPr id="5351" name="Line 231"/>
            <p:cNvSpPr>
              <a:spLocks noChangeShapeType="1"/>
            </p:cNvSpPr>
            <p:nvPr/>
          </p:nvSpPr>
          <p:spPr bwMode="auto">
            <a:xfrm>
              <a:off x="4676071" y="1952509"/>
              <a:ext cx="90826" cy="293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52" name="Line 232"/>
            <p:cNvSpPr>
              <a:spLocks noChangeShapeType="1"/>
            </p:cNvSpPr>
            <p:nvPr/>
          </p:nvSpPr>
          <p:spPr bwMode="auto">
            <a:xfrm>
              <a:off x="4509070" y="2031616"/>
              <a:ext cx="257824" cy="292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53" name="Line 233"/>
            <p:cNvSpPr>
              <a:spLocks noChangeShapeType="1"/>
            </p:cNvSpPr>
            <p:nvPr/>
          </p:nvSpPr>
          <p:spPr bwMode="auto">
            <a:xfrm>
              <a:off x="4509070" y="2110718"/>
              <a:ext cx="257824" cy="293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54" name="Freeform 234"/>
            <p:cNvSpPr>
              <a:spLocks noChangeArrowheads="1"/>
            </p:cNvSpPr>
            <p:nvPr/>
          </p:nvSpPr>
          <p:spPr bwMode="auto">
            <a:xfrm>
              <a:off x="4330350" y="2119511"/>
              <a:ext cx="621122" cy="193368"/>
            </a:xfrm>
            <a:custGeom>
              <a:avLst/>
              <a:gdLst>
                <a:gd name="T0" fmla="*/ 0 w 935"/>
                <a:gd name="T1" fmla="*/ 0 h 292"/>
                <a:gd name="T2" fmla="*/ 463 w 935"/>
                <a:gd name="T3" fmla="*/ 291 h 292"/>
                <a:gd name="T4" fmla="*/ 934 w 935"/>
                <a:gd name="T5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5" h="292">
                  <a:moveTo>
                    <a:pt x="0" y="0"/>
                  </a:moveTo>
                  <a:lnTo>
                    <a:pt x="463" y="291"/>
                  </a:lnTo>
                  <a:lnTo>
                    <a:pt x="934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55" name="Freeform 235"/>
            <p:cNvSpPr>
              <a:spLocks noChangeArrowheads="1"/>
            </p:cNvSpPr>
            <p:nvPr/>
          </p:nvSpPr>
          <p:spPr bwMode="auto">
            <a:xfrm>
              <a:off x="4330350" y="2081422"/>
              <a:ext cx="621122" cy="413105"/>
            </a:xfrm>
            <a:custGeom>
              <a:avLst/>
              <a:gdLst>
                <a:gd name="T0" fmla="*/ 157 w 935"/>
                <a:gd name="T1" fmla="*/ 0 h 620"/>
                <a:gd name="T2" fmla="*/ 0 w 935"/>
                <a:gd name="T3" fmla="*/ 60 h 620"/>
                <a:gd name="T4" fmla="*/ 0 w 935"/>
                <a:gd name="T5" fmla="*/ 619 h 620"/>
                <a:gd name="T6" fmla="*/ 934 w 935"/>
                <a:gd name="T7" fmla="*/ 619 h 620"/>
                <a:gd name="T8" fmla="*/ 934 w 935"/>
                <a:gd name="T9" fmla="*/ 60 h 620"/>
                <a:gd name="T10" fmla="*/ 934 w 935"/>
                <a:gd name="T11" fmla="*/ 60 h 620"/>
                <a:gd name="T12" fmla="*/ 777 w 935"/>
                <a:gd name="T13" fmla="*/ 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5" h="620">
                  <a:moveTo>
                    <a:pt x="157" y="0"/>
                  </a:moveTo>
                  <a:lnTo>
                    <a:pt x="0" y="60"/>
                  </a:lnTo>
                  <a:lnTo>
                    <a:pt x="0" y="619"/>
                  </a:lnTo>
                  <a:lnTo>
                    <a:pt x="934" y="619"/>
                  </a:lnTo>
                  <a:lnTo>
                    <a:pt x="934" y="60"/>
                  </a:lnTo>
                  <a:lnTo>
                    <a:pt x="934" y="60"/>
                  </a:lnTo>
                  <a:lnTo>
                    <a:pt x="777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56" name="Freeform 236"/>
            <p:cNvSpPr>
              <a:spLocks noChangeArrowheads="1"/>
            </p:cNvSpPr>
            <p:nvPr/>
          </p:nvSpPr>
          <p:spPr bwMode="auto">
            <a:xfrm>
              <a:off x="4429965" y="1873405"/>
              <a:ext cx="421894" cy="307630"/>
            </a:xfrm>
            <a:custGeom>
              <a:avLst/>
              <a:gdLst>
                <a:gd name="T0" fmla="*/ 0 w 635"/>
                <a:gd name="T1" fmla="*/ 463 h 464"/>
                <a:gd name="T2" fmla="*/ 0 w 635"/>
                <a:gd name="T3" fmla="*/ 0 h 464"/>
                <a:gd name="T4" fmla="*/ 634 w 635"/>
                <a:gd name="T5" fmla="*/ 0 h 464"/>
                <a:gd name="T6" fmla="*/ 634 w 635"/>
                <a:gd name="T7" fmla="*/ 46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5" h="464">
                  <a:moveTo>
                    <a:pt x="0" y="463"/>
                  </a:moveTo>
                  <a:lnTo>
                    <a:pt x="0" y="0"/>
                  </a:lnTo>
                  <a:lnTo>
                    <a:pt x="634" y="0"/>
                  </a:lnTo>
                  <a:lnTo>
                    <a:pt x="634" y="46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804000" y="976255"/>
            <a:ext cx="309096" cy="205088"/>
            <a:chOff x="5604824" y="1952509"/>
            <a:chExt cx="618191" cy="410176"/>
          </a:xfrm>
        </p:grpSpPr>
        <p:sp>
          <p:nvSpPr>
            <p:cNvPr id="5357" name="Freeform 237"/>
            <p:cNvSpPr>
              <a:spLocks noChangeArrowheads="1"/>
            </p:cNvSpPr>
            <p:nvPr/>
          </p:nvSpPr>
          <p:spPr bwMode="auto">
            <a:xfrm>
              <a:off x="5604824" y="2040404"/>
              <a:ext cx="521509" cy="322281"/>
            </a:xfrm>
            <a:custGeom>
              <a:avLst/>
              <a:gdLst>
                <a:gd name="T0" fmla="*/ 784 w 785"/>
                <a:gd name="T1" fmla="*/ 485 h 486"/>
                <a:gd name="T2" fmla="*/ 0 w 785"/>
                <a:gd name="T3" fmla="*/ 485 h 486"/>
                <a:gd name="T4" fmla="*/ 0 w 785"/>
                <a:gd name="T5" fmla="*/ 0 h 486"/>
                <a:gd name="T6" fmla="*/ 784 w 785"/>
                <a:gd name="T7" fmla="*/ 0 h 486"/>
                <a:gd name="T8" fmla="*/ 784 w 785"/>
                <a:gd name="T9" fmla="*/ 48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5" h="486">
                  <a:moveTo>
                    <a:pt x="784" y="485"/>
                  </a:moveTo>
                  <a:lnTo>
                    <a:pt x="0" y="485"/>
                  </a:lnTo>
                  <a:lnTo>
                    <a:pt x="0" y="0"/>
                  </a:lnTo>
                  <a:lnTo>
                    <a:pt x="784" y="0"/>
                  </a:lnTo>
                  <a:lnTo>
                    <a:pt x="784" y="485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58" name="Freeform 238"/>
            <p:cNvSpPr>
              <a:spLocks noChangeArrowheads="1"/>
            </p:cNvSpPr>
            <p:nvPr/>
          </p:nvSpPr>
          <p:spPr bwMode="auto">
            <a:xfrm>
              <a:off x="5692719" y="1952509"/>
              <a:ext cx="530296" cy="319352"/>
            </a:xfrm>
            <a:custGeom>
              <a:avLst/>
              <a:gdLst>
                <a:gd name="T0" fmla="*/ 0 w 800"/>
                <a:gd name="T1" fmla="*/ 104 h 479"/>
                <a:gd name="T2" fmla="*/ 0 w 800"/>
                <a:gd name="T3" fmla="*/ 0 h 479"/>
                <a:gd name="T4" fmla="*/ 799 w 800"/>
                <a:gd name="T5" fmla="*/ 0 h 479"/>
                <a:gd name="T6" fmla="*/ 799 w 800"/>
                <a:gd name="T7" fmla="*/ 478 h 479"/>
                <a:gd name="T8" fmla="*/ 680 w 800"/>
                <a:gd name="T9" fmla="*/ 478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0" h="479">
                  <a:moveTo>
                    <a:pt x="0" y="104"/>
                  </a:moveTo>
                  <a:lnTo>
                    <a:pt x="0" y="0"/>
                  </a:lnTo>
                  <a:lnTo>
                    <a:pt x="799" y="0"/>
                  </a:lnTo>
                  <a:lnTo>
                    <a:pt x="799" y="478"/>
                  </a:lnTo>
                  <a:lnTo>
                    <a:pt x="680" y="478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59" name="Freeform 239"/>
            <p:cNvSpPr>
              <a:spLocks noChangeArrowheads="1"/>
            </p:cNvSpPr>
            <p:nvPr/>
          </p:nvSpPr>
          <p:spPr bwMode="auto">
            <a:xfrm>
              <a:off x="5604824" y="2040404"/>
              <a:ext cx="521509" cy="149422"/>
            </a:xfrm>
            <a:custGeom>
              <a:avLst/>
              <a:gdLst>
                <a:gd name="T0" fmla="*/ 0 w 785"/>
                <a:gd name="T1" fmla="*/ 0 h 225"/>
                <a:gd name="T2" fmla="*/ 396 w 785"/>
                <a:gd name="T3" fmla="*/ 224 h 225"/>
                <a:gd name="T4" fmla="*/ 784 w 785"/>
                <a:gd name="T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85" h="225">
                  <a:moveTo>
                    <a:pt x="0" y="0"/>
                  </a:moveTo>
                  <a:lnTo>
                    <a:pt x="396" y="224"/>
                  </a:lnTo>
                  <a:lnTo>
                    <a:pt x="784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444164" y="995299"/>
            <a:ext cx="310561" cy="206552"/>
            <a:chOff x="6885153" y="1990598"/>
            <a:chExt cx="621122" cy="413103"/>
          </a:xfrm>
        </p:grpSpPr>
        <p:sp>
          <p:nvSpPr>
            <p:cNvPr id="5360" name="Freeform 240"/>
            <p:cNvSpPr>
              <a:spLocks noChangeArrowheads="1"/>
            </p:cNvSpPr>
            <p:nvPr/>
          </p:nvSpPr>
          <p:spPr bwMode="auto">
            <a:xfrm>
              <a:off x="6885153" y="1990598"/>
              <a:ext cx="621122" cy="413103"/>
            </a:xfrm>
            <a:custGeom>
              <a:avLst/>
              <a:gdLst>
                <a:gd name="T0" fmla="*/ 933 w 934"/>
                <a:gd name="T1" fmla="*/ 619 h 620"/>
                <a:gd name="T2" fmla="*/ 0 w 934"/>
                <a:gd name="T3" fmla="*/ 619 h 620"/>
                <a:gd name="T4" fmla="*/ 0 w 934"/>
                <a:gd name="T5" fmla="*/ 0 h 620"/>
                <a:gd name="T6" fmla="*/ 933 w 934"/>
                <a:gd name="T7" fmla="*/ 0 h 620"/>
                <a:gd name="T8" fmla="*/ 933 w 934"/>
                <a:gd name="T9" fmla="*/ 6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4" h="620">
                  <a:moveTo>
                    <a:pt x="933" y="619"/>
                  </a:moveTo>
                  <a:lnTo>
                    <a:pt x="0" y="619"/>
                  </a:lnTo>
                  <a:lnTo>
                    <a:pt x="0" y="0"/>
                  </a:lnTo>
                  <a:lnTo>
                    <a:pt x="933" y="0"/>
                  </a:lnTo>
                  <a:lnTo>
                    <a:pt x="933" y="61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61" name="Freeform 241"/>
            <p:cNvSpPr>
              <a:spLocks noChangeArrowheads="1"/>
            </p:cNvSpPr>
            <p:nvPr/>
          </p:nvSpPr>
          <p:spPr bwMode="auto">
            <a:xfrm>
              <a:off x="7359784" y="2052124"/>
              <a:ext cx="84966" cy="99613"/>
            </a:xfrm>
            <a:custGeom>
              <a:avLst/>
              <a:gdLst>
                <a:gd name="T0" fmla="*/ 127 w 128"/>
                <a:gd name="T1" fmla="*/ 149 h 150"/>
                <a:gd name="T2" fmla="*/ 0 w 128"/>
                <a:gd name="T3" fmla="*/ 149 h 150"/>
                <a:gd name="T4" fmla="*/ 0 w 128"/>
                <a:gd name="T5" fmla="*/ 0 h 150"/>
                <a:gd name="T6" fmla="*/ 127 w 128"/>
                <a:gd name="T7" fmla="*/ 0 h 150"/>
                <a:gd name="T8" fmla="*/ 127 w 128"/>
                <a:gd name="T9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50">
                  <a:moveTo>
                    <a:pt x="127" y="149"/>
                  </a:moveTo>
                  <a:lnTo>
                    <a:pt x="0" y="149"/>
                  </a:lnTo>
                  <a:lnTo>
                    <a:pt x="0" y="0"/>
                  </a:lnTo>
                  <a:lnTo>
                    <a:pt x="127" y="0"/>
                  </a:lnTo>
                  <a:lnTo>
                    <a:pt x="127" y="14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62" name="Line 242"/>
            <p:cNvSpPr>
              <a:spLocks noChangeShapeType="1"/>
            </p:cNvSpPr>
            <p:nvPr/>
          </p:nvSpPr>
          <p:spPr bwMode="auto">
            <a:xfrm>
              <a:off x="7260171" y="2040404"/>
              <a:ext cx="2931" cy="313492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63" name="Line 243"/>
            <p:cNvSpPr>
              <a:spLocks noChangeShapeType="1"/>
            </p:cNvSpPr>
            <p:nvPr/>
          </p:nvSpPr>
          <p:spPr bwMode="auto">
            <a:xfrm>
              <a:off x="6934963" y="2069702"/>
              <a:ext cx="278332" cy="293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64" name="Line 244"/>
            <p:cNvSpPr>
              <a:spLocks noChangeShapeType="1"/>
            </p:cNvSpPr>
            <p:nvPr/>
          </p:nvSpPr>
          <p:spPr bwMode="auto">
            <a:xfrm>
              <a:off x="6934963" y="2131229"/>
              <a:ext cx="237315" cy="292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65" name="Line 245"/>
            <p:cNvSpPr>
              <a:spLocks noChangeShapeType="1"/>
            </p:cNvSpPr>
            <p:nvPr/>
          </p:nvSpPr>
          <p:spPr bwMode="auto">
            <a:xfrm>
              <a:off x="6934961" y="2189826"/>
              <a:ext cx="257824" cy="292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079935" y="986509"/>
            <a:ext cx="312027" cy="215343"/>
            <a:chOff x="8156695" y="1973018"/>
            <a:chExt cx="624053" cy="430685"/>
          </a:xfrm>
        </p:grpSpPr>
        <p:sp>
          <p:nvSpPr>
            <p:cNvPr id="5366" name="Freeform 246"/>
            <p:cNvSpPr>
              <a:spLocks noChangeArrowheads="1"/>
            </p:cNvSpPr>
            <p:nvPr/>
          </p:nvSpPr>
          <p:spPr bwMode="auto">
            <a:xfrm>
              <a:off x="8156695" y="2060915"/>
              <a:ext cx="530298" cy="342788"/>
            </a:xfrm>
            <a:custGeom>
              <a:avLst/>
              <a:gdLst>
                <a:gd name="T0" fmla="*/ 799 w 800"/>
                <a:gd name="T1" fmla="*/ 515 h 516"/>
                <a:gd name="T2" fmla="*/ 0 w 800"/>
                <a:gd name="T3" fmla="*/ 515 h 516"/>
                <a:gd name="T4" fmla="*/ 0 w 800"/>
                <a:gd name="T5" fmla="*/ 0 h 516"/>
                <a:gd name="T6" fmla="*/ 799 w 800"/>
                <a:gd name="T7" fmla="*/ 0 h 516"/>
                <a:gd name="T8" fmla="*/ 799 w 800"/>
                <a:gd name="T9" fmla="*/ 515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0" h="516">
                  <a:moveTo>
                    <a:pt x="799" y="515"/>
                  </a:moveTo>
                  <a:lnTo>
                    <a:pt x="0" y="515"/>
                  </a:lnTo>
                  <a:lnTo>
                    <a:pt x="0" y="0"/>
                  </a:lnTo>
                  <a:lnTo>
                    <a:pt x="799" y="0"/>
                  </a:lnTo>
                  <a:lnTo>
                    <a:pt x="799" y="515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67" name="Freeform 247"/>
            <p:cNvSpPr>
              <a:spLocks noChangeArrowheads="1"/>
            </p:cNvSpPr>
            <p:nvPr/>
          </p:nvSpPr>
          <p:spPr bwMode="auto">
            <a:xfrm>
              <a:off x="8253381" y="1973018"/>
              <a:ext cx="527367" cy="336928"/>
            </a:xfrm>
            <a:custGeom>
              <a:avLst/>
              <a:gdLst>
                <a:gd name="T0" fmla="*/ 0 w 792"/>
                <a:gd name="T1" fmla="*/ 89 h 508"/>
                <a:gd name="T2" fmla="*/ 0 w 792"/>
                <a:gd name="T3" fmla="*/ 0 h 508"/>
                <a:gd name="T4" fmla="*/ 791 w 792"/>
                <a:gd name="T5" fmla="*/ 0 h 508"/>
                <a:gd name="T6" fmla="*/ 791 w 792"/>
                <a:gd name="T7" fmla="*/ 507 h 508"/>
                <a:gd name="T8" fmla="*/ 702 w 792"/>
                <a:gd name="T9" fmla="*/ 507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2" h="508">
                  <a:moveTo>
                    <a:pt x="0" y="89"/>
                  </a:moveTo>
                  <a:lnTo>
                    <a:pt x="0" y="0"/>
                  </a:lnTo>
                  <a:lnTo>
                    <a:pt x="791" y="0"/>
                  </a:lnTo>
                  <a:lnTo>
                    <a:pt x="791" y="507"/>
                  </a:lnTo>
                  <a:lnTo>
                    <a:pt x="702" y="507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68" name="Freeform 248"/>
            <p:cNvSpPr>
              <a:spLocks noChangeArrowheads="1"/>
            </p:cNvSpPr>
            <p:nvPr/>
          </p:nvSpPr>
          <p:spPr bwMode="auto">
            <a:xfrm>
              <a:off x="8569802" y="2110720"/>
              <a:ext cx="70317" cy="79106"/>
            </a:xfrm>
            <a:custGeom>
              <a:avLst/>
              <a:gdLst>
                <a:gd name="T0" fmla="*/ 104 w 105"/>
                <a:gd name="T1" fmla="*/ 119 h 120"/>
                <a:gd name="T2" fmla="*/ 0 w 105"/>
                <a:gd name="T3" fmla="*/ 119 h 120"/>
                <a:gd name="T4" fmla="*/ 0 w 105"/>
                <a:gd name="T5" fmla="*/ 0 h 120"/>
                <a:gd name="T6" fmla="*/ 104 w 105"/>
                <a:gd name="T7" fmla="*/ 0 h 120"/>
                <a:gd name="T8" fmla="*/ 104 w 105"/>
                <a:gd name="T9" fmla="*/ 11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20">
                  <a:moveTo>
                    <a:pt x="104" y="119"/>
                  </a:moveTo>
                  <a:lnTo>
                    <a:pt x="0" y="119"/>
                  </a:lnTo>
                  <a:lnTo>
                    <a:pt x="0" y="0"/>
                  </a:lnTo>
                  <a:lnTo>
                    <a:pt x="104" y="0"/>
                  </a:lnTo>
                  <a:lnTo>
                    <a:pt x="104" y="11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69" name="Line 249"/>
            <p:cNvSpPr>
              <a:spLocks noChangeShapeType="1"/>
            </p:cNvSpPr>
            <p:nvPr/>
          </p:nvSpPr>
          <p:spPr bwMode="auto">
            <a:xfrm>
              <a:off x="8478976" y="2101931"/>
              <a:ext cx="2931" cy="26368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70" name="Line 250"/>
            <p:cNvSpPr>
              <a:spLocks noChangeShapeType="1"/>
            </p:cNvSpPr>
            <p:nvPr/>
          </p:nvSpPr>
          <p:spPr bwMode="auto">
            <a:xfrm>
              <a:off x="8197715" y="2131229"/>
              <a:ext cx="243175" cy="292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71" name="Line 251"/>
            <p:cNvSpPr>
              <a:spLocks noChangeShapeType="1"/>
            </p:cNvSpPr>
            <p:nvPr/>
          </p:nvSpPr>
          <p:spPr bwMode="auto">
            <a:xfrm>
              <a:off x="8197713" y="2181035"/>
              <a:ext cx="213877" cy="293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72" name="Line 252"/>
            <p:cNvSpPr>
              <a:spLocks noChangeShapeType="1"/>
            </p:cNvSpPr>
            <p:nvPr/>
          </p:nvSpPr>
          <p:spPr bwMode="auto">
            <a:xfrm>
              <a:off x="8197713" y="2230844"/>
              <a:ext cx="222666" cy="292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4765514" y="936703"/>
            <a:ext cx="221202" cy="309096"/>
            <a:chOff x="9527853" y="1873405"/>
            <a:chExt cx="442403" cy="618191"/>
          </a:xfrm>
        </p:grpSpPr>
        <p:sp>
          <p:nvSpPr>
            <p:cNvPr id="5373" name="Freeform 253"/>
            <p:cNvSpPr>
              <a:spLocks noChangeArrowheads="1"/>
            </p:cNvSpPr>
            <p:nvPr/>
          </p:nvSpPr>
          <p:spPr bwMode="auto">
            <a:xfrm>
              <a:off x="9674343" y="1873405"/>
              <a:ext cx="140631" cy="70317"/>
            </a:xfrm>
            <a:custGeom>
              <a:avLst/>
              <a:gdLst>
                <a:gd name="T0" fmla="*/ 0 w 210"/>
                <a:gd name="T1" fmla="*/ 105 h 106"/>
                <a:gd name="T2" fmla="*/ 0 w 210"/>
                <a:gd name="T3" fmla="*/ 0 h 106"/>
                <a:gd name="T4" fmla="*/ 209 w 210"/>
                <a:gd name="T5" fmla="*/ 0 h 106"/>
                <a:gd name="T6" fmla="*/ 209 w 210"/>
                <a:gd name="T7" fmla="*/ 10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0" h="106">
                  <a:moveTo>
                    <a:pt x="0" y="105"/>
                  </a:moveTo>
                  <a:lnTo>
                    <a:pt x="0" y="0"/>
                  </a:lnTo>
                  <a:lnTo>
                    <a:pt x="209" y="0"/>
                  </a:lnTo>
                  <a:lnTo>
                    <a:pt x="209" y="105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74" name="Freeform 254"/>
            <p:cNvSpPr>
              <a:spLocks noChangeArrowheads="1"/>
            </p:cNvSpPr>
            <p:nvPr/>
          </p:nvSpPr>
          <p:spPr bwMode="auto">
            <a:xfrm>
              <a:off x="9565941" y="1961300"/>
              <a:ext cx="363297" cy="530296"/>
            </a:xfrm>
            <a:custGeom>
              <a:avLst/>
              <a:gdLst>
                <a:gd name="T0" fmla="*/ 0 w 546"/>
                <a:gd name="T1" fmla="*/ 0 h 799"/>
                <a:gd name="T2" fmla="*/ 0 w 546"/>
                <a:gd name="T3" fmla="*/ 798 h 799"/>
                <a:gd name="T4" fmla="*/ 545 w 546"/>
                <a:gd name="T5" fmla="*/ 798 h 799"/>
                <a:gd name="T6" fmla="*/ 545 w 546"/>
                <a:gd name="T7" fmla="*/ 0 h 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6" h="799">
                  <a:moveTo>
                    <a:pt x="0" y="0"/>
                  </a:moveTo>
                  <a:lnTo>
                    <a:pt x="0" y="798"/>
                  </a:lnTo>
                  <a:lnTo>
                    <a:pt x="545" y="798"/>
                  </a:lnTo>
                  <a:lnTo>
                    <a:pt x="545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75" name="Line 255"/>
            <p:cNvSpPr>
              <a:spLocks noChangeShapeType="1"/>
            </p:cNvSpPr>
            <p:nvPr/>
          </p:nvSpPr>
          <p:spPr bwMode="auto">
            <a:xfrm>
              <a:off x="9686061" y="2060915"/>
              <a:ext cx="2931" cy="342788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76" name="Line 256"/>
            <p:cNvSpPr>
              <a:spLocks noChangeShapeType="1"/>
            </p:cNvSpPr>
            <p:nvPr/>
          </p:nvSpPr>
          <p:spPr bwMode="auto">
            <a:xfrm>
              <a:off x="9806187" y="2060915"/>
              <a:ext cx="2929" cy="342788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77" name="Line 257"/>
            <p:cNvSpPr>
              <a:spLocks noChangeShapeType="1"/>
            </p:cNvSpPr>
            <p:nvPr/>
          </p:nvSpPr>
          <p:spPr bwMode="auto">
            <a:xfrm>
              <a:off x="9527853" y="1952509"/>
              <a:ext cx="442403" cy="293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5404214" y="936703"/>
            <a:ext cx="218273" cy="309096"/>
            <a:chOff x="10805253" y="1873405"/>
            <a:chExt cx="436545" cy="618191"/>
          </a:xfrm>
        </p:grpSpPr>
        <p:sp>
          <p:nvSpPr>
            <p:cNvPr id="5378" name="Freeform 258"/>
            <p:cNvSpPr>
              <a:spLocks noChangeArrowheads="1"/>
            </p:cNvSpPr>
            <p:nvPr/>
          </p:nvSpPr>
          <p:spPr bwMode="auto">
            <a:xfrm>
              <a:off x="10954676" y="1873405"/>
              <a:ext cx="140631" cy="70317"/>
            </a:xfrm>
            <a:custGeom>
              <a:avLst/>
              <a:gdLst>
                <a:gd name="T0" fmla="*/ 0 w 210"/>
                <a:gd name="T1" fmla="*/ 105 h 106"/>
                <a:gd name="T2" fmla="*/ 0 w 210"/>
                <a:gd name="T3" fmla="*/ 0 h 106"/>
                <a:gd name="T4" fmla="*/ 209 w 210"/>
                <a:gd name="T5" fmla="*/ 0 h 106"/>
                <a:gd name="T6" fmla="*/ 209 w 210"/>
                <a:gd name="T7" fmla="*/ 10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0" h="106">
                  <a:moveTo>
                    <a:pt x="0" y="105"/>
                  </a:moveTo>
                  <a:lnTo>
                    <a:pt x="0" y="0"/>
                  </a:lnTo>
                  <a:lnTo>
                    <a:pt x="209" y="0"/>
                  </a:lnTo>
                  <a:lnTo>
                    <a:pt x="209" y="105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79" name="Freeform 259"/>
            <p:cNvSpPr>
              <a:spLocks noChangeArrowheads="1"/>
            </p:cNvSpPr>
            <p:nvPr/>
          </p:nvSpPr>
          <p:spPr bwMode="auto">
            <a:xfrm>
              <a:off x="10846272" y="1961300"/>
              <a:ext cx="357437" cy="530296"/>
            </a:xfrm>
            <a:custGeom>
              <a:avLst/>
              <a:gdLst>
                <a:gd name="T0" fmla="*/ 0 w 538"/>
                <a:gd name="T1" fmla="*/ 0 h 799"/>
                <a:gd name="T2" fmla="*/ 0 w 538"/>
                <a:gd name="T3" fmla="*/ 798 h 799"/>
                <a:gd name="T4" fmla="*/ 537 w 538"/>
                <a:gd name="T5" fmla="*/ 798 h 799"/>
                <a:gd name="T6" fmla="*/ 537 w 538"/>
                <a:gd name="T7" fmla="*/ 0 h 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8" h="799">
                  <a:moveTo>
                    <a:pt x="0" y="0"/>
                  </a:moveTo>
                  <a:lnTo>
                    <a:pt x="0" y="798"/>
                  </a:lnTo>
                  <a:lnTo>
                    <a:pt x="537" y="798"/>
                  </a:lnTo>
                  <a:lnTo>
                    <a:pt x="537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80" name="Line 260"/>
            <p:cNvSpPr>
              <a:spLocks noChangeShapeType="1"/>
            </p:cNvSpPr>
            <p:nvPr/>
          </p:nvSpPr>
          <p:spPr bwMode="auto">
            <a:xfrm>
              <a:off x="10805253" y="1952509"/>
              <a:ext cx="436545" cy="293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81" name="Freeform 261"/>
            <p:cNvSpPr>
              <a:spLocks noChangeArrowheads="1"/>
            </p:cNvSpPr>
            <p:nvPr/>
          </p:nvSpPr>
          <p:spPr bwMode="auto">
            <a:xfrm>
              <a:off x="10934165" y="2219124"/>
              <a:ext cx="120124" cy="90824"/>
            </a:xfrm>
            <a:custGeom>
              <a:avLst/>
              <a:gdLst>
                <a:gd name="T0" fmla="*/ 0 w 181"/>
                <a:gd name="T1" fmla="*/ 0 h 135"/>
                <a:gd name="T2" fmla="*/ 0 w 181"/>
                <a:gd name="T3" fmla="*/ 0 h 135"/>
                <a:gd name="T4" fmla="*/ 120 w 181"/>
                <a:gd name="T5" fmla="*/ 134 h 135"/>
                <a:gd name="T6" fmla="*/ 180 w 181"/>
                <a:gd name="T7" fmla="*/ 13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1" h="135">
                  <a:moveTo>
                    <a:pt x="0" y="0"/>
                  </a:moveTo>
                  <a:lnTo>
                    <a:pt x="0" y="0"/>
                  </a:lnTo>
                  <a:cubicBezTo>
                    <a:pt x="0" y="67"/>
                    <a:pt x="53" y="134"/>
                    <a:pt x="120" y="134"/>
                  </a:cubicBezTo>
                  <a:cubicBezTo>
                    <a:pt x="180" y="134"/>
                    <a:pt x="180" y="134"/>
                    <a:pt x="180" y="13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82" name="Freeform 262"/>
            <p:cNvSpPr>
              <a:spLocks noChangeArrowheads="1"/>
            </p:cNvSpPr>
            <p:nvPr/>
          </p:nvSpPr>
          <p:spPr bwMode="auto">
            <a:xfrm>
              <a:off x="11024992" y="2268930"/>
              <a:ext cx="29298" cy="84966"/>
            </a:xfrm>
            <a:custGeom>
              <a:avLst/>
              <a:gdLst>
                <a:gd name="T0" fmla="*/ 0 w 46"/>
                <a:gd name="T1" fmla="*/ 126 h 127"/>
                <a:gd name="T2" fmla="*/ 45 w 46"/>
                <a:gd name="T3" fmla="*/ 59 h 127"/>
                <a:gd name="T4" fmla="*/ 0 w 46"/>
                <a:gd name="T5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127">
                  <a:moveTo>
                    <a:pt x="0" y="126"/>
                  </a:moveTo>
                  <a:lnTo>
                    <a:pt x="45" y="59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83" name="Freeform 263"/>
            <p:cNvSpPr>
              <a:spLocks noChangeArrowheads="1"/>
            </p:cNvSpPr>
            <p:nvPr/>
          </p:nvSpPr>
          <p:spPr bwMode="auto">
            <a:xfrm>
              <a:off x="10995694" y="2131229"/>
              <a:ext cx="120122" cy="90824"/>
            </a:xfrm>
            <a:custGeom>
              <a:avLst/>
              <a:gdLst>
                <a:gd name="T0" fmla="*/ 179 w 180"/>
                <a:gd name="T1" fmla="*/ 134 h 135"/>
                <a:gd name="T2" fmla="*/ 179 w 180"/>
                <a:gd name="T3" fmla="*/ 134 h 135"/>
                <a:gd name="T4" fmla="*/ 60 w 180"/>
                <a:gd name="T5" fmla="*/ 0 h 135"/>
                <a:gd name="T6" fmla="*/ 0 w 180"/>
                <a:gd name="T7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0" h="135">
                  <a:moveTo>
                    <a:pt x="179" y="134"/>
                  </a:moveTo>
                  <a:lnTo>
                    <a:pt x="179" y="134"/>
                  </a:lnTo>
                  <a:cubicBezTo>
                    <a:pt x="179" y="67"/>
                    <a:pt x="127" y="0"/>
                    <a:pt x="6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84" name="Freeform 264"/>
            <p:cNvSpPr>
              <a:spLocks noChangeArrowheads="1"/>
            </p:cNvSpPr>
            <p:nvPr/>
          </p:nvSpPr>
          <p:spPr bwMode="auto">
            <a:xfrm>
              <a:off x="10995694" y="2090211"/>
              <a:ext cx="29298" cy="79104"/>
            </a:xfrm>
            <a:custGeom>
              <a:avLst/>
              <a:gdLst>
                <a:gd name="T0" fmla="*/ 45 w 46"/>
                <a:gd name="T1" fmla="*/ 0 h 120"/>
                <a:gd name="T2" fmla="*/ 0 w 46"/>
                <a:gd name="T3" fmla="*/ 60 h 120"/>
                <a:gd name="T4" fmla="*/ 45 w 46"/>
                <a:gd name="T5" fmla="*/ 11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120">
                  <a:moveTo>
                    <a:pt x="45" y="0"/>
                  </a:moveTo>
                  <a:lnTo>
                    <a:pt x="0" y="60"/>
                  </a:lnTo>
                  <a:lnTo>
                    <a:pt x="45" y="11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042915" y="936703"/>
            <a:ext cx="221202" cy="309096"/>
            <a:chOff x="12082655" y="1873405"/>
            <a:chExt cx="442403" cy="618191"/>
          </a:xfrm>
        </p:grpSpPr>
        <p:sp>
          <p:nvSpPr>
            <p:cNvPr id="5385" name="Freeform 265"/>
            <p:cNvSpPr>
              <a:spLocks noChangeArrowheads="1"/>
            </p:cNvSpPr>
            <p:nvPr/>
          </p:nvSpPr>
          <p:spPr bwMode="auto">
            <a:xfrm>
              <a:off x="12229146" y="1873405"/>
              <a:ext cx="140631" cy="70317"/>
            </a:xfrm>
            <a:custGeom>
              <a:avLst/>
              <a:gdLst>
                <a:gd name="T0" fmla="*/ 0 w 210"/>
                <a:gd name="T1" fmla="*/ 105 h 106"/>
                <a:gd name="T2" fmla="*/ 0 w 210"/>
                <a:gd name="T3" fmla="*/ 0 h 106"/>
                <a:gd name="T4" fmla="*/ 209 w 210"/>
                <a:gd name="T5" fmla="*/ 0 h 106"/>
                <a:gd name="T6" fmla="*/ 209 w 210"/>
                <a:gd name="T7" fmla="*/ 10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0" h="106">
                  <a:moveTo>
                    <a:pt x="0" y="105"/>
                  </a:moveTo>
                  <a:lnTo>
                    <a:pt x="0" y="0"/>
                  </a:lnTo>
                  <a:lnTo>
                    <a:pt x="209" y="0"/>
                  </a:lnTo>
                  <a:lnTo>
                    <a:pt x="209" y="105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86" name="Freeform 266"/>
            <p:cNvSpPr>
              <a:spLocks noChangeArrowheads="1"/>
            </p:cNvSpPr>
            <p:nvPr/>
          </p:nvSpPr>
          <p:spPr bwMode="auto">
            <a:xfrm>
              <a:off x="12120744" y="1961300"/>
              <a:ext cx="363297" cy="530296"/>
            </a:xfrm>
            <a:custGeom>
              <a:avLst/>
              <a:gdLst>
                <a:gd name="T0" fmla="*/ 0 w 546"/>
                <a:gd name="T1" fmla="*/ 0 h 799"/>
                <a:gd name="T2" fmla="*/ 0 w 546"/>
                <a:gd name="T3" fmla="*/ 798 h 799"/>
                <a:gd name="T4" fmla="*/ 545 w 546"/>
                <a:gd name="T5" fmla="*/ 798 h 799"/>
                <a:gd name="T6" fmla="*/ 545 w 546"/>
                <a:gd name="T7" fmla="*/ 0 h 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6" h="799">
                  <a:moveTo>
                    <a:pt x="0" y="0"/>
                  </a:moveTo>
                  <a:lnTo>
                    <a:pt x="0" y="798"/>
                  </a:lnTo>
                  <a:lnTo>
                    <a:pt x="545" y="798"/>
                  </a:lnTo>
                  <a:lnTo>
                    <a:pt x="545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87" name="Line 267"/>
            <p:cNvSpPr>
              <a:spLocks noChangeShapeType="1"/>
            </p:cNvSpPr>
            <p:nvPr/>
          </p:nvSpPr>
          <p:spPr bwMode="auto">
            <a:xfrm>
              <a:off x="12082655" y="1952509"/>
              <a:ext cx="442403" cy="293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88" name="Line 268"/>
            <p:cNvSpPr>
              <a:spLocks noChangeShapeType="1"/>
            </p:cNvSpPr>
            <p:nvPr/>
          </p:nvSpPr>
          <p:spPr bwMode="auto">
            <a:xfrm flipH="1" flipV="1">
              <a:off x="12229146" y="2148809"/>
              <a:ext cx="143562" cy="14356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89" name="Line 269"/>
            <p:cNvSpPr>
              <a:spLocks noChangeShapeType="1"/>
            </p:cNvSpPr>
            <p:nvPr/>
          </p:nvSpPr>
          <p:spPr bwMode="auto">
            <a:xfrm flipV="1">
              <a:off x="12229146" y="2148809"/>
              <a:ext cx="137702" cy="14356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681616" y="936703"/>
            <a:ext cx="257825" cy="309096"/>
            <a:chOff x="13360057" y="1873405"/>
            <a:chExt cx="515649" cy="618191"/>
          </a:xfrm>
        </p:grpSpPr>
        <p:sp>
          <p:nvSpPr>
            <p:cNvPr id="5390" name="Freeform 270"/>
            <p:cNvSpPr>
              <a:spLocks noChangeArrowheads="1"/>
            </p:cNvSpPr>
            <p:nvPr/>
          </p:nvSpPr>
          <p:spPr bwMode="auto">
            <a:xfrm>
              <a:off x="13776093" y="2198615"/>
              <a:ext cx="99613" cy="164070"/>
            </a:xfrm>
            <a:custGeom>
              <a:avLst/>
              <a:gdLst>
                <a:gd name="T0" fmla="*/ 0 w 150"/>
                <a:gd name="T1" fmla="*/ 30 h 247"/>
                <a:gd name="T2" fmla="*/ 89 w 150"/>
                <a:gd name="T3" fmla="*/ 0 h 247"/>
                <a:gd name="T4" fmla="*/ 149 w 150"/>
                <a:gd name="T5" fmla="*/ 209 h 247"/>
                <a:gd name="T6" fmla="*/ 59 w 150"/>
                <a:gd name="T7" fmla="*/ 24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0" h="247">
                  <a:moveTo>
                    <a:pt x="0" y="30"/>
                  </a:moveTo>
                  <a:lnTo>
                    <a:pt x="89" y="0"/>
                  </a:lnTo>
                  <a:lnTo>
                    <a:pt x="149" y="209"/>
                  </a:lnTo>
                  <a:lnTo>
                    <a:pt x="59" y="246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91" name="Freeform 271"/>
            <p:cNvSpPr>
              <a:spLocks noChangeArrowheads="1"/>
            </p:cNvSpPr>
            <p:nvPr/>
          </p:nvSpPr>
          <p:spPr bwMode="auto">
            <a:xfrm>
              <a:off x="13360057" y="1990598"/>
              <a:ext cx="357437" cy="500998"/>
            </a:xfrm>
            <a:custGeom>
              <a:avLst/>
              <a:gdLst>
                <a:gd name="T0" fmla="*/ 537 w 538"/>
                <a:gd name="T1" fmla="*/ 0 h 754"/>
                <a:gd name="T2" fmla="*/ 537 w 538"/>
                <a:gd name="T3" fmla="*/ 753 h 754"/>
                <a:gd name="T4" fmla="*/ 0 w 538"/>
                <a:gd name="T5" fmla="*/ 753 h 754"/>
                <a:gd name="T6" fmla="*/ 0 w 538"/>
                <a:gd name="T7" fmla="*/ 0 h 754"/>
                <a:gd name="T8" fmla="*/ 537 w 538"/>
                <a:gd name="T9" fmla="*/ 0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8" h="754">
                  <a:moveTo>
                    <a:pt x="537" y="0"/>
                  </a:moveTo>
                  <a:lnTo>
                    <a:pt x="537" y="753"/>
                  </a:lnTo>
                  <a:lnTo>
                    <a:pt x="0" y="753"/>
                  </a:lnTo>
                  <a:lnTo>
                    <a:pt x="0" y="0"/>
                  </a:lnTo>
                  <a:lnTo>
                    <a:pt x="537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92" name="Line 272"/>
            <p:cNvSpPr>
              <a:spLocks noChangeShapeType="1"/>
            </p:cNvSpPr>
            <p:nvPr/>
          </p:nvSpPr>
          <p:spPr bwMode="auto">
            <a:xfrm>
              <a:off x="13480181" y="2081422"/>
              <a:ext cx="2929" cy="34279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93" name="Line 273"/>
            <p:cNvSpPr>
              <a:spLocks noChangeShapeType="1"/>
            </p:cNvSpPr>
            <p:nvPr/>
          </p:nvSpPr>
          <p:spPr bwMode="auto">
            <a:xfrm>
              <a:off x="13597374" y="2081422"/>
              <a:ext cx="2929" cy="34279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94" name="Line 274"/>
            <p:cNvSpPr>
              <a:spLocks noChangeShapeType="1"/>
            </p:cNvSpPr>
            <p:nvPr/>
          </p:nvSpPr>
          <p:spPr bwMode="auto">
            <a:xfrm>
              <a:off x="13738005" y="2081420"/>
              <a:ext cx="120122" cy="41017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95" name="Freeform 275"/>
            <p:cNvSpPr>
              <a:spLocks noChangeArrowheads="1"/>
            </p:cNvSpPr>
            <p:nvPr/>
          </p:nvSpPr>
          <p:spPr bwMode="auto">
            <a:xfrm>
              <a:off x="13380566" y="1923211"/>
              <a:ext cx="128911" cy="70317"/>
            </a:xfrm>
            <a:custGeom>
              <a:avLst/>
              <a:gdLst>
                <a:gd name="T0" fmla="*/ 0 w 195"/>
                <a:gd name="T1" fmla="*/ 105 h 106"/>
                <a:gd name="T2" fmla="*/ 30 w 195"/>
                <a:gd name="T3" fmla="*/ 0 h 106"/>
                <a:gd name="T4" fmla="*/ 157 w 195"/>
                <a:gd name="T5" fmla="*/ 0 h 106"/>
                <a:gd name="T6" fmla="*/ 194 w 195"/>
                <a:gd name="T7" fmla="*/ 10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5" h="106">
                  <a:moveTo>
                    <a:pt x="0" y="105"/>
                  </a:moveTo>
                  <a:lnTo>
                    <a:pt x="30" y="0"/>
                  </a:lnTo>
                  <a:lnTo>
                    <a:pt x="157" y="0"/>
                  </a:lnTo>
                  <a:lnTo>
                    <a:pt x="194" y="105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96" name="Freeform 276"/>
            <p:cNvSpPr>
              <a:spLocks noChangeArrowheads="1"/>
            </p:cNvSpPr>
            <p:nvPr/>
          </p:nvSpPr>
          <p:spPr bwMode="auto">
            <a:xfrm>
              <a:off x="13483110" y="1873405"/>
              <a:ext cx="213877" cy="120122"/>
            </a:xfrm>
            <a:custGeom>
              <a:avLst/>
              <a:gdLst>
                <a:gd name="T0" fmla="*/ 0 w 322"/>
                <a:gd name="T1" fmla="*/ 75 h 181"/>
                <a:gd name="T2" fmla="*/ 67 w 322"/>
                <a:gd name="T3" fmla="*/ 0 h 181"/>
                <a:gd name="T4" fmla="*/ 246 w 322"/>
                <a:gd name="T5" fmla="*/ 0 h 181"/>
                <a:gd name="T6" fmla="*/ 321 w 322"/>
                <a:gd name="T7" fmla="*/ 18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2" h="181">
                  <a:moveTo>
                    <a:pt x="0" y="75"/>
                  </a:moveTo>
                  <a:lnTo>
                    <a:pt x="67" y="0"/>
                  </a:lnTo>
                  <a:lnTo>
                    <a:pt x="246" y="0"/>
                  </a:lnTo>
                  <a:lnTo>
                    <a:pt x="321" y="18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ABDFE7E-97D6-544D-922F-C6EEE62ACE79}"/>
              </a:ext>
            </a:extLst>
          </p:cNvPr>
          <p:cNvGrpSpPr/>
          <p:nvPr/>
        </p:nvGrpSpPr>
        <p:grpSpPr>
          <a:xfrm>
            <a:off x="917196" y="1573938"/>
            <a:ext cx="229990" cy="310561"/>
            <a:chOff x="917196" y="1573938"/>
            <a:chExt cx="229990" cy="310561"/>
          </a:xfrm>
        </p:grpSpPr>
        <p:sp>
          <p:nvSpPr>
            <p:cNvPr id="5397" name="Freeform 277"/>
            <p:cNvSpPr>
              <a:spLocks noChangeArrowheads="1"/>
            </p:cNvSpPr>
            <p:nvPr/>
          </p:nvSpPr>
          <p:spPr bwMode="auto">
            <a:xfrm>
              <a:off x="939169" y="1573938"/>
              <a:ext cx="208017" cy="310561"/>
            </a:xfrm>
            <a:custGeom>
              <a:avLst/>
              <a:gdLst>
                <a:gd name="T0" fmla="*/ 627 w 628"/>
                <a:gd name="T1" fmla="*/ 933 h 934"/>
                <a:gd name="T2" fmla="*/ 0 w 628"/>
                <a:gd name="T3" fmla="*/ 933 h 934"/>
                <a:gd name="T4" fmla="*/ 0 w 628"/>
                <a:gd name="T5" fmla="*/ 0 h 934"/>
                <a:gd name="T6" fmla="*/ 627 w 628"/>
                <a:gd name="T7" fmla="*/ 0 h 934"/>
                <a:gd name="T8" fmla="*/ 627 w 628"/>
                <a:gd name="T9" fmla="*/ 933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8" h="934">
                  <a:moveTo>
                    <a:pt x="627" y="933"/>
                  </a:moveTo>
                  <a:lnTo>
                    <a:pt x="0" y="933"/>
                  </a:lnTo>
                  <a:lnTo>
                    <a:pt x="0" y="0"/>
                  </a:lnTo>
                  <a:lnTo>
                    <a:pt x="627" y="0"/>
                  </a:lnTo>
                  <a:lnTo>
                    <a:pt x="627" y="93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98" name="Line 278"/>
            <p:cNvSpPr>
              <a:spLocks noChangeShapeType="1"/>
            </p:cNvSpPr>
            <p:nvPr/>
          </p:nvSpPr>
          <p:spPr bwMode="auto">
            <a:xfrm>
              <a:off x="1088589" y="1573938"/>
              <a:ext cx="1466" cy="30470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99" name="Line 279"/>
            <p:cNvSpPr>
              <a:spLocks noChangeShapeType="1"/>
            </p:cNvSpPr>
            <p:nvPr/>
          </p:nvSpPr>
          <p:spPr bwMode="auto">
            <a:xfrm flipH="1">
              <a:off x="917196" y="1650114"/>
              <a:ext cx="42482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00" name="Line 280"/>
            <p:cNvSpPr>
              <a:spLocks noChangeShapeType="1"/>
            </p:cNvSpPr>
            <p:nvPr/>
          </p:nvSpPr>
          <p:spPr bwMode="auto">
            <a:xfrm flipH="1">
              <a:off x="917196" y="1610562"/>
              <a:ext cx="42482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01" name="Line 281"/>
            <p:cNvSpPr>
              <a:spLocks noChangeShapeType="1"/>
            </p:cNvSpPr>
            <p:nvPr/>
          </p:nvSpPr>
          <p:spPr bwMode="auto">
            <a:xfrm flipH="1">
              <a:off x="917196" y="1689667"/>
              <a:ext cx="42482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02" name="Line 282"/>
            <p:cNvSpPr>
              <a:spLocks noChangeShapeType="1"/>
            </p:cNvSpPr>
            <p:nvPr/>
          </p:nvSpPr>
          <p:spPr bwMode="auto">
            <a:xfrm flipH="1">
              <a:off x="917196" y="1729219"/>
              <a:ext cx="42482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03" name="Line 283"/>
            <p:cNvSpPr>
              <a:spLocks noChangeShapeType="1"/>
            </p:cNvSpPr>
            <p:nvPr/>
          </p:nvSpPr>
          <p:spPr bwMode="auto">
            <a:xfrm flipH="1">
              <a:off x="917196" y="1770236"/>
              <a:ext cx="42482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04" name="Line 284"/>
            <p:cNvSpPr>
              <a:spLocks noChangeShapeType="1"/>
            </p:cNvSpPr>
            <p:nvPr/>
          </p:nvSpPr>
          <p:spPr bwMode="auto">
            <a:xfrm flipH="1">
              <a:off x="917196" y="1809790"/>
              <a:ext cx="42482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05" name="Line 285"/>
            <p:cNvSpPr>
              <a:spLocks noChangeShapeType="1"/>
            </p:cNvSpPr>
            <p:nvPr/>
          </p:nvSpPr>
          <p:spPr bwMode="auto">
            <a:xfrm flipH="1">
              <a:off x="917196" y="1849341"/>
              <a:ext cx="42482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1CEC0D8-CFBA-1542-B019-A9C12AB1E2A2}"/>
              </a:ext>
            </a:extLst>
          </p:cNvPr>
          <p:cNvGrpSpPr/>
          <p:nvPr/>
        </p:nvGrpSpPr>
        <p:grpSpPr>
          <a:xfrm>
            <a:off x="1520738" y="1573938"/>
            <a:ext cx="316421" cy="304701"/>
            <a:chOff x="1520738" y="1573938"/>
            <a:chExt cx="316421" cy="304701"/>
          </a:xfrm>
        </p:grpSpPr>
        <p:sp>
          <p:nvSpPr>
            <p:cNvPr id="5406" name="Freeform 286"/>
            <p:cNvSpPr>
              <a:spLocks noChangeArrowheads="1"/>
            </p:cNvSpPr>
            <p:nvPr/>
          </p:nvSpPr>
          <p:spPr bwMode="auto">
            <a:xfrm>
              <a:off x="1541247" y="1584193"/>
              <a:ext cx="200693" cy="290053"/>
            </a:xfrm>
            <a:custGeom>
              <a:avLst/>
              <a:gdLst>
                <a:gd name="T0" fmla="*/ 604 w 605"/>
                <a:gd name="T1" fmla="*/ 873 h 874"/>
                <a:gd name="T2" fmla="*/ 0 w 605"/>
                <a:gd name="T3" fmla="*/ 873 h 874"/>
                <a:gd name="T4" fmla="*/ 0 w 605"/>
                <a:gd name="T5" fmla="*/ 0 h 874"/>
                <a:gd name="T6" fmla="*/ 604 w 605"/>
                <a:gd name="T7" fmla="*/ 0 h 874"/>
                <a:gd name="T8" fmla="*/ 604 w 605"/>
                <a:gd name="T9" fmla="*/ 873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874">
                  <a:moveTo>
                    <a:pt x="604" y="873"/>
                  </a:moveTo>
                  <a:lnTo>
                    <a:pt x="0" y="873"/>
                  </a:lnTo>
                  <a:lnTo>
                    <a:pt x="0" y="0"/>
                  </a:lnTo>
                  <a:lnTo>
                    <a:pt x="604" y="0"/>
                  </a:lnTo>
                  <a:lnTo>
                    <a:pt x="604" y="87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07" name="Line 287"/>
            <p:cNvSpPr>
              <a:spLocks noChangeShapeType="1"/>
            </p:cNvSpPr>
            <p:nvPr/>
          </p:nvSpPr>
          <p:spPr bwMode="auto">
            <a:xfrm>
              <a:off x="1693598" y="1584193"/>
              <a:ext cx="1465" cy="285657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08" name="Line 288"/>
            <p:cNvSpPr>
              <a:spLocks noChangeShapeType="1"/>
            </p:cNvSpPr>
            <p:nvPr/>
          </p:nvSpPr>
          <p:spPr bwMode="auto">
            <a:xfrm flipH="1">
              <a:off x="1520738" y="1650114"/>
              <a:ext cx="42482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09" name="Line 289"/>
            <p:cNvSpPr>
              <a:spLocks noChangeShapeType="1"/>
            </p:cNvSpPr>
            <p:nvPr/>
          </p:nvSpPr>
          <p:spPr bwMode="auto">
            <a:xfrm flipH="1">
              <a:off x="1520738" y="1610562"/>
              <a:ext cx="42482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10" name="Line 290"/>
            <p:cNvSpPr>
              <a:spLocks noChangeShapeType="1"/>
            </p:cNvSpPr>
            <p:nvPr/>
          </p:nvSpPr>
          <p:spPr bwMode="auto">
            <a:xfrm flipH="1">
              <a:off x="1520738" y="1689667"/>
              <a:ext cx="42482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11" name="Line 291"/>
            <p:cNvSpPr>
              <a:spLocks noChangeShapeType="1"/>
            </p:cNvSpPr>
            <p:nvPr/>
          </p:nvSpPr>
          <p:spPr bwMode="auto">
            <a:xfrm flipH="1">
              <a:off x="1520738" y="1729219"/>
              <a:ext cx="42482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12" name="Line 292"/>
            <p:cNvSpPr>
              <a:spLocks noChangeShapeType="1"/>
            </p:cNvSpPr>
            <p:nvPr/>
          </p:nvSpPr>
          <p:spPr bwMode="auto">
            <a:xfrm flipH="1">
              <a:off x="1520738" y="1770236"/>
              <a:ext cx="42482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13" name="Line 293"/>
            <p:cNvSpPr>
              <a:spLocks noChangeShapeType="1"/>
            </p:cNvSpPr>
            <p:nvPr/>
          </p:nvSpPr>
          <p:spPr bwMode="auto">
            <a:xfrm flipH="1">
              <a:off x="1520738" y="1809790"/>
              <a:ext cx="42482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14" name="Line 294"/>
            <p:cNvSpPr>
              <a:spLocks noChangeShapeType="1"/>
            </p:cNvSpPr>
            <p:nvPr/>
          </p:nvSpPr>
          <p:spPr bwMode="auto">
            <a:xfrm flipH="1">
              <a:off x="1520738" y="1849341"/>
              <a:ext cx="42482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15" name="Freeform 295"/>
            <p:cNvSpPr>
              <a:spLocks noChangeArrowheads="1"/>
            </p:cNvSpPr>
            <p:nvPr/>
          </p:nvSpPr>
          <p:spPr bwMode="auto">
            <a:xfrm>
              <a:off x="1797606" y="1573938"/>
              <a:ext cx="39553" cy="304701"/>
            </a:xfrm>
            <a:custGeom>
              <a:avLst/>
              <a:gdLst>
                <a:gd name="T0" fmla="*/ 0 w 121"/>
                <a:gd name="T1" fmla="*/ 0 h 919"/>
                <a:gd name="T2" fmla="*/ 0 w 121"/>
                <a:gd name="T3" fmla="*/ 799 h 919"/>
                <a:gd name="T4" fmla="*/ 60 w 121"/>
                <a:gd name="T5" fmla="*/ 918 h 919"/>
                <a:gd name="T6" fmla="*/ 120 w 121"/>
                <a:gd name="T7" fmla="*/ 799 h 919"/>
                <a:gd name="T8" fmla="*/ 120 w 121"/>
                <a:gd name="T9" fmla="*/ 0 h 919"/>
                <a:gd name="T10" fmla="*/ 0 w 121"/>
                <a:gd name="T11" fmla="*/ 0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919">
                  <a:moveTo>
                    <a:pt x="0" y="0"/>
                  </a:moveTo>
                  <a:lnTo>
                    <a:pt x="0" y="799"/>
                  </a:lnTo>
                  <a:lnTo>
                    <a:pt x="60" y="918"/>
                  </a:lnTo>
                  <a:lnTo>
                    <a:pt x="120" y="799"/>
                  </a:lnTo>
                  <a:lnTo>
                    <a:pt x="120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16" name="Line 296"/>
            <p:cNvSpPr>
              <a:spLocks noChangeShapeType="1"/>
            </p:cNvSpPr>
            <p:nvPr/>
          </p:nvSpPr>
          <p:spPr bwMode="auto">
            <a:xfrm>
              <a:off x="1797606" y="1625211"/>
              <a:ext cx="39553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57561F4-DED8-264C-9CCF-8E7D42AC07E5}"/>
              </a:ext>
            </a:extLst>
          </p:cNvPr>
          <p:cNvGrpSpPr/>
          <p:nvPr/>
        </p:nvGrpSpPr>
        <p:grpSpPr>
          <a:xfrm>
            <a:off x="2160904" y="1584193"/>
            <a:ext cx="314956" cy="290053"/>
            <a:chOff x="2160904" y="1584193"/>
            <a:chExt cx="314956" cy="290053"/>
          </a:xfrm>
        </p:grpSpPr>
        <p:sp>
          <p:nvSpPr>
            <p:cNvPr id="5417" name="Freeform 297"/>
            <p:cNvSpPr>
              <a:spLocks noChangeArrowheads="1"/>
            </p:cNvSpPr>
            <p:nvPr/>
          </p:nvSpPr>
          <p:spPr bwMode="auto">
            <a:xfrm>
              <a:off x="2436307" y="1584193"/>
              <a:ext cx="39553" cy="290053"/>
            </a:xfrm>
            <a:custGeom>
              <a:avLst/>
              <a:gdLst>
                <a:gd name="T0" fmla="*/ 120 w 121"/>
                <a:gd name="T1" fmla="*/ 0 h 874"/>
                <a:gd name="T2" fmla="*/ 120 w 121"/>
                <a:gd name="T3" fmla="*/ 754 h 874"/>
                <a:gd name="T4" fmla="*/ 60 w 121"/>
                <a:gd name="T5" fmla="*/ 873 h 874"/>
                <a:gd name="T6" fmla="*/ 0 w 121"/>
                <a:gd name="T7" fmla="*/ 754 h 874"/>
                <a:gd name="T8" fmla="*/ 0 w 121"/>
                <a:gd name="T9" fmla="*/ 0 h 874"/>
                <a:gd name="T10" fmla="*/ 120 w 121"/>
                <a:gd name="T11" fmla="*/ 0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874">
                  <a:moveTo>
                    <a:pt x="120" y="0"/>
                  </a:moveTo>
                  <a:lnTo>
                    <a:pt x="120" y="754"/>
                  </a:lnTo>
                  <a:lnTo>
                    <a:pt x="60" y="873"/>
                  </a:lnTo>
                  <a:lnTo>
                    <a:pt x="0" y="754"/>
                  </a:lnTo>
                  <a:lnTo>
                    <a:pt x="0" y="0"/>
                  </a:lnTo>
                  <a:lnTo>
                    <a:pt x="12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18" name="Freeform 298"/>
            <p:cNvSpPr>
              <a:spLocks noChangeArrowheads="1"/>
            </p:cNvSpPr>
            <p:nvPr/>
          </p:nvSpPr>
          <p:spPr bwMode="auto">
            <a:xfrm>
              <a:off x="2414333" y="1606166"/>
              <a:ext cx="21973" cy="49807"/>
            </a:xfrm>
            <a:custGeom>
              <a:avLst/>
              <a:gdLst>
                <a:gd name="T0" fmla="*/ 67 w 68"/>
                <a:gd name="T1" fmla="*/ 0 h 150"/>
                <a:gd name="T2" fmla="*/ 0 w 68"/>
                <a:gd name="T3" fmla="*/ 0 h 150"/>
                <a:gd name="T4" fmla="*/ 0 w 68"/>
                <a:gd name="T5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8" h="150">
                  <a:moveTo>
                    <a:pt x="67" y="0"/>
                  </a:moveTo>
                  <a:lnTo>
                    <a:pt x="0" y="0"/>
                  </a:lnTo>
                  <a:lnTo>
                    <a:pt x="0" y="14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19" name="Freeform 299"/>
            <p:cNvSpPr>
              <a:spLocks noChangeArrowheads="1"/>
            </p:cNvSpPr>
            <p:nvPr/>
          </p:nvSpPr>
          <p:spPr bwMode="auto">
            <a:xfrm>
              <a:off x="2181412" y="1584193"/>
              <a:ext cx="199228" cy="290053"/>
            </a:xfrm>
            <a:custGeom>
              <a:avLst/>
              <a:gdLst>
                <a:gd name="T0" fmla="*/ 598 w 599"/>
                <a:gd name="T1" fmla="*/ 873 h 874"/>
                <a:gd name="T2" fmla="*/ 0 w 599"/>
                <a:gd name="T3" fmla="*/ 873 h 874"/>
                <a:gd name="T4" fmla="*/ 0 w 599"/>
                <a:gd name="T5" fmla="*/ 0 h 874"/>
                <a:gd name="T6" fmla="*/ 598 w 599"/>
                <a:gd name="T7" fmla="*/ 0 h 874"/>
                <a:gd name="T8" fmla="*/ 598 w 599"/>
                <a:gd name="T9" fmla="*/ 873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9" h="874">
                  <a:moveTo>
                    <a:pt x="598" y="873"/>
                  </a:moveTo>
                  <a:lnTo>
                    <a:pt x="0" y="873"/>
                  </a:lnTo>
                  <a:lnTo>
                    <a:pt x="0" y="0"/>
                  </a:lnTo>
                  <a:lnTo>
                    <a:pt x="598" y="0"/>
                  </a:lnTo>
                  <a:lnTo>
                    <a:pt x="598" y="87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20" name="Line 300"/>
            <p:cNvSpPr>
              <a:spLocks noChangeShapeType="1"/>
            </p:cNvSpPr>
            <p:nvPr/>
          </p:nvSpPr>
          <p:spPr bwMode="auto">
            <a:xfrm>
              <a:off x="2330833" y="1584193"/>
              <a:ext cx="1466" cy="285657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21" name="Line 301"/>
            <p:cNvSpPr>
              <a:spLocks noChangeShapeType="1"/>
            </p:cNvSpPr>
            <p:nvPr/>
          </p:nvSpPr>
          <p:spPr bwMode="auto">
            <a:xfrm flipH="1">
              <a:off x="2160904" y="1650114"/>
              <a:ext cx="42483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22" name="Line 302"/>
            <p:cNvSpPr>
              <a:spLocks noChangeShapeType="1"/>
            </p:cNvSpPr>
            <p:nvPr/>
          </p:nvSpPr>
          <p:spPr bwMode="auto">
            <a:xfrm flipH="1">
              <a:off x="2160904" y="1610562"/>
              <a:ext cx="42483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23" name="Line 303"/>
            <p:cNvSpPr>
              <a:spLocks noChangeShapeType="1"/>
            </p:cNvSpPr>
            <p:nvPr/>
          </p:nvSpPr>
          <p:spPr bwMode="auto">
            <a:xfrm flipH="1">
              <a:off x="2160904" y="1689667"/>
              <a:ext cx="42483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24" name="Line 304"/>
            <p:cNvSpPr>
              <a:spLocks noChangeShapeType="1"/>
            </p:cNvSpPr>
            <p:nvPr/>
          </p:nvSpPr>
          <p:spPr bwMode="auto">
            <a:xfrm flipH="1">
              <a:off x="2160904" y="1729219"/>
              <a:ext cx="42483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25" name="Line 305"/>
            <p:cNvSpPr>
              <a:spLocks noChangeShapeType="1"/>
            </p:cNvSpPr>
            <p:nvPr/>
          </p:nvSpPr>
          <p:spPr bwMode="auto">
            <a:xfrm flipH="1">
              <a:off x="2160904" y="1770236"/>
              <a:ext cx="42483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26" name="Line 306"/>
            <p:cNvSpPr>
              <a:spLocks noChangeShapeType="1"/>
            </p:cNvSpPr>
            <p:nvPr/>
          </p:nvSpPr>
          <p:spPr bwMode="auto">
            <a:xfrm flipH="1">
              <a:off x="2160904" y="1809790"/>
              <a:ext cx="42483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27" name="Line 307"/>
            <p:cNvSpPr>
              <a:spLocks noChangeShapeType="1"/>
            </p:cNvSpPr>
            <p:nvPr/>
          </p:nvSpPr>
          <p:spPr bwMode="auto">
            <a:xfrm flipH="1">
              <a:off x="2160904" y="1849341"/>
              <a:ext cx="42483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B75CDF27-4438-D54F-963B-FC747518A8F3}"/>
              </a:ext>
            </a:extLst>
          </p:cNvPr>
          <p:cNvGrpSpPr/>
          <p:nvPr/>
        </p:nvGrpSpPr>
        <p:grpSpPr>
          <a:xfrm>
            <a:off x="2804000" y="1573938"/>
            <a:ext cx="310561" cy="309098"/>
            <a:chOff x="2804000" y="1573938"/>
            <a:chExt cx="310561" cy="309098"/>
          </a:xfrm>
        </p:grpSpPr>
        <p:sp>
          <p:nvSpPr>
            <p:cNvPr id="5428" name="Freeform 308"/>
            <p:cNvSpPr>
              <a:spLocks noChangeArrowheads="1"/>
            </p:cNvSpPr>
            <p:nvPr/>
          </p:nvSpPr>
          <p:spPr bwMode="auto">
            <a:xfrm>
              <a:off x="3075008" y="1573938"/>
              <a:ext cx="39553" cy="304701"/>
            </a:xfrm>
            <a:custGeom>
              <a:avLst/>
              <a:gdLst>
                <a:gd name="T0" fmla="*/ 0 w 120"/>
                <a:gd name="T1" fmla="*/ 0 h 919"/>
                <a:gd name="T2" fmla="*/ 0 w 120"/>
                <a:gd name="T3" fmla="*/ 799 h 919"/>
                <a:gd name="T4" fmla="*/ 59 w 120"/>
                <a:gd name="T5" fmla="*/ 918 h 919"/>
                <a:gd name="T6" fmla="*/ 119 w 120"/>
                <a:gd name="T7" fmla="*/ 799 h 919"/>
                <a:gd name="T8" fmla="*/ 119 w 120"/>
                <a:gd name="T9" fmla="*/ 0 h 919"/>
                <a:gd name="T10" fmla="*/ 0 w 120"/>
                <a:gd name="T11" fmla="*/ 0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919">
                  <a:moveTo>
                    <a:pt x="0" y="0"/>
                  </a:moveTo>
                  <a:lnTo>
                    <a:pt x="0" y="799"/>
                  </a:lnTo>
                  <a:lnTo>
                    <a:pt x="59" y="918"/>
                  </a:lnTo>
                  <a:lnTo>
                    <a:pt x="119" y="799"/>
                  </a:lnTo>
                  <a:lnTo>
                    <a:pt x="119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29" name="Line 309"/>
            <p:cNvSpPr>
              <a:spLocks noChangeShapeType="1"/>
            </p:cNvSpPr>
            <p:nvPr/>
          </p:nvSpPr>
          <p:spPr bwMode="auto">
            <a:xfrm>
              <a:off x="3075008" y="1625211"/>
              <a:ext cx="39553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30" name="Freeform 310"/>
            <p:cNvSpPr>
              <a:spLocks noChangeArrowheads="1"/>
            </p:cNvSpPr>
            <p:nvPr/>
          </p:nvSpPr>
          <p:spPr bwMode="auto">
            <a:xfrm>
              <a:off x="2804000" y="1610562"/>
              <a:ext cx="221201" cy="272474"/>
            </a:xfrm>
            <a:custGeom>
              <a:avLst/>
              <a:gdLst>
                <a:gd name="T0" fmla="*/ 202 w 665"/>
                <a:gd name="T1" fmla="*/ 0 h 822"/>
                <a:gd name="T2" fmla="*/ 0 w 665"/>
                <a:gd name="T3" fmla="*/ 0 h 822"/>
                <a:gd name="T4" fmla="*/ 0 w 665"/>
                <a:gd name="T5" fmla="*/ 821 h 822"/>
                <a:gd name="T6" fmla="*/ 664 w 665"/>
                <a:gd name="T7" fmla="*/ 821 h 822"/>
                <a:gd name="T8" fmla="*/ 664 w 665"/>
                <a:gd name="T9" fmla="*/ 0 h 822"/>
                <a:gd name="T10" fmla="*/ 470 w 665"/>
                <a:gd name="T11" fmla="*/ 0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5" h="822">
                  <a:moveTo>
                    <a:pt x="202" y="0"/>
                  </a:moveTo>
                  <a:lnTo>
                    <a:pt x="0" y="0"/>
                  </a:lnTo>
                  <a:lnTo>
                    <a:pt x="0" y="821"/>
                  </a:lnTo>
                  <a:lnTo>
                    <a:pt x="664" y="821"/>
                  </a:lnTo>
                  <a:lnTo>
                    <a:pt x="664" y="0"/>
                  </a:lnTo>
                  <a:lnTo>
                    <a:pt x="47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31" name="Freeform 311"/>
            <p:cNvSpPr>
              <a:spLocks noChangeArrowheads="1"/>
            </p:cNvSpPr>
            <p:nvPr/>
          </p:nvSpPr>
          <p:spPr bwMode="auto">
            <a:xfrm>
              <a:off x="2865526" y="1573938"/>
              <a:ext cx="99614" cy="62992"/>
            </a:xfrm>
            <a:custGeom>
              <a:avLst/>
              <a:gdLst>
                <a:gd name="T0" fmla="*/ 209 w 299"/>
                <a:gd name="T1" fmla="*/ 59 h 188"/>
                <a:gd name="T2" fmla="*/ 209 w 299"/>
                <a:gd name="T3" fmla="*/ 0 h 188"/>
                <a:gd name="T4" fmla="*/ 89 w 299"/>
                <a:gd name="T5" fmla="*/ 0 h 188"/>
                <a:gd name="T6" fmla="*/ 89 w 299"/>
                <a:gd name="T7" fmla="*/ 59 h 188"/>
                <a:gd name="T8" fmla="*/ 29 w 299"/>
                <a:gd name="T9" fmla="*/ 59 h 188"/>
                <a:gd name="T10" fmla="*/ 0 w 299"/>
                <a:gd name="T11" fmla="*/ 187 h 188"/>
                <a:gd name="T12" fmla="*/ 298 w 299"/>
                <a:gd name="T13" fmla="*/ 187 h 188"/>
                <a:gd name="T14" fmla="*/ 268 w 299"/>
                <a:gd name="T15" fmla="*/ 59 h 188"/>
                <a:gd name="T16" fmla="*/ 209 w 299"/>
                <a:gd name="T17" fmla="*/ 59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9" h="188">
                  <a:moveTo>
                    <a:pt x="209" y="59"/>
                  </a:moveTo>
                  <a:lnTo>
                    <a:pt x="209" y="0"/>
                  </a:lnTo>
                  <a:lnTo>
                    <a:pt x="89" y="0"/>
                  </a:lnTo>
                  <a:lnTo>
                    <a:pt x="89" y="59"/>
                  </a:lnTo>
                  <a:lnTo>
                    <a:pt x="29" y="59"/>
                  </a:lnTo>
                  <a:lnTo>
                    <a:pt x="0" y="187"/>
                  </a:lnTo>
                  <a:lnTo>
                    <a:pt x="298" y="187"/>
                  </a:lnTo>
                  <a:lnTo>
                    <a:pt x="268" y="59"/>
                  </a:lnTo>
                  <a:lnTo>
                    <a:pt x="209" y="5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10239C2-E1D9-4D44-86D1-C595AD7D014E}"/>
              </a:ext>
            </a:extLst>
          </p:cNvPr>
          <p:cNvGrpSpPr/>
          <p:nvPr/>
        </p:nvGrpSpPr>
        <p:grpSpPr>
          <a:xfrm>
            <a:off x="3444164" y="1573938"/>
            <a:ext cx="309098" cy="309098"/>
            <a:chOff x="3444164" y="1573938"/>
            <a:chExt cx="309098" cy="309098"/>
          </a:xfrm>
        </p:grpSpPr>
        <p:sp>
          <p:nvSpPr>
            <p:cNvPr id="5432" name="Freeform 312"/>
            <p:cNvSpPr>
              <a:spLocks noChangeArrowheads="1"/>
            </p:cNvSpPr>
            <p:nvPr/>
          </p:nvSpPr>
          <p:spPr bwMode="auto">
            <a:xfrm>
              <a:off x="3713709" y="1584193"/>
              <a:ext cx="39553" cy="290053"/>
            </a:xfrm>
            <a:custGeom>
              <a:avLst/>
              <a:gdLst>
                <a:gd name="T0" fmla="*/ 119 w 120"/>
                <a:gd name="T1" fmla="*/ 0 h 874"/>
                <a:gd name="T2" fmla="*/ 119 w 120"/>
                <a:gd name="T3" fmla="*/ 754 h 874"/>
                <a:gd name="T4" fmla="*/ 59 w 120"/>
                <a:gd name="T5" fmla="*/ 873 h 874"/>
                <a:gd name="T6" fmla="*/ 0 w 120"/>
                <a:gd name="T7" fmla="*/ 754 h 874"/>
                <a:gd name="T8" fmla="*/ 0 w 120"/>
                <a:gd name="T9" fmla="*/ 0 h 874"/>
                <a:gd name="T10" fmla="*/ 119 w 120"/>
                <a:gd name="T11" fmla="*/ 0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874">
                  <a:moveTo>
                    <a:pt x="119" y="0"/>
                  </a:moveTo>
                  <a:lnTo>
                    <a:pt x="119" y="754"/>
                  </a:lnTo>
                  <a:lnTo>
                    <a:pt x="59" y="873"/>
                  </a:lnTo>
                  <a:lnTo>
                    <a:pt x="0" y="754"/>
                  </a:lnTo>
                  <a:lnTo>
                    <a:pt x="0" y="0"/>
                  </a:lnTo>
                  <a:lnTo>
                    <a:pt x="11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33" name="Freeform 313"/>
            <p:cNvSpPr>
              <a:spLocks noChangeArrowheads="1"/>
            </p:cNvSpPr>
            <p:nvPr/>
          </p:nvSpPr>
          <p:spPr bwMode="auto">
            <a:xfrm>
              <a:off x="3694665" y="1606166"/>
              <a:ext cx="20509" cy="49807"/>
            </a:xfrm>
            <a:custGeom>
              <a:avLst/>
              <a:gdLst>
                <a:gd name="T0" fmla="*/ 60 w 61"/>
                <a:gd name="T1" fmla="*/ 0 h 150"/>
                <a:gd name="T2" fmla="*/ 0 w 61"/>
                <a:gd name="T3" fmla="*/ 0 h 150"/>
                <a:gd name="T4" fmla="*/ 0 w 61"/>
                <a:gd name="T5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150">
                  <a:moveTo>
                    <a:pt x="60" y="0"/>
                  </a:moveTo>
                  <a:lnTo>
                    <a:pt x="0" y="0"/>
                  </a:lnTo>
                  <a:lnTo>
                    <a:pt x="0" y="14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34" name="Freeform 314"/>
            <p:cNvSpPr>
              <a:spLocks noChangeArrowheads="1"/>
            </p:cNvSpPr>
            <p:nvPr/>
          </p:nvSpPr>
          <p:spPr bwMode="auto">
            <a:xfrm>
              <a:off x="3444164" y="1610562"/>
              <a:ext cx="218273" cy="272474"/>
            </a:xfrm>
            <a:custGeom>
              <a:avLst/>
              <a:gdLst>
                <a:gd name="T0" fmla="*/ 194 w 658"/>
                <a:gd name="T1" fmla="*/ 0 h 822"/>
                <a:gd name="T2" fmla="*/ 0 w 658"/>
                <a:gd name="T3" fmla="*/ 0 h 822"/>
                <a:gd name="T4" fmla="*/ 0 w 658"/>
                <a:gd name="T5" fmla="*/ 821 h 822"/>
                <a:gd name="T6" fmla="*/ 657 w 658"/>
                <a:gd name="T7" fmla="*/ 821 h 822"/>
                <a:gd name="T8" fmla="*/ 657 w 658"/>
                <a:gd name="T9" fmla="*/ 0 h 822"/>
                <a:gd name="T10" fmla="*/ 463 w 658"/>
                <a:gd name="T11" fmla="*/ 0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8" h="822">
                  <a:moveTo>
                    <a:pt x="194" y="0"/>
                  </a:moveTo>
                  <a:lnTo>
                    <a:pt x="0" y="0"/>
                  </a:lnTo>
                  <a:lnTo>
                    <a:pt x="0" y="821"/>
                  </a:lnTo>
                  <a:lnTo>
                    <a:pt x="657" y="821"/>
                  </a:lnTo>
                  <a:lnTo>
                    <a:pt x="657" y="0"/>
                  </a:lnTo>
                  <a:lnTo>
                    <a:pt x="463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35" name="Freeform 315"/>
            <p:cNvSpPr>
              <a:spLocks noChangeArrowheads="1"/>
            </p:cNvSpPr>
            <p:nvPr/>
          </p:nvSpPr>
          <p:spPr bwMode="auto">
            <a:xfrm>
              <a:off x="3502761" y="1573938"/>
              <a:ext cx="99614" cy="62992"/>
            </a:xfrm>
            <a:custGeom>
              <a:avLst/>
              <a:gdLst>
                <a:gd name="T0" fmla="*/ 209 w 300"/>
                <a:gd name="T1" fmla="*/ 59 h 188"/>
                <a:gd name="T2" fmla="*/ 209 w 300"/>
                <a:gd name="T3" fmla="*/ 0 h 188"/>
                <a:gd name="T4" fmla="*/ 89 w 300"/>
                <a:gd name="T5" fmla="*/ 0 h 188"/>
                <a:gd name="T6" fmla="*/ 89 w 300"/>
                <a:gd name="T7" fmla="*/ 59 h 188"/>
                <a:gd name="T8" fmla="*/ 30 w 300"/>
                <a:gd name="T9" fmla="*/ 59 h 188"/>
                <a:gd name="T10" fmla="*/ 0 w 300"/>
                <a:gd name="T11" fmla="*/ 187 h 188"/>
                <a:gd name="T12" fmla="*/ 299 w 300"/>
                <a:gd name="T13" fmla="*/ 187 h 188"/>
                <a:gd name="T14" fmla="*/ 269 w 300"/>
                <a:gd name="T15" fmla="*/ 59 h 188"/>
                <a:gd name="T16" fmla="*/ 209 w 300"/>
                <a:gd name="T17" fmla="*/ 59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188">
                  <a:moveTo>
                    <a:pt x="209" y="59"/>
                  </a:moveTo>
                  <a:lnTo>
                    <a:pt x="209" y="0"/>
                  </a:lnTo>
                  <a:lnTo>
                    <a:pt x="89" y="0"/>
                  </a:lnTo>
                  <a:lnTo>
                    <a:pt x="89" y="59"/>
                  </a:lnTo>
                  <a:lnTo>
                    <a:pt x="30" y="59"/>
                  </a:lnTo>
                  <a:lnTo>
                    <a:pt x="0" y="187"/>
                  </a:lnTo>
                  <a:lnTo>
                    <a:pt x="299" y="187"/>
                  </a:lnTo>
                  <a:lnTo>
                    <a:pt x="269" y="59"/>
                  </a:lnTo>
                  <a:lnTo>
                    <a:pt x="209" y="5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2635945-575D-9D4F-8373-84F2BF64380D}"/>
              </a:ext>
            </a:extLst>
          </p:cNvPr>
          <p:cNvGrpSpPr/>
          <p:nvPr/>
        </p:nvGrpSpPr>
        <p:grpSpPr>
          <a:xfrm>
            <a:off x="4079936" y="1573938"/>
            <a:ext cx="310560" cy="354509"/>
            <a:chOff x="4079936" y="1573938"/>
            <a:chExt cx="310560" cy="354509"/>
          </a:xfrm>
        </p:grpSpPr>
        <p:sp>
          <p:nvSpPr>
            <p:cNvPr id="5436" name="Line 316"/>
            <p:cNvSpPr>
              <a:spLocks noChangeShapeType="1"/>
            </p:cNvSpPr>
            <p:nvPr/>
          </p:nvSpPr>
          <p:spPr bwMode="auto">
            <a:xfrm>
              <a:off x="4157577" y="1689667"/>
              <a:ext cx="108403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37" name="Line 317"/>
            <p:cNvSpPr>
              <a:spLocks noChangeShapeType="1"/>
            </p:cNvSpPr>
            <p:nvPr/>
          </p:nvSpPr>
          <p:spPr bwMode="auto">
            <a:xfrm>
              <a:off x="4157577" y="1739474"/>
              <a:ext cx="108403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38" name="Line 318"/>
            <p:cNvSpPr>
              <a:spLocks noChangeShapeType="1"/>
            </p:cNvSpPr>
            <p:nvPr/>
          </p:nvSpPr>
          <p:spPr bwMode="auto">
            <a:xfrm>
              <a:off x="4157577" y="1789281"/>
              <a:ext cx="108403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39" name="Line 319"/>
            <p:cNvSpPr>
              <a:spLocks noChangeShapeType="1"/>
            </p:cNvSpPr>
            <p:nvPr/>
          </p:nvSpPr>
          <p:spPr bwMode="auto">
            <a:xfrm>
              <a:off x="4157577" y="1839088"/>
              <a:ext cx="108403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40" name="Line 320"/>
            <p:cNvSpPr>
              <a:spLocks noChangeShapeType="1"/>
            </p:cNvSpPr>
            <p:nvPr/>
          </p:nvSpPr>
          <p:spPr bwMode="auto">
            <a:xfrm flipH="1">
              <a:off x="4115094" y="1689667"/>
              <a:ext cx="23438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41" name="Line 321"/>
            <p:cNvSpPr>
              <a:spLocks noChangeShapeType="1"/>
            </p:cNvSpPr>
            <p:nvPr/>
          </p:nvSpPr>
          <p:spPr bwMode="auto">
            <a:xfrm flipH="1">
              <a:off x="4115094" y="1739474"/>
              <a:ext cx="23438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42" name="Line 322"/>
            <p:cNvSpPr>
              <a:spLocks noChangeShapeType="1"/>
            </p:cNvSpPr>
            <p:nvPr/>
          </p:nvSpPr>
          <p:spPr bwMode="auto">
            <a:xfrm flipH="1">
              <a:off x="4115094" y="1789281"/>
              <a:ext cx="23438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43" name="Line 323"/>
            <p:cNvSpPr>
              <a:spLocks noChangeShapeType="1"/>
            </p:cNvSpPr>
            <p:nvPr/>
          </p:nvSpPr>
          <p:spPr bwMode="auto">
            <a:xfrm flipH="1">
              <a:off x="4115094" y="1839088"/>
              <a:ext cx="23438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44" name="Freeform 324"/>
            <p:cNvSpPr>
              <a:spLocks noChangeArrowheads="1"/>
            </p:cNvSpPr>
            <p:nvPr/>
          </p:nvSpPr>
          <p:spPr bwMode="auto">
            <a:xfrm>
              <a:off x="4079936" y="1610562"/>
              <a:ext cx="221202" cy="272474"/>
            </a:xfrm>
            <a:custGeom>
              <a:avLst/>
              <a:gdLst>
                <a:gd name="T0" fmla="*/ 202 w 666"/>
                <a:gd name="T1" fmla="*/ 0 h 822"/>
                <a:gd name="T2" fmla="*/ 0 w 666"/>
                <a:gd name="T3" fmla="*/ 0 h 822"/>
                <a:gd name="T4" fmla="*/ 0 w 666"/>
                <a:gd name="T5" fmla="*/ 821 h 822"/>
                <a:gd name="T6" fmla="*/ 665 w 666"/>
                <a:gd name="T7" fmla="*/ 821 h 822"/>
                <a:gd name="T8" fmla="*/ 665 w 666"/>
                <a:gd name="T9" fmla="*/ 0 h 822"/>
                <a:gd name="T10" fmla="*/ 470 w 666"/>
                <a:gd name="T11" fmla="*/ 0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6" h="822">
                  <a:moveTo>
                    <a:pt x="202" y="0"/>
                  </a:moveTo>
                  <a:lnTo>
                    <a:pt x="0" y="0"/>
                  </a:lnTo>
                  <a:lnTo>
                    <a:pt x="0" y="821"/>
                  </a:lnTo>
                  <a:lnTo>
                    <a:pt x="665" y="821"/>
                  </a:lnTo>
                  <a:lnTo>
                    <a:pt x="665" y="0"/>
                  </a:lnTo>
                  <a:lnTo>
                    <a:pt x="47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45" name="Freeform 325"/>
            <p:cNvSpPr>
              <a:spLocks noChangeArrowheads="1"/>
            </p:cNvSpPr>
            <p:nvPr/>
          </p:nvSpPr>
          <p:spPr bwMode="auto">
            <a:xfrm>
              <a:off x="4142927" y="1573938"/>
              <a:ext cx="99614" cy="62992"/>
            </a:xfrm>
            <a:custGeom>
              <a:avLst/>
              <a:gdLst>
                <a:gd name="T0" fmla="*/ 209 w 299"/>
                <a:gd name="T1" fmla="*/ 59 h 188"/>
                <a:gd name="T2" fmla="*/ 209 w 299"/>
                <a:gd name="T3" fmla="*/ 0 h 188"/>
                <a:gd name="T4" fmla="*/ 89 w 299"/>
                <a:gd name="T5" fmla="*/ 0 h 188"/>
                <a:gd name="T6" fmla="*/ 89 w 299"/>
                <a:gd name="T7" fmla="*/ 59 h 188"/>
                <a:gd name="T8" fmla="*/ 30 w 299"/>
                <a:gd name="T9" fmla="*/ 59 h 188"/>
                <a:gd name="T10" fmla="*/ 0 w 299"/>
                <a:gd name="T11" fmla="*/ 187 h 188"/>
                <a:gd name="T12" fmla="*/ 298 w 299"/>
                <a:gd name="T13" fmla="*/ 187 h 188"/>
                <a:gd name="T14" fmla="*/ 269 w 299"/>
                <a:gd name="T15" fmla="*/ 59 h 188"/>
                <a:gd name="T16" fmla="*/ 209 w 299"/>
                <a:gd name="T17" fmla="*/ 59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9" h="188">
                  <a:moveTo>
                    <a:pt x="209" y="59"/>
                  </a:moveTo>
                  <a:lnTo>
                    <a:pt x="209" y="0"/>
                  </a:lnTo>
                  <a:lnTo>
                    <a:pt x="89" y="0"/>
                  </a:lnTo>
                  <a:lnTo>
                    <a:pt x="89" y="59"/>
                  </a:lnTo>
                  <a:lnTo>
                    <a:pt x="30" y="59"/>
                  </a:lnTo>
                  <a:lnTo>
                    <a:pt x="0" y="187"/>
                  </a:lnTo>
                  <a:lnTo>
                    <a:pt x="298" y="187"/>
                  </a:lnTo>
                  <a:lnTo>
                    <a:pt x="269" y="59"/>
                  </a:lnTo>
                  <a:lnTo>
                    <a:pt x="209" y="5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46" name="Freeform 326"/>
            <p:cNvSpPr>
              <a:spLocks noChangeArrowheads="1"/>
            </p:cNvSpPr>
            <p:nvPr/>
          </p:nvSpPr>
          <p:spPr bwMode="auto">
            <a:xfrm>
              <a:off x="4350944" y="1625210"/>
              <a:ext cx="39552" cy="303237"/>
            </a:xfrm>
            <a:custGeom>
              <a:avLst/>
              <a:gdLst>
                <a:gd name="T0" fmla="*/ 0 w 120"/>
                <a:gd name="T1" fmla="*/ 0 h 911"/>
                <a:gd name="T2" fmla="*/ 0 w 120"/>
                <a:gd name="T3" fmla="*/ 791 h 911"/>
                <a:gd name="T4" fmla="*/ 60 w 120"/>
                <a:gd name="T5" fmla="*/ 910 h 911"/>
                <a:gd name="T6" fmla="*/ 119 w 120"/>
                <a:gd name="T7" fmla="*/ 791 h 911"/>
                <a:gd name="T8" fmla="*/ 119 w 120"/>
                <a:gd name="T9" fmla="*/ 0 h 911"/>
                <a:gd name="T10" fmla="*/ 0 w 120"/>
                <a:gd name="T11" fmla="*/ 0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911">
                  <a:moveTo>
                    <a:pt x="0" y="0"/>
                  </a:moveTo>
                  <a:lnTo>
                    <a:pt x="0" y="791"/>
                  </a:lnTo>
                  <a:lnTo>
                    <a:pt x="60" y="910"/>
                  </a:lnTo>
                  <a:lnTo>
                    <a:pt x="119" y="791"/>
                  </a:lnTo>
                  <a:lnTo>
                    <a:pt x="119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47" name="Line 327"/>
            <p:cNvSpPr>
              <a:spLocks noChangeShapeType="1"/>
            </p:cNvSpPr>
            <p:nvPr/>
          </p:nvSpPr>
          <p:spPr bwMode="auto">
            <a:xfrm>
              <a:off x="4350944" y="1625211"/>
              <a:ext cx="39552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1734A57-56A1-D945-B4D1-4C3173E0AFE2}"/>
              </a:ext>
            </a:extLst>
          </p:cNvPr>
          <p:cNvGrpSpPr/>
          <p:nvPr/>
        </p:nvGrpSpPr>
        <p:grpSpPr>
          <a:xfrm>
            <a:off x="4720102" y="1573938"/>
            <a:ext cx="310562" cy="309098"/>
            <a:chOff x="4720102" y="1573938"/>
            <a:chExt cx="310562" cy="309098"/>
          </a:xfrm>
        </p:grpSpPr>
        <p:sp>
          <p:nvSpPr>
            <p:cNvPr id="5448" name="Line 328"/>
            <p:cNvSpPr>
              <a:spLocks noChangeShapeType="1"/>
            </p:cNvSpPr>
            <p:nvPr/>
          </p:nvSpPr>
          <p:spPr bwMode="auto">
            <a:xfrm>
              <a:off x="4794812" y="1689667"/>
              <a:ext cx="10986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49" name="Line 329"/>
            <p:cNvSpPr>
              <a:spLocks noChangeShapeType="1"/>
            </p:cNvSpPr>
            <p:nvPr/>
          </p:nvSpPr>
          <p:spPr bwMode="auto">
            <a:xfrm>
              <a:off x="4794812" y="1739474"/>
              <a:ext cx="10986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50" name="Line 330"/>
            <p:cNvSpPr>
              <a:spLocks noChangeShapeType="1"/>
            </p:cNvSpPr>
            <p:nvPr/>
          </p:nvSpPr>
          <p:spPr bwMode="auto">
            <a:xfrm>
              <a:off x="4794812" y="1789281"/>
              <a:ext cx="10986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51" name="Line 331"/>
            <p:cNvSpPr>
              <a:spLocks noChangeShapeType="1"/>
            </p:cNvSpPr>
            <p:nvPr/>
          </p:nvSpPr>
          <p:spPr bwMode="auto">
            <a:xfrm>
              <a:off x="4794812" y="1839088"/>
              <a:ext cx="10986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52" name="Line 332"/>
            <p:cNvSpPr>
              <a:spLocks noChangeShapeType="1"/>
            </p:cNvSpPr>
            <p:nvPr/>
          </p:nvSpPr>
          <p:spPr bwMode="auto">
            <a:xfrm flipH="1">
              <a:off x="4753794" y="1689667"/>
              <a:ext cx="2197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53" name="Line 333"/>
            <p:cNvSpPr>
              <a:spLocks noChangeShapeType="1"/>
            </p:cNvSpPr>
            <p:nvPr/>
          </p:nvSpPr>
          <p:spPr bwMode="auto">
            <a:xfrm flipH="1">
              <a:off x="4753794" y="1739474"/>
              <a:ext cx="2197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54" name="Line 334"/>
            <p:cNvSpPr>
              <a:spLocks noChangeShapeType="1"/>
            </p:cNvSpPr>
            <p:nvPr/>
          </p:nvSpPr>
          <p:spPr bwMode="auto">
            <a:xfrm flipH="1">
              <a:off x="4753794" y="1789281"/>
              <a:ext cx="2197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55" name="Line 335"/>
            <p:cNvSpPr>
              <a:spLocks noChangeShapeType="1"/>
            </p:cNvSpPr>
            <p:nvPr/>
          </p:nvSpPr>
          <p:spPr bwMode="auto">
            <a:xfrm flipH="1">
              <a:off x="4753794" y="1839088"/>
              <a:ext cx="2197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56" name="Freeform 336"/>
            <p:cNvSpPr>
              <a:spLocks noChangeArrowheads="1"/>
            </p:cNvSpPr>
            <p:nvPr/>
          </p:nvSpPr>
          <p:spPr bwMode="auto">
            <a:xfrm>
              <a:off x="4720102" y="1610562"/>
              <a:ext cx="218272" cy="272474"/>
            </a:xfrm>
            <a:custGeom>
              <a:avLst/>
              <a:gdLst>
                <a:gd name="T0" fmla="*/ 194 w 658"/>
                <a:gd name="T1" fmla="*/ 0 h 822"/>
                <a:gd name="T2" fmla="*/ 0 w 658"/>
                <a:gd name="T3" fmla="*/ 0 h 822"/>
                <a:gd name="T4" fmla="*/ 0 w 658"/>
                <a:gd name="T5" fmla="*/ 821 h 822"/>
                <a:gd name="T6" fmla="*/ 657 w 658"/>
                <a:gd name="T7" fmla="*/ 821 h 822"/>
                <a:gd name="T8" fmla="*/ 657 w 658"/>
                <a:gd name="T9" fmla="*/ 0 h 822"/>
                <a:gd name="T10" fmla="*/ 463 w 658"/>
                <a:gd name="T11" fmla="*/ 0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8" h="822">
                  <a:moveTo>
                    <a:pt x="194" y="0"/>
                  </a:moveTo>
                  <a:lnTo>
                    <a:pt x="0" y="0"/>
                  </a:lnTo>
                  <a:lnTo>
                    <a:pt x="0" y="821"/>
                  </a:lnTo>
                  <a:lnTo>
                    <a:pt x="657" y="821"/>
                  </a:lnTo>
                  <a:lnTo>
                    <a:pt x="657" y="0"/>
                  </a:lnTo>
                  <a:lnTo>
                    <a:pt x="463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57" name="Freeform 337"/>
            <p:cNvSpPr>
              <a:spLocks noChangeArrowheads="1"/>
            </p:cNvSpPr>
            <p:nvPr/>
          </p:nvSpPr>
          <p:spPr bwMode="auto">
            <a:xfrm>
              <a:off x="4780163" y="1573938"/>
              <a:ext cx="99614" cy="62992"/>
            </a:xfrm>
            <a:custGeom>
              <a:avLst/>
              <a:gdLst>
                <a:gd name="T0" fmla="*/ 209 w 300"/>
                <a:gd name="T1" fmla="*/ 59 h 188"/>
                <a:gd name="T2" fmla="*/ 209 w 300"/>
                <a:gd name="T3" fmla="*/ 0 h 188"/>
                <a:gd name="T4" fmla="*/ 90 w 300"/>
                <a:gd name="T5" fmla="*/ 0 h 188"/>
                <a:gd name="T6" fmla="*/ 90 w 300"/>
                <a:gd name="T7" fmla="*/ 59 h 188"/>
                <a:gd name="T8" fmla="*/ 30 w 300"/>
                <a:gd name="T9" fmla="*/ 59 h 188"/>
                <a:gd name="T10" fmla="*/ 0 w 300"/>
                <a:gd name="T11" fmla="*/ 187 h 188"/>
                <a:gd name="T12" fmla="*/ 299 w 300"/>
                <a:gd name="T13" fmla="*/ 187 h 188"/>
                <a:gd name="T14" fmla="*/ 269 w 300"/>
                <a:gd name="T15" fmla="*/ 59 h 188"/>
                <a:gd name="T16" fmla="*/ 209 w 300"/>
                <a:gd name="T17" fmla="*/ 59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188">
                  <a:moveTo>
                    <a:pt x="209" y="59"/>
                  </a:moveTo>
                  <a:lnTo>
                    <a:pt x="209" y="0"/>
                  </a:lnTo>
                  <a:lnTo>
                    <a:pt x="90" y="0"/>
                  </a:lnTo>
                  <a:lnTo>
                    <a:pt x="90" y="59"/>
                  </a:lnTo>
                  <a:lnTo>
                    <a:pt x="30" y="59"/>
                  </a:lnTo>
                  <a:lnTo>
                    <a:pt x="0" y="187"/>
                  </a:lnTo>
                  <a:lnTo>
                    <a:pt x="299" y="187"/>
                  </a:lnTo>
                  <a:lnTo>
                    <a:pt x="269" y="59"/>
                  </a:lnTo>
                  <a:lnTo>
                    <a:pt x="209" y="5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58" name="Freeform 338"/>
            <p:cNvSpPr>
              <a:spLocks noChangeArrowheads="1"/>
            </p:cNvSpPr>
            <p:nvPr/>
          </p:nvSpPr>
          <p:spPr bwMode="auto">
            <a:xfrm>
              <a:off x="4991111" y="1584193"/>
              <a:ext cx="39553" cy="290053"/>
            </a:xfrm>
            <a:custGeom>
              <a:avLst/>
              <a:gdLst>
                <a:gd name="T0" fmla="*/ 119 w 120"/>
                <a:gd name="T1" fmla="*/ 0 h 874"/>
                <a:gd name="T2" fmla="*/ 119 w 120"/>
                <a:gd name="T3" fmla="*/ 754 h 874"/>
                <a:gd name="T4" fmla="*/ 59 w 120"/>
                <a:gd name="T5" fmla="*/ 873 h 874"/>
                <a:gd name="T6" fmla="*/ 0 w 120"/>
                <a:gd name="T7" fmla="*/ 754 h 874"/>
                <a:gd name="T8" fmla="*/ 0 w 120"/>
                <a:gd name="T9" fmla="*/ 0 h 874"/>
                <a:gd name="T10" fmla="*/ 119 w 120"/>
                <a:gd name="T11" fmla="*/ 0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874">
                  <a:moveTo>
                    <a:pt x="119" y="0"/>
                  </a:moveTo>
                  <a:lnTo>
                    <a:pt x="119" y="754"/>
                  </a:lnTo>
                  <a:lnTo>
                    <a:pt x="59" y="873"/>
                  </a:lnTo>
                  <a:lnTo>
                    <a:pt x="0" y="754"/>
                  </a:lnTo>
                  <a:lnTo>
                    <a:pt x="0" y="0"/>
                  </a:lnTo>
                  <a:lnTo>
                    <a:pt x="11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59" name="Freeform 339"/>
            <p:cNvSpPr>
              <a:spLocks noChangeArrowheads="1"/>
            </p:cNvSpPr>
            <p:nvPr/>
          </p:nvSpPr>
          <p:spPr bwMode="auto">
            <a:xfrm>
              <a:off x="4970601" y="1606166"/>
              <a:ext cx="20509" cy="49807"/>
            </a:xfrm>
            <a:custGeom>
              <a:avLst/>
              <a:gdLst>
                <a:gd name="T0" fmla="*/ 60 w 61"/>
                <a:gd name="T1" fmla="*/ 0 h 150"/>
                <a:gd name="T2" fmla="*/ 0 w 61"/>
                <a:gd name="T3" fmla="*/ 0 h 150"/>
                <a:gd name="T4" fmla="*/ 0 w 61"/>
                <a:gd name="T5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150">
                  <a:moveTo>
                    <a:pt x="60" y="0"/>
                  </a:moveTo>
                  <a:lnTo>
                    <a:pt x="0" y="0"/>
                  </a:lnTo>
                  <a:lnTo>
                    <a:pt x="0" y="14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8088A3D-8744-3044-9349-B4549D666862}"/>
              </a:ext>
            </a:extLst>
          </p:cNvPr>
          <p:cNvGrpSpPr/>
          <p:nvPr/>
        </p:nvGrpSpPr>
        <p:grpSpPr>
          <a:xfrm>
            <a:off x="5357337" y="1573938"/>
            <a:ext cx="310561" cy="304701"/>
            <a:chOff x="5357337" y="1573938"/>
            <a:chExt cx="310561" cy="304701"/>
          </a:xfrm>
        </p:grpSpPr>
        <p:sp>
          <p:nvSpPr>
            <p:cNvPr id="5460" name="Freeform 340"/>
            <p:cNvSpPr>
              <a:spLocks noChangeArrowheads="1"/>
            </p:cNvSpPr>
            <p:nvPr/>
          </p:nvSpPr>
          <p:spPr bwMode="auto">
            <a:xfrm>
              <a:off x="5357337" y="1584193"/>
              <a:ext cx="206553" cy="290053"/>
            </a:xfrm>
            <a:custGeom>
              <a:avLst/>
              <a:gdLst>
                <a:gd name="T0" fmla="*/ 620 w 621"/>
                <a:gd name="T1" fmla="*/ 186 h 874"/>
                <a:gd name="T2" fmla="*/ 620 w 621"/>
                <a:gd name="T3" fmla="*/ 873 h 874"/>
                <a:gd name="T4" fmla="*/ 0 w 621"/>
                <a:gd name="T5" fmla="*/ 873 h 874"/>
                <a:gd name="T6" fmla="*/ 0 w 621"/>
                <a:gd name="T7" fmla="*/ 0 h 874"/>
                <a:gd name="T8" fmla="*/ 441 w 621"/>
                <a:gd name="T9" fmla="*/ 0 h 874"/>
                <a:gd name="T10" fmla="*/ 620 w 621"/>
                <a:gd name="T11" fmla="*/ 186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1" h="874">
                  <a:moveTo>
                    <a:pt x="620" y="186"/>
                  </a:moveTo>
                  <a:lnTo>
                    <a:pt x="620" y="873"/>
                  </a:lnTo>
                  <a:lnTo>
                    <a:pt x="0" y="873"/>
                  </a:lnTo>
                  <a:lnTo>
                    <a:pt x="0" y="0"/>
                  </a:lnTo>
                  <a:lnTo>
                    <a:pt x="441" y="0"/>
                  </a:lnTo>
                  <a:lnTo>
                    <a:pt x="620" y="186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61" name="Freeform 341"/>
            <p:cNvSpPr>
              <a:spLocks noChangeArrowheads="1"/>
            </p:cNvSpPr>
            <p:nvPr/>
          </p:nvSpPr>
          <p:spPr bwMode="auto">
            <a:xfrm>
              <a:off x="5628346" y="1573938"/>
              <a:ext cx="39552" cy="304701"/>
            </a:xfrm>
            <a:custGeom>
              <a:avLst/>
              <a:gdLst>
                <a:gd name="T0" fmla="*/ 0 w 121"/>
                <a:gd name="T1" fmla="*/ 0 h 919"/>
                <a:gd name="T2" fmla="*/ 0 w 121"/>
                <a:gd name="T3" fmla="*/ 799 h 919"/>
                <a:gd name="T4" fmla="*/ 60 w 121"/>
                <a:gd name="T5" fmla="*/ 918 h 919"/>
                <a:gd name="T6" fmla="*/ 120 w 121"/>
                <a:gd name="T7" fmla="*/ 799 h 919"/>
                <a:gd name="T8" fmla="*/ 120 w 121"/>
                <a:gd name="T9" fmla="*/ 0 h 919"/>
                <a:gd name="T10" fmla="*/ 0 w 121"/>
                <a:gd name="T11" fmla="*/ 0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919">
                  <a:moveTo>
                    <a:pt x="0" y="0"/>
                  </a:moveTo>
                  <a:lnTo>
                    <a:pt x="0" y="799"/>
                  </a:lnTo>
                  <a:lnTo>
                    <a:pt x="60" y="918"/>
                  </a:lnTo>
                  <a:lnTo>
                    <a:pt x="120" y="799"/>
                  </a:lnTo>
                  <a:lnTo>
                    <a:pt x="120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62" name="Line 342"/>
            <p:cNvSpPr>
              <a:spLocks noChangeShapeType="1"/>
            </p:cNvSpPr>
            <p:nvPr/>
          </p:nvSpPr>
          <p:spPr bwMode="auto">
            <a:xfrm>
              <a:off x="5395424" y="1635465"/>
              <a:ext cx="60062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63" name="Line 343"/>
            <p:cNvSpPr>
              <a:spLocks noChangeShapeType="1"/>
            </p:cNvSpPr>
            <p:nvPr/>
          </p:nvSpPr>
          <p:spPr bwMode="auto">
            <a:xfrm>
              <a:off x="5395425" y="1685271"/>
              <a:ext cx="134772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64" name="Line 344"/>
            <p:cNvSpPr>
              <a:spLocks noChangeShapeType="1"/>
            </p:cNvSpPr>
            <p:nvPr/>
          </p:nvSpPr>
          <p:spPr bwMode="auto">
            <a:xfrm>
              <a:off x="5395425" y="1724825"/>
              <a:ext cx="134772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65" name="Line 345"/>
            <p:cNvSpPr>
              <a:spLocks noChangeShapeType="1"/>
            </p:cNvSpPr>
            <p:nvPr/>
          </p:nvSpPr>
          <p:spPr bwMode="auto">
            <a:xfrm>
              <a:off x="5395425" y="1764376"/>
              <a:ext cx="134772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66" name="Line 346"/>
            <p:cNvSpPr>
              <a:spLocks noChangeShapeType="1"/>
            </p:cNvSpPr>
            <p:nvPr/>
          </p:nvSpPr>
          <p:spPr bwMode="auto">
            <a:xfrm>
              <a:off x="5395425" y="1803930"/>
              <a:ext cx="134772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67" name="Freeform 347"/>
            <p:cNvSpPr>
              <a:spLocks noChangeArrowheads="1"/>
            </p:cNvSpPr>
            <p:nvPr/>
          </p:nvSpPr>
          <p:spPr bwMode="auto">
            <a:xfrm>
              <a:off x="5503828" y="1584194"/>
              <a:ext cx="60062" cy="61527"/>
            </a:xfrm>
            <a:custGeom>
              <a:avLst/>
              <a:gdLst>
                <a:gd name="T0" fmla="*/ 179 w 180"/>
                <a:gd name="T1" fmla="*/ 186 h 187"/>
                <a:gd name="T2" fmla="*/ 0 w 180"/>
                <a:gd name="T3" fmla="*/ 186 h 187"/>
                <a:gd name="T4" fmla="*/ 0 w 180"/>
                <a:gd name="T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0" h="187">
                  <a:moveTo>
                    <a:pt x="179" y="186"/>
                  </a:moveTo>
                  <a:lnTo>
                    <a:pt x="0" y="186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68" name="Line 348"/>
            <p:cNvSpPr>
              <a:spLocks noChangeShapeType="1"/>
            </p:cNvSpPr>
            <p:nvPr/>
          </p:nvSpPr>
          <p:spPr bwMode="auto">
            <a:xfrm>
              <a:off x="5628346" y="1625211"/>
              <a:ext cx="39552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92CA482D-FD62-B745-B22F-CC132DFC3D80}"/>
              </a:ext>
            </a:extLst>
          </p:cNvPr>
          <p:cNvGrpSpPr/>
          <p:nvPr/>
        </p:nvGrpSpPr>
        <p:grpSpPr>
          <a:xfrm>
            <a:off x="5997503" y="1584193"/>
            <a:ext cx="310561" cy="290053"/>
            <a:chOff x="5997503" y="1584193"/>
            <a:chExt cx="310561" cy="290053"/>
          </a:xfrm>
        </p:grpSpPr>
        <p:sp>
          <p:nvSpPr>
            <p:cNvPr id="5469" name="Freeform 349"/>
            <p:cNvSpPr>
              <a:spLocks noChangeArrowheads="1"/>
            </p:cNvSpPr>
            <p:nvPr/>
          </p:nvSpPr>
          <p:spPr bwMode="auto">
            <a:xfrm>
              <a:off x="6268511" y="1584193"/>
              <a:ext cx="39553" cy="290053"/>
            </a:xfrm>
            <a:custGeom>
              <a:avLst/>
              <a:gdLst>
                <a:gd name="T0" fmla="*/ 119 w 120"/>
                <a:gd name="T1" fmla="*/ 0 h 874"/>
                <a:gd name="T2" fmla="*/ 119 w 120"/>
                <a:gd name="T3" fmla="*/ 754 h 874"/>
                <a:gd name="T4" fmla="*/ 60 w 120"/>
                <a:gd name="T5" fmla="*/ 873 h 874"/>
                <a:gd name="T6" fmla="*/ 0 w 120"/>
                <a:gd name="T7" fmla="*/ 754 h 874"/>
                <a:gd name="T8" fmla="*/ 0 w 120"/>
                <a:gd name="T9" fmla="*/ 0 h 874"/>
                <a:gd name="T10" fmla="*/ 119 w 120"/>
                <a:gd name="T11" fmla="*/ 0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874">
                  <a:moveTo>
                    <a:pt x="119" y="0"/>
                  </a:moveTo>
                  <a:lnTo>
                    <a:pt x="119" y="754"/>
                  </a:lnTo>
                  <a:lnTo>
                    <a:pt x="60" y="873"/>
                  </a:lnTo>
                  <a:lnTo>
                    <a:pt x="0" y="754"/>
                  </a:lnTo>
                  <a:lnTo>
                    <a:pt x="0" y="0"/>
                  </a:lnTo>
                  <a:lnTo>
                    <a:pt x="11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70" name="Freeform 350"/>
            <p:cNvSpPr>
              <a:spLocks noChangeArrowheads="1"/>
            </p:cNvSpPr>
            <p:nvPr/>
          </p:nvSpPr>
          <p:spPr bwMode="auto">
            <a:xfrm>
              <a:off x="6248003" y="1606166"/>
              <a:ext cx="20509" cy="49807"/>
            </a:xfrm>
            <a:custGeom>
              <a:avLst/>
              <a:gdLst>
                <a:gd name="T0" fmla="*/ 60 w 61"/>
                <a:gd name="T1" fmla="*/ 0 h 150"/>
                <a:gd name="T2" fmla="*/ 0 w 61"/>
                <a:gd name="T3" fmla="*/ 0 h 150"/>
                <a:gd name="T4" fmla="*/ 0 w 61"/>
                <a:gd name="T5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150">
                  <a:moveTo>
                    <a:pt x="60" y="0"/>
                  </a:moveTo>
                  <a:lnTo>
                    <a:pt x="0" y="0"/>
                  </a:lnTo>
                  <a:lnTo>
                    <a:pt x="0" y="14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71" name="Freeform 351"/>
            <p:cNvSpPr>
              <a:spLocks noChangeArrowheads="1"/>
            </p:cNvSpPr>
            <p:nvPr/>
          </p:nvSpPr>
          <p:spPr bwMode="auto">
            <a:xfrm>
              <a:off x="5997503" y="1584193"/>
              <a:ext cx="203623" cy="290053"/>
            </a:xfrm>
            <a:custGeom>
              <a:avLst/>
              <a:gdLst>
                <a:gd name="T0" fmla="*/ 612 w 613"/>
                <a:gd name="T1" fmla="*/ 186 h 874"/>
                <a:gd name="T2" fmla="*/ 612 w 613"/>
                <a:gd name="T3" fmla="*/ 873 h 874"/>
                <a:gd name="T4" fmla="*/ 0 w 613"/>
                <a:gd name="T5" fmla="*/ 873 h 874"/>
                <a:gd name="T6" fmla="*/ 0 w 613"/>
                <a:gd name="T7" fmla="*/ 0 h 874"/>
                <a:gd name="T8" fmla="*/ 433 w 613"/>
                <a:gd name="T9" fmla="*/ 0 h 874"/>
                <a:gd name="T10" fmla="*/ 612 w 613"/>
                <a:gd name="T11" fmla="*/ 186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3" h="874">
                  <a:moveTo>
                    <a:pt x="612" y="186"/>
                  </a:moveTo>
                  <a:lnTo>
                    <a:pt x="612" y="873"/>
                  </a:lnTo>
                  <a:lnTo>
                    <a:pt x="0" y="873"/>
                  </a:lnTo>
                  <a:lnTo>
                    <a:pt x="0" y="0"/>
                  </a:lnTo>
                  <a:lnTo>
                    <a:pt x="433" y="0"/>
                  </a:lnTo>
                  <a:lnTo>
                    <a:pt x="612" y="186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72" name="Line 352"/>
            <p:cNvSpPr>
              <a:spLocks noChangeShapeType="1"/>
            </p:cNvSpPr>
            <p:nvPr/>
          </p:nvSpPr>
          <p:spPr bwMode="auto">
            <a:xfrm>
              <a:off x="6032662" y="1635465"/>
              <a:ext cx="60061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73" name="Line 353"/>
            <p:cNvSpPr>
              <a:spLocks noChangeShapeType="1"/>
            </p:cNvSpPr>
            <p:nvPr/>
          </p:nvSpPr>
          <p:spPr bwMode="auto">
            <a:xfrm>
              <a:off x="6032661" y="1685271"/>
              <a:ext cx="133307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74" name="Line 354"/>
            <p:cNvSpPr>
              <a:spLocks noChangeShapeType="1"/>
            </p:cNvSpPr>
            <p:nvPr/>
          </p:nvSpPr>
          <p:spPr bwMode="auto">
            <a:xfrm>
              <a:off x="6032661" y="1724825"/>
              <a:ext cx="133307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75" name="Line 355"/>
            <p:cNvSpPr>
              <a:spLocks noChangeShapeType="1"/>
            </p:cNvSpPr>
            <p:nvPr/>
          </p:nvSpPr>
          <p:spPr bwMode="auto">
            <a:xfrm>
              <a:off x="6032661" y="1764376"/>
              <a:ext cx="133307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76" name="Line 356"/>
            <p:cNvSpPr>
              <a:spLocks noChangeShapeType="1"/>
            </p:cNvSpPr>
            <p:nvPr/>
          </p:nvSpPr>
          <p:spPr bwMode="auto">
            <a:xfrm>
              <a:off x="6032661" y="1803930"/>
              <a:ext cx="133307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77" name="Freeform 357"/>
            <p:cNvSpPr>
              <a:spLocks noChangeArrowheads="1"/>
            </p:cNvSpPr>
            <p:nvPr/>
          </p:nvSpPr>
          <p:spPr bwMode="auto">
            <a:xfrm>
              <a:off x="6141065" y="1584194"/>
              <a:ext cx="60061" cy="61527"/>
            </a:xfrm>
            <a:custGeom>
              <a:avLst/>
              <a:gdLst>
                <a:gd name="T0" fmla="*/ 179 w 180"/>
                <a:gd name="T1" fmla="*/ 186 h 187"/>
                <a:gd name="T2" fmla="*/ 0 w 180"/>
                <a:gd name="T3" fmla="*/ 186 h 187"/>
                <a:gd name="T4" fmla="*/ 0 w 180"/>
                <a:gd name="T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0" h="187">
                  <a:moveTo>
                    <a:pt x="179" y="186"/>
                  </a:moveTo>
                  <a:lnTo>
                    <a:pt x="0" y="186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F447EA6-E90C-0A4B-9D81-6D296CB55C85}"/>
              </a:ext>
            </a:extLst>
          </p:cNvPr>
          <p:cNvGrpSpPr/>
          <p:nvPr/>
        </p:nvGrpSpPr>
        <p:grpSpPr>
          <a:xfrm>
            <a:off x="6669897" y="1573938"/>
            <a:ext cx="240245" cy="310561"/>
            <a:chOff x="6669897" y="1573938"/>
            <a:chExt cx="240245" cy="310561"/>
          </a:xfrm>
        </p:grpSpPr>
        <p:sp>
          <p:nvSpPr>
            <p:cNvPr id="5478" name="Freeform 358"/>
            <p:cNvSpPr>
              <a:spLocks noChangeArrowheads="1"/>
            </p:cNvSpPr>
            <p:nvPr/>
          </p:nvSpPr>
          <p:spPr bwMode="auto">
            <a:xfrm>
              <a:off x="6741678" y="1573938"/>
              <a:ext cx="79105" cy="310561"/>
            </a:xfrm>
            <a:custGeom>
              <a:avLst/>
              <a:gdLst>
                <a:gd name="T0" fmla="*/ 239 w 240"/>
                <a:gd name="T1" fmla="*/ 933 h 934"/>
                <a:gd name="T2" fmla="*/ 0 w 240"/>
                <a:gd name="T3" fmla="*/ 933 h 934"/>
                <a:gd name="T4" fmla="*/ 0 w 240"/>
                <a:gd name="T5" fmla="*/ 0 h 934"/>
                <a:gd name="T6" fmla="*/ 239 w 240"/>
                <a:gd name="T7" fmla="*/ 0 h 934"/>
                <a:gd name="T8" fmla="*/ 239 w 240"/>
                <a:gd name="T9" fmla="*/ 933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934">
                  <a:moveTo>
                    <a:pt x="239" y="933"/>
                  </a:moveTo>
                  <a:lnTo>
                    <a:pt x="0" y="933"/>
                  </a:lnTo>
                  <a:lnTo>
                    <a:pt x="0" y="0"/>
                  </a:lnTo>
                  <a:lnTo>
                    <a:pt x="239" y="0"/>
                  </a:lnTo>
                  <a:lnTo>
                    <a:pt x="239" y="93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79" name="Line 359"/>
            <p:cNvSpPr>
              <a:spLocks noChangeShapeType="1"/>
            </p:cNvSpPr>
            <p:nvPr/>
          </p:nvSpPr>
          <p:spPr bwMode="auto">
            <a:xfrm>
              <a:off x="6785625" y="1631070"/>
              <a:ext cx="3515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80" name="Line 360"/>
            <p:cNvSpPr>
              <a:spLocks noChangeShapeType="1"/>
            </p:cNvSpPr>
            <p:nvPr/>
          </p:nvSpPr>
          <p:spPr bwMode="auto">
            <a:xfrm flipH="1">
              <a:off x="6804668" y="1680878"/>
              <a:ext cx="1757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81" name="Line 361"/>
            <p:cNvSpPr>
              <a:spLocks noChangeShapeType="1"/>
            </p:cNvSpPr>
            <p:nvPr/>
          </p:nvSpPr>
          <p:spPr bwMode="auto">
            <a:xfrm flipH="1">
              <a:off x="6804668" y="1779025"/>
              <a:ext cx="1757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82" name="Line 362"/>
            <p:cNvSpPr>
              <a:spLocks noChangeShapeType="1"/>
            </p:cNvSpPr>
            <p:nvPr/>
          </p:nvSpPr>
          <p:spPr bwMode="auto">
            <a:xfrm>
              <a:off x="6785625" y="1729219"/>
              <a:ext cx="3515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83" name="Line 363"/>
            <p:cNvSpPr>
              <a:spLocks noChangeShapeType="1"/>
            </p:cNvSpPr>
            <p:nvPr/>
          </p:nvSpPr>
          <p:spPr bwMode="auto">
            <a:xfrm>
              <a:off x="6785625" y="1828833"/>
              <a:ext cx="3515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84" name="Freeform 364"/>
            <p:cNvSpPr>
              <a:spLocks noChangeArrowheads="1"/>
            </p:cNvSpPr>
            <p:nvPr/>
          </p:nvSpPr>
          <p:spPr bwMode="auto">
            <a:xfrm>
              <a:off x="6671363" y="1578334"/>
              <a:ext cx="39552" cy="304701"/>
            </a:xfrm>
            <a:custGeom>
              <a:avLst/>
              <a:gdLst>
                <a:gd name="T0" fmla="*/ 119 w 120"/>
                <a:gd name="T1" fmla="*/ 918 h 919"/>
                <a:gd name="T2" fmla="*/ 119 w 120"/>
                <a:gd name="T3" fmla="*/ 127 h 919"/>
                <a:gd name="T4" fmla="*/ 59 w 120"/>
                <a:gd name="T5" fmla="*/ 0 h 919"/>
                <a:gd name="T6" fmla="*/ 0 w 120"/>
                <a:gd name="T7" fmla="*/ 127 h 919"/>
                <a:gd name="T8" fmla="*/ 0 w 120"/>
                <a:gd name="T9" fmla="*/ 918 h 919"/>
                <a:gd name="T10" fmla="*/ 119 w 120"/>
                <a:gd name="T11" fmla="*/ 918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919">
                  <a:moveTo>
                    <a:pt x="119" y="918"/>
                  </a:moveTo>
                  <a:lnTo>
                    <a:pt x="119" y="127"/>
                  </a:lnTo>
                  <a:lnTo>
                    <a:pt x="59" y="0"/>
                  </a:lnTo>
                  <a:lnTo>
                    <a:pt x="0" y="127"/>
                  </a:lnTo>
                  <a:lnTo>
                    <a:pt x="0" y="918"/>
                  </a:lnTo>
                  <a:lnTo>
                    <a:pt x="119" y="918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85" name="Line 365"/>
            <p:cNvSpPr>
              <a:spLocks noChangeShapeType="1"/>
            </p:cNvSpPr>
            <p:nvPr/>
          </p:nvSpPr>
          <p:spPr bwMode="auto">
            <a:xfrm flipH="1">
              <a:off x="6669897" y="1834692"/>
              <a:ext cx="42483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86" name="Freeform 366"/>
            <p:cNvSpPr>
              <a:spLocks noChangeArrowheads="1"/>
            </p:cNvSpPr>
            <p:nvPr/>
          </p:nvSpPr>
          <p:spPr bwMode="auto">
            <a:xfrm>
              <a:off x="6870590" y="1584193"/>
              <a:ext cx="39552" cy="290053"/>
            </a:xfrm>
            <a:custGeom>
              <a:avLst/>
              <a:gdLst>
                <a:gd name="T0" fmla="*/ 119 w 120"/>
                <a:gd name="T1" fmla="*/ 0 h 874"/>
                <a:gd name="T2" fmla="*/ 119 w 120"/>
                <a:gd name="T3" fmla="*/ 754 h 874"/>
                <a:gd name="T4" fmla="*/ 60 w 120"/>
                <a:gd name="T5" fmla="*/ 873 h 874"/>
                <a:gd name="T6" fmla="*/ 0 w 120"/>
                <a:gd name="T7" fmla="*/ 754 h 874"/>
                <a:gd name="T8" fmla="*/ 0 w 120"/>
                <a:gd name="T9" fmla="*/ 0 h 874"/>
                <a:gd name="T10" fmla="*/ 119 w 120"/>
                <a:gd name="T11" fmla="*/ 0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874">
                  <a:moveTo>
                    <a:pt x="119" y="0"/>
                  </a:moveTo>
                  <a:lnTo>
                    <a:pt x="119" y="754"/>
                  </a:lnTo>
                  <a:lnTo>
                    <a:pt x="60" y="873"/>
                  </a:lnTo>
                  <a:lnTo>
                    <a:pt x="0" y="754"/>
                  </a:lnTo>
                  <a:lnTo>
                    <a:pt x="0" y="0"/>
                  </a:lnTo>
                  <a:lnTo>
                    <a:pt x="11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87" name="Freeform 367"/>
            <p:cNvSpPr>
              <a:spLocks noChangeArrowheads="1"/>
            </p:cNvSpPr>
            <p:nvPr/>
          </p:nvSpPr>
          <p:spPr bwMode="auto">
            <a:xfrm>
              <a:off x="6850081" y="1606166"/>
              <a:ext cx="20509" cy="49807"/>
            </a:xfrm>
            <a:custGeom>
              <a:avLst/>
              <a:gdLst>
                <a:gd name="T0" fmla="*/ 60 w 61"/>
                <a:gd name="T1" fmla="*/ 0 h 150"/>
                <a:gd name="T2" fmla="*/ 0 w 61"/>
                <a:gd name="T3" fmla="*/ 0 h 150"/>
                <a:gd name="T4" fmla="*/ 0 w 61"/>
                <a:gd name="T5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150">
                  <a:moveTo>
                    <a:pt x="60" y="0"/>
                  </a:moveTo>
                  <a:lnTo>
                    <a:pt x="0" y="0"/>
                  </a:lnTo>
                  <a:lnTo>
                    <a:pt x="0" y="14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B7D7AC7-9EEC-724D-939F-D47628944B66}"/>
              </a:ext>
            </a:extLst>
          </p:cNvPr>
          <p:cNvGrpSpPr/>
          <p:nvPr/>
        </p:nvGrpSpPr>
        <p:grpSpPr>
          <a:xfrm>
            <a:off x="889362" y="2214105"/>
            <a:ext cx="310560" cy="309095"/>
            <a:chOff x="889362" y="2214105"/>
            <a:chExt cx="310560" cy="309095"/>
          </a:xfrm>
        </p:grpSpPr>
        <p:sp>
          <p:nvSpPr>
            <p:cNvPr id="5488" name="Freeform 368"/>
            <p:cNvSpPr>
              <a:spLocks noChangeArrowheads="1"/>
            </p:cNvSpPr>
            <p:nvPr/>
          </p:nvSpPr>
          <p:spPr bwMode="auto">
            <a:xfrm>
              <a:off x="889362" y="2218499"/>
              <a:ext cx="306167" cy="304701"/>
            </a:xfrm>
            <a:custGeom>
              <a:avLst/>
              <a:gdLst>
                <a:gd name="T0" fmla="*/ 0 w 920"/>
                <a:gd name="T1" fmla="*/ 918 h 919"/>
                <a:gd name="T2" fmla="*/ 0 w 920"/>
                <a:gd name="T3" fmla="*/ 0 h 919"/>
                <a:gd name="T4" fmla="*/ 919 w 920"/>
                <a:gd name="T5" fmla="*/ 918 h 919"/>
                <a:gd name="T6" fmla="*/ 0 w 920"/>
                <a:gd name="T7" fmla="*/ 918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0" h="919">
                  <a:moveTo>
                    <a:pt x="0" y="918"/>
                  </a:moveTo>
                  <a:lnTo>
                    <a:pt x="0" y="0"/>
                  </a:lnTo>
                  <a:lnTo>
                    <a:pt x="919" y="918"/>
                  </a:lnTo>
                  <a:lnTo>
                    <a:pt x="0" y="918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89" name="Freeform 369"/>
            <p:cNvSpPr>
              <a:spLocks noChangeArrowheads="1"/>
            </p:cNvSpPr>
            <p:nvPr/>
          </p:nvSpPr>
          <p:spPr bwMode="auto">
            <a:xfrm>
              <a:off x="953818" y="2357666"/>
              <a:ext cx="120123" cy="121587"/>
            </a:xfrm>
            <a:custGeom>
              <a:avLst/>
              <a:gdLst>
                <a:gd name="T0" fmla="*/ 0 w 360"/>
                <a:gd name="T1" fmla="*/ 366 h 367"/>
                <a:gd name="T2" fmla="*/ 0 w 360"/>
                <a:gd name="T3" fmla="*/ 0 h 367"/>
                <a:gd name="T4" fmla="*/ 359 w 360"/>
                <a:gd name="T5" fmla="*/ 366 h 367"/>
                <a:gd name="T6" fmla="*/ 0 w 360"/>
                <a:gd name="T7" fmla="*/ 3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0" h="367">
                  <a:moveTo>
                    <a:pt x="0" y="366"/>
                  </a:moveTo>
                  <a:lnTo>
                    <a:pt x="0" y="0"/>
                  </a:lnTo>
                  <a:lnTo>
                    <a:pt x="359" y="366"/>
                  </a:lnTo>
                  <a:lnTo>
                    <a:pt x="0" y="366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90" name="Line 370"/>
            <p:cNvSpPr>
              <a:spLocks noChangeShapeType="1"/>
            </p:cNvSpPr>
            <p:nvPr/>
          </p:nvSpPr>
          <p:spPr bwMode="auto">
            <a:xfrm flipH="1">
              <a:off x="893757" y="2318112"/>
              <a:ext cx="3222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91" name="Line 371"/>
            <p:cNvSpPr>
              <a:spLocks noChangeShapeType="1"/>
            </p:cNvSpPr>
            <p:nvPr/>
          </p:nvSpPr>
          <p:spPr bwMode="auto">
            <a:xfrm flipH="1">
              <a:off x="892291" y="2357666"/>
              <a:ext cx="23438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92" name="Line 372"/>
            <p:cNvSpPr>
              <a:spLocks noChangeShapeType="1"/>
            </p:cNvSpPr>
            <p:nvPr/>
          </p:nvSpPr>
          <p:spPr bwMode="auto">
            <a:xfrm flipH="1">
              <a:off x="893757" y="2397218"/>
              <a:ext cx="3222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93" name="Line 373"/>
            <p:cNvSpPr>
              <a:spLocks noChangeShapeType="1"/>
            </p:cNvSpPr>
            <p:nvPr/>
          </p:nvSpPr>
          <p:spPr bwMode="auto">
            <a:xfrm flipH="1">
              <a:off x="892291" y="2436771"/>
              <a:ext cx="23438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94" name="Line 374"/>
            <p:cNvSpPr>
              <a:spLocks noChangeShapeType="1"/>
            </p:cNvSpPr>
            <p:nvPr/>
          </p:nvSpPr>
          <p:spPr bwMode="auto">
            <a:xfrm flipH="1">
              <a:off x="893757" y="2479253"/>
              <a:ext cx="3222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95" name="Freeform 375"/>
            <p:cNvSpPr>
              <a:spLocks noChangeArrowheads="1"/>
            </p:cNvSpPr>
            <p:nvPr/>
          </p:nvSpPr>
          <p:spPr bwMode="auto">
            <a:xfrm>
              <a:off x="978721" y="2214105"/>
              <a:ext cx="221201" cy="218272"/>
            </a:xfrm>
            <a:custGeom>
              <a:avLst/>
              <a:gdLst>
                <a:gd name="T0" fmla="*/ 90 w 665"/>
                <a:gd name="T1" fmla="*/ 0 h 658"/>
                <a:gd name="T2" fmla="*/ 0 w 665"/>
                <a:gd name="T3" fmla="*/ 89 h 658"/>
                <a:gd name="T4" fmla="*/ 545 w 665"/>
                <a:gd name="T5" fmla="*/ 627 h 658"/>
                <a:gd name="T6" fmla="*/ 664 w 665"/>
                <a:gd name="T7" fmla="*/ 657 h 658"/>
                <a:gd name="T8" fmla="*/ 635 w 665"/>
                <a:gd name="T9" fmla="*/ 537 h 658"/>
                <a:gd name="T10" fmla="*/ 90 w 665"/>
                <a:gd name="T11" fmla="*/ 0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5" h="658">
                  <a:moveTo>
                    <a:pt x="90" y="0"/>
                  </a:moveTo>
                  <a:lnTo>
                    <a:pt x="0" y="89"/>
                  </a:lnTo>
                  <a:lnTo>
                    <a:pt x="545" y="627"/>
                  </a:lnTo>
                  <a:lnTo>
                    <a:pt x="664" y="657"/>
                  </a:lnTo>
                  <a:lnTo>
                    <a:pt x="635" y="537"/>
                  </a:lnTo>
                  <a:lnTo>
                    <a:pt x="9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96" name="Line 376"/>
            <p:cNvSpPr>
              <a:spLocks noChangeShapeType="1"/>
            </p:cNvSpPr>
            <p:nvPr/>
          </p:nvSpPr>
          <p:spPr bwMode="auto">
            <a:xfrm flipV="1">
              <a:off x="1008019" y="2241937"/>
              <a:ext cx="29299" cy="3222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5C4F6419-3E0E-DD4D-A2FC-C5B4D4F90887}"/>
              </a:ext>
            </a:extLst>
          </p:cNvPr>
          <p:cNvGrpSpPr/>
          <p:nvPr/>
        </p:nvGrpSpPr>
        <p:grpSpPr>
          <a:xfrm>
            <a:off x="1526598" y="2237543"/>
            <a:ext cx="310561" cy="262218"/>
            <a:chOff x="1526598" y="2237543"/>
            <a:chExt cx="310561" cy="262218"/>
          </a:xfrm>
        </p:grpSpPr>
        <p:sp>
          <p:nvSpPr>
            <p:cNvPr id="5497" name="Freeform 377"/>
            <p:cNvSpPr>
              <a:spLocks noChangeArrowheads="1"/>
            </p:cNvSpPr>
            <p:nvPr/>
          </p:nvSpPr>
          <p:spPr bwMode="auto">
            <a:xfrm>
              <a:off x="1526598" y="2237543"/>
              <a:ext cx="310561" cy="260755"/>
            </a:xfrm>
            <a:custGeom>
              <a:avLst/>
              <a:gdLst>
                <a:gd name="T0" fmla="*/ 0 w 934"/>
                <a:gd name="T1" fmla="*/ 0 h 785"/>
                <a:gd name="T2" fmla="*/ 0 w 934"/>
                <a:gd name="T3" fmla="*/ 725 h 785"/>
                <a:gd name="T4" fmla="*/ 470 w 934"/>
                <a:gd name="T5" fmla="*/ 784 h 785"/>
                <a:gd name="T6" fmla="*/ 933 w 934"/>
                <a:gd name="T7" fmla="*/ 725 h 785"/>
                <a:gd name="T8" fmla="*/ 933 w 934"/>
                <a:gd name="T9" fmla="*/ 0 h 785"/>
                <a:gd name="T10" fmla="*/ 470 w 934"/>
                <a:gd name="T11" fmla="*/ 60 h 785"/>
                <a:gd name="T12" fmla="*/ 0 w 934"/>
                <a:gd name="T13" fmla="*/ 0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4" h="785">
                  <a:moveTo>
                    <a:pt x="0" y="0"/>
                  </a:moveTo>
                  <a:lnTo>
                    <a:pt x="0" y="725"/>
                  </a:lnTo>
                  <a:lnTo>
                    <a:pt x="470" y="784"/>
                  </a:lnTo>
                  <a:lnTo>
                    <a:pt x="933" y="725"/>
                  </a:lnTo>
                  <a:lnTo>
                    <a:pt x="933" y="0"/>
                  </a:lnTo>
                  <a:lnTo>
                    <a:pt x="470" y="6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98" name="Line 378"/>
            <p:cNvSpPr>
              <a:spLocks noChangeShapeType="1"/>
            </p:cNvSpPr>
            <p:nvPr/>
          </p:nvSpPr>
          <p:spPr bwMode="auto">
            <a:xfrm flipV="1">
              <a:off x="1683342" y="2256586"/>
              <a:ext cx="1466" cy="24317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499" name="Line 379"/>
            <p:cNvSpPr>
              <a:spLocks noChangeShapeType="1"/>
            </p:cNvSpPr>
            <p:nvPr/>
          </p:nvSpPr>
          <p:spPr bwMode="auto">
            <a:xfrm>
              <a:off x="1555896" y="2287350"/>
              <a:ext cx="96684" cy="1025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00" name="Line 380"/>
            <p:cNvSpPr>
              <a:spLocks noChangeShapeType="1"/>
            </p:cNvSpPr>
            <p:nvPr/>
          </p:nvSpPr>
          <p:spPr bwMode="auto">
            <a:xfrm>
              <a:off x="1555896" y="2337157"/>
              <a:ext cx="96684" cy="1025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01" name="Line 381"/>
            <p:cNvSpPr>
              <a:spLocks noChangeShapeType="1"/>
            </p:cNvSpPr>
            <p:nvPr/>
          </p:nvSpPr>
          <p:spPr bwMode="auto">
            <a:xfrm>
              <a:off x="1555896" y="2386964"/>
              <a:ext cx="96684" cy="1025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02" name="Line 382"/>
            <p:cNvSpPr>
              <a:spLocks noChangeShapeType="1"/>
            </p:cNvSpPr>
            <p:nvPr/>
          </p:nvSpPr>
          <p:spPr bwMode="auto">
            <a:xfrm>
              <a:off x="1555896" y="2436772"/>
              <a:ext cx="96684" cy="1318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03" name="Line 383"/>
            <p:cNvSpPr>
              <a:spLocks noChangeShapeType="1"/>
            </p:cNvSpPr>
            <p:nvPr/>
          </p:nvSpPr>
          <p:spPr bwMode="auto">
            <a:xfrm flipH="1">
              <a:off x="1711177" y="2287350"/>
              <a:ext cx="96684" cy="1025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04" name="Line 384"/>
            <p:cNvSpPr>
              <a:spLocks noChangeShapeType="1"/>
            </p:cNvSpPr>
            <p:nvPr/>
          </p:nvSpPr>
          <p:spPr bwMode="auto">
            <a:xfrm flipH="1">
              <a:off x="1711177" y="2337157"/>
              <a:ext cx="96684" cy="1025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05" name="Line 385"/>
            <p:cNvSpPr>
              <a:spLocks noChangeShapeType="1"/>
            </p:cNvSpPr>
            <p:nvPr/>
          </p:nvSpPr>
          <p:spPr bwMode="auto">
            <a:xfrm flipH="1">
              <a:off x="1711177" y="2386964"/>
              <a:ext cx="96684" cy="1025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06" name="Line 386"/>
            <p:cNvSpPr>
              <a:spLocks noChangeShapeType="1"/>
            </p:cNvSpPr>
            <p:nvPr/>
          </p:nvSpPr>
          <p:spPr bwMode="auto">
            <a:xfrm flipH="1">
              <a:off x="1711177" y="2436772"/>
              <a:ext cx="96684" cy="1318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A53E5C6-01FC-C44A-AD08-C193E0DA5D05}"/>
              </a:ext>
            </a:extLst>
          </p:cNvPr>
          <p:cNvGrpSpPr/>
          <p:nvPr/>
        </p:nvGrpSpPr>
        <p:grpSpPr>
          <a:xfrm>
            <a:off x="2166763" y="2237543"/>
            <a:ext cx="310561" cy="262218"/>
            <a:chOff x="2166763" y="2237543"/>
            <a:chExt cx="310561" cy="262218"/>
          </a:xfrm>
        </p:grpSpPr>
        <p:sp>
          <p:nvSpPr>
            <p:cNvPr id="5507" name="Freeform 387"/>
            <p:cNvSpPr>
              <a:spLocks noChangeArrowheads="1"/>
            </p:cNvSpPr>
            <p:nvPr/>
          </p:nvSpPr>
          <p:spPr bwMode="auto">
            <a:xfrm>
              <a:off x="2166763" y="2237543"/>
              <a:ext cx="310561" cy="260755"/>
            </a:xfrm>
            <a:custGeom>
              <a:avLst/>
              <a:gdLst>
                <a:gd name="T0" fmla="*/ 0 w 935"/>
                <a:gd name="T1" fmla="*/ 0 h 785"/>
                <a:gd name="T2" fmla="*/ 0 w 935"/>
                <a:gd name="T3" fmla="*/ 725 h 785"/>
                <a:gd name="T4" fmla="*/ 463 w 935"/>
                <a:gd name="T5" fmla="*/ 784 h 785"/>
                <a:gd name="T6" fmla="*/ 934 w 935"/>
                <a:gd name="T7" fmla="*/ 725 h 785"/>
                <a:gd name="T8" fmla="*/ 934 w 935"/>
                <a:gd name="T9" fmla="*/ 0 h 785"/>
                <a:gd name="T10" fmla="*/ 463 w 935"/>
                <a:gd name="T11" fmla="*/ 60 h 785"/>
                <a:gd name="T12" fmla="*/ 0 w 935"/>
                <a:gd name="T13" fmla="*/ 0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5" h="785">
                  <a:moveTo>
                    <a:pt x="0" y="0"/>
                  </a:moveTo>
                  <a:lnTo>
                    <a:pt x="0" y="725"/>
                  </a:lnTo>
                  <a:lnTo>
                    <a:pt x="463" y="784"/>
                  </a:lnTo>
                  <a:lnTo>
                    <a:pt x="934" y="725"/>
                  </a:lnTo>
                  <a:lnTo>
                    <a:pt x="934" y="0"/>
                  </a:lnTo>
                  <a:lnTo>
                    <a:pt x="463" y="6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08" name="Line 388"/>
            <p:cNvSpPr>
              <a:spLocks noChangeShapeType="1"/>
            </p:cNvSpPr>
            <p:nvPr/>
          </p:nvSpPr>
          <p:spPr bwMode="auto">
            <a:xfrm flipV="1">
              <a:off x="2320580" y="2256586"/>
              <a:ext cx="1465" cy="24317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A5D5A57D-7020-3F43-83C0-FF677141C1F4}"/>
              </a:ext>
            </a:extLst>
          </p:cNvPr>
          <p:cNvGrpSpPr/>
          <p:nvPr/>
        </p:nvGrpSpPr>
        <p:grpSpPr>
          <a:xfrm>
            <a:off x="2803999" y="2237543"/>
            <a:ext cx="310561" cy="262218"/>
            <a:chOff x="2803999" y="2237543"/>
            <a:chExt cx="310561" cy="262218"/>
          </a:xfrm>
        </p:grpSpPr>
        <p:sp>
          <p:nvSpPr>
            <p:cNvPr id="5509" name="Freeform 389"/>
            <p:cNvSpPr>
              <a:spLocks noChangeArrowheads="1"/>
            </p:cNvSpPr>
            <p:nvPr/>
          </p:nvSpPr>
          <p:spPr bwMode="auto">
            <a:xfrm>
              <a:off x="2803999" y="2237543"/>
              <a:ext cx="310561" cy="260755"/>
            </a:xfrm>
            <a:custGeom>
              <a:avLst/>
              <a:gdLst>
                <a:gd name="T0" fmla="*/ 0 w 934"/>
                <a:gd name="T1" fmla="*/ 0 h 785"/>
                <a:gd name="T2" fmla="*/ 0 w 934"/>
                <a:gd name="T3" fmla="*/ 725 h 785"/>
                <a:gd name="T4" fmla="*/ 470 w 934"/>
                <a:gd name="T5" fmla="*/ 784 h 785"/>
                <a:gd name="T6" fmla="*/ 933 w 934"/>
                <a:gd name="T7" fmla="*/ 725 h 785"/>
                <a:gd name="T8" fmla="*/ 933 w 934"/>
                <a:gd name="T9" fmla="*/ 0 h 785"/>
                <a:gd name="T10" fmla="*/ 470 w 934"/>
                <a:gd name="T11" fmla="*/ 60 h 785"/>
                <a:gd name="T12" fmla="*/ 0 w 934"/>
                <a:gd name="T13" fmla="*/ 0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4" h="785">
                  <a:moveTo>
                    <a:pt x="0" y="0"/>
                  </a:moveTo>
                  <a:lnTo>
                    <a:pt x="0" y="725"/>
                  </a:lnTo>
                  <a:lnTo>
                    <a:pt x="470" y="784"/>
                  </a:lnTo>
                  <a:lnTo>
                    <a:pt x="933" y="725"/>
                  </a:lnTo>
                  <a:lnTo>
                    <a:pt x="933" y="0"/>
                  </a:lnTo>
                  <a:lnTo>
                    <a:pt x="470" y="6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10" name="Line 390"/>
            <p:cNvSpPr>
              <a:spLocks noChangeShapeType="1"/>
            </p:cNvSpPr>
            <p:nvPr/>
          </p:nvSpPr>
          <p:spPr bwMode="auto">
            <a:xfrm flipV="1">
              <a:off x="2960744" y="2256586"/>
              <a:ext cx="1466" cy="24317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11" name="Freeform 391"/>
            <p:cNvSpPr>
              <a:spLocks noChangeArrowheads="1"/>
            </p:cNvSpPr>
            <p:nvPr/>
          </p:nvSpPr>
          <p:spPr bwMode="auto">
            <a:xfrm>
              <a:off x="3014947" y="2243403"/>
              <a:ext cx="39552" cy="99614"/>
            </a:xfrm>
            <a:custGeom>
              <a:avLst/>
              <a:gdLst>
                <a:gd name="T0" fmla="*/ 0 w 121"/>
                <a:gd name="T1" fmla="*/ 15 h 300"/>
                <a:gd name="T2" fmla="*/ 0 w 121"/>
                <a:gd name="T3" fmla="*/ 299 h 300"/>
                <a:gd name="T4" fmla="*/ 60 w 121"/>
                <a:gd name="T5" fmla="*/ 269 h 300"/>
                <a:gd name="T6" fmla="*/ 120 w 121"/>
                <a:gd name="T7" fmla="*/ 299 h 300"/>
                <a:gd name="T8" fmla="*/ 120 w 121"/>
                <a:gd name="T9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300">
                  <a:moveTo>
                    <a:pt x="0" y="15"/>
                  </a:moveTo>
                  <a:lnTo>
                    <a:pt x="0" y="299"/>
                  </a:lnTo>
                  <a:lnTo>
                    <a:pt x="60" y="269"/>
                  </a:lnTo>
                  <a:lnTo>
                    <a:pt x="120" y="299"/>
                  </a:lnTo>
                  <a:lnTo>
                    <a:pt x="12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12" name="Line 392"/>
            <p:cNvSpPr>
              <a:spLocks noChangeShapeType="1"/>
            </p:cNvSpPr>
            <p:nvPr/>
          </p:nvSpPr>
          <p:spPr bwMode="auto">
            <a:xfrm>
              <a:off x="2833298" y="2287350"/>
              <a:ext cx="96684" cy="1025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13" name="Line 393"/>
            <p:cNvSpPr>
              <a:spLocks noChangeShapeType="1"/>
            </p:cNvSpPr>
            <p:nvPr/>
          </p:nvSpPr>
          <p:spPr bwMode="auto">
            <a:xfrm>
              <a:off x="2833298" y="2337157"/>
              <a:ext cx="96684" cy="1025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14" name="Line 394"/>
            <p:cNvSpPr>
              <a:spLocks noChangeShapeType="1"/>
            </p:cNvSpPr>
            <p:nvPr/>
          </p:nvSpPr>
          <p:spPr bwMode="auto">
            <a:xfrm>
              <a:off x="2833298" y="2386964"/>
              <a:ext cx="96684" cy="1025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15" name="Line 395"/>
            <p:cNvSpPr>
              <a:spLocks noChangeShapeType="1"/>
            </p:cNvSpPr>
            <p:nvPr/>
          </p:nvSpPr>
          <p:spPr bwMode="auto">
            <a:xfrm>
              <a:off x="2833298" y="2436772"/>
              <a:ext cx="96684" cy="1318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16" name="Line 396"/>
            <p:cNvSpPr>
              <a:spLocks noChangeShapeType="1"/>
            </p:cNvSpPr>
            <p:nvPr/>
          </p:nvSpPr>
          <p:spPr bwMode="auto">
            <a:xfrm flipH="1">
              <a:off x="2988579" y="2386964"/>
              <a:ext cx="96684" cy="1025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17" name="Line 397"/>
            <p:cNvSpPr>
              <a:spLocks noChangeShapeType="1"/>
            </p:cNvSpPr>
            <p:nvPr/>
          </p:nvSpPr>
          <p:spPr bwMode="auto">
            <a:xfrm flipH="1">
              <a:off x="2988579" y="2436772"/>
              <a:ext cx="96684" cy="1318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9A98D1E1-9684-1A49-AACD-33493A8820CE}"/>
              </a:ext>
            </a:extLst>
          </p:cNvPr>
          <p:cNvGrpSpPr/>
          <p:nvPr/>
        </p:nvGrpSpPr>
        <p:grpSpPr>
          <a:xfrm>
            <a:off x="3444164" y="2237543"/>
            <a:ext cx="310561" cy="262218"/>
            <a:chOff x="3444164" y="2237543"/>
            <a:chExt cx="310561" cy="262218"/>
          </a:xfrm>
        </p:grpSpPr>
        <p:sp>
          <p:nvSpPr>
            <p:cNvPr id="5518" name="Freeform 398"/>
            <p:cNvSpPr>
              <a:spLocks noChangeArrowheads="1"/>
            </p:cNvSpPr>
            <p:nvPr/>
          </p:nvSpPr>
          <p:spPr bwMode="auto">
            <a:xfrm>
              <a:off x="3444164" y="2237543"/>
              <a:ext cx="310561" cy="260755"/>
            </a:xfrm>
            <a:custGeom>
              <a:avLst/>
              <a:gdLst>
                <a:gd name="T0" fmla="*/ 0 w 934"/>
                <a:gd name="T1" fmla="*/ 0 h 785"/>
                <a:gd name="T2" fmla="*/ 0 w 934"/>
                <a:gd name="T3" fmla="*/ 725 h 785"/>
                <a:gd name="T4" fmla="*/ 463 w 934"/>
                <a:gd name="T5" fmla="*/ 784 h 785"/>
                <a:gd name="T6" fmla="*/ 933 w 934"/>
                <a:gd name="T7" fmla="*/ 725 h 785"/>
                <a:gd name="T8" fmla="*/ 933 w 934"/>
                <a:gd name="T9" fmla="*/ 0 h 785"/>
                <a:gd name="T10" fmla="*/ 463 w 934"/>
                <a:gd name="T11" fmla="*/ 60 h 785"/>
                <a:gd name="T12" fmla="*/ 0 w 934"/>
                <a:gd name="T13" fmla="*/ 0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4" h="785">
                  <a:moveTo>
                    <a:pt x="0" y="0"/>
                  </a:moveTo>
                  <a:lnTo>
                    <a:pt x="0" y="725"/>
                  </a:lnTo>
                  <a:lnTo>
                    <a:pt x="463" y="784"/>
                  </a:lnTo>
                  <a:lnTo>
                    <a:pt x="933" y="725"/>
                  </a:lnTo>
                  <a:lnTo>
                    <a:pt x="933" y="0"/>
                  </a:lnTo>
                  <a:lnTo>
                    <a:pt x="463" y="6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19" name="Line 399"/>
            <p:cNvSpPr>
              <a:spLocks noChangeShapeType="1"/>
            </p:cNvSpPr>
            <p:nvPr/>
          </p:nvSpPr>
          <p:spPr bwMode="auto">
            <a:xfrm flipV="1">
              <a:off x="3597981" y="2256586"/>
              <a:ext cx="1465" cy="24317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20" name="Freeform 400"/>
            <p:cNvSpPr>
              <a:spLocks noChangeArrowheads="1"/>
            </p:cNvSpPr>
            <p:nvPr/>
          </p:nvSpPr>
          <p:spPr bwMode="auto">
            <a:xfrm>
              <a:off x="3652182" y="2243403"/>
              <a:ext cx="42483" cy="99614"/>
            </a:xfrm>
            <a:custGeom>
              <a:avLst/>
              <a:gdLst>
                <a:gd name="T0" fmla="*/ 0 w 128"/>
                <a:gd name="T1" fmla="*/ 15 h 300"/>
                <a:gd name="T2" fmla="*/ 0 w 128"/>
                <a:gd name="T3" fmla="*/ 299 h 300"/>
                <a:gd name="T4" fmla="*/ 60 w 128"/>
                <a:gd name="T5" fmla="*/ 269 h 300"/>
                <a:gd name="T6" fmla="*/ 127 w 128"/>
                <a:gd name="T7" fmla="*/ 299 h 300"/>
                <a:gd name="T8" fmla="*/ 127 w 128"/>
                <a:gd name="T9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300">
                  <a:moveTo>
                    <a:pt x="0" y="15"/>
                  </a:moveTo>
                  <a:lnTo>
                    <a:pt x="0" y="299"/>
                  </a:lnTo>
                  <a:lnTo>
                    <a:pt x="60" y="269"/>
                  </a:lnTo>
                  <a:lnTo>
                    <a:pt x="127" y="299"/>
                  </a:lnTo>
                  <a:lnTo>
                    <a:pt x="127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FDD5E46A-9F92-354C-8423-3DC895216C59}"/>
              </a:ext>
            </a:extLst>
          </p:cNvPr>
          <p:cNvGrpSpPr/>
          <p:nvPr/>
        </p:nvGrpSpPr>
        <p:grpSpPr>
          <a:xfrm>
            <a:off x="4110699" y="2214105"/>
            <a:ext cx="231456" cy="310561"/>
            <a:chOff x="4110699" y="2214105"/>
            <a:chExt cx="231456" cy="310561"/>
          </a:xfrm>
        </p:grpSpPr>
        <p:sp>
          <p:nvSpPr>
            <p:cNvPr id="5521" name="Freeform 401"/>
            <p:cNvSpPr>
              <a:spLocks noChangeArrowheads="1"/>
            </p:cNvSpPr>
            <p:nvPr/>
          </p:nvSpPr>
          <p:spPr bwMode="auto">
            <a:xfrm>
              <a:off x="4110699" y="2214105"/>
              <a:ext cx="231456" cy="310561"/>
            </a:xfrm>
            <a:custGeom>
              <a:avLst/>
              <a:gdLst>
                <a:gd name="T0" fmla="*/ 0 w 695"/>
                <a:gd name="T1" fmla="*/ 0 h 934"/>
                <a:gd name="T2" fmla="*/ 694 w 695"/>
                <a:gd name="T3" fmla="*/ 0 h 934"/>
                <a:gd name="T4" fmla="*/ 694 w 695"/>
                <a:gd name="T5" fmla="*/ 933 h 934"/>
                <a:gd name="T6" fmla="*/ 0 w 695"/>
                <a:gd name="T7" fmla="*/ 933 h 934"/>
                <a:gd name="T8" fmla="*/ 0 w 695"/>
                <a:gd name="T9" fmla="*/ 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5" h="934">
                  <a:moveTo>
                    <a:pt x="0" y="0"/>
                  </a:moveTo>
                  <a:lnTo>
                    <a:pt x="694" y="0"/>
                  </a:lnTo>
                  <a:lnTo>
                    <a:pt x="694" y="933"/>
                  </a:lnTo>
                  <a:lnTo>
                    <a:pt x="0" y="933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22" name="Line 402"/>
            <p:cNvSpPr>
              <a:spLocks noChangeShapeType="1"/>
            </p:cNvSpPr>
            <p:nvPr/>
          </p:nvSpPr>
          <p:spPr bwMode="auto">
            <a:xfrm flipV="1">
              <a:off x="4153181" y="2217035"/>
              <a:ext cx="1466" cy="30763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23" name="Line 403"/>
            <p:cNvSpPr>
              <a:spLocks noChangeShapeType="1"/>
            </p:cNvSpPr>
            <p:nvPr/>
          </p:nvSpPr>
          <p:spPr bwMode="auto">
            <a:xfrm>
              <a:off x="4176620" y="2282955"/>
              <a:ext cx="139167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24" name="Line 404"/>
            <p:cNvSpPr>
              <a:spLocks noChangeShapeType="1"/>
            </p:cNvSpPr>
            <p:nvPr/>
          </p:nvSpPr>
          <p:spPr bwMode="auto">
            <a:xfrm>
              <a:off x="4176620" y="2312253"/>
              <a:ext cx="139167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017B827-4119-8C46-9508-89A0937D924F}"/>
              </a:ext>
            </a:extLst>
          </p:cNvPr>
          <p:cNvGrpSpPr/>
          <p:nvPr/>
        </p:nvGrpSpPr>
        <p:grpSpPr>
          <a:xfrm>
            <a:off x="4720102" y="2214105"/>
            <a:ext cx="310562" cy="310561"/>
            <a:chOff x="4720102" y="2214105"/>
            <a:chExt cx="310562" cy="310561"/>
          </a:xfrm>
        </p:grpSpPr>
        <p:sp>
          <p:nvSpPr>
            <p:cNvPr id="5525" name="Freeform 405"/>
            <p:cNvSpPr>
              <a:spLocks noChangeArrowheads="1"/>
            </p:cNvSpPr>
            <p:nvPr/>
          </p:nvSpPr>
          <p:spPr bwMode="auto">
            <a:xfrm>
              <a:off x="4720102" y="2214105"/>
              <a:ext cx="228526" cy="310561"/>
            </a:xfrm>
            <a:custGeom>
              <a:avLst/>
              <a:gdLst>
                <a:gd name="T0" fmla="*/ 0 w 688"/>
                <a:gd name="T1" fmla="*/ 0 h 934"/>
                <a:gd name="T2" fmla="*/ 687 w 688"/>
                <a:gd name="T3" fmla="*/ 0 h 934"/>
                <a:gd name="T4" fmla="*/ 687 w 688"/>
                <a:gd name="T5" fmla="*/ 933 h 934"/>
                <a:gd name="T6" fmla="*/ 0 w 688"/>
                <a:gd name="T7" fmla="*/ 933 h 934"/>
                <a:gd name="T8" fmla="*/ 0 w 688"/>
                <a:gd name="T9" fmla="*/ 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8" h="934">
                  <a:moveTo>
                    <a:pt x="0" y="0"/>
                  </a:moveTo>
                  <a:lnTo>
                    <a:pt x="687" y="0"/>
                  </a:lnTo>
                  <a:lnTo>
                    <a:pt x="687" y="933"/>
                  </a:lnTo>
                  <a:lnTo>
                    <a:pt x="0" y="933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26" name="Line 406"/>
            <p:cNvSpPr>
              <a:spLocks noChangeShapeType="1"/>
            </p:cNvSpPr>
            <p:nvPr/>
          </p:nvSpPr>
          <p:spPr bwMode="auto">
            <a:xfrm flipV="1">
              <a:off x="4759654" y="2217035"/>
              <a:ext cx="1466" cy="30763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27" name="Line 407"/>
            <p:cNvSpPr>
              <a:spLocks noChangeShapeType="1"/>
            </p:cNvSpPr>
            <p:nvPr/>
          </p:nvSpPr>
          <p:spPr bwMode="auto">
            <a:xfrm>
              <a:off x="4784558" y="2282955"/>
              <a:ext cx="139166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28" name="Line 408"/>
            <p:cNvSpPr>
              <a:spLocks noChangeShapeType="1"/>
            </p:cNvSpPr>
            <p:nvPr/>
          </p:nvSpPr>
          <p:spPr bwMode="auto">
            <a:xfrm>
              <a:off x="4784558" y="2312253"/>
              <a:ext cx="139166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29" name="Freeform 409"/>
            <p:cNvSpPr>
              <a:spLocks noChangeArrowheads="1"/>
            </p:cNvSpPr>
            <p:nvPr/>
          </p:nvSpPr>
          <p:spPr bwMode="auto">
            <a:xfrm>
              <a:off x="4991111" y="2214105"/>
              <a:ext cx="39553" cy="304701"/>
            </a:xfrm>
            <a:custGeom>
              <a:avLst/>
              <a:gdLst>
                <a:gd name="T0" fmla="*/ 0 w 120"/>
                <a:gd name="T1" fmla="*/ 0 h 919"/>
                <a:gd name="T2" fmla="*/ 0 w 120"/>
                <a:gd name="T3" fmla="*/ 799 h 919"/>
                <a:gd name="T4" fmla="*/ 59 w 120"/>
                <a:gd name="T5" fmla="*/ 918 h 919"/>
                <a:gd name="T6" fmla="*/ 119 w 120"/>
                <a:gd name="T7" fmla="*/ 799 h 919"/>
                <a:gd name="T8" fmla="*/ 119 w 120"/>
                <a:gd name="T9" fmla="*/ 0 h 919"/>
                <a:gd name="T10" fmla="*/ 0 w 120"/>
                <a:gd name="T11" fmla="*/ 0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919">
                  <a:moveTo>
                    <a:pt x="0" y="0"/>
                  </a:moveTo>
                  <a:lnTo>
                    <a:pt x="0" y="799"/>
                  </a:lnTo>
                  <a:lnTo>
                    <a:pt x="59" y="918"/>
                  </a:lnTo>
                  <a:lnTo>
                    <a:pt x="119" y="799"/>
                  </a:lnTo>
                  <a:lnTo>
                    <a:pt x="119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30" name="Line 410"/>
            <p:cNvSpPr>
              <a:spLocks noChangeShapeType="1"/>
            </p:cNvSpPr>
            <p:nvPr/>
          </p:nvSpPr>
          <p:spPr bwMode="auto">
            <a:xfrm>
              <a:off x="4991111" y="2262446"/>
              <a:ext cx="39553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FDFF37A-F7AE-EF43-B6EA-EDFAB29126A3}"/>
              </a:ext>
            </a:extLst>
          </p:cNvPr>
          <p:cNvGrpSpPr/>
          <p:nvPr/>
        </p:nvGrpSpPr>
        <p:grpSpPr>
          <a:xfrm>
            <a:off x="5357338" y="2214105"/>
            <a:ext cx="310560" cy="310561"/>
            <a:chOff x="5357338" y="2214105"/>
            <a:chExt cx="310560" cy="310561"/>
          </a:xfrm>
        </p:grpSpPr>
        <p:sp>
          <p:nvSpPr>
            <p:cNvPr id="5531" name="Freeform 411"/>
            <p:cNvSpPr>
              <a:spLocks noChangeArrowheads="1"/>
            </p:cNvSpPr>
            <p:nvPr/>
          </p:nvSpPr>
          <p:spPr bwMode="auto">
            <a:xfrm>
              <a:off x="5357338" y="2214105"/>
              <a:ext cx="231456" cy="310561"/>
            </a:xfrm>
            <a:custGeom>
              <a:avLst/>
              <a:gdLst>
                <a:gd name="T0" fmla="*/ 0 w 696"/>
                <a:gd name="T1" fmla="*/ 0 h 934"/>
                <a:gd name="T2" fmla="*/ 695 w 696"/>
                <a:gd name="T3" fmla="*/ 0 h 934"/>
                <a:gd name="T4" fmla="*/ 695 w 696"/>
                <a:gd name="T5" fmla="*/ 933 h 934"/>
                <a:gd name="T6" fmla="*/ 0 w 696"/>
                <a:gd name="T7" fmla="*/ 933 h 934"/>
                <a:gd name="T8" fmla="*/ 0 w 696"/>
                <a:gd name="T9" fmla="*/ 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6" h="934">
                  <a:moveTo>
                    <a:pt x="0" y="0"/>
                  </a:moveTo>
                  <a:lnTo>
                    <a:pt x="695" y="0"/>
                  </a:lnTo>
                  <a:lnTo>
                    <a:pt x="695" y="933"/>
                  </a:lnTo>
                  <a:lnTo>
                    <a:pt x="0" y="933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32" name="Line 412"/>
            <p:cNvSpPr>
              <a:spLocks noChangeShapeType="1"/>
            </p:cNvSpPr>
            <p:nvPr/>
          </p:nvSpPr>
          <p:spPr bwMode="auto">
            <a:xfrm flipV="1">
              <a:off x="5399821" y="2217035"/>
              <a:ext cx="1465" cy="30763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33" name="Line 413"/>
            <p:cNvSpPr>
              <a:spLocks noChangeShapeType="1"/>
            </p:cNvSpPr>
            <p:nvPr/>
          </p:nvSpPr>
          <p:spPr bwMode="auto">
            <a:xfrm>
              <a:off x="5424724" y="2282955"/>
              <a:ext cx="139167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34" name="Line 414"/>
            <p:cNvSpPr>
              <a:spLocks noChangeShapeType="1"/>
            </p:cNvSpPr>
            <p:nvPr/>
          </p:nvSpPr>
          <p:spPr bwMode="auto">
            <a:xfrm>
              <a:off x="5424724" y="2312253"/>
              <a:ext cx="139167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35" name="Freeform 415"/>
            <p:cNvSpPr>
              <a:spLocks noChangeArrowheads="1"/>
            </p:cNvSpPr>
            <p:nvPr/>
          </p:nvSpPr>
          <p:spPr bwMode="auto">
            <a:xfrm>
              <a:off x="5628346" y="2222894"/>
              <a:ext cx="39552" cy="290053"/>
            </a:xfrm>
            <a:custGeom>
              <a:avLst/>
              <a:gdLst>
                <a:gd name="T0" fmla="*/ 120 w 121"/>
                <a:gd name="T1" fmla="*/ 0 h 874"/>
                <a:gd name="T2" fmla="*/ 120 w 121"/>
                <a:gd name="T3" fmla="*/ 753 h 874"/>
                <a:gd name="T4" fmla="*/ 60 w 121"/>
                <a:gd name="T5" fmla="*/ 873 h 874"/>
                <a:gd name="T6" fmla="*/ 0 w 121"/>
                <a:gd name="T7" fmla="*/ 753 h 874"/>
                <a:gd name="T8" fmla="*/ 0 w 121"/>
                <a:gd name="T9" fmla="*/ 0 h 874"/>
                <a:gd name="T10" fmla="*/ 120 w 121"/>
                <a:gd name="T11" fmla="*/ 0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874">
                  <a:moveTo>
                    <a:pt x="120" y="0"/>
                  </a:moveTo>
                  <a:lnTo>
                    <a:pt x="120" y="753"/>
                  </a:lnTo>
                  <a:lnTo>
                    <a:pt x="60" y="873"/>
                  </a:lnTo>
                  <a:lnTo>
                    <a:pt x="0" y="753"/>
                  </a:lnTo>
                  <a:lnTo>
                    <a:pt x="0" y="0"/>
                  </a:lnTo>
                  <a:lnTo>
                    <a:pt x="12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36" name="Freeform 416"/>
            <p:cNvSpPr>
              <a:spLocks noChangeArrowheads="1"/>
            </p:cNvSpPr>
            <p:nvPr/>
          </p:nvSpPr>
          <p:spPr bwMode="auto">
            <a:xfrm>
              <a:off x="5607838" y="2243403"/>
              <a:ext cx="20509" cy="49807"/>
            </a:xfrm>
            <a:custGeom>
              <a:avLst/>
              <a:gdLst>
                <a:gd name="T0" fmla="*/ 59 w 60"/>
                <a:gd name="T1" fmla="*/ 0 h 151"/>
                <a:gd name="T2" fmla="*/ 0 w 60"/>
                <a:gd name="T3" fmla="*/ 0 h 151"/>
                <a:gd name="T4" fmla="*/ 0 w 60"/>
                <a:gd name="T5" fmla="*/ 15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0" h="151">
                  <a:moveTo>
                    <a:pt x="59" y="0"/>
                  </a:moveTo>
                  <a:lnTo>
                    <a:pt x="0" y="0"/>
                  </a:lnTo>
                  <a:lnTo>
                    <a:pt x="0" y="15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28" name="Group 5827">
            <a:extLst>
              <a:ext uri="{FF2B5EF4-FFF2-40B4-BE49-F238E27FC236}">
                <a16:creationId xmlns:a16="http://schemas.microsoft.com/office/drawing/2014/main" id="{EB7E7413-3078-0A4D-9C30-BE7DDA2A5003}"/>
              </a:ext>
            </a:extLst>
          </p:cNvPr>
          <p:cNvGrpSpPr/>
          <p:nvPr/>
        </p:nvGrpSpPr>
        <p:grpSpPr>
          <a:xfrm>
            <a:off x="2166763" y="2882104"/>
            <a:ext cx="310561" cy="249035"/>
            <a:chOff x="2166763" y="2882104"/>
            <a:chExt cx="310561" cy="249035"/>
          </a:xfrm>
        </p:grpSpPr>
        <p:sp>
          <p:nvSpPr>
            <p:cNvPr id="5537" name="Freeform 417"/>
            <p:cNvSpPr>
              <a:spLocks noChangeArrowheads="1"/>
            </p:cNvSpPr>
            <p:nvPr/>
          </p:nvSpPr>
          <p:spPr bwMode="auto">
            <a:xfrm>
              <a:off x="2166763" y="2882104"/>
              <a:ext cx="310561" cy="249035"/>
            </a:xfrm>
            <a:custGeom>
              <a:avLst/>
              <a:gdLst>
                <a:gd name="T0" fmla="*/ 934 w 935"/>
                <a:gd name="T1" fmla="*/ 747 h 748"/>
                <a:gd name="T2" fmla="*/ 0 w 935"/>
                <a:gd name="T3" fmla="*/ 747 h 748"/>
                <a:gd name="T4" fmla="*/ 0 w 935"/>
                <a:gd name="T5" fmla="*/ 0 h 748"/>
                <a:gd name="T6" fmla="*/ 934 w 935"/>
                <a:gd name="T7" fmla="*/ 0 h 748"/>
                <a:gd name="T8" fmla="*/ 934 w 935"/>
                <a:gd name="T9" fmla="*/ 747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5" h="748">
                  <a:moveTo>
                    <a:pt x="934" y="747"/>
                  </a:moveTo>
                  <a:lnTo>
                    <a:pt x="0" y="747"/>
                  </a:lnTo>
                  <a:lnTo>
                    <a:pt x="0" y="0"/>
                  </a:lnTo>
                  <a:lnTo>
                    <a:pt x="934" y="0"/>
                  </a:lnTo>
                  <a:lnTo>
                    <a:pt x="934" y="747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38" name="Line 418"/>
            <p:cNvSpPr>
              <a:spLocks noChangeShapeType="1"/>
            </p:cNvSpPr>
            <p:nvPr/>
          </p:nvSpPr>
          <p:spPr bwMode="auto">
            <a:xfrm>
              <a:off x="2166763" y="2923121"/>
              <a:ext cx="310561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39" name="Line 419"/>
            <p:cNvSpPr>
              <a:spLocks noChangeShapeType="1"/>
            </p:cNvSpPr>
            <p:nvPr/>
          </p:nvSpPr>
          <p:spPr bwMode="auto">
            <a:xfrm flipH="1">
              <a:off x="2188737" y="2902613"/>
              <a:ext cx="23438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40" name="Line 420"/>
            <p:cNvSpPr>
              <a:spLocks noChangeShapeType="1"/>
            </p:cNvSpPr>
            <p:nvPr/>
          </p:nvSpPr>
          <p:spPr bwMode="auto">
            <a:xfrm flipH="1">
              <a:off x="2229755" y="2902613"/>
              <a:ext cx="21973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41" name="Line 421"/>
            <p:cNvSpPr>
              <a:spLocks noChangeShapeType="1"/>
            </p:cNvSpPr>
            <p:nvPr/>
          </p:nvSpPr>
          <p:spPr bwMode="auto">
            <a:xfrm flipH="1">
              <a:off x="2269307" y="2902613"/>
              <a:ext cx="23438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26" name="Group 5825">
            <a:extLst>
              <a:ext uri="{FF2B5EF4-FFF2-40B4-BE49-F238E27FC236}">
                <a16:creationId xmlns:a16="http://schemas.microsoft.com/office/drawing/2014/main" id="{ECE566DE-E088-FC4E-BC94-9464ED3E289F}"/>
              </a:ext>
            </a:extLst>
          </p:cNvPr>
          <p:cNvGrpSpPr/>
          <p:nvPr/>
        </p:nvGrpSpPr>
        <p:grpSpPr>
          <a:xfrm>
            <a:off x="2803999" y="2882104"/>
            <a:ext cx="310561" cy="249035"/>
            <a:chOff x="2803999" y="2882104"/>
            <a:chExt cx="310561" cy="249035"/>
          </a:xfrm>
        </p:grpSpPr>
        <p:sp>
          <p:nvSpPr>
            <p:cNvPr id="5542" name="Freeform 422"/>
            <p:cNvSpPr>
              <a:spLocks noChangeArrowheads="1"/>
            </p:cNvSpPr>
            <p:nvPr/>
          </p:nvSpPr>
          <p:spPr bwMode="auto">
            <a:xfrm>
              <a:off x="2803999" y="2882104"/>
              <a:ext cx="310561" cy="249035"/>
            </a:xfrm>
            <a:custGeom>
              <a:avLst/>
              <a:gdLst>
                <a:gd name="T0" fmla="*/ 933 w 934"/>
                <a:gd name="T1" fmla="*/ 747 h 748"/>
                <a:gd name="T2" fmla="*/ 0 w 934"/>
                <a:gd name="T3" fmla="*/ 747 h 748"/>
                <a:gd name="T4" fmla="*/ 0 w 934"/>
                <a:gd name="T5" fmla="*/ 0 h 748"/>
                <a:gd name="T6" fmla="*/ 933 w 934"/>
                <a:gd name="T7" fmla="*/ 0 h 748"/>
                <a:gd name="T8" fmla="*/ 933 w 934"/>
                <a:gd name="T9" fmla="*/ 747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4" h="748">
                  <a:moveTo>
                    <a:pt x="933" y="747"/>
                  </a:moveTo>
                  <a:lnTo>
                    <a:pt x="0" y="747"/>
                  </a:lnTo>
                  <a:lnTo>
                    <a:pt x="0" y="0"/>
                  </a:lnTo>
                  <a:lnTo>
                    <a:pt x="933" y="0"/>
                  </a:lnTo>
                  <a:lnTo>
                    <a:pt x="933" y="747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43" name="Line 423"/>
            <p:cNvSpPr>
              <a:spLocks noChangeShapeType="1"/>
            </p:cNvSpPr>
            <p:nvPr/>
          </p:nvSpPr>
          <p:spPr bwMode="auto">
            <a:xfrm>
              <a:off x="2803999" y="2923121"/>
              <a:ext cx="310561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44" name="Line 424"/>
            <p:cNvSpPr>
              <a:spLocks noChangeShapeType="1"/>
            </p:cNvSpPr>
            <p:nvPr/>
          </p:nvSpPr>
          <p:spPr bwMode="auto">
            <a:xfrm flipH="1">
              <a:off x="2827438" y="2902613"/>
              <a:ext cx="24903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45" name="Line 425"/>
            <p:cNvSpPr>
              <a:spLocks noChangeShapeType="1"/>
            </p:cNvSpPr>
            <p:nvPr/>
          </p:nvSpPr>
          <p:spPr bwMode="auto">
            <a:xfrm flipH="1">
              <a:off x="2869920" y="2902613"/>
              <a:ext cx="2197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46" name="Line 426"/>
            <p:cNvSpPr>
              <a:spLocks noChangeShapeType="1"/>
            </p:cNvSpPr>
            <p:nvPr/>
          </p:nvSpPr>
          <p:spPr bwMode="auto">
            <a:xfrm flipH="1">
              <a:off x="2908007" y="2902613"/>
              <a:ext cx="23438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47" name="Line 427"/>
            <p:cNvSpPr>
              <a:spLocks noChangeShapeType="1"/>
            </p:cNvSpPr>
            <p:nvPr/>
          </p:nvSpPr>
          <p:spPr bwMode="auto">
            <a:xfrm>
              <a:off x="2828903" y="2971462"/>
              <a:ext cx="136237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48" name="Line 428"/>
            <p:cNvSpPr>
              <a:spLocks noChangeShapeType="1"/>
            </p:cNvSpPr>
            <p:nvPr/>
          </p:nvSpPr>
          <p:spPr bwMode="auto">
            <a:xfrm>
              <a:off x="2828903" y="3011016"/>
              <a:ext cx="136237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49" name="Line 429"/>
            <p:cNvSpPr>
              <a:spLocks noChangeShapeType="1"/>
            </p:cNvSpPr>
            <p:nvPr/>
          </p:nvSpPr>
          <p:spPr bwMode="auto">
            <a:xfrm>
              <a:off x="2828903" y="3052033"/>
              <a:ext cx="136237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50" name="Freeform 430"/>
            <p:cNvSpPr>
              <a:spLocks noChangeArrowheads="1"/>
            </p:cNvSpPr>
            <p:nvPr/>
          </p:nvSpPr>
          <p:spPr bwMode="auto">
            <a:xfrm>
              <a:off x="2990042" y="2971463"/>
              <a:ext cx="93754" cy="79105"/>
            </a:xfrm>
            <a:custGeom>
              <a:avLst/>
              <a:gdLst>
                <a:gd name="T0" fmla="*/ 283 w 284"/>
                <a:gd name="T1" fmla="*/ 239 h 240"/>
                <a:gd name="T2" fmla="*/ 0 w 284"/>
                <a:gd name="T3" fmla="*/ 239 h 240"/>
                <a:gd name="T4" fmla="*/ 0 w 284"/>
                <a:gd name="T5" fmla="*/ 0 h 240"/>
                <a:gd name="T6" fmla="*/ 283 w 284"/>
                <a:gd name="T7" fmla="*/ 0 h 240"/>
                <a:gd name="T8" fmla="*/ 283 w 284"/>
                <a:gd name="T9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4" h="240">
                  <a:moveTo>
                    <a:pt x="283" y="239"/>
                  </a:moveTo>
                  <a:lnTo>
                    <a:pt x="0" y="239"/>
                  </a:lnTo>
                  <a:lnTo>
                    <a:pt x="0" y="0"/>
                  </a:lnTo>
                  <a:lnTo>
                    <a:pt x="283" y="0"/>
                  </a:lnTo>
                  <a:lnTo>
                    <a:pt x="283" y="23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sp>
        <p:nvSpPr>
          <p:cNvPr id="5551" name="Freeform 431"/>
          <p:cNvSpPr>
            <a:spLocks noChangeArrowheads="1"/>
          </p:cNvSpPr>
          <p:nvPr/>
        </p:nvSpPr>
        <p:spPr bwMode="auto">
          <a:xfrm>
            <a:off x="889362" y="3535454"/>
            <a:ext cx="310561" cy="221201"/>
          </a:xfrm>
          <a:custGeom>
            <a:avLst/>
            <a:gdLst>
              <a:gd name="T0" fmla="*/ 933 w 934"/>
              <a:gd name="T1" fmla="*/ 120 h 666"/>
              <a:gd name="T2" fmla="*/ 933 w 934"/>
              <a:gd name="T3" fmla="*/ 665 h 666"/>
              <a:gd name="T4" fmla="*/ 0 w 934"/>
              <a:gd name="T5" fmla="*/ 665 h 666"/>
              <a:gd name="T6" fmla="*/ 0 w 934"/>
              <a:gd name="T7" fmla="*/ 0 h 666"/>
              <a:gd name="T8" fmla="*/ 314 w 934"/>
              <a:gd name="T9" fmla="*/ 0 h 666"/>
              <a:gd name="T10" fmla="*/ 433 w 934"/>
              <a:gd name="T11" fmla="*/ 120 h 666"/>
              <a:gd name="T12" fmla="*/ 933 w 934"/>
              <a:gd name="T13" fmla="*/ 120 h 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34" h="666">
                <a:moveTo>
                  <a:pt x="933" y="120"/>
                </a:moveTo>
                <a:lnTo>
                  <a:pt x="933" y="665"/>
                </a:lnTo>
                <a:lnTo>
                  <a:pt x="0" y="665"/>
                </a:lnTo>
                <a:lnTo>
                  <a:pt x="0" y="0"/>
                </a:lnTo>
                <a:lnTo>
                  <a:pt x="314" y="0"/>
                </a:lnTo>
                <a:lnTo>
                  <a:pt x="433" y="120"/>
                </a:lnTo>
                <a:lnTo>
                  <a:pt x="933" y="120"/>
                </a:lnTo>
              </a:path>
            </a:pathLst>
          </a:custGeom>
          <a:noFill/>
          <a:ln w="6350" cap="flat">
            <a:solidFill>
              <a:schemeClr val="accent1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Montserrat Light" charset="0"/>
            </a:endParaRPr>
          </a:p>
        </p:txBody>
      </p:sp>
      <p:grpSp>
        <p:nvGrpSpPr>
          <p:cNvPr id="5867" name="Group 5866">
            <a:extLst>
              <a:ext uri="{FF2B5EF4-FFF2-40B4-BE49-F238E27FC236}">
                <a16:creationId xmlns:a16="http://schemas.microsoft.com/office/drawing/2014/main" id="{DB0879C8-D576-F842-912B-36DE7E365A26}"/>
              </a:ext>
            </a:extLst>
          </p:cNvPr>
          <p:cNvGrpSpPr/>
          <p:nvPr/>
        </p:nvGrpSpPr>
        <p:grpSpPr>
          <a:xfrm>
            <a:off x="1526597" y="3520805"/>
            <a:ext cx="310563" cy="235850"/>
            <a:chOff x="1526597" y="3520805"/>
            <a:chExt cx="310563" cy="235850"/>
          </a:xfrm>
        </p:grpSpPr>
        <p:sp>
          <p:nvSpPr>
            <p:cNvPr id="5552" name="Freeform 432"/>
            <p:cNvSpPr>
              <a:spLocks noChangeArrowheads="1"/>
            </p:cNvSpPr>
            <p:nvPr/>
          </p:nvSpPr>
          <p:spPr bwMode="auto">
            <a:xfrm>
              <a:off x="1526597" y="3560357"/>
              <a:ext cx="275404" cy="196298"/>
            </a:xfrm>
            <a:custGeom>
              <a:avLst/>
              <a:gdLst>
                <a:gd name="T0" fmla="*/ 828 w 829"/>
                <a:gd name="T1" fmla="*/ 105 h 591"/>
                <a:gd name="T2" fmla="*/ 828 w 829"/>
                <a:gd name="T3" fmla="*/ 590 h 591"/>
                <a:gd name="T4" fmla="*/ 0 w 829"/>
                <a:gd name="T5" fmla="*/ 590 h 591"/>
                <a:gd name="T6" fmla="*/ 0 w 829"/>
                <a:gd name="T7" fmla="*/ 0 h 591"/>
                <a:gd name="T8" fmla="*/ 284 w 829"/>
                <a:gd name="T9" fmla="*/ 0 h 591"/>
                <a:gd name="T10" fmla="*/ 388 w 829"/>
                <a:gd name="T11" fmla="*/ 105 h 591"/>
                <a:gd name="T12" fmla="*/ 828 w 829"/>
                <a:gd name="T13" fmla="*/ 105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9" h="591">
                  <a:moveTo>
                    <a:pt x="828" y="105"/>
                  </a:moveTo>
                  <a:lnTo>
                    <a:pt x="828" y="590"/>
                  </a:lnTo>
                  <a:lnTo>
                    <a:pt x="0" y="590"/>
                  </a:lnTo>
                  <a:lnTo>
                    <a:pt x="0" y="0"/>
                  </a:lnTo>
                  <a:lnTo>
                    <a:pt x="284" y="0"/>
                  </a:lnTo>
                  <a:lnTo>
                    <a:pt x="388" y="105"/>
                  </a:lnTo>
                  <a:lnTo>
                    <a:pt x="828" y="105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53" name="Freeform 433"/>
            <p:cNvSpPr>
              <a:spLocks noChangeArrowheads="1"/>
            </p:cNvSpPr>
            <p:nvPr/>
          </p:nvSpPr>
          <p:spPr bwMode="auto">
            <a:xfrm>
              <a:off x="1561756" y="3520805"/>
              <a:ext cx="275404" cy="196298"/>
            </a:xfrm>
            <a:custGeom>
              <a:avLst/>
              <a:gdLst>
                <a:gd name="T0" fmla="*/ 0 w 830"/>
                <a:gd name="T1" fmla="*/ 89 h 590"/>
                <a:gd name="T2" fmla="*/ 0 w 830"/>
                <a:gd name="T3" fmla="*/ 0 h 590"/>
                <a:gd name="T4" fmla="*/ 284 w 830"/>
                <a:gd name="T5" fmla="*/ 0 h 590"/>
                <a:gd name="T6" fmla="*/ 389 w 830"/>
                <a:gd name="T7" fmla="*/ 104 h 590"/>
                <a:gd name="T8" fmla="*/ 829 w 830"/>
                <a:gd name="T9" fmla="*/ 104 h 590"/>
                <a:gd name="T10" fmla="*/ 829 w 830"/>
                <a:gd name="T11" fmla="*/ 589 h 590"/>
                <a:gd name="T12" fmla="*/ 754 w 830"/>
                <a:gd name="T13" fmla="*/ 589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0" h="590">
                  <a:moveTo>
                    <a:pt x="0" y="89"/>
                  </a:moveTo>
                  <a:lnTo>
                    <a:pt x="0" y="0"/>
                  </a:lnTo>
                  <a:lnTo>
                    <a:pt x="284" y="0"/>
                  </a:lnTo>
                  <a:lnTo>
                    <a:pt x="389" y="104"/>
                  </a:lnTo>
                  <a:lnTo>
                    <a:pt x="829" y="104"/>
                  </a:lnTo>
                  <a:lnTo>
                    <a:pt x="829" y="589"/>
                  </a:lnTo>
                  <a:lnTo>
                    <a:pt x="754" y="58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sp>
        <p:nvSpPr>
          <p:cNvPr id="5554" name="Freeform 434"/>
          <p:cNvSpPr>
            <a:spLocks noChangeArrowheads="1"/>
          </p:cNvSpPr>
          <p:nvPr/>
        </p:nvSpPr>
        <p:spPr bwMode="auto">
          <a:xfrm>
            <a:off x="2166763" y="3510549"/>
            <a:ext cx="310561" cy="271009"/>
          </a:xfrm>
          <a:custGeom>
            <a:avLst/>
            <a:gdLst>
              <a:gd name="T0" fmla="*/ 463 w 935"/>
              <a:gd name="T1" fmla="*/ 634 h 814"/>
              <a:gd name="T2" fmla="*/ 934 w 935"/>
              <a:gd name="T3" fmla="*/ 634 h 814"/>
              <a:gd name="T4" fmla="*/ 934 w 935"/>
              <a:gd name="T5" fmla="*/ 0 h 814"/>
              <a:gd name="T6" fmla="*/ 0 w 935"/>
              <a:gd name="T7" fmla="*/ 0 h 814"/>
              <a:gd name="T8" fmla="*/ 0 w 935"/>
              <a:gd name="T9" fmla="*/ 634 h 814"/>
              <a:gd name="T10" fmla="*/ 254 w 935"/>
              <a:gd name="T11" fmla="*/ 634 h 814"/>
              <a:gd name="T12" fmla="*/ 254 w 935"/>
              <a:gd name="T13" fmla="*/ 813 h 814"/>
              <a:gd name="T14" fmla="*/ 463 w 935"/>
              <a:gd name="T15" fmla="*/ 634 h 8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35" h="814">
                <a:moveTo>
                  <a:pt x="463" y="634"/>
                </a:moveTo>
                <a:lnTo>
                  <a:pt x="934" y="634"/>
                </a:lnTo>
                <a:lnTo>
                  <a:pt x="934" y="0"/>
                </a:lnTo>
                <a:lnTo>
                  <a:pt x="0" y="0"/>
                </a:lnTo>
                <a:lnTo>
                  <a:pt x="0" y="634"/>
                </a:lnTo>
                <a:lnTo>
                  <a:pt x="254" y="634"/>
                </a:lnTo>
                <a:lnTo>
                  <a:pt x="254" y="813"/>
                </a:lnTo>
                <a:lnTo>
                  <a:pt x="463" y="634"/>
                </a:lnTo>
              </a:path>
            </a:pathLst>
          </a:custGeom>
          <a:noFill/>
          <a:ln w="6350" cap="flat">
            <a:solidFill>
              <a:schemeClr val="accent1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Montserrat Light" charset="0"/>
            </a:endParaRPr>
          </a:p>
        </p:txBody>
      </p:sp>
      <p:grpSp>
        <p:nvGrpSpPr>
          <p:cNvPr id="5827" name="Group 5826">
            <a:extLst>
              <a:ext uri="{FF2B5EF4-FFF2-40B4-BE49-F238E27FC236}">
                <a16:creationId xmlns:a16="http://schemas.microsoft.com/office/drawing/2014/main" id="{498E68B8-87A8-A04D-AD8C-555A149D078C}"/>
              </a:ext>
            </a:extLst>
          </p:cNvPr>
          <p:cNvGrpSpPr/>
          <p:nvPr/>
        </p:nvGrpSpPr>
        <p:grpSpPr>
          <a:xfrm>
            <a:off x="2804000" y="3500295"/>
            <a:ext cx="310561" cy="282728"/>
            <a:chOff x="2804000" y="3500295"/>
            <a:chExt cx="310561" cy="282728"/>
          </a:xfrm>
        </p:grpSpPr>
        <p:sp>
          <p:nvSpPr>
            <p:cNvPr id="5555" name="Freeform 435"/>
            <p:cNvSpPr>
              <a:spLocks noChangeArrowheads="1"/>
            </p:cNvSpPr>
            <p:nvPr/>
          </p:nvSpPr>
          <p:spPr bwMode="auto">
            <a:xfrm>
              <a:off x="2804000" y="3539848"/>
              <a:ext cx="271008" cy="243175"/>
            </a:xfrm>
            <a:custGeom>
              <a:avLst/>
              <a:gdLst>
                <a:gd name="T0" fmla="*/ 381 w 815"/>
                <a:gd name="T1" fmla="*/ 575 h 733"/>
                <a:gd name="T2" fmla="*/ 814 w 815"/>
                <a:gd name="T3" fmla="*/ 575 h 733"/>
                <a:gd name="T4" fmla="*/ 814 w 815"/>
                <a:gd name="T5" fmla="*/ 0 h 733"/>
                <a:gd name="T6" fmla="*/ 0 w 815"/>
                <a:gd name="T7" fmla="*/ 0 h 733"/>
                <a:gd name="T8" fmla="*/ 0 w 815"/>
                <a:gd name="T9" fmla="*/ 575 h 733"/>
                <a:gd name="T10" fmla="*/ 202 w 815"/>
                <a:gd name="T11" fmla="*/ 575 h 733"/>
                <a:gd name="T12" fmla="*/ 202 w 815"/>
                <a:gd name="T13" fmla="*/ 732 h 733"/>
                <a:gd name="T14" fmla="*/ 381 w 815"/>
                <a:gd name="T15" fmla="*/ 575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5" h="733">
                  <a:moveTo>
                    <a:pt x="381" y="575"/>
                  </a:moveTo>
                  <a:lnTo>
                    <a:pt x="814" y="575"/>
                  </a:lnTo>
                  <a:lnTo>
                    <a:pt x="814" y="0"/>
                  </a:lnTo>
                  <a:lnTo>
                    <a:pt x="0" y="0"/>
                  </a:lnTo>
                  <a:lnTo>
                    <a:pt x="0" y="575"/>
                  </a:lnTo>
                  <a:lnTo>
                    <a:pt x="202" y="575"/>
                  </a:lnTo>
                  <a:lnTo>
                    <a:pt x="202" y="732"/>
                  </a:lnTo>
                  <a:lnTo>
                    <a:pt x="381" y="575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56" name="Freeform 436"/>
            <p:cNvSpPr>
              <a:spLocks noChangeArrowheads="1"/>
            </p:cNvSpPr>
            <p:nvPr/>
          </p:nvSpPr>
          <p:spPr bwMode="auto">
            <a:xfrm>
              <a:off x="2846482" y="3500295"/>
              <a:ext cx="268079" cy="191903"/>
            </a:xfrm>
            <a:custGeom>
              <a:avLst/>
              <a:gdLst>
                <a:gd name="T0" fmla="*/ 716 w 807"/>
                <a:gd name="T1" fmla="*/ 575 h 576"/>
                <a:gd name="T2" fmla="*/ 806 w 807"/>
                <a:gd name="T3" fmla="*/ 575 h 576"/>
                <a:gd name="T4" fmla="*/ 806 w 807"/>
                <a:gd name="T5" fmla="*/ 0 h 576"/>
                <a:gd name="T6" fmla="*/ 0 w 807"/>
                <a:gd name="T7" fmla="*/ 0 h 576"/>
                <a:gd name="T8" fmla="*/ 0 w 807"/>
                <a:gd name="T9" fmla="*/ 9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7" h="576">
                  <a:moveTo>
                    <a:pt x="716" y="575"/>
                  </a:moveTo>
                  <a:lnTo>
                    <a:pt x="806" y="575"/>
                  </a:lnTo>
                  <a:lnTo>
                    <a:pt x="806" y="0"/>
                  </a:lnTo>
                  <a:lnTo>
                    <a:pt x="0" y="0"/>
                  </a:lnTo>
                  <a:lnTo>
                    <a:pt x="0" y="9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25" name="Group 5824">
            <a:extLst>
              <a:ext uri="{FF2B5EF4-FFF2-40B4-BE49-F238E27FC236}">
                <a16:creationId xmlns:a16="http://schemas.microsoft.com/office/drawing/2014/main" id="{8A2B00D7-404B-7A44-9CBE-4C8D33D95A19}"/>
              </a:ext>
            </a:extLst>
          </p:cNvPr>
          <p:cNvGrpSpPr/>
          <p:nvPr/>
        </p:nvGrpSpPr>
        <p:grpSpPr>
          <a:xfrm>
            <a:off x="3444164" y="2882104"/>
            <a:ext cx="310561" cy="249035"/>
            <a:chOff x="3444164" y="2882104"/>
            <a:chExt cx="310561" cy="249035"/>
          </a:xfrm>
        </p:grpSpPr>
        <p:sp>
          <p:nvSpPr>
            <p:cNvPr id="5557" name="Line 437"/>
            <p:cNvSpPr>
              <a:spLocks noChangeShapeType="1"/>
            </p:cNvSpPr>
            <p:nvPr/>
          </p:nvSpPr>
          <p:spPr bwMode="auto">
            <a:xfrm>
              <a:off x="3469069" y="2971462"/>
              <a:ext cx="260755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58" name="Line 438"/>
            <p:cNvSpPr>
              <a:spLocks noChangeShapeType="1"/>
            </p:cNvSpPr>
            <p:nvPr/>
          </p:nvSpPr>
          <p:spPr bwMode="auto">
            <a:xfrm>
              <a:off x="3469069" y="3011016"/>
              <a:ext cx="260755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59" name="Line 439"/>
            <p:cNvSpPr>
              <a:spLocks noChangeShapeType="1"/>
            </p:cNvSpPr>
            <p:nvPr/>
          </p:nvSpPr>
          <p:spPr bwMode="auto">
            <a:xfrm>
              <a:off x="3469069" y="3052033"/>
              <a:ext cx="260755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60" name="Freeform 440"/>
            <p:cNvSpPr>
              <a:spLocks noChangeArrowheads="1"/>
            </p:cNvSpPr>
            <p:nvPr/>
          </p:nvSpPr>
          <p:spPr bwMode="auto">
            <a:xfrm>
              <a:off x="3444164" y="2882104"/>
              <a:ext cx="310561" cy="249035"/>
            </a:xfrm>
            <a:custGeom>
              <a:avLst/>
              <a:gdLst>
                <a:gd name="T0" fmla="*/ 933 w 934"/>
                <a:gd name="T1" fmla="*/ 747 h 748"/>
                <a:gd name="T2" fmla="*/ 0 w 934"/>
                <a:gd name="T3" fmla="*/ 747 h 748"/>
                <a:gd name="T4" fmla="*/ 0 w 934"/>
                <a:gd name="T5" fmla="*/ 0 h 748"/>
                <a:gd name="T6" fmla="*/ 933 w 934"/>
                <a:gd name="T7" fmla="*/ 0 h 748"/>
                <a:gd name="T8" fmla="*/ 933 w 934"/>
                <a:gd name="T9" fmla="*/ 747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4" h="748">
                  <a:moveTo>
                    <a:pt x="933" y="747"/>
                  </a:moveTo>
                  <a:lnTo>
                    <a:pt x="0" y="747"/>
                  </a:lnTo>
                  <a:lnTo>
                    <a:pt x="0" y="0"/>
                  </a:lnTo>
                  <a:lnTo>
                    <a:pt x="933" y="0"/>
                  </a:lnTo>
                  <a:lnTo>
                    <a:pt x="933" y="747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61" name="Line 441"/>
            <p:cNvSpPr>
              <a:spLocks noChangeShapeType="1"/>
            </p:cNvSpPr>
            <p:nvPr/>
          </p:nvSpPr>
          <p:spPr bwMode="auto">
            <a:xfrm>
              <a:off x="3444164" y="2923121"/>
              <a:ext cx="310561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62" name="Line 442"/>
            <p:cNvSpPr>
              <a:spLocks noChangeShapeType="1"/>
            </p:cNvSpPr>
            <p:nvPr/>
          </p:nvSpPr>
          <p:spPr bwMode="auto">
            <a:xfrm flipH="1">
              <a:off x="3467604" y="2902613"/>
              <a:ext cx="2197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63" name="Line 443"/>
            <p:cNvSpPr>
              <a:spLocks noChangeShapeType="1"/>
            </p:cNvSpPr>
            <p:nvPr/>
          </p:nvSpPr>
          <p:spPr bwMode="auto">
            <a:xfrm flipH="1">
              <a:off x="3505691" y="2902613"/>
              <a:ext cx="23438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64" name="Line 444"/>
            <p:cNvSpPr>
              <a:spLocks noChangeShapeType="1"/>
            </p:cNvSpPr>
            <p:nvPr/>
          </p:nvSpPr>
          <p:spPr bwMode="auto">
            <a:xfrm flipH="1">
              <a:off x="3545244" y="2902613"/>
              <a:ext cx="23438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23" name="Group 5822">
            <a:extLst>
              <a:ext uri="{FF2B5EF4-FFF2-40B4-BE49-F238E27FC236}">
                <a16:creationId xmlns:a16="http://schemas.microsoft.com/office/drawing/2014/main" id="{E1250626-EF7D-7E44-B8A4-D3C6404B1B9A}"/>
              </a:ext>
            </a:extLst>
          </p:cNvPr>
          <p:cNvGrpSpPr/>
          <p:nvPr/>
        </p:nvGrpSpPr>
        <p:grpSpPr>
          <a:xfrm>
            <a:off x="4128278" y="2849875"/>
            <a:ext cx="218272" cy="310563"/>
            <a:chOff x="4128278" y="2849875"/>
            <a:chExt cx="218272" cy="310563"/>
          </a:xfrm>
        </p:grpSpPr>
        <p:sp>
          <p:nvSpPr>
            <p:cNvPr id="5565" name="Freeform 445"/>
            <p:cNvSpPr>
              <a:spLocks noChangeArrowheads="1"/>
            </p:cNvSpPr>
            <p:nvPr/>
          </p:nvSpPr>
          <p:spPr bwMode="auto">
            <a:xfrm>
              <a:off x="4128278" y="2887964"/>
              <a:ext cx="218272" cy="272474"/>
            </a:xfrm>
            <a:custGeom>
              <a:avLst/>
              <a:gdLst>
                <a:gd name="T0" fmla="*/ 194 w 658"/>
                <a:gd name="T1" fmla="*/ 0 h 822"/>
                <a:gd name="T2" fmla="*/ 0 w 658"/>
                <a:gd name="T3" fmla="*/ 0 h 822"/>
                <a:gd name="T4" fmla="*/ 0 w 658"/>
                <a:gd name="T5" fmla="*/ 821 h 822"/>
                <a:gd name="T6" fmla="*/ 657 w 658"/>
                <a:gd name="T7" fmla="*/ 821 h 822"/>
                <a:gd name="T8" fmla="*/ 657 w 658"/>
                <a:gd name="T9" fmla="*/ 0 h 822"/>
                <a:gd name="T10" fmla="*/ 463 w 658"/>
                <a:gd name="T11" fmla="*/ 0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8" h="822">
                  <a:moveTo>
                    <a:pt x="194" y="0"/>
                  </a:moveTo>
                  <a:lnTo>
                    <a:pt x="0" y="0"/>
                  </a:lnTo>
                  <a:lnTo>
                    <a:pt x="0" y="821"/>
                  </a:lnTo>
                  <a:lnTo>
                    <a:pt x="657" y="821"/>
                  </a:lnTo>
                  <a:lnTo>
                    <a:pt x="657" y="0"/>
                  </a:lnTo>
                  <a:lnTo>
                    <a:pt x="463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66" name="Freeform 446"/>
            <p:cNvSpPr>
              <a:spLocks noChangeArrowheads="1"/>
            </p:cNvSpPr>
            <p:nvPr/>
          </p:nvSpPr>
          <p:spPr bwMode="auto">
            <a:xfrm>
              <a:off x="4186875" y="2849875"/>
              <a:ext cx="99614" cy="62991"/>
            </a:xfrm>
            <a:custGeom>
              <a:avLst/>
              <a:gdLst>
                <a:gd name="T0" fmla="*/ 209 w 300"/>
                <a:gd name="T1" fmla="*/ 67 h 188"/>
                <a:gd name="T2" fmla="*/ 209 w 300"/>
                <a:gd name="T3" fmla="*/ 0 h 188"/>
                <a:gd name="T4" fmla="*/ 90 w 300"/>
                <a:gd name="T5" fmla="*/ 0 h 188"/>
                <a:gd name="T6" fmla="*/ 90 w 300"/>
                <a:gd name="T7" fmla="*/ 67 h 188"/>
                <a:gd name="T8" fmla="*/ 30 w 300"/>
                <a:gd name="T9" fmla="*/ 67 h 188"/>
                <a:gd name="T10" fmla="*/ 0 w 300"/>
                <a:gd name="T11" fmla="*/ 187 h 188"/>
                <a:gd name="T12" fmla="*/ 299 w 300"/>
                <a:gd name="T13" fmla="*/ 187 h 188"/>
                <a:gd name="T14" fmla="*/ 269 w 300"/>
                <a:gd name="T15" fmla="*/ 67 h 188"/>
                <a:gd name="T16" fmla="*/ 209 w 300"/>
                <a:gd name="T17" fmla="*/ 67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188">
                  <a:moveTo>
                    <a:pt x="209" y="67"/>
                  </a:moveTo>
                  <a:lnTo>
                    <a:pt x="209" y="0"/>
                  </a:lnTo>
                  <a:lnTo>
                    <a:pt x="90" y="0"/>
                  </a:lnTo>
                  <a:lnTo>
                    <a:pt x="90" y="67"/>
                  </a:lnTo>
                  <a:lnTo>
                    <a:pt x="30" y="67"/>
                  </a:lnTo>
                  <a:lnTo>
                    <a:pt x="0" y="187"/>
                  </a:lnTo>
                  <a:lnTo>
                    <a:pt x="299" y="187"/>
                  </a:lnTo>
                  <a:lnTo>
                    <a:pt x="269" y="67"/>
                  </a:lnTo>
                  <a:lnTo>
                    <a:pt x="209" y="67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24" name="Group 5823">
            <a:extLst>
              <a:ext uri="{FF2B5EF4-FFF2-40B4-BE49-F238E27FC236}">
                <a16:creationId xmlns:a16="http://schemas.microsoft.com/office/drawing/2014/main" id="{2030FC00-54A7-544B-A8F0-7CABC3199FA8}"/>
              </a:ext>
            </a:extLst>
          </p:cNvPr>
          <p:cNvGrpSpPr/>
          <p:nvPr/>
        </p:nvGrpSpPr>
        <p:grpSpPr>
          <a:xfrm>
            <a:off x="4765514" y="2849875"/>
            <a:ext cx="221202" cy="310563"/>
            <a:chOff x="4765514" y="2849875"/>
            <a:chExt cx="221202" cy="310563"/>
          </a:xfrm>
        </p:grpSpPr>
        <p:sp>
          <p:nvSpPr>
            <p:cNvPr id="5567" name="Line 447"/>
            <p:cNvSpPr>
              <a:spLocks noChangeShapeType="1"/>
            </p:cNvSpPr>
            <p:nvPr/>
          </p:nvSpPr>
          <p:spPr bwMode="auto">
            <a:xfrm>
              <a:off x="4838759" y="2967068"/>
              <a:ext cx="10986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68" name="Line 448"/>
            <p:cNvSpPr>
              <a:spLocks noChangeShapeType="1"/>
            </p:cNvSpPr>
            <p:nvPr/>
          </p:nvSpPr>
          <p:spPr bwMode="auto">
            <a:xfrm>
              <a:off x="4838759" y="3016876"/>
              <a:ext cx="10986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69" name="Line 449"/>
            <p:cNvSpPr>
              <a:spLocks noChangeShapeType="1"/>
            </p:cNvSpPr>
            <p:nvPr/>
          </p:nvSpPr>
          <p:spPr bwMode="auto">
            <a:xfrm>
              <a:off x="4838759" y="3066682"/>
              <a:ext cx="10986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70" name="Line 450"/>
            <p:cNvSpPr>
              <a:spLocks noChangeShapeType="1"/>
            </p:cNvSpPr>
            <p:nvPr/>
          </p:nvSpPr>
          <p:spPr bwMode="auto">
            <a:xfrm>
              <a:off x="4838759" y="3116490"/>
              <a:ext cx="10986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71" name="Line 451"/>
            <p:cNvSpPr>
              <a:spLocks noChangeShapeType="1"/>
            </p:cNvSpPr>
            <p:nvPr/>
          </p:nvSpPr>
          <p:spPr bwMode="auto">
            <a:xfrm flipH="1">
              <a:off x="4797742" y="2967068"/>
              <a:ext cx="23438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72" name="Line 452"/>
            <p:cNvSpPr>
              <a:spLocks noChangeShapeType="1"/>
            </p:cNvSpPr>
            <p:nvPr/>
          </p:nvSpPr>
          <p:spPr bwMode="auto">
            <a:xfrm flipH="1">
              <a:off x="4797742" y="3016876"/>
              <a:ext cx="23438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73" name="Line 453"/>
            <p:cNvSpPr>
              <a:spLocks noChangeShapeType="1"/>
            </p:cNvSpPr>
            <p:nvPr/>
          </p:nvSpPr>
          <p:spPr bwMode="auto">
            <a:xfrm flipH="1">
              <a:off x="4797742" y="3066682"/>
              <a:ext cx="23438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74" name="Line 454"/>
            <p:cNvSpPr>
              <a:spLocks noChangeShapeType="1"/>
            </p:cNvSpPr>
            <p:nvPr/>
          </p:nvSpPr>
          <p:spPr bwMode="auto">
            <a:xfrm flipH="1">
              <a:off x="4797742" y="3116490"/>
              <a:ext cx="23438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75" name="Freeform 455"/>
            <p:cNvSpPr>
              <a:spLocks noChangeArrowheads="1"/>
            </p:cNvSpPr>
            <p:nvPr/>
          </p:nvSpPr>
          <p:spPr bwMode="auto">
            <a:xfrm>
              <a:off x="4765514" y="2887964"/>
              <a:ext cx="221202" cy="272474"/>
            </a:xfrm>
            <a:custGeom>
              <a:avLst/>
              <a:gdLst>
                <a:gd name="T0" fmla="*/ 194 w 665"/>
                <a:gd name="T1" fmla="*/ 0 h 822"/>
                <a:gd name="T2" fmla="*/ 0 w 665"/>
                <a:gd name="T3" fmla="*/ 0 h 822"/>
                <a:gd name="T4" fmla="*/ 0 w 665"/>
                <a:gd name="T5" fmla="*/ 821 h 822"/>
                <a:gd name="T6" fmla="*/ 664 w 665"/>
                <a:gd name="T7" fmla="*/ 821 h 822"/>
                <a:gd name="T8" fmla="*/ 664 w 665"/>
                <a:gd name="T9" fmla="*/ 0 h 822"/>
                <a:gd name="T10" fmla="*/ 462 w 665"/>
                <a:gd name="T11" fmla="*/ 0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5" h="822">
                  <a:moveTo>
                    <a:pt x="194" y="0"/>
                  </a:moveTo>
                  <a:lnTo>
                    <a:pt x="0" y="0"/>
                  </a:lnTo>
                  <a:lnTo>
                    <a:pt x="0" y="821"/>
                  </a:lnTo>
                  <a:lnTo>
                    <a:pt x="664" y="821"/>
                  </a:lnTo>
                  <a:lnTo>
                    <a:pt x="664" y="0"/>
                  </a:lnTo>
                  <a:lnTo>
                    <a:pt x="462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76" name="Freeform 456"/>
            <p:cNvSpPr>
              <a:spLocks noChangeArrowheads="1"/>
            </p:cNvSpPr>
            <p:nvPr/>
          </p:nvSpPr>
          <p:spPr bwMode="auto">
            <a:xfrm>
              <a:off x="4824110" y="2849875"/>
              <a:ext cx="99614" cy="62991"/>
            </a:xfrm>
            <a:custGeom>
              <a:avLst/>
              <a:gdLst>
                <a:gd name="T0" fmla="*/ 209 w 299"/>
                <a:gd name="T1" fmla="*/ 67 h 188"/>
                <a:gd name="T2" fmla="*/ 209 w 299"/>
                <a:gd name="T3" fmla="*/ 0 h 188"/>
                <a:gd name="T4" fmla="*/ 89 w 299"/>
                <a:gd name="T5" fmla="*/ 0 h 188"/>
                <a:gd name="T6" fmla="*/ 89 w 299"/>
                <a:gd name="T7" fmla="*/ 67 h 188"/>
                <a:gd name="T8" fmla="*/ 30 w 299"/>
                <a:gd name="T9" fmla="*/ 67 h 188"/>
                <a:gd name="T10" fmla="*/ 0 w 299"/>
                <a:gd name="T11" fmla="*/ 187 h 188"/>
                <a:gd name="T12" fmla="*/ 298 w 299"/>
                <a:gd name="T13" fmla="*/ 187 h 188"/>
                <a:gd name="T14" fmla="*/ 268 w 299"/>
                <a:gd name="T15" fmla="*/ 67 h 188"/>
                <a:gd name="T16" fmla="*/ 209 w 299"/>
                <a:gd name="T17" fmla="*/ 67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9" h="188">
                  <a:moveTo>
                    <a:pt x="209" y="67"/>
                  </a:moveTo>
                  <a:lnTo>
                    <a:pt x="209" y="0"/>
                  </a:lnTo>
                  <a:lnTo>
                    <a:pt x="89" y="0"/>
                  </a:lnTo>
                  <a:lnTo>
                    <a:pt x="89" y="67"/>
                  </a:lnTo>
                  <a:lnTo>
                    <a:pt x="30" y="67"/>
                  </a:lnTo>
                  <a:lnTo>
                    <a:pt x="0" y="187"/>
                  </a:lnTo>
                  <a:lnTo>
                    <a:pt x="298" y="187"/>
                  </a:lnTo>
                  <a:lnTo>
                    <a:pt x="268" y="67"/>
                  </a:lnTo>
                  <a:lnTo>
                    <a:pt x="209" y="67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15" name="Group 5814">
            <a:extLst>
              <a:ext uri="{FF2B5EF4-FFF2-40B4-BE49-F238E27FC236}">
                <a16:creationId xmlns:a16="http://schemas.microsoft.com/office/drawing/2014/main" id="{0C689070-6D56-0844-978C-DE553A556E69}"/>
              </a:ext>
            </a:extLst>
          </p:cNvPr>
          <p:cNvGrpSpPr/>
          <p:nvPr/>
        </p:nvGrpSpPr>
        <p:grpSpPr>
          <a:xfrm>
            <a:off x="5399820" y="2849875"/>
            <a:ext cx="228526" cy="310561"/>
            <a:chOff x="5399820" y="2849875"/>
            <a:chExt cx="228526" cy="310561"/>
          </a:xfrm>
        </p:grpSpPr>
        <p:sp>
          <p:nvSpPr>
            <p:cNvPr id="5577" name="Freeform 457"/>
            <p:cNvSpPr>
              <a:spLocks noChangeArrowheads="1"/>
            </p:cNvSpPr>
            <p:nvPr/>
          </p:nvSpPr>
          <p:spPr bwMode="auto">
            <a:xfrm>
              <a:off x="5399820" y="2849875"/>
              <a:ext cx="228526" cy="310561"/>
            </a:xfrm>
            <a:custGeom>
              <a:avLst/>
              <a:gdLst>
                <a:gd name="T0" fmla="*/ 209 w 688"/>
                <a:gd name="T1" fmla="*/ 0 h 934"/>
                <a:gd name="T2" fmla="*/ 687 w 688"/>
                <a:gd name="T3" fmla="*/ 0 h 934"/>
                <a:gd name="T4" fmla="*/ 687 w 688"/>
                <a:gd name="T5" fmla="*/ 933 h 934"/>
                <a:gd name="T6" fmla="*/ 0 w 688"/>
                <a:gd name="T7" fmla="*/ 933 h 934"/>
                <a:gd name="T8" fmla="*/ 0 w 688"/>
                <a:gd name="T9" fmla="*/ 217 h 934"/>
                <a:gd name="T10" fmla="*/ 209 w 688"/>
                <a:gd name="T11" fmla="*/ 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8" h="934">
                  <a:moveTo>
                    <a:pt x="209" y="0"/>
                  </a:moveTo>
                  <a:lnTo>
                    <a:pt x="687" y="0"/>
                  </a:lnTo>
                  <a:lnTo>
                    <a:pt x="687" y="933"/>
                  </a:lnTo>
                  <a:lnTo>
                    <a:pt x="0" y="933"/>
                  </a:lnTo>
                  <a:lnTo>
                    <a:pt x="0" y="217"/>
                  </a:lnTo>
                  <a:lnTo>
                    <a:pt x="20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78" name="Freeform 458"/>
            <p:cNvSpPr>
              <a:spLocks noChangeArrowheads="1"/>
            </p:cNvSpPr>
            <p:nvPr/>
          </p:nvSpPr>
          <p:spPr bwMode="auto">
            <a:xfrm>
              <a:off x="5399820" y="2849875"/>
              <a:ext cx="70316" cy="71780"/>
            </a:xfrm>
            <a:custGeom>
              <a:avLst/>
              <a:gdLst>
                <a:gd name="T0" fmla="*/ 0 w 210"/>
                <a:gd name="T1" fmla="*/ 217 h 218"/>
                <a:gd name="T2" fmla="*/ 209 w 210"/>
                <a:gd name="T3" fmla="*/ 217 h 218"/>
                <a:gd name="T4" fmla="*/ 209 w 210"/>
                <a:gd name="T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0" h="218">
                  <a:moveTo>
                    <a:pt x="0" y="217"/>
                  </a:moveTo>
                  <a:lnTo>
                    <a:pt x="209" y="217"/>
                  </a:lnTo>
                  <a:lnTo>
                    <a:pt x="20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10" name="Group 5809">
            <a:extLst>
              <a:ext uri="{FF2B5EF4-FFF2-40B4-BE49-F238E27FC236}">
                <a16:creationId xmlns:a16="http://schemas.microsoft.com/office/drawing/2014/main" id="{5895D1A6-4B10-DA41-AF7D-601D87F47EE1}"/>
              </a:ext>
            </a:extLst>
          </p:cNvPr>
          <p:cNvGrpSpPr/>
          <p:nvPr/>
        </p:nvGrpSpPr>
        <p:grpSpPr>
          <a:xfrm>
            <a:off x="6671363" y="2849875"/>
            <a:ext cx="238780" cy="310561"/>
            <a:chOff x="6671363" y="2849875"/>
            <a:chExt cx="238780" cy="310561"/>
          </a:xfrm>
        </p:grpSpPr>
        <p:sp>
          <p:nvSpPr>
            <p:cNvPr id="5579" name="Freeform 459"/>
            <p:cNvSpPr>
              <a:spLocks noChangeArrowheads="1"/>
            </p:cNvSpPr>
            <p:nvPr/>
          </p:nvSpPr>
          <p:spPr bwMode="auto">
            <a:xfrm>
              <a:off x="6671363" y="2892357"/>
              <a:ext cx="193368" cy="268079"/>
            </a:xfrm>
            <a:custGeom>
              <a:avLst/>
              <a:gdLst>
                <a:gd name="T0" fmla="*/ 179 w 583"/>
                <a:gd name="T1" fmla="*/ 0 h 807"/>
                <a:gd name="T2" fmla="*/ 582 w 583"/>
                <a:gd name="T3" fmla="*/ 0 h 807"/>
                <a:gd name="T4" fmla="*/ 582 w 583"/>
                <a:gd name="T5" fmla="*/ 806 h 807"/>
                <a:gd name="T6" fmla="*/ 0 w 583"/>
                <a:gd name="T7" fmla="*/ 806 h 807"/>
                <a:gd name="T8" fmla="*/ 0 w 583"/>
                <a:gd name="T9" fmla="*/ 179 h 807"/>
                <a:gd name="T10" fmla="*/ 179 w 583"/>
                <a:gd name="T11" fmla="*/ 0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3" h="807">
                  <a:moveTo>
                    <a:pt x="179" y="0"/>
                  </a:moveTo>
                  <a:lnTo>
                    <a:pt x="582" y="0"/>
                  </a:lnTo>
                  <a:lnTo>
                    <a:pt x="582" y="806"/>
                  </a:lnTo>
                  <a:lnTo>
                    <a:pt x="0" y="806"/>
                  </a:lnTo>
                  <a:lnTo>
                    <a:pt x="0" y="179"/>
                  </a:lnTo>
                  <a:lnTo>
                    <a:pt x="17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80" name="Freeform 460"/>
            <p:cNvSpPr>
              <a:spLocks noChangeArrowheads="1"/>
            </p:cNvSpPr>
            <p:nvPr/>
          </p:nvSpPr>
          <p:spPr bwMode="auto">
            <a:xfrm>
              <a:off x="6751932" y="2849875"/>
              <a:ext cx="158211" cy="271008"/>
            </a:xfrm>
            <a:custGeom>
              <a:avLst/>
              <a:gdLst>
                <a:gd name="T0" fmla="*/ 0 w 478"/>
                <a:gd name="T1" fmla="*/ 82 h 815"/>
                <a:gd name="T2" fmla="*/ 74 w 478"/>
                <a:gd name="T3" fmla="*/ 0 h 815"/>
                <a:gd name="T4" fmla="*/ 477 w 478"/>
                <a:gd name="T5" fmla="*/ 0 h 815"/>
                <a:gd name="T6" fmla="*/ 477 w 478"/>
                <a:gd name="T7" fmla="*/ 814 h 815"/>
                <a:gd name="T8" fmla="*/ 373 w 478"/>
                <a:gd name="T9" fmla="*/ 814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8" h="815">
                  <a:moveTo>
                    <a:pt x="0" y="82"/>
                  </a:moveTo>
                  <a:lnTo>
                    <a:pt x="74" y="0"/>
                  </a:lnTo>
                  <a:lnTo>
                    <a:pt x="477" y="0"/>
                  </a:lnTo>
                  <a:lnTo>
                    <a:pt x="477" y="814"/>
                  </a:lnTo>
                  <a:lnTo>
                    <a:pt x="373" y="814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81" name="Freeform 461"/>
            <p:cNvSpPr>
              <a:spLocks noChangeArrowheads="1"/>
            </p:cNvSpPr>
            <p:nvPr/>
          </p:nvSpPr>
          <p:spPr bwMode="auto">
            <a:xfrm>
              <a:off x="6671363" y="2892357"/>
              <a:ext cx="60061" cy="60062"/>
            </a:xfrm>
            <a:custGeom>
              <a:avLst/>
              <a:gdLst>
                <a:gd name="T0" fmla="*/ 0 w 180"/>
                <a:gd name="T1" fmla="*/ 179 h 180"/>
                <a:gd name="T2" fmla="*/ 179 w 180"/>
                <a:gd name="T3" fmla="*/ 179 h 180"/>
                <a:gd name="T4" fmla="*/ 179 w 180"/>
                <a:gd name="T5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0" h="180">
                  <a:moveTo>
                    <a:pt x="0" y="179"/>
                  </a:moveTo>
                  <a:lnTo>
                    <a:pt x="179" y="179"/>
                  </a:lnTo>
                  <a:lnTo>
                    <a:pt x="17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14" name="Group 5813">
            <a:extLst>
              <a:ext uri="{FF2B5EF4-FFF2-40B4-BE49-F238E27FC236}">
                <a16:creationId xmlns:a16="http://schemas.microsoft.com/office/drawing/2014/main" id="{FECD01BD-8A75-4E44-AF9F-2C9380B169C0}"/>
              </a:ext>
            </a:extLst>
          </p:cNvPr>
          <p:cNvGrpSpPr/>
          <p:nvPr/>
        </p:nvGrpSpPr>
        <p:grpSpPr>
          <a:xfrm>
            <a:off x="6037055" y="2849875"/>
            <a:ext cx="231457" cy="310561"/>
            <a:chOff x="6037055" y="2849875"/>
            <a:chExt cx="231457" cy="310561"/>
          </a:xfrm>
        </p:grpSpPr>
        <p:sp>
          <p:nvSpPr>
            <p:cNvPr id="5582" name="Freeform 462"/>
            <p:cNvSpPr>
              <a:spLocks noChangeArrowheads="1"/>
            </p:cNvSpPr>
            <p:nvPr/>
          </p:nvSpPr>
          <p:spPr bwMode="auto">
            <a:xfrm>
              <a:off x="6037056" y="2849875"/>
              <a:ext cx="231456" cy="310561"/>
            </a:xfrm>
            <a:custGeom>
              <a:avLst/>
              <a:gdLst>
                <a:gd name="T0" fmla="*/ 209 w 695"/>
                <a:gd name="T1" fmla="*/ 0 h 934"/>
                <a:gd name="T2" fmla="*/ 694 w 695"/>
                <a:gd name="T3" fmla="*/ 0 h 934"/>
                <a:gd name="T4" fmla="*/ 694 w 695"/>
                <a:gd name="T5" fmla="*/ 933 h 934"/>
                <a:gd name="T6" fmla="*/ 0 w 695"/>
                <a:gd name="T7" fmla="*/ 933 h 934"/>
                <a:gd name="T8" fmla="*/ 0 w 695"/>
                <a:gd name="T9" fmla="*/ 217 h 934"/>
                <a:gd name="T10" fmla="*/ 209 w 695"/>
                <a:gd name="T11" fmla="*/ 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5" h="934">
                  <a:moveTo>
                    <a:pt x="209" y="0"/>
                  </a:moveTo>
                  <a:lnTo>
                    <a:pt x="694" y="0"/>
                  </a:lnTo>
                  <a:lnTo>
                    <a:pt x="694" y="933"/>
                  </a:lnTo>
                  <a:lnTo>
                    <a:pt x="0" y="933"/>
                  </a:lnTo>
                  <a:lnTo>
                    <a:pt x="0" y="217"/>
                  </a:lnTo>
                  <a:lnTo>
                    <a:pt x="20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83" name="Freeform 463"/>
            <p:cNvSpPr>
              <a:spLocks noChangeArrowheads="1"/>
            </p:cNvSpPr>
            <p:nvPr/>
          </p:nvSpPr>
          <p:spPr bwMode="auto">
            <a:xfrm>
              <a:off x="6037055" y="2849875"/>
              <a:ext cx="70316" cy="71780"/>
            </a:xfrm>
            <a:custGeom>
              <a:avLst/>
              <a:gdLst>
                <a:gd name="T0" fmla="*/ 0 w 210"/>
                <a:gd name="T1" fmla="*/ 217 h 218"/>
                <a:gd name="T2" fmla="*/ 209 w 210"/>
                <a:gd name="T3" fmla="*/ 217 h 218"/>
                <a:gd name="T4" fmla="*/ 209 w 210"/>
                <a:gd name="T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0" h="218">
                  <a:moveTo>
                    <a:pt x="0" y="217"/>
                  </a:moveTo>
                  <a:lnTo>
                    <a:pt x="209" y="217"/>
                  </a:lnTo>
                  <a:lnTo>
                    <a:pt x="20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84" name="Line 464"/>
            <p:cNvSpPr>
              <a:spLocks noChangeShapeType="1"/>
            </p:cNvSpPr>
            <p:nvPr/>
          </p:nvSpPr>
          <p:spPr bwMode="auto">
            <a:xfrm>
              <a:off x="6151319" y="2917262"/>
              <a:ext cx="68851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85" name="Line 465"/>
            <p:cNvSpPr>
              <a:spLocks noChangeShapeType="1"/>
            </p:cNvSpPr>
            <p:nvPr/>
          </p:nvSpPr>
          <p:spPr bwMode="auto">
            <a:xfrm>
              <a:off x="6082468" y="2967068"/>
              <a:ext cx="139166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86" name="Line 466"/>
            <p:cNvSpPr>
              <a:spLocks noChangeShapeType="1"/>
            </p:cNvSpPr>
            <p:nvPr/>
          </p:nvSpPr>
          <p:spPr bwMode="auto">
            <a:xfrm>
              <a:off x="6082468" y="3016876"/>
              <a:ext cx="139166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87" name="Line 467"/>
            <p:cNvSpPr>
              <a:spLocks noChangeShapeType="1"/>
            </p:cNvSpPr>
            <p:nvPr/>
          </p:nvSpPr>
          <p:spPr bwMode="auto">
            <a:xfrm>
              <a:off x="6082468" y="3066682"/>
              <a:ext cx="139166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88" name="Line 468"/>
            <p:cNvSpPr>
              <a:spLocks noChangeShapeType="1"/>
            </p:cNvSpPr>
            <p:nvPr/>
          </p:nvSpPr>
          <p:spPr bwMode="auto">
            <a:xfrm>
              <a:off x="6082468" y="3116490"/>
              <a:ext cx="139166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444164" y="3510549"/>
            <a:ext cx="310561" cy="271009"/>
            <a:chOff x="6885153" y="7021098"/>
            <a:chExt cx="621122" cy="542018"/>
          </a:xfrm>
        </p:grpSpPr>
        <p:sp>
          <p:nvSpPr>
            <p:cNvPr id="5589" name="Line 469"/>
            <p:cNvSpPr>
              <a:spLocks noChangeShapeType="1"/>
            </p:cNvSpPr>
            <p:nvPr/>
          </p:nvSpPr>
          <p:spPr bwMode="auto">
            <a:xfrm>
              <a:off x="6973050" y="7129503"/>
              <a:ext cx="442403" cy="292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90" name="Line 470"/>
            <p:cNvSpPr>
              <a:spLocks noChangeShapeType="1"/>
            </p:cNvSpPr>
            <p:nvPr/>
          </p:nvSpPr>
          <p:spPr bwMode="auto">
            <a:xfrm>
              <a:off x="6973050" y="7229116"/>
              <a:ext cx="442403" cy="292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91" name="Line 471"/>
            <p:cNvSpPr>
              <a:spLocks noChangeShapeType="1"/>
            </p:cNvSpPr>
            <p:nvPr/>
          </p:nvSpPr>
          <p:spPr bwMode="auto">
            <a:xfrm>
              <a:off x="6973050" y="7328731"/>
              <a:ext cx="442403" cy="292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92" name="Freeform 472"/>
            <p:cNvSpPr>
              <a:spLocks noChangeArrowheads="1"/>
            </p:cNvSpPr>
            <p:nvPr/>
          </p:nvSpPr>
          <p:spPr bwMode="auto">
            <a:xfrm>
              <a:off x="6885153" y="7021098"/>
              <a:ext cx="621122" cy="542018"/>
            </a:xfrm>
            <a:custGeom>
              <a:avLst/>
              <a:gdLst>
                <a:gd name="T0" fmla="*/ 463 w 934"/>
                <a:gd name="T1" fmla="*/ 634 h 814"/>
                <a:gd name="T2" fmla="*/ 933 w 934"/>
                <a:gd name="T3" fmla="*/ 634 h 814"/>
                <a:gd name="T4" fmla="*/ 933 w 934"/>
                <a:gd name="T5" fmla="*/ 0 h 814"/>
                <a:gd name="T6" fmla="*/ 0 w 934"/>
                <a:gd name="T7" fmla="*/ 0 h 814"/>
                <a:gd name="T8" fmla="*/ 0 w 934"/>
                <a:gd name="T9" fmla="*/ 634 h 814"/>
                <a:gd name="T10" fmla="*/ 254 w 934"/>
                <a:gd name="T11" fmla="*/ 634 h 814"/>
                <a:gd name="T12" fmla="*/ 254 w 934"/>
                <a:gd name="T13" fmla="*/ 813 h 814"/>
                <a:gd name="T14" fmla="*/ 463 w 934"/>
                <a:gd name="T15" fmla="*/ 634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4" h="814">
                  <a:moveTo>
                    <a:pt x="463" y="634"/>
                  </a:moveTo>
                  <a:lnTo>
                    <a:pt x="933" y="634"/>
                  </a:lnTo>
                  <a:lnTo>
                    <a:pt x="933" y="0"/>
                  </a:lnTo>
                  <a:lnTo>
                    <a:pt x="0" y="0"/>
                  </a:lnTo>
                  <a:lnTo>
                    <a:pt x="0" y="634"/>
                  </a:lnTo>
                  <a:lnTo>
                    <a:pt x="254" y="634"/>
                  </a:lnTo>
                  <a:lnTo>
                    <a:pt x="254" y="813"/>
                  </a:lnTo>
                  <a:lnTo>
                    <a:pt x="463" y="634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FC4C7DD-3533-1443-B026-C60453BBFED3}"/>
              </a:ext>
            </a:extLst>
          </p:cNvPr>
          <p:cNvGrpSpPr/>
          <p:nvPr/>
        </p:nvGrpSpPr>
        <p:grpSpPr>
          <a:xfrm>
            <a:off x="6018013" y="2214105"/>
            <a:ext cx="271008" cy="309095"/>
            <a:chOff x="6018013" y="2214105"/>
            <a:chExt cx="271008" cy="309095"/>
          </a:xfrm>
        </p:grpSpPr>
        <p:sp>
          <p:nvSpPr>
            <p:cNvPr id="5593" name="Freeform 473"/>
            <p:cNvSpPr>
              <a:spLocks noChangeArrowheads="1"/>
            </p:cNvSpPr>
            <p:nvPr/>
          </p:nvSpPr>
          <p:spPr bwMode="auto">
            <a:xfrm>
              <a:off x="6018013" y="2214105"/>
              <a:ext cx="271008" cy="199228"/>
            </a:xfrm>
            <a:custGeom>
              <a:avLst/>
              <a:gdLst>
                <a:gd name="T0" fmla="*/ 0 w 815"/>
                <a:gd name="T1" fmla="*/ 597 h 598"/>
                <a:gd name="T2" fmla="*/ 90 w 815"/>
                <a:gd name="T3" fmla="*/ 0 h 598"/>
                <a:gd name="T4" fmla="*/ 724 w 815"/>
                <a:gd name="T5" fmla="*/ 0 h 598"/>
                <a:gd name="T6" fmla="*/ 814 w 815"/>
                <a:gd name="T7" fmla="*/ 597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5" h="598">
                  <a:moveTo>
                    <a:pt x="0" y="597"/>
                  </a:moveTo>
                  <a:lnTo>
                    <a:pt x="90" y="0"/>
                  </a:lnTo>
                  <a:lnTo>
                    <a:pt x="724" y="0"/>
                  </a:lnTo>
                  <a:lnTo>
                    <a:pt x="814" y="597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94" name="Freeform 474"/>
            <p:cNvSpPr>
              <a:spLocks noChangeArrowheads="1"/>
            </p:cNvSpPr>
            <p:nvPr/>
          </p:nvSpPr>
          <p:spPr bwMode="auto">
            <a:xfrm>
              <a:off x="6018013" y="2411867"/>
              <a:ext cx="271008" cy="111333"/>
            </a:xfrm>
            <a:custGeom>
              <a:avLst/>
              <a:gdLst>
                <a:gd name="T0" fmla="*/ 239 w 815"/>
                <a:gd name="T1" fmla="*/ 0 h 337"/>
                <a:gd name="T2" fmla="*/ 239 w 815"/>
                <a:gd name="T3" fmla="*/ 0 h 337"/>
                <a:gd name="T4" fmla="*/ 403 w 815"/>
                <a:gd name="T5" fmla="*/ 172 h 337"/>
                <a:gd name="T6" fmla="*/ 567 w 815"/>
                <a:gd name="T7" fmla="*/ 0 h 337"/>
                <a:gd name="T8" fmla="*/ 814 w 815"/>
                <a:gd name="T9" fmla="*/ 0 h 337"/>
                <a:gd name="T10" fmla="*/ 814 w 815"/>
                <a:gd name="T11" fmla="*/ 336 h 337"/>
                <a:gd name="T12" fmla="*/ 0 w 815"/>
                <a:gd name="T13" fmla="*/ 336 h 337"/>
                <a:gd name="T14" fmla="*/ 0 w 815"/>
                <a:gd name="T15" fmla="*/ 0 h 337"/>
                <a:gd name="T16" fmla="*/ 239 w 815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5" h="337">
                  <a:moveTo>
                    <a:pt x="239" y="0"/>
                  </a:moveTo>
                  <a:lnTo>
                    <a:pt x="239" y="0"/>
                  </a:lnTo>
                  <a:cubicBezTo>
                    <a:pt x="239" y="97"/>
                    <a:pt x="313" y="172"/>
                    <a:pt x="403" y="172"/>
                  </a:cubicBezTo>
                  <a:cubicBezTo>
                    <a:pt x="500" y="172"/>
                    <a:pt x="567" y="97"/>
                    <a:pt x="567" y="0"/>
                  </a:cubicBezTo>
                  <a:cubicBezTo>
                    <a:pt x="814" y="0"/>
                    <a:pt x="814" y="0"/>
                    <a:pt x="814" y="0"/>
                  </a:cubicBezTo>
                  <a:cubicBezTo>
                    <a:pt x="814" y="336"/>
                    <a:pt x="814" y="336"/>
                    <a:pt x="814" y="336"/>
                  </a:cubicBezTo>
                  <a:cubicBezTo>
                    <a:pt x="0" y="336"/>
                    <a:pt x="0" y="336"/>
                    <a:pt x="0" y="336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3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29" name="Group 5828">
            <a:extLst>
              <a:ext uri="{FF2B5EF4-FFF2-40B4-BE49-F238E27FC236}">
                <a16:creationId xmlns:a16="http://schemas.microsoft.com/office/drawing/2014/main" id="{8D879807-11EC-8149-B006-716C5B81032B}"/>
              </a:ext>
            </a:extLst>
          </p:cNvPr>
          <p:cNvGrpSpPr/>
          <p:nvPr/>
        </p:nvGrpSpPr>
        <p:grpSpPr>
          <a:xfrm>
            <a:off x="1526597" y="2882104"/>
            <a:ext cx="310563" cy="249034"/>
            <a:chOff x="1526597" y="2882104"/>
            <a:chExt cx="310563" cy="249034"/>
          </a:xfrm>
        </p:grpSpPr>
        <p:sp>
          <p:nvSpPr>
            <p:cNvPr id="5600" name="Freeform 480"/>
            <p:cNvSpPr>
              <a:spLocks noChangeArrowheads="1"/>
            </p:cNvSpPr>
            <p:nvPr/>
          </p:nvSpPr>
          <p:spPr bwMode="auto">
            <a:xfrm>
              <a:off x="1526598" y="2923121"/>
              <a:ext cx="271008" cy="208017"/>
            </a:xfrm>
            <a:custGeom>
              <a:avLst/>
              <a:gdLst>
                <a:gd name="T0" fmla="*/ 813 w 814"/>
                <a:gd name="T1" fmla="*/ 627 h 628"/>
                <a:gd name="T2" fmla="*/ 0 w 814"/>
                <a:gd name="T3" fmla="*/ 627 h 628"/>
                <a:gd name="T4" fmla="*/ 0 w 814"/>
                <a:gd name="T5" fmla="*/ 0 h 628"/>
                <a:gd name="T6" fmla="*/ 813 w 814"/>
                <a:gd name="T7" fmla="*/ 0 h 628"/>
                <a:gd name="T8" fmla="*/ 813 w 814"/>
                <a:gd name="T9" fmla="*/ 627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4" h="628">
                  <a:moveTo>
                    <a:pt x="813" y="627"/>
                  </a:moveTo>
                  <a:lnTo>
                    <a:pt x="0" y="627"/>
                  </a:lnTo>
                  <a:lnTo>
                    <a:pt x="0" y="0"/>
                  </a:lnTo>
                  <a:lnTo>
                    <a:pt x="813" y="0"/>
                  </a:lnTo>
                  <a:lnTo>
                    <a:pt x="813" y="627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01" name="Freeform 481"/>
            <p:cNvSpPr>
              <a:spLocks noChangeArrowheads="1"/>
            </p:cNvSpPr>
            <p:nvPr/>
          </p:nvSpPr>
          <p:spPr bwMode="auto">
            <a:xfrm>
              <a:off x="1579335" y="2882104"/>
              <a:ext cx="257825" cy="213877"/>
            </a:xfrm>
            <a:custGeom>
              <a:avLst/>
              <a:gdLst>
                <a:gd name="T0" fmla="*/ 0 w 778"/>
                <a:gd name="T1" fmla="*/ 75 h 643"/>
                <a:gd name="T2" fmla="*/ 0 w 778"/>
                <a:gd name="T3" fmla="*/ 0 h 643"/>
                <a:gd name="T4" fmla="*/ 777 w 778"/>
                <a:gd name="T5" fmla="*/ 0 h 643"/>
                <a:gd name="T6" fmla="*/ 777 w 778"/>
                <a:gd name="T7" fmla="*/ 642 h 643"/>
                <a:gd name="T8" fmla="*/ 702 w 778"/>
                <a:gd name="T9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8" h="643">
                  <a:moveTo>
                    <a:pt x="0" y="75"/>
                  </a:moveTo>
                  <a:lnTo>
                    <a:pt x="0" y="0"/>
                  </a:lnTo>
                  <a:lnTo>
                    <a:pt x="777" y="0"/>
                  </a:lnTo>
                  <a:lnTo>
                    <a:pt x="777" y="642"/>
                  </a:lnTo>
                  <a:lnTo>
                    <a:pt x="702" y="642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02" name="Line 482"/>
            <p:cNvSpPr>
              <a:spLocks noChangeShapeType="1"/>
            </p:cNvSpPr>
            <p:nvPr/>
          </p:nvSpPr>
          <p:spPr bwMode="auto">
            <a:xfrm>
              <a:off x="1526597" y="2962673"/>
              <a:ext cx="269544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03" name="Line 483"/>
            <p:cNvSpPr>
              <a:spLocks noChangeShapeType="1"/>
            </p:cNvSpPr>
            <p:nvPr/>
          </p:nvSpPr>
          <p:spPr bwMode="auto">
            <a:xfrm flipH="1">
              <a:off x="1550036" y="2942164"/>
              <a:ext cx="23438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04" name="Line 484"/>
            <p:cNvSpPr>
              <a:spLocks noChangeShapeType="1"/>
            </p:cNvSpPr>
            <p:nvPr/>
          </p:nvSpPr>
          <p:spPr bwMode="auto">
            <a:xfrm flipH="1">
              <a:off x="1591054" y="2942164"/>
              <a:ext cx="23438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05" name="Line 485"/>
            <p:cNvSpPr>
              <a:spLocks noChangeShapeType="1"/>
            </p:cNvSpPr>
            <p:nvPr/>
          </p:nvSpPr>
          <p:spPr bwMode="auto">
            <a:xfrm flipH="1">
              <a:off x="1632071" y="2942164"/>
              <a:ext cx="21973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sp>
        <p:nvSpPr>
          <p:cNvPr id="5606" name="Freeform 486"/>
          <p:cNvSpPr>
            <a:spLocks noChangeArrowheads="1"/>
          </p:cNvSpPr>
          <p:nvPr/>
        </p:nvSpPr>
        <p:spPr bwMode="auto">
          <a:xfrm>
            <a:off x="893757" y="2860129"/>
            <a:ext cx="300307" cy="300307"/>
          </a:xfrm>
          <a:custGeom>
            <a:avLst/>
            <a:gdLst>
              <a:gd name="T0" fmla="*/ 448 w 905"/>
              <a:gd name="T1" fmla="*/ 0 h 904"/>
              <a:gd name="T2" fmla="*/ 0 w 905"/>
              <a:gd name="T3" fmla="*/ 455 h 904"/>
              <a:gd name="T4" fmla="*/ 135 w 905"/>
              <a:gd name="T5" fmla="*/ 455 h 904"/>
              <a:gd name="T6" fmla="*/ 135 w 905"/>
              <a:gd name="T7" fmla="*/ 903 h 904"/>
              <a:gd name="T8" fmla="*/ 314 w 905"/>
              <a:gd name="T9" fmla="*/ 903 h 904"/>
              <a:gd name="T10" fmla="*/ 314 w 905"/>
              <a:gd name="T11" fmla="*/ 664 h 904"/>
              <a:gd name="T12" fmla="*/ 553 w 905"/>
              <a:gd name="T13" fmla="*/ 664 h 904"/>
              <a:gd name="T14" fmla="*/ 553 w 905"/>
              <a:gd name="T15" fmla="*/ 903 h 904"/>
              <a:gd name="T16" fmla="*/ 732 w 905"/>
              <a:gd name="T17" fmla="*/ 903 h 904"/>
              <a:gd name="T18" fmla="*/ 732 w 905"/>
              <a:gd name="T19" fmla="*/ 455 h 904"/>
              <a:gd name="T20" fmla="*/ 904 w 905"/>
              <a:gd name="T21" fmla="*/ 455 h 904"/>
              <a:gd name="T22" fmla="*/ 448 w 905"/>
              <a:gd name="T23" fmla="*/ 0 h 9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05" h="904">
                <a:moveTo>
                  <a:pt x="448" y="0"/>
                </a:moveTo>
                <a:lnTo>
                  <a:pt x="0" y="455"/>
                </a:lnTo>
                <a:lnTo>
                  <a:pt x="135" y="455"/>
                </a:lnTo>
                <a:lnTo>
                  <a:pt x="135" y="903"/>
                </a:lnTo>
                <a:lnTo>
                  <a:pt x="314" y="903"/>
                </a:lnTo>
                <a:lnTo>
                  <a:pt x="314" y="664"/>
                </a:lnTo>
                <a:lnTo>
                  <a:pt x="553" y="664"/>
                </a:lnTo>
                <a:lnTo>
                  <a:pt x="553" y="903"/>
                </a:lnTo>
                <a:lnTo>
                  <a:pt x="732" y="903"/>
                </a:lnTo>
                <a:lnTo>
                  <a:pt x="732" y="455"/>
                </a:lnTo>
                <a:lnTo>
                  <a:pt x="904" y="455"/>
                </a:lnTo>
                <a:lnTo>
                  <a:pt x="448" y="0"/>
                </a:lnTo>
              </a:path>
            </a:pathLst>
          </a:custGeom>
          <a:noFill/>
          <a:ln w="6350" cap="flat">
            <a:solidFill>
              <a:schemeClr val="accent1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Montserrat Light" charset="0"/>
            </a:endParaRPr>
          </a:p>
        </p:txBody>
      </p:sp>
      <p:grpSp>
        <p:nvGrpSpPr>
          <p:cNvPr id="5822" name="Group 5821">
            <a:extLst>
              <a:ext uri="{FF2B5EF4-FFF2-40B4-BE49-F238E27FC236}">
                <a16:creationId xmlns:a16="http://schemas.microsoft.com/office/drawing/2014/main" id="{E01EFDBB-F7F8-0944-AFA4-6DE41973EE6E}"/>
              </a:ext>
            </a:extLst>
          </p:cNvPr>
          <p:cNvGrpSpPr/>
          <p:nvPr/>
        </p:nvGrpSpPr>
        <p:grpSpPr>
          <a:xfrm>
            <a:off x="4079935" y="3490041"/>
            <a:ext cx="310562" cy="310561"/>
            <a:chOff x="4079935" y="3490041"/>
            <a:chExt cx="310562" cy="310561"/>
          </a:xfrm>
        </p:grpSpPr>
        <p:sp>
          <p:nvSpPr>
            <p:cNvPr id="5607" name="Freeform 487"/>
            <p:cNvSpPr>
              <a:spLocks noChangeArrowheads="1"/>
            </p:cNvSpPr>
            <p:nvPr/>
          </p:nvSpPr>
          <p:spPr bwMode="auto">
            <a:xfrm>
              <a:off x="4079935" y="3490041"/>
              <a:ext cx="200694" cy="199228"/>
            </a:xfrm>
            <a:custGeom>
              <a:avLst/>
              <a:gdLst>
                <a:gd name="T0" fmla="*/ 605 w 606"/>
                <a:gd name="T1" fmla="*/ 299 h 598"/>
                <a:gd name="T2" fmla="*/ 605 w 606"/>
                <a:gd name="T3" fmla="*/ 299 h 598"/>
                <a:gd name="T4" fmla="*/ 306 w 606"/>
                <a:gd name="T5" fmla="*/ 597 h 598"/>
                <a:gd name="T6" fmla="*/ 0 w 606"/>
                <a:gd name="T7" fmla="*/ 299 h 598"/>
                <a:gd name="T8" fmla="*/ 306 w 606"/>
                <a:gd name="T9" fmla="*/ 0 h 598"/>
                <a:gd name="T10" fmla="*/ 605 w 606"/>
                <a:gd name="T11" fmla="*/ 299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6" h="598">
                  <a:moveTo>
                    <a:pt x="605" y="299"/>
                  </a:moveTo>
                  <a:lnTo>
                    <a:pt x="605" y="299"/>
                  </a:lnTo>
                  <a:cubicBezTo>
                    <a:pt x="605" y="463"/>
                    <a:pt x="470" y="597"/>
                    <a:pt x="306" y="597"/>
                  </a:cubicBezTo>
                  <a:cubicBezTo>
                    <a:pt x="135" y="597"/>
                    <a:pt x="0" y="463"/>
                    <a:pt x="0" y="299"/>
                  </a:cubicBezTo>
                  <a:cubicBezTo>
                    <a:pt x="0" y="134"/>
                    <a:pt x="135" y="0"/>
                    <a:pt x="306" y="0"/>
                  </a:cubicBezTo>
                  <a:cubicBezTo>
                    <a:pt x="470" y="0"/>
                    <a:pt x="605" y="134"/>
                    <a:pt x="605" y="29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08" name="Line 488"/>
            <p:cNvSpPr>
              <a:spLocks noChangeShapeType="1"/>
            </p:cNvSpPr>
            <p:nvPr/>
          </p:nvSpPr>
          <p:spPr bwMode="auto">
            <a:xfrm>
              <a:off x="4251330" y="3658506"/>
              <a:ext cx="29299" cy="2929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09" name="Freeform 489"/>
            <p:cNvSpPr>
              <a:spLocks noChangeArrowheads="1"/>
            </p:cNvSpPr>
            <p:nvPr/>
          </p:nvSpPr>
          <p:spPr bwMode="auto">
            <a:xfrm>
              <a:off x="4265980" y="3673155"/>
              <a:ext cx="124517" cy="127447"/>
            </a:xfrm>
            <a:custGeom>
              <a:avLst/>
              <a:gdLst>
                <a:gd name="T0" fmla="*/ 0 w 374"/>
                <a:gd name="T1" fmla="*/ 90 h 382"/>
                <a:gd name="T2" fmla="*/ 90 w 374"/>
                <a:gd name="T3" fmla="*/ 0 h 382"/>
                <a:gd name="T4" fmla="*/ 373 w 374"/>
                <a:gd name="T5" fmla="*/ 292 h 382"/>
                <a:gd name="T6" fmla="*/ 284 w 374"/>
                <a:gd name="T7" fmla="*/ 381 h 382"/>
                <a:gd name="T8" fmla="*/ 0 w 374"/>
                <a:gd name="T9" fmla="*/ 9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4" h="382">
                  <a:moveTo>
                    <a:pt x="0" y="90"/>
                  </a:moveTo>
                  <a:lnTo>
                    <a:pt x="90" y="0"/>
                  </a:lnTo>
                  <a:lnTo>
                    <a:pt x="373" y="292"/>
                  </a:lnTo>
                  <a:lnTo>
                    <a:pt x="284" y="381"/>
                  </a:lnTo>
                  <a:lnTo>
                    <a:pt x="0" y="9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21" name="Group 5820">
            <a:extLst>
              <a:ext uri="{FF2B5EF4-FFF2-40B4-BE49-F238E27FC236}">
                <a16:creationId xmlns:a16="http://schemas.microsoft.com/office/drawing/2014/main" id="{07E12011-EF7C-7144-8F65-DCF6E0BF375F}"/>
              </a:ext>
            </a:extLst>
          </p:cNvPr>
          <p:cNvGrpSpPr/>
          <p:nvPr/>
        </p:nvGrpSpPr>
        <p:grpSpPr>
          <a:xfrm>
            <a:off x="4720102" y="3490041"/>
            <a:ext cx="310561" cy="310561"/>
            <a:chOff x="4720102" y="3490041"/>
            <a:chExt cx="310561" cy="310561"/>
          </a:xfrm>
        </p:grpSpPr>
        <p:sp>
          <p:nvSpPr>
            <p:cNvPr id="5610" name="Line 490"/>
            <p:cNvSpPr>
              <a:spLocks noChangeShapeType="1"/>
            </p:cNvSpPr>
            <p:nvPr/>
          </p:nvSpPr>
          <p:spPr bwMode="auto">
            <a:xfrm>
              <a:off x="4774303" y="3589655"/>
              <a:ext cx="89361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11" name="Freeform 491"/>
            <p:cNvSpPr>
              <a:spLocks noChangeArrowheads="1"/>
            </p:cNvSpPr>
            <p:nvPr/>
          </p:nvSpPr>
          <p:spPr bwMode="auto">
            <a:xfrm>
              <a:off x="4720102" y="3490041"/>
              <a:ext cx="199228" cy="199228"/>
            </a:xfrm>
            <a:custGeom>
              <a:avLst/>
              <a:gdLst>
                <a:gd name="T0" fmla="*/ 597 w 598"/>
                <a:gd name="T1" fmla="*/ 299 h 598"/>
                <a:gd name="T2" fmla="*/ 597 w 598"/>
                <a:gd name="T3" fmla="*/ 299 h 598"/>
                <a:gd name="T4" fmla="*/ 299 w 598"/>
                <a:gd name="T5" fmla="*/ 597 h 598"/>
                <a:gd name="T6" fmla="*/ 0 w 598"/>
                <a:gd name="T7" fmla="*/ 299 h 598"/>
                <a:gd name="T8" fmla="*/ 299 w 598"/>
                <a:gd name="T9" fmla="*/ 0 h 598"/>
                <a:gd name="T10" fmla="*/ 597 w 598"/>
                <a:gd name="T11" fmla="*/ 299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8" h="598">
                  <a:moveTo>
                    <a:pt x="597" y="299"/>
                  </a:moveTo>
                  <a:lnTo>
                    <a:pt x="597" y="299"/>
                  </a:lnTo>
                  <a:cubicBezTo>
                    <a:pt x="597" y="463"/>
                    <a:pt x="463" y="597"/>
                    <a:pt x="299" y="597"/>
                  </a:cubicBezTo>
                  <a:cubicBezTo>
                    <a:pt x="135" y="597"/>
                    <a:pt x="0" y="463"/>
                    <a:pt x="0" y="299"/>
                  </a:cubicBezTo>
                  <a:cubicBezTo>
                    <a:pt x="0" y="134"/>
                    <a:pt x="135" y="0"/>
                    <a:pt x="299" y="0"/>
                  </a:cubicBezTo>
                  <a:cubicBezTo>
                    <a:pt x="463" y="0"/>
                    <a:pt x="597" y="134"/>
                    <a:pt x="597" y="29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12" name="Line 492"/>
            <p:cNvSpPr>
              <a:spLocks noChangeShapeType="1"/>
            </p:cNvSpPr>
            <p:nvPr/>
          </p:nvSpPr>
          <p:spPr bwMode="auto">
            <a:xfrm>
              <a:off x="4888566" y="3658506"/>
              <a:ext cx="29299" cy="2929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13" name="Freeform 493"/>
            <p:cNvSpPr>
              <a:spLocks noChangeArrowheads="1"/>
            </p:cNvSpPr>
            <p:nvPr/>
          </p:nvSpPr>
          <p:spPr bwMode="auto">
            <a:xfrm>
              <a:off x="4904681" y="3673155"/>
              <a:ext cx="125982" cy="127447"/>
            </a:xfrm>
            <a:custGeom>
              <a:avLst/>
              <a:gdLst>
                <a:gd name="T0" fmla="*/ 0 w 381"/>
                <a:gd name="T1" fmla="*/ 90 h 382"/>
                <a:gd name="T2" fmla="*/ 89 w 381"/>
                <a:gd name="T3" fmla="*/ 0 h 382"/>
                <a:gd name="T4" fmla="*/ 380 w 381"/>
                <a:gd name="T5" fmla="*/ 292 h 382"/>
                <a:gd name="T6" fmla="*/ 291 w 381"/>
                <a:gd name="T7" fmla="*/ 381 h 382"/>
                <a:gd name="T8" fmla="*/ 0 w 381"/>
                <a:gd name="T9" fmla="*/ 9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1" h="382">
                  <a:moveTo>
                    <a:pt x="0" y="90"/>
                  </a:moveTo>
                  <a:lnTo>
                    <a:pt x="89" y="0"/>
                  </a:lnTo>
                  <a:lnTo>
                    <a:pt x="380" y="292"/>
                  </a:lnTo>
                  <a:lnTo>
                    <a:pt x="291" y="381"/>
                  </a:lnTo>
                  <a:lnTo>
                    <a:pt x="0" y="9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16" name="Group 5815">
            <a:extLst>
              <a:ext uri="{FF2B5EF4-FFF2-40B4-BE49-F238E27FC236}">
                <a16:creationId xmlns:a16="http://schemas.microsoft.com/office/drawing/2014/main" id="{207154DE-FD4B-884C-8F81-276B0CB7601E}"/>
              </a:ext>
            </a:extLst>
          </p:cNvPr>
          <p:cNvGrpSpPr/>
          <p:nvPr/>
        </p:nvGrpSpPr>
        <p:grpSpPr>
          <a:xfrm>
            <a:off x="5357337" y="3490041"/>
            <a:ext cx="310562" cy="310561"/>
            <a:chOff x="5357337" y="3490041"/>
            <a:chExt cx="310562" cy="310561"/>
          </a:xfrm>
        </p:grpSpPr>
        <p:sp>
          <p:nvSpPr>
            <p:cNvPr id="5614" name="Line 494"/>
            <p:cNvSpPr>
              <a:spLocks noChangeShapeType="1"/>
            </p:cNvSpPr>
            <p:nvPr/>
          </p:nvSpPr>
          <p:spPr bwMode="auto">
            <a:xfrm>
              <a:off x="5414469" y="3589655"/>
              <a:ext cx="89360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15" name="Line 495"/>
            <p:cNvSpPr>
              <a:spLocks noChangeShapeType="1"/>
            </p:cNvSpPr>
            <p:nvPr/>
          </p:nvSpPr>
          <p:spPr bwMode="auto">
            <a:xfrm>
              <a:off x="5459881" y="3544243"/>
              <a:ext cx="1466" cy="8936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16" name="Freeform 496"/>
            <p:cNvSpPr>
              <a:spLocks noChangeArrowheads="1"/>
            </p:cNvSpPr>
            <p:nvPr/>
          </p:nvSpPr>
          <p:spPr bwMode="auto">
            <a:xfrm>
              <a:off x="5357337" y="3490041"/>
              <a:ext cx="200694" cy="199228"/>
            </a:xfrm>
            <a:custGeom>
              <a:avLst/>
              <a:gdLst>
                <a:gd name="T0" fmla="*/ 605 w 606"/>
                <a:gd name="T1" fmla="*/ 299 h 598"/>
                <a:gd name="T2" fmla="*/ 605 w 606"/>
                <a:gd name="T3" fmla="*/ 299 h 598"/>
                <a:gd name="T4" fmla="*/ 306 w 606"/>
                <a:gd name="T5" fmla="*/ 597 h 598"/>
                <a:gd name="T6" fmla="*/ 0 w 606"/>
                <a:gd name="T7" fmla="*/ 299 h 598"/>
                <a:gd name="T8" fmla="*/ 306 w 606"/>
                <a:gd name="T9" fmla="*/ 0 h 598"/>
                <a:gd name="T10" fmla="*/ 605 w 606"/>
                <a:gd name="T11" fmla="*/ 299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6" h="598">
                  <a:moveTo>
                    <a:pt x="605" y="299"/>
                  </a:moveTo>
                  <a:lnTo>
                    <a:pt x="605" y="299"/>
                  </a:lnTo>
                  <a:cubicBezTo>
                    <a:pt x="605" y="463"/>
                    <a:pt x="471" y="597"/>
                    <a:pt x="306" y="597"/>
                  </a:cubicBezTo>
                  <a:cubicBezTo>
                    <a:pt x="135" y="597"/>
                    <a:pt x="0" y="463"/>
                    <a:pt x="0" y="299"/>
                  </a:cubicBezTo>
                  <a:cubicBezTo>
                    <a:pt x="0" y="134"/>
                    <a:pt x="135" y="0"/>
                    <a:pt x="306" y="0"/>
                  </a:cubicBezTo>
                  <a:cubicBezTo>
                    <a:pt x="471" y="0"/>
                    <a:pt x="605" y="134"/>
                    <a:pt x="605" y="29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17" name="Line 497"/>
            <p:cNvSpPr>
              <a:spLocks noChangeShapeType="1"/>
            </p:cNvSpPr>
            <p:nvPr/>
          </p:nvSpPr>
          <p:spPr bwMode="auto">
            <a:xfrm>
              <a:off x="5528732" y="3658506"/>
              <a:ext cx="29299" cy="2929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18" name="Freeform 498"/>
            <p:cNvSpPr>
              <a:spLocks noChangeArrowheads="1"/>
            </p:cNvSpPr>
            <p:nvPr/>
          </p:nvSpPr>
          <p:spPr bwMode="auto">
            <a:xfrm>
              <a:off x="5543382" y="3673155"/>
              <a:ext cx="124517" cy="127447"/>
            </a:xfrm>
            <a:custGeom>
              <a:avLst/>
              <a:gdLst>
                <a:gd name="T0" fmla="*/ 0 w 375"/>
                <a:gd name="T1" fmla="*/ 90 h 382"/>
                <a:gd name="T2" fmla="*/ 90 w 375"/>
                <a:gd name="T3" fmla="*/ 0 h 382"/>
                <a:gd name="T4" fmla="*/ 374 w 375"/>
                <a:gd name="T5" fmla="*/ 292 h 382"/>
                <a:gd name="T6" fmla="*/ 284 w 375"/>
                <a:gd name="T7" fmla="*/ 381 h 382"/>
                <a:gd name="T8" fmla="*/ 0 w 375"/>
                <a:gd name="T9" fmla="*/ 9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5" h="382">
                  <a:moveTo>
                    <a:pt x="0" y="90"/>
                  </a:moveTo>
                  <a:lnTo>
                    <a:pt x="90" y="0"/>
                  </a:lnTo>
                  <a:lnTo>
                    <a:pt x="374" y="292"/>
                  </a:lnTo>
                  <a:lnTo>
                    <a:pt x="284" y="381"/>
                  </a:lnTo>
                  <a:lnTo>
                    <a:pt x="0" y="9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13" name="Group 5812">
            <a:extLst>
              <a:ext uri="{FF2B5EF4-FFF2-40B4-BE49-F238E27FC236}">
                <a16:creationId xmlns:a16="http://schemas.microsoft.com/office/drawing/2014/main" id="{B79DC466-C26B-F14E-8BCE-BF4488F9B6F4}"/>
              </a:ext>
            </a:extLst>
          </p:cNvPr>
          <p:cNvGrpSpPr/>
          <p:nvPr/>
        </p:nvGrpSpPr>
        <p:grpSpPr>
          <a:xfrm>
            <a:off x="5997503" y="3514945"/>
            <a:ext cx="310561" cy="260754"/>
            <a:chOff x="5997503" y="3514945"/>
            <a:chExt cx="310561" cy="260754"/>
          </a:xfrm>
        </p:grpSpPr>
        <p:sp>
          <p:nvSpPr>
            <p:cNvPr id="5619" name="Freeform 499"/>
            <p:cNvSpPr>
              <a:spLocks noChangeArrowheads="1"/>
            </p:cNvSpPr>
            <p:nvPr/>
          </p:nvSpPr>
          <p:spPr bwMode="auto">
            <a:xfrm>
              <a:off x="6111767" y="3614558"/>
              <a:ext cx="79105" cy="39552"/>
            </a:xfrm>
            <a:custGeom>
              <a:avLst/>
              <a:gdLst>
                <a:gd name="T0" fmla="*/ 0 w 239"/>
                <a:gd name="T1" fmla="*/ 120 h 121"/>
                <a:gd name="T2" fmla="*/ 119 w 239"/>
                <a:gd name="T3" fmla="*/ 0 h 121"/>
                <a:gd name="T4" fmla="*/ 238 w 239"/>
                <a:gd name="T5" fmla="*/ 12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9" h="121">
                  <a:moveTo>
                    <a:pt x="0" y="120"/>
                  </a:moveTo>
                  <a:lnTo>
                    <a:pt x="119" y="0"/>
                  </a:lnTo>
                  <a:lnTo>
                    <a:pt x="238" y="12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20" name="Line 500"/>
            <p:cNvSpPr>
              <a:spLocks noChangeShapeType="1"/>
            </p:cNvSpPr>
            <p:nvPr/>
          </p:nvSpPr>
          <p:spPr bwMode="auto">
            <a:xfrm>
              <a:off x="6151318" y="3614558"/>
              <a:ext cx="1466" cy="16114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21" name="Freeform 501"/>
            <p:cNvSpPr>
              <a:spLocks noChangeArrowheads="1"/>
            </p:cNvSpPr>
            <p:nvPr/>
          </p:nvSpPr>
          <p:spPr bwMode="auto">
            <a:xfrm>
              <a:off x="5997503" y="3514945"/>
              <a:ext cx="310561" cy="178719"/>
            </a:xfrm>
            <a:custGeom>
              <a:avLst/>
              <a:gdLst>
                <a:gd name="T0" fmla="*/ 344 w 934"/>
                <a:gd name="T1" fmla="*/ 537 h 538"/>
                <a:gd name="T2" fmla="*/ 0 w 934"/>
                <a:gd name="T3" fmla="*/ 537 h 538"/>
                <a:gd name="T4" fmla="*/ 0 w 934"/>
                <a:gd name="T5" fmla="*/ 0 h 538"/>
                <a:gd name="T6" fmla="*/ 933 w 934"/>
                <a:gd name="T7" fmla="*/ 0 h 538"/>
                <a:gd name="T8" fmla="*/ 933 w 934"/>
                <a:gd name="T9" fmla="*/ 537 h 538"/>
                <a:gd name="T10" fmla="*/ 582 w 934"/>
                <a:gd name="T11" fmla="*/ 537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4" h="538">
                  <a:moveTo>
                    <a:pt x="344" y="537"/>
                  </a:moveTo>
                  <a:lnTo>
                    <a:pt x="0" y="537"/>
                  </a:lnTo>
                  <a:lnTo>
                    <a:pt x="0" y="0"/>
                  </a:lnTo>
                  <a:lnTo>
                    <a:pt x="933" y="0"/>
                  </a:lnTo>
                  <a:lnTo>
                    <a:pt x="933" y="537"/>
                  </a:lnTo>
                  <a:lnTo>
                    <a:pt x="582" y="537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12" name="Group 5811">
            <a:extLst>
              <a:ext uri="{FF2B5EF4-FFF2-40B4-BE49-F238E27FC236}">
                <a16:creationId xmlns:a16="http://schemas.microsoft.com/office/drawing/2014/main" id="{562A5726-952A-5C46-B50D-AB4FE83160E0}"/>
              </a:ext>
            </a:extLst>
          </p:cNvPr>
          <p:cNvGrpSpPr/>
          <p:nvPr/>
        </p:nvGrpSpPr>
        <p:grpSpPr>
          <a:xfrm>
            <a:off x="6634739" y="3514945"/>
            <a:ext cx="310561" cy="262218"/>
            <a:chOff x="6634739" y="3514945"/>
            <a:chExt cx="310561" cy="262218"/>
          </a:xfrm>
        </p:grpSpPr>
        <p:sp>
          <p:nvSpPr>
            <p:cNvPr id="5622" name="Freeform 502"/>
            <p:cNvSpPr>
              <a:spLocks noChangeArrowheads="1"/>
            </p:cNvSpPr>
            <p:nvPr/>
          </p:nvSpPr>
          <p:spPr bwMode="auto">
            <a:xfrm>
              <a:off x="6751932" y="3736146"/>
              <a:ext cx="79105" cy="39553"/>
            </a:xfrm>
            <a:custGeom>
              <a:avLst/>
              <a:gdLst>
                <a:gd name="T0" fmla="*/ 238 w 239"/>
                <a:gd name="T1" fmla="*/ 0 h 120"/>
                <a:gd name="T2" fmla="*/ 119 w 239"/>
                <a:gd name="T3" fmla="*/ 119 h 120"/>
                <a:gd name="T4" fmla="*/ 0 w 239"/>
                <a:gd name="T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9" h="120">
                  <a:moveTo>
                    <a:pt x="238" y="0"/>
                  </a:moveTo>
                  <a:lnTo>
                    <a:pt x="119" y="119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23" name="Line 503"/>
            <p:cNvSpPr>
              <a:spLocks noChangeShapeType="1"/>
            </p:cNvSpPr>
            <p:nvPr/>
          </p:nvSpPr>
          <p:spPr bwMode="auto">
            <a:xfrm flipV="1">
              <a:off x="6791485" y="3613093"/>
              <a:ext cx="1465" cy="16407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24" name="Freeform 504"/>
            <p:cNvSpPr>
              <a:spLocks noChangeArrowheads="1"/>
            </p:cNvSpPr>
            <p:nvPr/>
          </p:nvSpPr>
          <p:spPr bwMode="auto">
            <a:xfrm>
              <a:off x="6634739" y="3514945"/>
              <a:ext cx="310561" cy="178719"/>
            </a:xfrm>
            <a:custGeom>
              <a:avLst/>
              <a:gdLst>
                <a:gd name="T0" fmla="*/ 351 w 934"/>
                <a:gd name="T1" fmla="*/ 537 h 538"/>
                <a:gd name="T2" fmla="*/ 0 w 934"/>
                <a:gd name="T3" fmla="*/ 537 h 538"/>
                <a:gd name="T4" fmla="*/ 0 w 934"/>
                <a:gd name="T5" fmla="*/ 0 h 538"/>
                <a:gd name="T6" fmla="*/ 933 w 934"/>
                <a:gd name="T7" fmla="*/ 0 h 538"/>
                <a:gd name="T8" fmla="*/ 933 w 934"/>
                <a:gd name="T9" fmla="*/ 537 h 538"/>
                <a:gd name="T10" fmla="*/ 589 w 934"/>
                <a:gd name="T11" fmla="*/ 537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4" h="538">
                  <a:moveTo>
                    <a:pt x="351" y="537"/>
                  </a:moveTo>
                  <a:lnTo>
                    <a:pt x="0" y="537"/>
                  </a:lnTo>
                  <a:lnTo>
                    <a:pt x="0" y="0"/>
                  </a:lnTo>
                  <a:lnTo>
                    <a:pt x="933" y="0"/>
                  </a:lnTo>
                  <a:lnTo>
                    <a:pt x="933" y="537"/>
                  </a:lnTo>
                  <a:lnTo>
                    <a:pt x="589" y="537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30" name="Group 5829">
            <a:extLst>
              <a:ext uri="{FF2B5EF4-FFF2-40B4-BE49-F238E27FC236}">
                <a16:creationId xmlns:a16="http://schemas.microsoft.com/office/drawing/2014/main" id="{18C9DC9B-D906-FE4F-A6FB-5447695DCF5D}"/>
              </a:ext>
            </a:extLst>
          </p:cNvPr>
          <p:cNvGrpSpPr/>
          <p:nvPr/>
        </p:nvGrpSpPr>
        <p:grpSpPr>
          <a:xfrm>
            <a:off x="889362" y="4155110"/>
            <a:ext cx="310561" cy="257825"/>
            <a:chOff x="889362" y="4155110"/>
            <a:chExt cx="310561" cy="257825"/>
          </a:xfrm>
        </p:grpSpPr>
        <p:sp>
          <p:nvSpPr>
            <p:cNvPr id="5625" name="Line 505"/>
            <p:cNvSpPr>
              <a:spLocks noChangeShapeType="1"/>
            </p:cNvSpPr>
            <p:nvPr/>
          </p:nvSpPr>
          <p:spPr bwMode="auto">
            <a:xfrm flipH="1">
              <a:off x="971397" y="4174155"/>
              <a:ext cx="142097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26" name="Freeform 506"/>
            <p:cNvSpPr>
              <a:spLocks noChangeArrowheads="1"/>
            </p:cNvSpPr>
            <p:nvPr/>
          </p:nvSpPr>
          <p:spPr bwMode="auto">
            <a:xfrm>
              <a:off x="889362" y="4174155"/>
              <a:ext cx="310561" cy="238780"/>
            </a:xfrm>
            <a:custGeom>
              <a:avLst/>
              <a:gdLst>
                <a:gd name="T0" fmla="*/ 165 w 934"/>
                <a:gd name="T1" fmla="*/ 0 h 718"/>
                <a:gd name="T2" fmla="*/ 0 w 934"/>
                <a:gd name="T3" fmla="*/ 0 h 718"/>
                <a:gd name="T4" fmla="*/ 0 w 934"/>
                <a:gd name="T5" fmla="*/ 717 h 718"/>
                <a:gd name="T6" fmla="*/ 933 w 934"/>
                <a:gd name="T7" fmla="*/ 717 h 718"/>
                <a:gd name="T8" fmla="*/ 933 w 934"/>
                <a:gd name="T9" fmla="*/ 0 h 718"/>
                <a:gd name="T10" fmla="*/ 762 w 934"/>
                <a:gd name="T11" fmla="*/ 0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4" h="718">
                  <a:moveTo>
                    <a:pt x="165" y="0"/>
                  </a:moveTo>
                  <a:lnTo>
                    <a:pt x="0" y="0"/>
                  </a:lnTo>
                  <a:lnTo>
                    <a:pt x="0" y="717"/>
                  </a:lnTo>
                  <a:lnTo>
                    <a:pt x="933" y="717"/>
                  </a:lnTo>
                  <a:lnTo>
                    <a:pt x="933" y="0"/>
                  </a:lnTo>
                  <a:lnTo>
                    <a:pt x="762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27" name="Freeform 507"/>
            <p:cNvSpPr>
              <a:spLocks noChangeArrowheads="1"/>
            </p:cNvSpPr>
            <p:nvPr/>
          </p:nvSpPr>
          <p:spPr bwMode="auto">
            <a:xfrm>
              <a:off x="943564" y="4155110"/>
              <a:ext cx="29299" cy="39553"/>
            </a:xfrm>
            <a:custGeom>
              <a:avLst/>
              <a:gdLst>
                <a:gd name="T0" fmla="*/ 0 w 90"/>
                <a:gd name="T1" fmla="*/ 119 h 120"/>
                <a:gd name="T2" fmla="*/ 0 w 90"/>
                <a:gd name="T3" fmla="*/ 0 h 120"/>
                <a:gd name="T4" fmla="*/ 89 w 90"/>
                <a:gd name="T5" fmla="*/ 0 h 120"/>
                <a:gd name="T6" fmla="*/ 89 w 90"/>
                <a:gd name="T7" fmla="*/ 119 h 120"/>
                <a:gd name="T8" fmla="*/ 0 w 90"/>
                <a:gd name="T9" fmla="*/ 11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20">
                  <a:moveTo>
                    <a:pt x="0" y="119"/>
                  </a:moveTo>
                  <a:lnTo>
                    <a:pt x="0" y="0"/>
                  </a:lnTo>
                  <a:lnTo>
                    <a:pt x="89" y="0"/>
                  </a:lnTo>
                  <a:lnTo>
                    <a:pt x="89" y="119"/>
                  </a:lnTo>
                  <a:lnTo>
                    <a:pt x="0" y="11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28" name="Freeform 508"/>
            <p:cNvSpPr>
              <a:spLocks noChangeArrowheads="1"/>
            </p:cNvSpPr>
            <p:nvPr/>
          </p:nvSpPr>
          <p:spPr bwMode="auto">
            <a:xfrm>
              <a:off x="1112028" y="4155110"/>
              <a:ext cx="30764" cy="39553"/>
            </a:xfrm>
            <a:custGeom>
              <a:avLst/>
              <a:gdLst>
                <a:gd name="T0" fmla="*/ 0 w 91"/>
                <a:gd name="T1" fmla="*/ 119 h 120"/>
                <a:gd name="T2" fmla="*/ 0 w 91"/>
                <a:gd name="T3" fmla="*/ 0 h 120"/>
                <a:gd name="T4" fmla="*/ 90 w 91"/>
                <a:gd name="T5" fmla="*/ 0 h 120"/>
                <a:gd name="T6" fmla="*/ 90 w 91"/>
                <a:gd name="T7" fmla="*/ 119 h 120"/>
                <a:gd name="T8" fmla="*/ 0 w 91"/>
                <a:gd name="T9" fmla="*/ 11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20">
                  <a:moveTo>
                    <a:pt x="0" y="119"/>
                  </a:moveTo>
                  <a:lnTo>
                    <a:pt x="0" y="0"/>
                  </a:lnTo>
                  <a:lnTo>
                    <a:pt x="90" y="0"/>
                  </a:lnTo>
                  <a:lnTo>
                    <a:pt x="90" y="119"/>
                  </a:lnTo>
                  <a:lnTo>
                    <a:pt x="0" y="11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29" name="Freeform 509"/>
            <p:cNvSpPr>
              <a:spLocks noChangeArrowheads="1"/>
            </p:cNvSpPr>
            <p:nvPr/>
          </p:nvSpPr>
          <p:spPr bwMode="auto">
            <a:xfrm>
              <a:off x="934775" y="4244470"/>
              <a:ext cx="49807" cy="49807"/>
            </a:xfrm>
            <a:custGeom>
              <a:avLst/>
              <a:gdLst>
                <a:gd name="T0" fmla="*/ 149 w 150"/>
                <a:gd name="T1" fmla="*/ 150 h 151"/>
                <a:gd name="T2" fmla="*/ 0 w 150"/>
                <a:gd name="T3" fmla="*/ 150 h 151"/>
                <a:gd name="T4" fmla="*/ 0 w 150"/>
                <a:gd name="T5" fmla="*/ 0 h 151"/>
                <a:gd name="T6" fmla="*/ 149 w 150"/>
                <a:gd name="T7" fmla="*/ 0 h 151"/>
                <a:gd name="T8" fmla="*/ 149 w 150"/>
                <a:gd name="T9" fmla="*/ 15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51">
                  <a:moveTo>
                    <a:pt x="149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149" y="0"/>
                  </a:lnTo>
                  <a:lnTo>
                    <a:pt x="149" y="15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30" name="Freeform 510"/>
            <p:cNvSpPr>
              <a:spLocks noChangeArrowheads="1"/>
            </p:cNvSpPr>
            <p:nvPr/>
          </p:nvSpPr>
          <p:spPr bwMode="auto">
            <a:xfrm>
              <a:off x="934775" y="4333830"/>
              <a:ext cx="49807" cy="49807"/>
            </a:xfrm>
            <a:custGeom>
              <a:avLst/>
              <a:gdLst>
                <a:gd name="T0" fmla="*/ 149 w 150"/>
                <a:gd name="T1" fmla="*/ 149 h 150"/>
                <a:gd name="T2" fmla="*/ 0 w 150"/>
                <a:gd name="T3" fmla="*/ 149 h 150"/>
                <a:gd name="T4" fmla="*/ 0 w 150"/>
                <a:gd name="T5" fmla="*/ 0 h 150"/>
                <a:gd name="T6" fmla="*/ 149 w 150"/>
                <a:gd name="T7" fmla="*/ 0 h 150"/>
                <a:gd name="T8" fmla="*/ 149 w 150"/>
                <a:gd name="T9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50">
                  <a:moveTo>
                    <a:pt x="149" y="149"/>
                  </a:moveTo>
                  <a:lnTo>
                    <a:pt x="0" y="149"/>
                  </a:lnTo>
                  <a:lnTo>
                    <a:pt x="0" y="0"/>
                  </a:lnTo>
                  <a:lnTo>
                    <a:pt x="149" y="0"/>
                  </a:lnTo>
                  <a:lnTo>
                    <a:pt x="149" y="14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31" name="Freeform 511"/>
            <p:cNvSpPr>
              <a:spLocks noChangeArrowheads="1"/>
            </p:cNvSpPr>
            <p:nvPr/>
          </p:nvSpPr>
          <p:spPr bwMode="auto">
            <a:xfrm>
              <a:off x="1103239" y="4244470"/>
              <a:ext cx="52737" cy="49807"/>
            </a:xfrm>
            <a:custGeom>
              <a:avLst/>
              <a:gdLst>
                <a:gd name="T0" fmla="*/ 157 w 158"/>
                <a:gd name="T1" fmla="*/ 150 h 151"/>
                <a:gd name="T2" fmla="*/ 0 w 158"/>
                <a:gd name="T3" fmla="*/ 150 h 151"/>
                <a:gd name="T4" fmla="*/ 0 w 158"/>
                <a:gd name="T5" fmla="*/ 0 h 151"/>
                <a:gd name="T6" fmla="*/ 157 w 158"/>
                <a:gd name="T7" fmla="*/ 0 h 151"/>
                <a:gd name="T8" fmla="*/ 157 w 158"/>
                <a:gd name="T9" fmla="*/ 15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151">
                  <a:moveTo>
                    <a:pt x="157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15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32" name="Freeform 512"/>
            <p:cNvSpPr>
              <a:spLocks noChangeArrowheads="1"/>
            </p:cNvSpPr>
            <p:nvPr/>
          </p:nvSpPr>
          <p:spPr bwMode="auto">
            <a:xfrm>
              <a:off x="1103239" y="4333830"/>
              <a:ext cx="52737" cy="49807"/>
            </a:xfrm>
            <a:custGeom>
              <a:avLst/>
              <a:gdLst>
                <a:gd name="T0" fmla="*/ 157 w 158"/>
                <a:gd name="T1" fmla="*/ 149 h 150"/>
                <a:gd name="T2" fmla="*/ 0 w 158"/>
                <a:gd name="T3" fmla="*/ 149 h 150"/>
                <a:gd name="T4" fmla="*/ 0 w 158"/>
                <a:gd name="T5" fmla="*/ 0 h 150"/>
                <a:gd name="T6" fmla="*/ 157 w 158"/>
                <a:gd name="T7" fmla="*/ 0 h 150"/>
                <a:gd name="T8" fmla="*/ 157 w 158"/>
                <a:gd name="T9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150">
                  <a:moveTo>
                    <a:pt x="157" y="149"/>
                  </a:moveTo>
                  <a:lnTo>
                    <a:pt x="0" y="149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14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33" name="Freeform 513"/>
            <p:cNvSpPr>
              <a:spLocks noChangeArrowheads="1"/>
            </p:cNvSpPr>
            <p:nvPr/>
          </p:nvSpPr>
          <p:spPr bwMode="auto">
            <a:xfrm>
              <a:off x="1018274" y="4244470"/>
              <a:ext cx="49807" cy="49807"/>
            </a:xfrm>
            <a:custGeom>
              <a:avLst/>
              <a:gdLst>
                <a:gd name="T0" fmla="*/ 149 w 150"/>
                <a:gd name="T1" fmla="*/ 150 h 151"/>
                <a:gd name="T2" fmla="*/ 0 w 150"/>
                <a:gd name="T3" fmla="*/ 150 h 151"/>
                <a:gd name="T4" fmla="*/ 0 w 150"/>
                <a:gd name="T5" fmla="*/ 0 h 151"/>
                <a:gd name="T6" fmla="*/ 149 w 150"/>
                <a:gd name="T7" fmla="*/ 0 h 151"/>
                <a:gd name="T8" fmla="*/ 149 w 150"/>
                <a:gd name="T9" fmla="*/ 15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51">
                  <a:moveTo>
                    <a:pt x="149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149" y="0"/>
                  </a:lnTo>
                  <a:lnTo>
                    <a:pt x="149" y="15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34" name="Freeform 514"/>
            <p:cNvSpPr>
              <a:spLocks noChangeArrowheads="1"/>
            </p:cNvSpPr>
            <p:nvPr/>
          </p:nvSpPr>
          <p:spPr bwMode="auto">
            <a:xfrm>
              <a:off x="1018274" y="4333830"/>
              <a:ext cx="49807" cy="49807"/>
            </a:xfrm>
            <a:custGeom>
              <a:avLst/>
              <a:gdLst>
                <a:gd name="T0" fmla="*/ 149 w 150"/>
                <a:gd name="T1" fmla="*/ 149 h 150"/>
                <a:gd name="T2" fmla="*/ 0 w 150"/>
                <a:gd name="T3" fmla="*/ 149 h 150"/>
                <a:gd name="T4" fmla="*/ 0 w 150"/>
                <a:gd name="T5" fmla="*/ 0 h 150"/>
                <a:gd name="T6" fmla="*/ 149 w 150"/>
                <a:gd name="T7" fmla="*/ 0 h 150"/>
                <a:gd name="T8" fmla="*/ 149 w 150"/>
                <a:gd name="T9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50">
                  <a:moveTo>
                    <a:pt x="149" y="149"/>
                  </a:moveTo>
                  <a:lnTo>
                    <a:pt x="0" y="149"/>
                  </a:lnTo>
                  <a:lnTo>
                    <a:pt x="0" y="0"/>
                  </a:lnTo>
                  <a:lnTo>
                    <a:pt x="149" y="0"/>
                  </a:lnTo>
                  <a:lnTo>
                    <a:pt x="149" y="14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35" name="Line 515"/>
            <p:cNvSpPr>
              <a:spLocks noChangeShapeType="1"/>
            </p:cNvSpPr>
            <p:nvPr/>
          </p:nvSpPr>
          <p:spPr bwMode="auto">
            <a:xfrm>
              <a:off x="889362" y="4215172"/>
              <a:ext cx="310561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31" name="Group 5830">
            <a:extLst>
              <a:ext uri="{FF2B5EF4-FFF2-40B4-BE49-F238E27FC236}">
                <a16:creationId xmlns:a16="http://schemas.microsoft.com/office/drawing/2014/main" id="{CD24FDDD-0740-C043-BA68-2988156804F9}"/>
              </a:ext>
            </a:extLst>
          </p:cNvPr>
          <p:cNvGrpSpPr/>
          <p:nvPr/>
        </p:nvGrpSpPr>
        <p:grpSpPr>
          <a:xfrm>
            <a:off x="1608633" y="4127277"/>
            <a:ext cx="149421" cy="316422"/>
            <a:chOff x="1608633" y="4127277"/>
            <a:chExt cx="149421" cy="316422"/>
          </a:xfrm>
        </p:grpSpPr>
        <p:sp>
          <p:nvSpPr>
            <p:cNvPr id="5636" name="Freeform 516"/>
            <p:cNvSpPr>
              <a:spLocks noChangeArrowheads="1"/>
            </p:cNvSpPr>
            <p:nvPr/>
          </p:nvSpPr>
          <p:spPr bwMode="auto">
            <a:xfrm>
              <a:off x="1608633" y="4127277"/>
              <a:ext cx="149421" cy="152351"/>
            </a:xfrm>
            <a:custGeom>
              <a:avLst/>
              <a:gdLst>
                <a:gd name="T0" fmla="*/ 448 w 449"/>
                <a:gd name="T1" fmla="*/ 232 h 457"/>
                <a:gd name="T2" fmla="*/ 448 w 449"/>
                <a:gd name="T3" fmla="*/ 232 h 457"/>
                <a:gd name="T4" fmla="*/ 224 w 449"/>
                <a:gd name="T5" fmla="*/ 456 h 457"/>
                <a:gd name="T6" fmla="*/ 0 w 449"/>
                <a:gd name="T7" fmla="*/ 232 h 457"/>
                <a:gd name="T8" fmla="*/ 224 w 449"/>
                <a:gd name="T9" fmla="*/ 0 h 457"/>
                <a:gd name="T10" fmla="*/ 448 w 449"/>
                <a:gd name="T11" fmla="*/ 232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9" h="457">
                  <a:moveTo>
                    <a:pt x="448" y="232"/>
                  </a:moveTo>
                  <a:lnTo>
                    <a:pt x="448" y="232"/>
                  </a:lnTo>
                  <a:cubicBezTo>
                    <a:pt x="448" y="351"/>
                    <a:pt x="343" y="456"/>
                    <a:pt x="224" y="456"/>
                  </a:cubicBezTo>
                  <a:cubicBezTo>
                    <a:pt x="97" y="456"/>
                    <a:pt x="0" y="351"/>
                    <a:pt x="0" y="232"/>
                  </a:cubicBezTo>
                  <a:cubicBezTo>
                    <a:pt x="0" y="105"/>
                    <a:pt x="97" y="0"/>
                    <a:pt x="224" y="0"/>
                  </a:cubicBezTo>
                  <a:cubicBezTo>
                    <a:pt x="343" y="0"/>
                    <a:pt x="448" y="105"/>
                    <a:pt x="448" y="232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37" name="Freeform 517"/>
            <p:cNvSpPr>
              <a:spLocks noChangeArrowheads="1"/>
            </p:cNvSpPr>
            <p:nvPr/>
          </p:nvSpPr>
          <p:spPr bwMode="auto">
            <a:xfrm>
              <a:off x="1633537" y="4155111"/>
              <a:ext cx="49807" cy="49807"/>
            </a:xfrm>
            <a:custGeom>
              <a:avLst/>
              <a:gdLst>
                <a:gd name="T0" fmla="*/ 0 w 150"/>
                <a:gd name="T1" fmla="*/ 149 h 150"/>
                <a:gd name="T2" fmla="*/ 0 w 150"/>
                <a:gd name="T3" fmla="*/ 149 h 150"/>
                <a:gd name="T4" fmla="*/ 149 w 150"/>
                <a:gd name="T5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0" h="150">
                  <a:moveTo>
                    <a:pt x="0" y="149"/>
                  </a:moveTo>
                  <a:lnTo>
                    <a:pt x="0" y="149"/>
                  </a:lnTo>
                  <a:cubicBezTo>
                    <a:pt x="0" y="67"/>
                    <a:pt x="67" y="0"/>
                    <a:pt x="149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38" name="Line 518"/>
            <p:cNvSpPr>
              <a:spLocks noChangeShapeType="1"/>
            </p:cNvSpPr>
            <p:nvPr/>
          </p:nvSpPr>
          <p:spPr bwMode="auto">
            <a:xfrm flipV="1">
              <a:off x="1683342" y="4276699"/>
              <a:ext cx="1466" cy="16700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32" name="Group 5831">
            <a:extLst>
              <a:ext uri="{FF2B5EF4-FFF2-40B4-BE49-F238E27FC236}">
                <a16:creationId xmlns:a16="http://schemas.microsoft.com/office/drawing/2014/main" id="{134244AA-623F-1946-8D14-8CB294881BE8}"/>
              </a:ext>
            </a:extLst>
          </p:cNvPr>
          <p:cNvGrpSpPr/>
          <p:nvPr/>
        </p:nvGrpSpPr>
        <p:grpSpPr>
          <a:xfrm>
            <a:off x="2235615" y="4127277"/>
            <a:ext cx="169930" cy="316420"/>
            <a:chOff x="2235615" y="4127277"/>
            <a:chExt cx="169930" cy="316420"/>
          </a:xfrm>
        </p:grpSpPr>
        <p:sp>
          <p:nvSpPr>
            <p:cNvPr id="5639" name="Line 519"/>
            <p:cNvSpPr>
              <a:spLocks noChangeShapeType="1"/>
            </p:cNvSpPr>
            <p:nvPr/>
          </p:nvSpPr>
          <p:spPr bwMode="auto">
            <a:xfrm flipV="1">
              <a:off x="2320580" y="4301600"/>
              <a:ext cx="1465" cy="142097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40" name="Freeform 520"/>
            <p:cNvSpPr>
              <a:spLocks noChangeArrowheads="1"/>
            </p:cNvSpPr>
            <p:nvPr/>
          </p:nvSpPr>
          <p:spPr bwMode="auto">
            <a:xfrm>
              <a:off x="2235615" y="4127277"/>
              <a:ext cx="84965" cy="177253"/>
            </a:xfrm>
            <a:custGeom>
              <a:avLst/>
              <a:gdLst>
                <a:gd name="T0" fmla="*/ 253 w 254"/>
                <a:gd name="T1" fmla="*/ 0 h 532"/>
                <a:gd name="T2" fmla="*/ 104 w 254"/>
                <a:gd name="T3" fmla="*/ 0 h 532"/>
                <a:gd name="T4" fmla="*/ 104 w 254"/>
                <a:gd name="T5" fmla="*/ 68 h 532"/>
                <a:gd name="T6" fmla="*/ 179 w 254"/>
                <a:gd name="T7" fmla="*/ 127 h 532"/>
                <a:gd name="T8" fmla="*/ 149 w 254"/>
                <a:gd name="T9" fmla="*/ 381 h 532"/>
                <a:gd name="T10" fmla="*/ 15 w 254"/>
                <a:gd name="T11" fmla="*/ 441 h 532"/>
                <a:gd name="T12" fmla="*/ 0 w 254"/>
                <a:gd name="T13" fmla="*/ 531 h 532"/>
                <a:gd name="T14" fmla="*/ 253 w 254"/>
                <a:gd name="T15" fmla="*/ 531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4" h="532">
                  <a:moveTo>
                    <a:pt x="253" y="0"/>
                  </a:moveTo>
                  <a:lnTo>
                    <a:pt x="104" y="0"/>
                  </a:lnTo>
                  <a:lnTo>
                    <a:pt x="104" y="68"/>
                  </a:lnTo>
                  <a:lnTo>
                    <a:pt x="179" y="127"/>
                  </a:lnTo>
                  <a:lnTo>
                    <a:pt x="149" y="381"/>
                  </a:lnTo>
                  <a:lnTo>
                    <a:pt x="15" y="441"/>
                  </a:lnTo>
                  <a:lnTo>
                    <a:pt x="0" y="531"/>
                  </a:lnTo>
                  <a:lnTo>
                    <a:pt x="253" y="531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41" name="Freeform 521"/>
            <p:cNvSpPr>
              <a:spLocks noChangeArrowheads="1"/>
            </p:cNvSpPr>
            <p:nvPr/>
          </p:nvSpPr>
          <p:spPr bwMode="auto">
            <a:xfrm>
              <a:off x="2320580" y="4127277"/>
              <a:ext cx="84965" cy="177253"/>
            </a:xfrm>
            <a:custGeom>
              <a:avLst/>
              <a:gdLst>
                <a:gd name="T0" fmla="*/ 0 w 255"/>
                <a:gd name="T1" fmla="*/ 0 h 532"/>
                <a:gd name="T2" fmla="*/ 150 w 255"/>
                <a:gd name="T3" fmla="*/ 0 h 532"/>
                <a:gd name="T4" fmla="*/ 150 w 255"/>
                <a:gd name="T5" fmla="*/ 68 h 532"/>
                <a:gd name="T6" fmla="*/ 75 w 255"/>
                <a:gd name="T7" fmla="*/ 127 h 532"/>
                <a:gd name="T8" fmla="*/ 105 w 255"/>
                <a:gd name="T9" fmla="*/ 381 h 532"/>
                <a:gd name="T10" fmla="*/ 239 w 255"/>
                <a:gd name="T11" fmla="*/ 441 h 532"/>
                <a:gd name="T12" fmla="*/ 254 w 255"/>
                <a:gd name="T13" fmla="*/ 531 h 532"/>
                <a:gd name="T14" fmla="*/ 0 w 255"/>
                <a:gd name="T15" fmla="*/ 531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5" h="532">
                  <a:moveTo>
                    <a:pt x="0" y="0"/>
                  </a:moveTo>
                  <a:lnTo>
                    <a:pt x="150" y="0"/>
                  </a:lnTo>
                  <a:lnTo>
                    <a:pt x="150" y="68"/>
                  </a:lnTo>
                  <a:lnTo>
                    <a:pt x="75" y="127"/>
                  </a:lnTo>
                  <a:lnTo>
                    <a:pt x="105" y="381"/>
                  </a:lnTo>
                  <a:lnTo>
                    <a:pt x="239" y="441"/>
                  </a:lnTo>
                  <a:lnTo>
                    <a:pt x="254" y="531"/>
                  </a:lnTo>
                  <a:lnTo>
                    <a:pt x="0" y="531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sp>
        <p:nvSpPr>
          <p:cNvPr id="5642" name="Freeform 522"/>
          <p:cNvSpPr>
            <a:spLocks noChangeArrowheads="1"/>
          </p:cNvSpPr>
          <p:nvPr/>
        </p:nvSpPr>
        <p:spPr bwMode="auto">
          <a:xfrm>
            <a:off x="2890429" y="4127277"/>
            <a:ext cx="139167" cy="306166"/>
          </a:xfrm>
          <a:custGeom>
            <a:avLst/>
            <a:gdLst>
              <a:gd name="T0" fmla="*/ 0 w 419"/>
              <a:gd name="T1" fmla="*/ 0 h 920"/>
              <a:gd name="T2" fmla="*/ 418 w 419"/>
              <a:gd name="T3" fmla="*/ 0 h 920"/>
              <a:gd name="T4" fmla="*/ 418 w 419"/>
              <a:gd name="T5" fmla="*/ 919 h 920"/>
              <a:gd name="T6" fmla="*/ 209 w 419"/>
              <a:gd name="T7" fmla="*/ 710 h 920"/>
              <a:gd name="T8" fmla="*/ 0 w 419"/>
              <a:gd name="T9" fmla="*/ 919 h 920"/>
              <a:gd name="T10" fmla="*/ 0 w 419"/>
              <a:gd name="T11" fmla="*/ 0 h 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9" h="920">
                <a:moveTo>
                  <a:pt x="0" y="0"/>
                </a:moveTo>
                <a:lnTo>
                  <a:pt x="418" y="0"/>
                </a:lnTo>
                <a:lnTo>
                  <a:pt x="418" y="919"/>
                </a:lnTo>
                <a:lnTo>
                  <a:pt x="209" y="710"/>
                </a:lnTo>
                <a:lnTo>
                  <a:pt x="0" y="919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chemeClr val="accent1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Montserrat Light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3498367" y="4122883"/>
            <a:ext cx="206552" cy="320816"/>
            <a:chOff x="6993559" y="8245765"/>
            <a:chExt cx="413103" cy="641631"/>
          </a:xfrm>
        </p:grpSpPr>
        <p:sp>
          <p:nvSpPr>
            <p:cNvPr id="5643" name="Line 523"/>
            <p:cNvSpPr>
              <a:spLocks noChangeShapeType="1"/>
            </p:cNvSpPr>
            <p:nvPr/>
          </p:nvSpPr>
          <p:spPr bwMode="auto">
            <a:xfrm>
              <a:off x="6993559" y="8245765"/>
              <a:ext cx="2929" cy="64163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44" name="Freeform 524"/>
            <p:cNvSpPr>
              <a:spLocks noChangeArrowheads="1"/>
            </p:cNvSpPr>
            <p:nvPr/>
          </p:nvSpPr>
          <p:spPr bwMode="auto">
            <a:xfrm>
              <a:off x="6993559" y="8310220"/>
              <a:ext cx="413103" cy="237317"/>
            </a:xfrm>
            <a:custGeom>
              <a:avLst/>
              <a:gdLst>
                <a:gd name="T0" fmla="*/ 0 w 621"/>
                <a:gd name="T1" fmla="*/ 0 h 359"/>
                <a:gd name="T2" fmla="*/ 620 w 621"/>
                <a:gd name="T3" fmla="*/ 0 h 359"/>
                <a:gd name="T4" fmla="*/ 523 w 621"/>
                <a:gd name="T5" fmla="*/ 179 h 359"/>
                <a:gd name="T6" fmla="*/ 620 w 621"/>
                <a:gd name="T7" fmla="*/ 358 h 359"/>
                <a:gd name="T8" fmla="*/ 0 w 621"/>
                <a:gd name="T9" fmla="*/ 358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1" h="359">
                  <a:moveTo>
                    <a:pt x="0" y="0"/>
                  </a:moveTo>
                  <a:lnTo>
                    <a:pt x="620" y="0"/>
                  </a:lnTo>
                  <a:lnTo>
                    <a:pt x="523" y="179"/>
                  </a:lnTo>
                  <a:lnTo>
                    <a:pt x="620" y="358"/>
                  </a:lnTo>
                  <a:lnTo>
                    <a:pt x="0" y="358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01" name="Group 5800"/>
          <p:cNvGrpSpPr/>
          <p:nvPr/>
        </p:nvGrpSpPr>
        <p:grpSpPr>
          <a:xfrm>
            <a:off x="4110700" y="4122883"/>
            <a:ext cx="250499" cy="320816"/>
            <a:chOff x="8218224" y="8245765"/>
            <a:chExt cx="500998" cy="641631"/>
          </a:xfrm>
        </p:grpSpPr>
        <p:sp>
          <p:nvSpPr>
            <p:cNvPr id="5645" name="Line 525"/>
            <p:cNvSpPr>
              <a:spLocks noChangeShapeType="1"/>
            </p:cNvSpPr>
            <p:nvPr/>
          </p:nvSpPr>
          <p:spPr bwMode="auto">
            <a:xfrm>
              <a:off x="8218224" y="8245765"/>
              <a:ext cx="2929" cy="64163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46" name="Freeform 526"/>
            <p:cNvSpPr>
              <a:spLocks noChangeArrowheads="1"/>
            </p:cNvSpPr>
            <p:nvPr/>
          </p:nvSpPr>
          <p:spPr bwMode="auto">
            <a:xfrm>
              <a:off x="8411592" y="8310220"/>
              <a:ext cx="307630" cy="287123"/>
            </a:xfrm>
            <a:custGeom>
              <a:avLst/>
              <a:gdLst>
                <a:gd name="T0" fmla="*/ 89 w 464"/>
                <a:gd name="T1" fmla="*/ 0 h 433"/>
                <a:gd name="T2" fmla="*/ 0 w 464"/>
                <a:gd name="T3" fmla="*/ 74 h 433"/>
                <a:gd name="T4" fmla="*/ 0 w 464"/>
                <a:gd name="T5" fmla="*/ 432 h 433"/>
                <a:gd name="T6" fmla="*/ 463 w 464"/>
                <a:gd name="T7" fmla="*/ 432 h 433"/>
                <a:gd name="T8" fmla="*/ 373 w 464"/>
                <a:gd name="T9" fmla="*/ 253 h 433"/>
                <a:gd name="T10" fmla="*/ 463 w 464"/>
                <a:gd name="T11" fmla="*/ 74 h 433"/>
                <a:gd name="T12" fmla="*/ 0 w 464"/>
                <a:gd name="T13" fmla="*/ 74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4" h="433">
                  <a:moveTo>
                    <a:pt x="89" y="0"/>
                  </a:moveTo>
                  <a:lnTo>
                    <a:pt x="0" y="74"/>
                  </a:lnTo>
                  <a:lnTo>
                    <a:pt x="0" y="432"/>
                  </a:lnTo>
                  <a:lnTo>
                    <a:pt x="463" y="432"/>
                  </a:lnTo>
                  <a:lnTo>
                    <a:pt x="373" y="253"/>
                  </a:lnTo>
                  <a:lnTo>
                    <a:pt x="463" y="74"/>
                  </a:lnTo>
                  <a:lnTo>
                    <a:pt x="0" y="74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47" name="Freeform 527"/>
            <p:cNvSpPr>
              <a:spLocks noChangeArrowheads="1"/>
            </p:cNvSpPr>
            <p:nvPr/>
          </p:nvSpPr>
          <p:spPr bwMode="auto">
            <a:xfrm>
              <a:off x="8218224" y="8310220"/>
              <a:ext cx="251964" cy="237317"/>
            </a:xfrm>
            <a:custGeom>
              <a:avLst/>
              <a:gdLst>
                <a:gd name="T0" fmla="*/ 291 w 381"/>
                <a:gd name="T1" fmla="*/ 358 h 359"/>
                <a:gd name="T2" fmla="*/ 0 w 381"/>
                <a:gd name="T3" fmla="*/ 358 h 359"/>
                <a:gd name="T4" fmla="*/ 0 w 381"/>
                <a:gd name="T5" fmla="*/ 0 h 359"/>
                <a:gd name="T6" fmla="*/ 380 w 381"/>
                <a:gd name="T7" fmla="*/ 0 h 359"/>
                <a:gd name="T8" fmla="*/ 380 w 381"/>
                <a:gd name="T9" fmla="*/ 74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1" h="359">
                  <a:moveTo>
                    <a:pt x="291" y="358"/>
                  </a:moveTo>
                  <a:lnTo>
                    <a:pt x="0" y="358"/>
                  </a:lnTo>
                  <a:lnTo>
                    <a:pt x="0" y="0"/>
                  </a:lnTo>
                  <a:lnTo>
                    <a:pt x="380" y="0"/>
                  </a:lnTo>
                  <a:lnTo>
                    <a:pt x="380" y="74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33" name="Group 5832">
            <a:extLst>
              <a:ext uri="{FF2B5EF4-FFF2-40B4-BE49-F238E27FC236}">
                <a16:creationId xmlns:a16="http://schemas.microsoft.com/office/drawing/2014/main" id="{4C185BC2-79D8-6148-BD0D-6187D2198CB2}"/>
              </a:ext>
            </a:extLst>
          </p:cNvPr>
          <p:cNvGrpSpPr/>
          <p:nvPr/>
        </p:nvGrpSpPr>
        <p:grpSpPr>
          <a:xfrm>
            <a:off x="4720102" y="4229821"/>
            <a:ext cx="310561" cy="120123"/>
            <a:chOff x="4720102" y="4229821"/>
            <a:chExt cx="310561" cy="120123"/>
          </a:xfrm>
        </p:grpSpPr>
        <p:sp>
          <p:nvSpPr>
            <p:cNvPr id="5648" name="Freeform 528"/>
            <p:cNvSpPr>
              <a:spLocks noChangeArrowheads="1"/>
            </p:cNvSpPr>
            <p:nvPr/>
          </p:nvSpPr>
          <p:spPr bwMode="auto">
            <a:xfrm>
              <a:off x="4720102" y="4229821"/>
              <a:ext cx="290053" cy="120123"/>
            </a:xfrm>
            <a:custGeom>
              <a:avLst/>
              <a:gdLst>
                <a:gd name="T0" fmla="*/ 0 w 874"/>
                <a:gd name="T1" fmla="*/ 0 h 360"/>
                <a:gd name="T2" fmla="*/ 0 w 874"/>
                <a:gd name="T3" fmla="*/ 359 h 360"/>
                <a:gd name="T4" fmla="*/ 873 w 874"/>
                <a:gd name="T5" fmla="*/ 359 h 360"/>
                <a:gd name="T6" fmla="*/ 873 w 874"/>
                <a:gd name="T7" fmla="*/ 0 h 360"/>
                <a:gd name="T8" fmla="*/ 0 w 874"/>
                <a:gd name="T9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4" h="360">
                  <a:moveTo>
                    <a:pt x="0" y="0"/>
                  </a:moveTo>
                  <a:lnTo>
                    <a:pt x="0" y="359"/>
                  </a:lnTo>
                  <a:lnTo>
                    <a:pt x="873" y="359"/>
                  </a:lnTo>
                  <a:lnTo>
                    <a:pt x="873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49" name="Freeform 529"/>
            <p:cNvSpPr>
              <a:spLocks noChangeArrowheads="1"/>
            </p:cNvSpPr>
            <p:nvPr/>
          </p:nvSpPr>
          <p:spPr bwMode="auto">
            <a:xfrm>
              <a:off x="5010154" y="4259119"/>
              <a:ext cx="20509" cy="60061"/>
            </a:xfrm>
            <a:custGeom>
              <a:avLst/>
              <a:gdLst>
                <a:gd name="T0" fmla="*/ 0 w 61"/>
                <a:gd name="T1" fmla="*/ 0 h 180"/>
                <a:gd name="T2" fmla="*/ 60 w 61"/>
                <a:gd name="T3" fmla="*/ 0 h 180"/>
                <a:gd name="T4" fmla="*/ 60 w 61"/>
                <a:gd name="T5" fmla="*/ 179 h 180"/>
                <a:gd name="T6" fmla="*/ 0 w 61"/>
                <a:gd name="T7" fmla="*/ 17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1" h="180">
                  <a:moveTo>
                    <a:pt x="0" y="0"/>
                  </a:moveTo>
                  <a:lnTo>
                    <a:pt x="60" y="0"/>
                  </a:lnTo>
                  <a:lnTo>
                    <a:pt x="60" y="179"/>
                  </a:lnTo>
                  <a:lnTo>
                    <a:pt x="0" y="17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50" name="Freeform 530"/>
            <p:cNvSpPr>
              <a:spLocks noChangeArrowheads="1"/>
            </p:cNvSpPr>
            <p:nvPr/>
          </p:nvSpPr>
          <p:spPr bwMode="auto">
            <a:xfrm>
              <a:off x="4740611" y="4248865"/>
              <a:ext cx="64456" cy="79105"/>
            </a:xfrm>
            <a:custGeom>
              <a:avLst/>
              <a:gdLst>
                <a:gd name="T0" fmla="*/ 194 w 195"/>
                <a:gd name="T1" fmla="*/ 239 h 240"/>
                <a:gd name="T2" fmla="*/ 0 w 195"/>
                <a:gd name="T3" fmla="*/ 239 h 240"/>
                <a:gd name="T4" fmla="*/ 0 w 195"/>
                <a:gd name="T5" fmla="*/ 0 h 240"/>
                <a:gd name="T6" fmla="*/ 134 w 195"/>
                <a:gd name="T7" fmla="*/ 0 h 240"/>
                <a:gd name="T8" fmla="*/ 194 w 195"/>
                <a:gd name="T9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240">
                  <a:moveTo>
                    <a:pt x="194" y="239"/>
                  </a:moveTo>
                  <a:lnTo>
                    <a:pt x="0" y="239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94" y="23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34" name="Group 5833">
            <a:extLst>
              <a:ext uri="{FF2B5EF4-FFF2-40B4-BE49-F238E27FC236}">
                <a16:creationId xmlns:a16="http://schemas.microsoft.com/office/drawing/2014/main" id="{30671003-3859-624F-884E-269490FCB9FB}"/>
              </a:ext>
            </a:extLst>
          </p:cNvPr>
          <p:cNvGrpSpPr/>
          <p:nvPr/>
        </p:nvGrpSpPr>
        <p:grpSpPr>
          <a:xfrm>
            <a:off x="5357337" y="4229821"/>
            <a:ext cx="310562" cy="120123"/>
            <a:chOff x="5357337" y="4229821"/>
            <a:chExt cx="310562" cy="120123"/>
          </a:xfrm>
        </p:grpSpPr>
        <p:sp>
          <p:nvSpPr>
            <p:cNvPr id="5651" name="Freeform 531"/>
            <p:cNvSpPr>
              <a:spLocks noChangeArrowheads="1"/>
            </p:cNvSpPr>
            <p:nvPr/>
          </p:nvSpPr>
          <p:spPr bwMode="auto">
            <a:xfrm>
              <a:off x="5357337" y="4229821"/>
              <a:ext cx="290053" cy="120123"/>
            </a:xfrm>
            <a:custGeom>
              <a:avLst/>
              <a:gdLst>
                <a:gd name="T0" fmla="*/ 0 w 875"/>
                <a:gd name="T1" fmla="*/ 0 h 360"/>
                <a:gd name="T2" fmla="*/ 0 w 875"/>
                <a:gd name="T3" fmla="*/ 359 h 360"/>
                <a:gd name="T4" fmla="*/ 874 w 875"/>
                <a:gd name="T5" fmla="*/ 359 h 360"/>
                <a:gd name="T6" fmla="*/ 874 w 875"/>
                <a:gd name="T7" fmla="*/ 0 h 360"/>
                <a:gd name="T8" fmla="*/ 0 w 875"/>
                <a:gd name="T9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5" h="360">
                  <a:moveTo>
                    <a:pt x="0" y="0"/>
                  </a:moveTo>
                  <a:lnTo>
                    <a:pt x="0" y="359"/>
                  </a:lnTo>
                  <a:lnTo>
                    <a:pt x="874" y="359"/>
                  </a:lnTo>
                  <a:lnTo>
                    <a:pt x="874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52" name="Freeform 532"/>
            <p:cNvSpPr>
              <a:spLocks noChangeArrowheads="1"/>
            </p:cNvSpPr>
            <p:nvPr/>
          </p:nvSpPr>
          <p:spPr bwMode="auto">
            <a:xfrm>
              <a:off x="5647390" y="4259119"/>
              <a:ext cx="20509" cy="60061"/>
            </a:xfrm>
            <a:custGeom>
              <a:avLst/>
              <a:gdLst>
                <a:gd name="T0" fmla="*/ 0 w 61"/>
                <a:gd name="T1" fmla="*/ 0 h 180"/>
                <a:gd name="T2" fmla="*/ 60 w 61"/>
                <a:gd name="T3" fmla="*/ 0 h 180"/>
                <a:gd name="T4" fmla="*/ 60 w 61"/>
                <a:gd name="T5" fmla="*/ 179 h 180"/>
                <a:gd name="T6" fmla="*/ 0 w 61"/>
                <a:gd name="T7" fmla="*/ 17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1" h="180">
                  <a:moveTo>
                    <a:pt x="0" y="0"/>
                  </a:moveTo>
                  <a:lnTo>
                    <a:pt x="60" y="0"/>
                  </a:lnTo>
                  <a:lnTo>
                    <a:pt x="60" y="179"/>
                  </a:lnTo>
                  <a:lnTo>
                    <a:pt x="0" y="17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53" name="Freeform 533"/>
            <p:cNvSpPr>
              <a:spLocks noChangeArrowheads="1"/>
            </p:cNvSpPr>
            <p:nvPr/>
          </p:nvSpPr>
          <p:spPr bwMode="auto">
            <a:xfrm>
              <a:off x="5377846" y="4248865"/>
              <a:ext cx="142097" cy="79105"/>
            </a:xfrm>
            <a:custGeom>
              <a:avLst/>
              <a:gdLst>
                <a:gd name="T0" fmla="*/ 426 w 427"/>
                <a:gd name="T1" fmla="*/ 239 h 240"/>
                <a:gd name="T2" fmla="*/ 0 w 427"/>
                <a:gd name="T3" fmla="*/ 239 h 240"/>
                <a:gd name="T4" fmla="*/ 0 w 427"/>
                <a:gd name="T5" fmla="*/ 0 h 240"/>
                <a:gd name="T6" fmla="*/ 366 w 427"/>
                <a:gd name="T7" fmla="*/ 0 h 240"/>
                <a:gd name="T8" fmla="*/ 426 w 427"/>
                <a:gd name="T9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240">
                  <a:moveTo>
                    <a:pt x="426" y="239"/>
                  </a:moveTo>
                  <a:lnTo>
                    <a:pt x="0" y="239"/>
                  </a:lnTo>
                  <a:lnTo>
                    <a:pt x="0" y="0"/>
                  </a:lnTo>
                  <a:lnTo>
                    <a:pt x="366" y="0"/>
                  </a:lnTo>
                  <a:lnTo>
                    <a:pt x="426" y="23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17" name="Group 5816">
            <a:extLst>
              <a:ext uri="{FF2B5EF4-FFF2-40B4-BE49-F238E27FC236}">
                <a16:creationId xmlns:a16="http://schemas.microsoft.com/office/drawing/2014/main" id="{E435C794-FD6A-5C4F-B762-956556D03CB7}"/>
              </a:ext>
            </a:extLst>
          </p:cNvPr>
          <p:cNvGrpSpPr/>
          <p:nvPr/>
        </p:nvGrpSpPr>
        <p:grpSpPr>
          <a:xfrm>
            <a:off x="5997503" y="4229821"/>
            <a:ext cx="310562" cy="120123"/>
            <a:chOff x="5997503" y="4229821"/>
            <a:chExt cx="310562" cy="120123"/>
          </a:xfrm>
        </p:grpSpPr>
        <p:sp>
          <p:nvSpPr>
            <p:cNvPr id="5654" name="Freeform 534"/>
            <p:cNvSpPr>
              <a:spLocks noChangeArrowheads="1"/>
            </p:cNvSpPr>
            <p:nvPr/>
          </p:nvSpPr>
          <p:spPr bwMode="auto">
            <a:xfrm>
              <a:off x="5997503" y="4229821"/>
              <a:ext cx="290053" cy="120123"/>
            </a:xfrm>
            <a:custGeom>
              <a:avLst/>
              <a:gdLst>
                <a:gd name="T0" fmla="*/ 0 w 875"/>
                <a:gd name="T1" fmla="*/ 0 h 360"/>
                <a:gd name="T2" fmla="*/ 0 w 875"/>
                <a:gd name="T3" fmla="*/ 359 h 360"/>
                <a:gd name="T4" fmla="*/ 874 w 875"/>
                <a:gd name="T5" fmla="*/ 359 h 360"/>
                <a:gd name="T6" fmla="*/ 874 w 875"/>
                <a:gd name="T7" fmla="*/ 0 h 360"/>
                <a:gd name="T8" fmla="*/ 0 w 875"/>
                <a:gd name="T9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5" h="360">
                  <a:moveTo>
                    <a:pt x="0" y="0"/>
                  </a:moveTo>
                  <a:lnTo>
                    <a:pt x="0" y="359"/>
                  </a:lnTo>
                  <a:lnTo>
                    <a:pt x="874" y="359"/>
                  </a:lnTo>
                  <a:lnTo>
                    <a:pt x="874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55" name="Freeform 535"/>
            <p:cNvSpPr>
              <a:spLocks noChangeArrowheads="1"/>
            </p:cNvSpPr>
            <p:nvPr/>
          </p:nvSpPr>
          <p:spPr bwMode="auto">
            <a:xfrm>
              <a:off x="6287556" y="4259119"/>
              <a:ext cx="20509" cy="60061"/>
            </a:xfrm>
            <a:custGeom>
              <a:avLst/>
              <a:gdLst>
                <a:gd name="T0" fmla="*/ 0 w 60"/>
                <a:gd name="T1" fmla="*/ 0 h 180"/>
                <a:gd name="T2" fmla="*/ 59 w 60"/>
                <a:gd name="T3" fmla="*/ 0 h 180"/>
                <a:gd name="T4" fmla="*/ 59 w 60"/>
                <a:gd name="T5" fmla="*/ 179 h 180"/>
                <a:gd name="T6" fmla="*/ 0 w 60"/>
                <a:gd name="T7" fmla="*/ 17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180">
                  <a:moveTo>
                    <a:pt x="0" y="0"/>
                  </a:moveTo>
                  <a:lnTo>
                    <a:pt x="59" y="0"/>
                  </a:lnTo>
                  <a:lnTo>
                    <a:pt x="59" y="179"/>
                  </a:lnTo>
                  <a:lnTo>
                    <a:pt x="0" y="17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56" name="Freeform 536"/>
            <p:cNvSpPr>
              <a:spLocks noChangeArrowheads="1"/>
            </p:cNvSpPr>
            <p:nvPr/>
          </p:nvSpPr>
          <p:spPr bwMode="auto">
            <a:xfrm>
              <a:off x="6018013" y="4248865"/>
              <a:ext cx="250499" cy="79105"/>
            </a:xfrm>
            <a:custGeom>
              <a:avLst/>
              <a:gdLst>
                <a:gd name="T0" fmla="*/ 754 w 755"/>
                <a:gd name="T1" fmla="*/ 239 h 240"/>
                <a:gd name="T2" fmla="*/ 0 w 755"/>
                <a:gd name="T3" fmla="*/ 239 h 240"/>
                <a:gd name="T4" fmla="*/ 0 w 755"/>
                <a:gd name="T5" fmla="*/ 0 h 240"/>
                <a:gd name="T6" fmla="*/ 754 w 755"/>
                <a:gd name="T7" fmla="*/ 0 h 240"/>
                <a:gd name="T8" fmla="*/ 754 w 755"/>
                <a:gd name="T9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5" h="240">
                  <a:moveTo>
                    <a:pt x="754" y="239"/>
                  </a:moveTo>
                  <a:lnTo>
                    <a:pt x="0" y="239"/>
                  </a:lnTo>
                  <a:lnTo>
                    <a:pt x="0" y="0"/>
                  </a:lnTo>
                  <a:lnTo>
                    <a:pt x="754" y="0"/>
                  </a:lnTo>
                  <a:lnTo>
                    <a:pt x="754" y="23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18" name="Group 5817">
            <a:extLst>
              <a:ext uri="{FF2B5EF4-FFF2-40B4-BE49-F238E27FC236}">
                <a16:creationId xmlns:a16="http://schemas.microsoft.com/office/drawing/2014/main" id="{AD39DB7F-BC04-5F48-9494-79B8D069F4B4}"/>
              </a:ext>
            </a:extLst>
          </p:cNvPr>
          <p:cNvGrpSpPr/>
          <p:nvPr/>
        </p:nvGrpSpPr>
        <p:grpSpPr>
          <a:xfrm>
            <a:off x="6634739" y="4229821"/>
            <a:ext cx="310561" cy="120123"/>
            <a:chOff x="6634739" y="4229821"/>
            <a:chExt cx="310561" cy="120123"/>
          </a:xfrm>
        </p:grpSpPr>
        <p:sp>
          <p:nvSpPr>
            <p:cNvPr id="5657" name="Freeform 537"/>
            <p:cNvSpPr>
              <a:spLocks noChangeArrowheads="1"/>
            </p:cNvSpPr>
            <p:nvPr/>
          </p:nvSpPr>
          <p:spPr bwMode="auto">
            <a:xfrm>
              <a:off x="6634739" y="4229821"/>
              <a:ext cx="290053" cy="120123"/>
            </a:xfrm>
            <a:custGeom>
              <a:avLst/>
              <a:gdLst>
                <a:gd name="T0" fmla="*/ 0 w 874"/>
                <a:gd name="T1" fmla="*/ 0 h 360"/>
                <a:gd name="T2" fmla="*/ 0 w 874"/>
                <a:gd name="T3" fmla="*/ 359 h 360"/>
                <a:gd name="T4" fmla="*/ 873 w 874"/>
                <a:gd name="T5" fmla="*/ 359 h 360"/>
                <a:gd name="T6" fmla="*/ 873 w 874"/>
                <a:gd name="T7" fmla="*/ 0 h 360"/>
                <a:gd name="T8" fmla="*/ 0 w 874"/>
                <a:gd name="T9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4" h="360">
                  <a:moveTo>
                    <a:pt x="0" y="0"/>
                  </a:moveTo>
                  <a:lnTo>
                    <a:pt x="0" y="359"/>
                  </a:lnTo>
                  <a:lnTo>
                    <a:pt x="873" y="359"/>
                  </a:lnTo>
                  <a:lnTo>
                    <a:pt x="873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58" name="Freeform 538"/>
            <p:cNvSpPr>
              <a:spLocks noChangeArrowheads="1"/>
            </p:cNvSpPr>
            <p:nvPr/>
          </p:nvSpPr>
          <p:spPr bwMode="auto">
            <a:xfrm>
              <a:off x="6924791" y="4259119"/>
              <a:ext cx="20509" cy="60061"/>
            </a:xfrm>
            <a:custGeom>
              <a:avLst/>
              <a:gdLst>
                <a:gd name="T0" fmla="*/ 0 w 61"/>
                <a:gd name="T1" fmla="*/ 0 h 180"/>
                <a:gd name="T2" fmla="*/ 60 w 61"/>
                <a:gd name="T3" fmla="*/ 0 h 180"/>
                <a:gd name="T4" fmla="*/ 60 w 61"/>
                <a:gd name="T5" fmla="*/ 179 h 180"/>
                <a:gd name="T6" fmla="*/ 0 w 61"/>
                <a:gd name="T7" fmla="*/ 17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1" h="180">
                  <a:moveTo>
                    <a:pt x="0" y="0"/>
                  </a:moveTo>
                  <a:lnTo>
                    <a:pt x="60" y="0"/>
                  </a:lnTo>
                  <a:lnTo>
                    <a:pt x="60" y="179"/>
                  </a:lnTo>
                  <a:lnTo>
                    <a:pt x="0" y="17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59" name="Freeform 539"/>
            <p:cNvSpPr>
              <a:spLocks noChangeArrowheads="1"/>
            </p:cNvSpPr>
            <p:nvPr/>
          </p:nvSpPr>
          <p:spPr bwMode="auto">
            <a:xfrm>
              <a:off x="6656713" y="4248865"/>
              <a:ext cx="247570" cy="79105"/>
            </a:xfrm>
            <a:custGeom>
              <a:avLst/>
              <a:gdLst>
                <a:gd name="T0" fmla="*/ 746 w 747"/>
                <a:gd name="T1" fmla="*/ 239 h 240"/>
                <a:gd name="T2" fmla="*/ 0 w 747"/>
                <a:gd name="T3" fmla="*/ 239 h 240"/>
                <a:gd name="T4" fmla="*/ 0 w 747"/>
                <a:gd name="T5" fmla="*/ 0 h 240"/>
                <a:gd name="T6" fmla="*/ 746 w 747"/>
                <a:gd name="T7" fmla="*/ 0 h 240"/>
                <a:gd name="T8" fmla="*/ 746 w 747"/>
                <a:gd name="T9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7" h="240">
                  <a:moveTo>
                    <a:pt x="746" y="239"/>
                  </a:moveTo>
                  <a:lnTo>
                    <a:pt x="0" y="239"/>
                  </a:lnTo>
                  <a:lnTo>
                    <a:pt x="0" y="0"/>
                  </a:lnTo>
                  <a:lnTo>
                    <a:pt x="746" y="0"/>
                  </a:lnTo>
                  <a:lnTo>
                    <a:pt x="746" y="23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60" name="Freeform 540"/>
            <p:cNvSpPr>
              <a:spLocks noChangeArrowheads="1"/>
            </p:cNvSpPr>
            <p:nvPr/>
          </p:nvSpPr>
          <p:spPr bwMode="auto">
            <a:xfrm>
              <a:off x="6741678" y="4273769"/>
              <a:ext cx="70316" cy="30763"/>
            </a:xfrm>
            <a:custGeom>
              <a:avLst/>
              <a:gdLst>
                <a:gd name="T0" fmla="*/ 0 w 210"/>
                <a:gd name="T1" fmla="*/ 45 h 91"/>
                <a:gd name="T2" fmla="*/ 104 w 210"/>
                <a:gd name="T3" fmla="*/ 0 h 91"/>
                <a:gd name="T4" fmla="*/ 104 w 210"/>
                <a:gd name="T5" fmla="*/ 90 h 91"/>
                <a:gd name="T6" fmla="*/ 209 w 210"/>
                <a:gd name="T7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0" h="91">
                  <a:moveTo>
                    <a:pt x="0" y="45"/>
                  </a:moveTo>
                  <a:lnTo>
                    <a:pt x="104" y="0"/>
                  </a:lnTo>
                  <a:lnTo>
                    <a:pt x="104" y="90"/>
                  </a:lnTo>
                  <a:lnTo>
                    <a:pt x="209" y="45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56" name="Group 5855">
            <a:extLst>
              <a:ext uri="{FF2B5EF4-FFF2-40B4-BE49-F238E27FC236}">
                <a16:creationId xmlns:a16="http://schemas.microsoft.com/office/drawing/2014/main" id="{63D70FE8-56CB-2A4F-B374-BECFEF4937BF}"/>
              </a:ext>
            </a:extLst>
          </p:cNvPr>
          <p:cNvGrpSpPr/>
          <p:nvPr/>
        </p:nvGrpSpPr>
        <p:grpSpPr>
          <a:xfrm>
            <a:off x="4705452" y="4752794"/>
            <a:ext cx="339859" cy="339859"/>
            <a:chOff x="4705452" y="4752794"/>
            <a:chExt cx="339859" cy="339859"/>
          </a:xfrm>
        </p:grpSpPr>
        <p:sp>
          <p:nvSpPr>
            <p:cNvPr id="5661" name="Freeform 541"/>
            <p:cNvSpPr>
              <a:spLocks noChangeArrowheads="1"/>
            </p:cNvSpPr>
            <p:nvPr/>
          </p:nvSpPr>
          <p:spPr bwMode="auto">
            <a:xfrm>
              <a:off x="4705452" y="4752794"/>
              <a:ext cx="339859" cy="339859"/>
            </a:xfrm>
            <a:custGeom>
              <a:avLst/>
              <a:gdLst>
                <a:gd name="T0" fmla="*/ 836 w 1024"/>
                <a:gd name="T1" fmla="*/ 179 h 1023"/>
                <a:gd name="T2" fmla="*/ 836 w 1024"/>
                <a:gd name="T3" fmla="*/ 179 h 1023"/>
                <a:gd name="T4" fmla="*/ 836 w 1024"/>
                <a:gd name="T5" fmla="*/ 836 h 1023"/>
                <a:gd name="T6" fmla="*/ 180 w 1024"/>
                <a:gd name="T7" fmla="*/ 836 h 1023"/>
                <a:gd name="T8" fmla="*/ 180 w 1024"/>
                <a:gd name="T9" fmla="*/ 179 h 1023"/>
                <a:gd name="T10" fmla="*/ 836 w 1024"/>
                <a:gd name="T11" fmla="*/ 179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4" h="1023">
                  <a:moveTo>
                    <a:pt x="836" y="179"/>
                  </a:moveTo>
                  <a:lnTo>
                    <a:pt x="836" y="179"/>
                  </a:lnTo>
                  <a:cubicBezTo>
                    <a:pt x="1023" y="365"/>
                    <a:pt x="1023" y="656"/>
                    <a:pt x="836" y="836"/>
                  </a:cubicBezTo>
                  <a:cubicBezTo>
                    <a:pt x="657" y="1022"/>
                    <a:pt x="366" y="1022"/>
                    <a:pt x="180" y="836"/>
                  </a:cubicBezTo>
                  <a:cubicBezTo>
                    <a:pt x="0" y="656"/>
                    <a:pt x="0" y="365"/>
                    <a:pt x="180" y="179"/>
                  </a:cubicBezTo>
                  <a:cubicBezTo>
                    <a:pt x="366" y="0"/>
                    <a:pt x="657" y="0"/>
                    <a:pt x="836" y="17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62" name="Freeform 542"/>
            <p:cNvSpPr>
              <a:spLocks noChangeArrowheads="1"/>
            </p:cNvSpPr>
            <p:nvPr/>
          </p:nvSpPr>
          <p:spPr bwMode="auto">
            <a:xfrm>
              <a:off x="4873917" y="4846548"/>
              <a:ext cx="1466" cy="109869"/>
            </a:xfrm>
            <a:custGeom>
              <a:avLst/>
              <a:gdLst>
                <a:gd name="T0" fmla="*/ 0 w 1"/>
                <a:gd name="T1" fmla="*/ 0 h 330"/>
                <a:gd name="T2" fmla="*/ 0 w 1"/>
                <a:gd name="T3" fmla="*/ 329 h 330"/>
                <a:gd name="T4" fmla="*/ 0 w 1"/>
                <a:gd name="T5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330">
                  <a:moveTo>
                    <a:pt x="0" y="0"/>
                  </a:moveTo>
                  <a:lnTo>
                    <a:pt x="0" y="329"/>
                  </a:lnTo>
                  <a:lnTo>
                    <a:pt x="0" y="0"/>
                  </a:lnTo>
                </a:path>
              </a:pathLst>
            </a:custGeom>
            <a:solidFill>
              <a:srgbClr val="010101"/>
            </a:solidFill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63" name="Line 543"/>
            <p:cNvSpPr>
              <a:spLocks noChangeShapeType="1"/>
            </p:cNvSpPr>
            <p:nvPr/>
          </p:nvSpPr>
          <p:spPr bwMode="auto">
            <a:xfrm>
              <a:off x="4873917" y="4846548"/>
              <a:ext cx="1466" cy="10986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64" name="Freeform 544"/>
            <p:cNvSpPr>
              <a:spLocks noChangeArrowheads="1"/>
            </p:cNvSpPr>
            <p:nvPr/>
          </p:nvSpPr>
          <p:spPr bwMode="auto">
            <a:xfrm>
              <a:off x="4873917" y="4975460"/>
              <a:ext cx="1466" cy="23438"/>
            </a:xfrm>
            <a:custGeom>
              <a:avLst/>
              <a:gdLst>
                <a:gd name="T0" fmla="*/ 0 w 1"/>
                <a:gd name="T1" fmla="*/ 0 h 69"/>
                <a:gd name="T2" fmla="*/ 0 w 1"/>
                <a:gd name="T3" fmla="*/ 68 h 69"/>
                <a:gd name="T4" fmla="*/ 0 w 1"/>
                <a:gd name="T5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69">
                  <a:moveTo>
                    <a:pt x="0" y="0"/>
                  </a:moveTo>
                  <a:lnTo>
                    <a:pt x="0" y="68"/>
                  </a:lnTo>
                  <a:lnTo>
                    <a:pt x="0" y="0"/>
                  </a:lnTo>
                </a:path>
              </a:pathLst>
            </a:custGeom>
            <a:solidFill>
              <a:srgbClr val="010101"/>
            </a:solidFill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65" name="Line 545"/>
            <p:cNvSpPr>
              <a:spLocks noChangeShapeType="1"/>
            </p:cNvSpPr>
            <p:nvPr/>
          </p:nvSpPr>
          <p:spPr bwMode="auto">
            <a:xfrm>
              <a:off x="4873917" y="4975461"/>
              <a:ext cx="1466" cy="2197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55" name="Group 5854">
            <a:extLst>
              <a:ext uri="{FF2B5EF4-FFF2-40B4-BE49-F238E27FC236}">
                <a16:creationId xmlns:a16="http://schemas.microsoft.com/office/drawing/2014/main" id="{E1363BBA-C391-BC49-8025-B41C14525420}"/>
              </a:ext>
            </a:extLst>
          </p:cNvPr>
          <p:cNvGrpSpPr/>
          <p:nvPr/>
        </p:nvGrpSpPr>
        <p:grpSpPr>
          <a:xfrm>
            <a:off x="5342688" y="4752794"/>
            <a:ext cx="339859" cy="339859"/>
            <a:chOff x="5342688" y="4752794"/>
            <a:chExt cx="339859" cy="339859"/>
          </a:xfrm>
        </p:grpSpPr>
        <p:sp>
          <p:nvSpPr>
            <p:cNvPr id="5666" name="Freeform 546"/>
            <p:cNvSpPr>
              <a:spLocks noChangeArrowheads="1"/>
            </p:cNvSpPr>
            <p:nvPr/>
          </p:nvSpPr>
          <p:spPr bwMode="auto">
            <a:xfrm>
              <a:off x="5342688" y="4752794"/>
              <a:ext cx="339859" cy="339859"/>
            </a:xfrm>
            <a:custGeom>
              <a:avLst/>
              <a:gdLst>
                <a:gd name="T0" fmla="*/ 843 w 1023"/>
                <a:gd name="T1" fmla="*/ 179 h 1023"/>
                <a:gd name="T2" fmla="*/ 843 w 1023"/>
                <a:gd name="T3" fmla="*/ 179 h 1023"/>
                <a:gd name="T4" fmla="*/ 843 w 1023"/>
                <a:gd name="T5" fmla="*/ 836 h 1023"/>
                <a:gd name="T6" fmla="*/ 186 w 1023"/>
                <a:gd name="T7" fmla="*/ 836 h 1023"/>
                <a:gd name="T8" fmla="*/ 186 w 1023"/>
                <a:gd name="T9" fmla="*/ 179 h 1023"/>
                <a:gd name="T10" fmla="*/ 843 w 1023"/>
                <a:gd name="T11" fmla="*/ 179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3" h="1023">
                  <a:moveTo>
                    <a:pt x="843" y="179"/>
                  </a:moveTo>
                  <a:lnTo>
                    <a:pt x="843" y="179"/>
                  </a:lnTo>
                  <a:cubicBezTo>
                    <a:pt x="1022" y="365"/>
                    <a:pt x="1022" y="656"/>
                    <a:pt x="843" y="836"/>
                  </a:cubicBezTo>
                  <a:cubicBezTo>
                    <a:pt x="664" y="1022"/>
                    <a:pt x="365" y="1022"/>
                    <a:pt x="186" y="836"/>
                  </a:cubicBezTo>
                  <a:cubicBezTo>
                    <a:pt x="0" y="656"/>
                    <a:pt x="0" y="365"/>
                    <a:pt x="186" y="179"/>
                  </a:cubicBezTo>
                  <a:cubicBezTo>
                    <a:pt x="365" y="0"/>
                    <a:pt x="664" y="0"/>
                    <a:pt x="843" y="17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67" name="Freeform 547"/>
            <p:cNvSpPr>
              <a:spLocks noChangeArrowheads="1"/>
            </p:cNvSpPr>
            <p:nvPr/>
          </p:nvSpPr>
          <p:spPr bwMode="auto">
            <a:xfrm>
              <a:off x="5503828" y="4975460"/>
              <a:ext cx="1466" cy="23438"/>
            </a:xfrm>
            <a:custGeom>
              <a:avLst/>
              <a:gdLst>
                <a:gd name="T0" fmla="*/ 0 w 1"/>
                <a:gd name="T1" fmla="*/ 0 h 69"/>
                <a:gd name="T2" fmla="*/ 0 w 1"/>
                <a:gd name="T3" fmla="*/ 68 h 69"/>
                <a:gd name="T4" fmla="*/ 0 w 1"/>
                <a:gd name="T5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69">
                  <a:moveTo>
                    <a:pt x="0" y="0"/>
                  </a:moveTo>
                  <a:lnTo>
                    <a:pt x="0" y="68"/>
                  </a:lnTo>
                  <a:lnTo>
                    <a:pt x="0" y="0"/>
                  </a:lnTo>
                </a:path>
              </a:pathLst>
            </a:custGeom>
            <a:solidFill>
              <a:srgbClr val="010101"/>
            </a:solidFill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68" name="Line 548"/>
            <p:cNvSpPr>
              <a:spLocks noChangeShapeType="1"/>
            </p:cNvSpPr>
            <p:nvPr/>
          </p:nvSpPr>
          <p:spPr bwMode="auto">
            <a:xfrm>
              <a:off x="5503828" y="4975461"/>
              <a:ext cx="1466" cy="2197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69" name="Freeform 549"/>
            <p:cNvSpPr>
              <a:spLocks noChangeArrowheads="1"/>
            </p:cNvSpPr>
            <p:nvPr/>
          </p:nvSpPr>
          <p:spPr bwMode="auto">
            <a:xfrm>
              <a:off x="5474531" y="4842154"/>
              <a:ext cx="79105" cy="114263"/>
            </a:xfrm>
            <a:custGeom>
              <a:avLst/>
              <a:gdLst>
                <a:gd name="T0" fmla="*/ 0 w 240"/>
                <a:gd name="T1" fmla="*/ 75 h 345"/>
                <a:gd name="T2" fmla="*/ 0 w 240"/>
                <a:gd name="T3" fmla="*/ 75 h 345"/>
                <a:gd name="T4" fmla="*/ 120 w 240"/>
                <a:gd name="T5" fmla="*/ 0 h 345"/>
                <a:gd name="T6" fmla="*/ 239 w 240"/>
                <a:gd name="T7" fmla="*/ 105 h 345"/>
                <a:gd name="T8" fmla="*/ 150 w 240"/>
                <a:gd name="T9" fmla="*/ 209 h 345"/>
                <a:gd name="T10" fmla="*/ 90 w 240"/>
                <a:gd name="T11" fmla="*/ 329 h 345"/>
                <a:gd name="T12" fmla="*/ 90 w 240"/>
                <a:gd name="T13" fmla="*/ 344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345">
                  <a:moveTo>
                    <a:pt x="0" y="75"/>
                  </a:moveTo>
                  <a:lnTo>
                    <a:pt x="0" y="75"/>
                  </a:lnTo>
                  <a:cubicBezTo>
                    <a:pt x="0" y="30"/>
                    <a:pt x="30" y="0"/>
                    <a:pt x="120" y="0"/>
                  </a:cubicBezTo>
                  <a:cubicBezTo>
                    <a:pt x="194" y="0"/>
                    <a:pt x="239" y="45"/>
                    <a:pt x="239" y="105"/>
                  </a:cubicBezTo>
                  <a:cubicBezTo>
                    <a:pt x="239" y="164"/>
                    <a:pt x="150" y="209"/>
                    <a:pt x="150" y="209"/>
                  </a:cubicBezTo>
                  <a:cubicBezTo>
                    <a:pt x="150" y="209"/>
                    <a:pt x="90" y="239"/>
                    <a:pt x="90" y="329"/>
                  </a:cubicBezTo>
                  <a:cubicBezTo>
                    <a:pt x="90" y="344"/>
                    <a:pt x="90" y="344"/>
                    <a:pt x="90" y="34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48" name="Group 5847">
            <a:extLst>
              <a:ext uri="{FF2B5EF4-FFF2-40B4-BE49-F238E27FC236}">
                <a16:creationId xmlns:a16="http://schemas.microsoft.com/office/drawing/2014/main" id="{267F0C06-C909-F94F-8CC2-30C05CD19FF0}"/>
              </a:ext>
            </a:extLst>
          </p:cNvPr>
          <p:cNvGrpSpPr/>
          <p:nvPr/>
        </p:nvGrpSpPr>
        <p:grpSpPr>
          <a:xfrm>
            <a:off x="5982854" y="4752794"/>
            <a:ext cx="339859" cy="339859"/>
            <a:chOff x="5982854" y="4752794"/>
            <a:chExt cx="339859" cy="339859"/>
          </a:xfrm>
        </p:grpSpPr>
        <p:sp>
          <p:nvSpPr>
            <p:cNvPr id="5670" name="Freeform 550"/>
            <p:cNvSpPr>
              <a:spLocks noChangeArrowheads="1"/>
            </p:cNvSpPr>
            <p:nvPr/>
          </p:nvSpPr>
          <p:spPr bwMode="auto">
            <a:xfrm>
              <a:off x="5982854" y="4752794"/>
              <a:ext cx="339859" cy="339859"/>
            </a:xfrm>
            <a:custGeom>
              <a:avLst/>
              <a:gdLst>
                <a:gd name="T0" fmla="*/ 836 w 1024"/>
                <a:gd name="T1" fmla="*/ 179 h 1023"/>
                <a:gd name="T2" fmla="*/ 836 w 1024"/>
                <a:gd name="T3" fmla="*/ 179 h 1023"/>
                <a:gd name="T4" fmla="*/ 836 w 1024"/>
                <a:gd name="T5" fmla="*/ 836 h 1023"/>
                <a:gd name="T6" fmla="*/ 180 w 1024"/>
                <a:gd name="T7" fmla="*/ 836 h 1023"/>
                <a:gd name="T8" fmla="*/ 180 w 1024"/>
                <a:gd name="T9" fmla="*/ 179 h 1023"/>
                <a:gd name="T10" fmla="*/ 836 w 1024"/>
                <a:gd name="T11" fmla="*/ 179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4" h="1023">
                  <a:moveTo>
                    <a:pt x="836" y="179"/>
                  </a:moveTo>
                  <a:lnTo>
                    <a:pt x="836" y="179"/>
                  </a:lnTo>
                  <a:cubicBezTo>
                    <a:pt x="1023" y="365"/>
                    <a:pt x="1023" y="656"/>
                    <a:pt x="836" y="836"/>
                  </a:cubicBezTo>
                  <a:cubicBezTo>
                    <a:pt x="657" y="1022"/>
                    <a:pt x="366" y="1022"/>
                    <a:pt x="180" y="836"/>
                  </a:cubicBezTo>
                  <a:cubicBezTo>
                    <a:pt x="0" y="656"/>
                    <a:pt x="0" y="365"/>
                    <a:pt x="180" y="179"/>
                  </a:cubicBezTo>
                  <a:cubicBezTo>
                    <a:pt x="366" y="0"/>
                    <a:pt x="657" y="0"/>
                    <a:pt x="836" y="17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71" name="Line 551"/>
            <p:cNvSpPr>
              <a:spLocks noChangeShapeType="1"/>
            </p:cNvSpPr>
            <p:nvPr/>
          </p:nvSpPr>
          <p:spPr bwMode="auto">
            <a:xfrm>
              <a:off x="6042915" y="4812856"/>
              <a:ext cx="218273" cy="218272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20" name="Group 5819">
            <a:extLst>
              <a:ext uri="{FF2B5EF4-FFF2-40B4-BE49-F238E27FC236}">
                <a16:creationId xmlns:a16="http://schemas.microsoft.com/office/drawing/2014/main" id="{5D5BBB45-BDD7-9B49-92E0-70F1B612D325}"/>
              </a:ext>
            </a:extLst>
          </p:cNvPr>
          <p:cNvGrpSpPr/>
          <p:nvPr/>
        </p:nvGrpSpPr>
        <p:grpSpPr>
          <a:xfrm>
            <a:off x="6620090" y="4752794"/>
            <a:ext cx="339859" cy="339859"/>
            <a:chOff x="6620090" y="4752794"/>
            <a:chExt cx="339859" cy="339859"/>
          </a:xfrm>
        </p:grpSpPr>
        <p:sp>
          <p:nvSpPr>
            <p:cNvPr id="5672" name="Freeform 552"/>
            <p:cNvSpPr>
              <a:spLocks noChangeArrowheads="1"/>
            </p:cNvSpPr>
            <p:nvPr/>
          </p:nvSpPr>
          <p:spPr bwMode="auto">
            <a:xfrm>
              <a:off x="6620090" y="4752794"/>
              <a:ext cx="339859" cy="339859"/>
            </a:xfrm>
            <a:custGeom>
              <a:avLst/>
              <a:gdLst>
                <a:gd name="T0" fmla="*/ 843 w 1024"/>
                <a:gd name="T1" fmla="*/ 179 h 1023"/>
                <a:gd name="T2" fmla="*/ 843 w 1024"/>
                <a:gd name="T3" fmla="*/ 179 h 1023"/>
                <a:gd name="T4" fmla="*/ 843 w 1024"/>
                <a:gd name="T5" fmla="*/ 836 h 1023"/>
                <a:gd name="T6" fmla="*/ 187 w 1024"/>
                <a:gd name="T7" fmla="*/ 836 h 1023"/>
                <a:gd name="T8" fmla="*/ 187 w 1024"/>
                <a:gd name="T9" fmla="*/ 179 h 1023"/>
                <a:gd name="T10" fmla="*/ 843 w 1024"/>
                <a:gd name="T11" fmla="*/ 179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4" h="1023">
                  <a:moveTo>
                    <a:pt x="843" y="179"/>
                  </a:moveTo>
                  <a:lnTo>
                    <a:pt x="843" y="179"/>
                  </a:lnTo>
                  <a:cubicBezTo>
                    <a:pt x="1023" y="365"/>
                    <a:pt x="1023" y="656"/>
                    <a:pt x="843" y="836"/>
                  </a:cubicBezTo>
                  <a:cubicBezTo>
                    <a:pt x="664" y="1022"/>
                    <a:pt x="366" y="1022"/>
                    <a:pt x="187" y="836"/>
                  </a:cubicBezTo>
                  <a:cubicBezTo>
                    <a:pt x="0" y="656"/>
                    <a:pt x="0" y="365"/>
                    <a:pt x="187" y="179"/>
                  </a:cubicBezTo>
                  <a:cubicBezTo>
                    <a:pt x="366" y="0"/>
                    <a:pt x="664" y="0"/>
                    <a:pt x="843" y="17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73" name="Freeform 553"/>
            <p:cNvSpPr>
              <a:spLocks noChangeArrowheads="1"/>
            </p:cNvSpPr>
            <p:nvPr/>
          </p:nvSpPr>
          <p:spPr bwMode="auto">
            <a:xfrm>
              <a:off x="6791485" y="4886100"/>
              <a:ext cx="1465" cy="111333"/>
            </a:xfrm>
            <a:custGeom>
              <a:avLst/>
              <a:gdLst>
                <a:gd name="T0" fmla="*/ 0 w 1"/>
                <a:gd name="T1" fmla="*/ 336 h 337"/>
                <a:gd name="T2" fmla="*/ 0 w 1"/>
                <a:gd name="T3" fmla="*/ 0 h 337"/>
                <a:gd name="T4" fmla="*/ 0 w 1"/>
                <a:gd name="T5" fmla="*/ 336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337">
                  <a:moveTo>
                    <a:pt x="0" y="336"/>
                  </a:moveTo>
                  <a:lnTo>
                    <a:pt x="0" y="0"/>
                  </a:lnTo>
                  <a:lnTo>
                    <a:pt x="0" y="336"/>
                  </a:lnTo>
                </a:path>
              </a:pathLst>
            </a:custGeom>
            <a:solidFill>
              <a:srgbClr val="010101"/>
            </a:solidFill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74" name="Line 554"/>
            <p:cNvSpPr>
              <a:spLocks noChangeShapeType="1"/>
            </p:cNvSpPr>
            <p:nvPr/>
          </p:nvSpPr>
          <p:spPr bwMode="auto">
            <a:xfrm flipV="1">
              <a:off x="6791485" y="4886101"/>
              <a:ext cx="1465" cy="11426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75" name="Freeform 555"/>
            <p:cNvSpPr>
              <a:spLocks noChangeArrowheads="1"/>
            </p:cNvSpPr>
            <p:nvPr/>
          </p:nvSpPr>
          <p:spPr bwMode="auto">
            <a:xfrm>
              <a:off x="6791485" y="4846547"/>
              <a:ext cx="1465" cy="20509"/>
            </a:xfrm>
            <a:custGeom>
              <a:avLst/>
              <a:gdLst>
                <a:gd name="T0" fmla="*/ 0 w 1"/>
                <a:gd name="T1" fmla="*/ 60 h 61"/>
                <a:gd name="T2" fmla="*/ 0 w 1"/>
                <a:gd name="T3" fmla="*/ 0 h 61"/>
                <a:gd name="T4" fmla="*/ 0 w 1"/>
                <a:gd name="T5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61">
                  <a:moveTo>
                    <a:pt x="0" y="60"/>
                  </a:moveTo>
                  <a:lnTo>
                    <a:pt x="0" y="0"/>
                  </a:lnTo>
                  <a:lnTo>
                    <a:pt x="0" y="60"/>
                  </a:lnTo>
                </a:path>
              </a:pathLst>
            </a:custGeom>
            <a:solidFill>
              <a:srgbClr val="010101"/>
            </a:solidFill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76" name="Line 556"/>
            <p:cNvSpPr>
              <a:spLocks noChangeShapeType="1"/>
            </p:cNvSpPr>
            <p:nvPr/>
          </p:nvSpPr>
          <p:spPr bwMode="auto">
            <a:xfrm flipV="1">
              <a:off x="6791485" y="4845083"/>
              <a:ext cx="1465" cy="23438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68" name="Group 5867">
            <a:extLst>
              <a:ext uri="{FF2B5EF4-FFF2-40B4-BE49-F238E27FC236}">
                <a16:creationId xmlns:a16="http://schemas.microsoft.com/office/drawing/2014/main" id="{49101590-F492-724B-938E-77D8153CC09B}"/>
              </a:ext>
            </a:extLst>
          </p:cNvPr>
          <p:cNvGrpSpPr/>
          <p:nvPr/>
        </p:nvGrpSpPr>
        <p:grpSpPr>
          <a:xfrm>
            <a:off x="914266" y="5406143"/>
            <a:ext cx="265149" cy="307633"/>
            <a:chOff x="914266" y="5406143"/>
            <a:chExt cx="265149" cy="307633"/>
          </a:xfrm>
        </p:grpSpPr>
        <p:sp>
          <p:nvSpPr>
            <p:cNvPr id="5677" name="Line 557"/>
            <p:cNvSpPr>
              <a:spLocks noChangeShapeType="1"/>
            </p:cNvSpPr>
            <p:nvPr/>
          </p:nvSpPr>
          <p:spPr bwMode="auto">
            <a:xfrm>
              <a:off x="1043178" y="5466206"/>
              <a:ext cx="1465" cy="24757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78" name="Freeform 558"/>
            <p:cNvSpPr>
              <a:spLocks noChangeArrowheads="1"/>
            </p:cNvSpPr>
            <p:nvPr/>
          </p:nvSpPr>
          <p:spPr bwMode="auto">
            <a:xfrm>
              <a:off x="914266" y="5634670"/>
              <a:ext cx="64456" cy="49807"/>
            </a:xfrm>
            <a:custGeom>
              <a:avLst/>
              <a:gdLst>
                <a:gd name="T0" fmla="*/ 194 w 195"/>
                <a:gd name="T1" fmla="*/ 45 h 150"/>
                <a:gd name="T2" fmla="*/ 45 w 195"/>
                <a:gd name="T3" fmla="*/ 0 h 150"/>
                <a:gd name="T4" fmla="*/ 0 w 195"/>
                <a:gd name="T5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5" h="150">
                  <a:moveTo>
                    <a:pt x="194" y="45"/>
                  </a:moveTo>
                  <a:lnTo>
                    <a:pt x="45" y="0"/>
                  </a:lnTo>
                  <a:lnTo>
                    <a:pt x="0" y="14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79" name="Freeform 559"/>
            <p:cNvSpPr>
              <a:spLocks noChangeArrowheads="1"/>
            </p:cNvSpPr>
            <p:nvPr/>
          </p:nvSpPr>
          <p:spPr bwMode="auto">
            <a:xfrm>
              <a:off x="1107635" y="5634670"/>
              <a:ext cx="71780" cy="49807"/>
            </a:xfrm>
            <a:custGeom>
              <a:avLst/>
              <a:gdLst>
                <a:gd name="T0" fmla="*/ 0 w 218"/>
                <a:gd name="T1" fmla="*/ 45 h 150"/>
                <a:gd name="T2" fmla="*/ 157 w 218"/>
                <a:gd name="T3" fmla="*/ 0 h 150"/>
                <a:gd name="T4" fmla="*/ 217 w 218"/>
                <a:gd name="T5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" h="150">
                  <a:moveTo>
                    <a:pt x="0" y="45"/>
                  </a:moveTo>
                  <a:lnTo>
                    <a:pt x="157" y="0"/>
                  </a:lnTo>
                  <a:lnTo>
                    <a:pt x="217" y="14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80" name="Freeform 560"/>
            <p:cNvSpPr>
              <a:spLocks noChangeArrowheads="1"/>
            </p:cNvSpPr>
            <p:nvPr/>
          </p:nvSpPr>
          <p:spPr bwMode="auto">
            <a:xfrm>
              <a:off x="928915" y="5634670"/>
              <a:ext cx="228526" cy="79105"/>
            </a:xfrm>
            <a:custGeom>
              <a:avLst/>
              <a:gdLst>
                <a:gd name="T0" fmla="*/ 687 w 688"/>
                <a:gd name="T1" fmla="*/ 0 h 240"/>
                <a:gd name="T2" fmla="*/ 687 w 688"/>
                <a:gd name="T3" fmla="*/ 0 h 240"/>
                <a:gd name="T4" fmla="*/ 343 w 688"/>
                <a:gd name="T5" fmla="*/ 239 h 240"/>
                <a:gd name="T6" fmla="*/ 0 w 688"/>
                <a:gd name="T7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8" h="240">
                  <a:moveTo>
                    <a:pt x="687" y="0"/>
                  </a:moveTo>
                  <a:lnTo>
                    <a:pt x="687" y="0"/>
                  </a:lnTo>
                  <a:cubicBezTo>
                    <a:pt x="642" y="142"/>
                    <a:pt x="507" y="239"/>
                    <a:pt x="343" y="239"/>
                  </a:cubicBezTo>
                  <a:cubicBezTo>
                    <a:pt x="186" y="239"/>
                    <a:pt x="52" y="142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81" name="Line 561"/>
            <p:cNvSpPr>
              <a:spLocks noChangeShapeType="1"/>
            </p:cNvSpPr>
            <p:nvPr/>
          </p:nvSpPr>
          <p:spPr bwMode="auto">
            <a:xfrm>
              <a:off x="999230" y="5486715"/>
              <a:ext cx="96677" cy="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82" name="Freeform 562"/>
            <p:cNvSpPr>
              <a:spLocks noChangeArrowheads="1"/>
            </p:cNvSpPr>
            <p:nvPr/>
          </p:nvSpPr>
          <p:spPr bwMode="auto">
            <a:xfrm>
              <a:off x="1013880" y="5406143"/>
              <a:ext cx="60061" cy="60062"/>
            </a:xfrm>
            <a:custGeom>
              <a:avLst/>
              <a:gdLst>
                <a:gd name="T0" fmla="*/ 179 w 180"/>
                <a:gd name="T1" fmla="*/ 90 h 180"/>
                <a:gd name="T2" fmla="*/ 179 w 180"/>
                <a:gd name="T3" fmla="*/ 90 h 180"/>
                <a:gd name="T4" fmla="*/ 89 w 180"/>
                <a:gd name="T5" fmla="*/ 179 h 180"/>
                <a:gd name="T6" fmla="*/ 0 w 180"/>
                <a:gd name="T7" fmla="*/ 90 h 180"/>
                <a:gd name="T8" fmla="*/ 89 w 180"/>
                <a:gd name="T9" fmla="*/ 0 h 180"/>
                <a:gd name="T10" fmla="*/ 179 w 180"/>
                <a:gd name="T11" fmla="*/ 9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0" h="180">
                  <a:moveTo>
                    <a:pt x="179" y="90"/>
                  </a:moveTo>
                  <a:lnTo>
                    <a:pt x="179" y="90"/>
                  </a:lnTo>
                  <a:cubicBezTo>
                    <a:pt x="179" y="134"/>
                    <a:pt x="141" y="179"/>
                    <a:pt x="89" y="179"/>
                  </a:cubicBezTo>
                  <a:cubicBezTo>
                    <a:pt x="44" y="179"/>
                    <a:pt x="0" y="134"/>
                    <a:pt x="0" y="90"/>
                  </a:cubicBezTo>
                  <a:cubicBezTo>
                    <a:pt x="0" y="38"/>
                    <a:pt x="44" y="0"/>
                    <a:pt x="89" y="0"/>
                  </a:cubicBezTo>
                  <a:cubicBezTo>
                    <a:pt x="141" y="0"/>
                    <a:pt x="179" y="38"/>
                    <a:pt x="179" y="9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1526597" y="5404679"/>
            <a:ext cx="310562" cy="310562"/>
            <a:chOff x="3050019" y="10809357"/>
            <a:chExt cx="621124" cy="621123"/>
          </a:xfrm>
        </p:grpSpPr>
        <p:sp>
          <p:nvSpPr>
            <p:cNvPr id="5683" name="Freeform 563"/>
            <p:cNvSpPr>
              <a:spLocks noChangeArrowheads="1"/>
            </p:cNvSpPr>
            <p:nvPr/>
          </p:nvSpPr>
          <p:spPr bwMode="auto">
            <a:xfrm>
              <a:off x="3050021" y="10812287"/>
              <a:ext cx="621122" cy="615262"/>
            </a:xfrm>
            <a:custGeom>
              <a:avLst/>
              <a:gdLst>
                <a:gd name="T0" fmla="*/ 933 w 934"/>
                <a:gd name="T1" fmla="*/ 463 h 927"/>
                <a:gd name="T2" fmla="*/ 933 w 934"/>
                <a:gd name="T3" fmla="*/ 463 h 927"/>
                <a:gd name="T4" fmla="*/ 470 w 934"/>
                <a:gd name="T5" fmla="*/ 926 h 927"/>
                <a:gd name="T6" fmla="*/ 0 w 934"/>
                <a:gd name="T7" fmla="*/ 463 h 927"/>
                <a:gd name="T8" fmla="*/ 470 w 934"/>
                <a:gd name="T9" fmla="*/ 0 h 927"/>
                <a:gd name="T10" fmla="*/ 933 w 934"/>
                <a:gd name="T11" fmla="*/ 463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4" h="927">
                  <a:moveTo>
                    <a:pt x="933" y="463"/>
                  </a:moveTo>
                  <a:lnTo>
                    <a:pt x="933" y="463"/>
                  </a:lnTo>
                  <a:cubicBezTo>
                    <a:pt x="933" y="717"/>
                    <a:pt x="724" y="926"/>
                    <a:pt x="470" y="926"/>
                  </a:cubicBezTo>
                  <a:cubicBezTo>
                    <a:pt x="209" y="926"/>
                    <a:pt x="0" y="717"/>
                    <a:pt x="0" y="463"/>
                  </a:cubicBezTo>
                  <a:cubicBezTo>
                    <a:pt x="0" y="202"/>
                    <a:pt x="209" y="0"/>
                    <a:pt x="470" y="0"/>
                  </a:cubicBezTo>
                  <a:cubicBezTo>
                    <a:pt x="724" y="0"/>
                    <a:pt x="933" y="202"/>
                    <a:pt x="933" y="463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84" name="Freeform 564"/>
            <p:cNvSpPr>
              <a:spLocks noChangeArrowheads="1"/>
            </p:cNvSpPr>
            <p:nvPr/>
          </p:nvSpPr>
          <p:spPr bwMode="auto">
            <a:xfrm>
              <a:off x="3214090" y="10973429"/>
              <a:ext cx="298841" cy="298841"/>
            </a:xfrm>
            <a:custGeom>
              <a:avLst/>
              <a:gdLst>
                <a:gd name="T0" fmla="*/ 448 w 449"/>
                <a:gd name="T1" fmla="*/ 224 h 449"/>
                <a:gd name="T2" fmla="*/ 448 w 449"/>
                <a:gd name="T3" fmla="*/ 224 h 449"/>
                <a:gd name="T4" fmla="*/ 224 w 449"/>
                <a:gd name="T5" fmla="*/ 448 h 449"/>
                <a:gd name="T6" fmla="*/ 0 w 449"/>
                <a:gd name="T7" fmla="*/ 224 h 449"/>
                <a:gd name="T8" fmla="*/ 224 w 449"/>
                <a:gd name="T9" fmla="*/ 0 h 449"/>
                <a:gd name="T10" fmla="*/ 448 w 449"/>
                <a:gd name="T11" fmla="*/ 224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9" h="449">
                  <a:moveTo>
                    <a:pt x="448" y="224"/>
                  </a:moveTo>
                  <a:lnTo>
                    <a:pt x="448" y="224"/>
                  </a:lnTo>
                  <a:cubicBezTo>
                    <a:pt x="448" y="351"/>
                    <a:pt x="343" y="448"/>
                    <a:pt x="224" y="448"/>
                  </a:cubicBezTo>
                  <a:cubicBezTo>
                    <a:pt x="97" y="448"/>
                    <a:pt x="0" y="351"/>
                    <a:pt x="0" y="224"/>
                  </a:cubicBezTo>
                  <a:cubicBezTo>
                    <a:pt x="0" y="97"/>
                    <a:pt x="97" y="0"/>
                    <a:pt x="224" y="0"/>
                  </a:cubicBezTo>
                  <a:cubicBezTo>
                    <a:pt x="343" y="0"/>
                    <a:pt x="448" y="97"/>
                    <a:pt x="448" y="22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85" name="Line 565"/>
            <p:cNvSpPr>
              <a:spLocks noChangeShapeType="1"/>
            </p:cNvSpPr>
            <p:nvPr/>
          </p:nvSpPr>
          <p:spPr bwMode="auto">
            <a:xfrm flipV="1">
              <a:off x="3301985" y="10809357"/>
              <a:ext cx="2929" cy="17579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86" name="Line 566"/>
            <p:cNvSpPr>
              <a:spLocks noChangeShapeType="1"/>
            </p:cNvSpPr>
            <p:nvPr/>
          </p:nvSpPr>
          <p:spPr bwMode="auto">
            <a:xfrm flipV="1">
              <a:off x="3422106" y="10809357"/>
              <a:ext cx="2931" cy="17579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87" name="Line 567"/>
            <p:cNvSpPr>
              <a:spLocks noChangeShapeType="1"/>
            </p:cNvSpPr>
            <p:nvPr/>
          </p:nvSpPr>
          <p:spPr bwMode="auto">
            <a:xfrm flipV="1">
              <a:off x="3301985" y="11254690"/>
              <a:ext cx="2929" cy="17579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88" name="Line 568"/>
            <p:cNvSpPr>
              <a:spLocks noChangeShapeType="1"/>
            </p:cNvSpPr>
            <p:nvPr/>
          </p:nvSpPr>
          <p:spPr bwMode="auto">
            <a:xfrm flipV="1">
              <a:off x="3422106" y="11254690"/>
              <a:ext cx="2931" cy="17579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89" name="Line 569"/>
            <p:cNvSpPr>
              <a:spLocks noChangeShapeType="1"/>
            </p:cNvSpPr>
            <p:nvPr/>
          </p:nvSpPr>
          <p:spPr bwMode="auto">
            <a:xfrm>
              <a:off x="3501213" y="11061322"/>
              <a:ext cx="169930" cy="292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90" name="Line 570"/>
            <p:cNvSpPr>
              <a:spLocks noChangeShapeType="1"/>
            </p:cNvSpPr>
            <p:nvPr/>
          </p:nvSpPr>
          <p:spPr bwMode="auto">
            <a:xfrm>
              <a:off x="3501213" y="11181442"/>
              <a:ext cx="169930" cy="293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91" name="Line 571"/>
            <p:cNvSpPr>
              <a:spLocks noChangeShapeType="1"/>
            </p:cNvSpPr>
            <p:nvPr/>
          </p:nvSpPr>
          <p:spPr bwMode="auto">
            <a:xfrm>
              <a:off x="3050019" y="11061322"/>
              <a:ext cx="172859" cy="292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92" name="Line 572"/>
            <p:cNvSpPr>
              <a:spLocks noChangeShapeType="1"/>
            </p:cNvSpPr>
            <p:nvPr/>
          </p:nvSpPr>
          <p:spPr bwMode="auto">
            <a:xfrm>
              <a:off x="3050019" y="11181442"/>
              <a:ext cx="172859" cy="293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61" name="Group 5860">
            <a:extLst>
              <a:ext uri="{FF2B5EF4-FFF2-40B4-BE49-F238E27FC236}">
                <a16:creationId xmlns:a16="http://schemas.microsoft.com/office/drawing/2014/main" id="{40F7B4B6-7D1E-BF4D-AA41-D0DC9CC55957}"/>
              </a:ext>
            </a:extLst>
          </p:cNvPr>
          <p:cNvGrpSpPr/>
          <p:nvPr/>
        </p:nvGrpSpPr>
        <p:grpSpPr>
          <a:xfrm>
            <a:off x="2185807" y="5398819"/>
            <a:ext cx="271009" cy="319351"/>
            <a:chOff x="2185807" y="5398819"/>
            <a:chExt cx="271009" cy="319351"/>
          </a:xfrm>
        </p:grpSpPr>
        <p:sp>
          <p:nvSpPr>
            <p:cNvPr id="5693" name="Line 573"/>
            <p:cNvSpPr>
              <a:spLocks noChangeShapeType="1"/>
            </p:cNvSpPr>
            <p:nvPr/>
          </p:nvSpPr>
          <p:spPr bwMode="auto">
            <a:xfrm>
              <a:off x="2320580" y="5599511"/>
              <a:ext cx="1465" cy="11865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94" name="Line 574"/>
            <p:cNvSpPr>
              <a:spLocks noChangeShapeType="1"/>
            </p:cNvSpPr>
            <p:nvPr/>
          </p:nvSpPr>
          <p:spPr bwMode="auto">
            <a:xfrm>
              <a:off x="2320580" y="5398819"/>
              <a:ext cx="1465" cy="121587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95" name="Line 575"/>
            <p:cNvSpPr>
              <a:spLocks noChangeShapeType="1"/>
            </p:cNvSpPr>
            <p:nvPr/>
          </p:nvSpPr>
          <p:spPr bwMode="auto">
            <a:xfrm>
              <a:off x="2349878" y="5584862"/>
              <a:ext cx="106938" cy="8350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96" name="Line 576"/>
            <p:cNvSpPr>
              <a:spLocks noChangeShapeType="1"/>
            </p:cNvSpPr>
            <p:nvPr/>
          </p:nvSpPr>
          <p:spPr bwMode="auto">
            <a:xfrm>
              <a:off x="2185807" y="5451556"/>
              <a:ext cx="104009" cy="849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97" name="Line 577"/>
            <p:cNvSpPr>
              <a:spLocks noChangeShapeType="1"/>
            </p:cNvSpPr>
            <p:nvPr/>
          </p:nvSpPr>
          <p:spPr bwMode="auto">
            <a:xfrm flipV="1">
              <a:off x="2349878" y="5454485"/>
              <a:ext cx="106938" cy="8203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98" name="Line 578"/>
            <p:cNvSpPr>
              <a:spLocks noChangeShapeType="1"/>
            </p:cNvSpPr>
            <p:nvPr/>
          </p:nvSpPr>
          <p:spPr bwMode="auto">
            <a:xfrm flipV="1">
              <a:off x="2185807" y="5584862"/>
              <a:ext cx="104009" cy="8203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699" name="Freeform 579"/>
            <p:cNvSpPr>
              <a:spLocks noChangeArrowheads="1"/>
            </p:cNvSpPr>
            <p:nvPr/>
          </p:nvSpPr>
          <p:spPr bwMode="auto">
            <a:xfrm>
              <a:off x="2281027" y="5520407"/>
              <a:ext cx="79105" cy="79105"/>
            </a:xfrm>
            <a:custGeom>
              <a:avLst/>
              <a:gdLst>
                <a:gd name="T0" fmla="*/ 239 w 240"/>
                <a:gd name="T1" fmla="*/ 119 h 239"/>
                <a:gd name="T2" fmla="*/ 239 w 240"/>
                <a:gd name="T3" fmla="*/ 119 h 239"/>
                <a:gd name="T4" fmla="*/ 119 w 240"/>
                <a:gd name="T5" fmla="*/ 0 h 239"/>
                <a:gd name="T6" fmla="*/ 0 w 240"/>
                <a:gd name="T7" fmla="*/ 119 h 239"/>
                <a:gd name="T8" fmla="*/ 119 w 240"/>
                <a:gd name="T9" fmla="*/ 238 h 239"/>
                <a:gd name="T10" fmla="*/ 239 w 240"/>
                <a:gd name="T11" fmla="*/ 11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0" h="239">
                  <a:moveTo>
                    <a:pt x="239" y="119"/>
                  </a:moveTo>
                  <a:lnTo>
                    <a:pt x="239" y="119"/>
                  </a:lnTo>
                  <a:cubicBezTo>
                    <a:pt x="239" y="52"/>
                    <a:pt x="187" y="0"/>
                    <a:pt x="119" y="0"/>
                  </a:cubicBezTo>
                  <a:cubicBezTo>
                    <a:pt x="52" y="0"/>
                    <a:pt x="0" y="52"/>
                    <a:pt x="0" y="119"/>
                  </a:cubicBezTo>
                  <a:cubicBezTo>
                    <a:pt x="0" y="186"/>
                    <a:pt x="52" y="238"/>
                    <a:pt x="119" y="238"/>
                  </a:cubicBezTo>
                  <a:cubicBezTo>
                    <a:pt x="187" y="238"/>
                    <a:pt x="239" y="186"/>
                    <a:pt x="239" y="11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00" name="Freeform 580"/>
            <p:cNvSpPr>
              <a:spLocks noChangeArrowheads="1"/>
            </p:cNvSpPr>
            <p:nvPr/>
          </p:nvSpPr>
          <p:spPr bwMode="auto">
            <a:xfrm>
              <a:off x="2201921" y="5441302"/>
              <a:ext cx="240245" cy="238781"/>
            </a:xfrm>
            <a:custGeom>
              <a:avLst/>
              <a:gdLst>
                <a:gd name="T0" fmla="*/ 724 w 725"/>
                <a:gd name="T1" fmla="*/ 358 h 717"/>
                <a:gd name="T2" fmla="*/ 724 w 725"/>
                <a:gd name="T3" fmla="*/ 358 h 717"/>
                <a:gd name="T4" fmla="*/ 358 w 725"/>
                <a:gd name="T5" fmla="*/ 0 h 717"/>
                <a:gd name="T6" fmla="*/ 0 w 725"/>
                <a:gd name="T7" fmla="*/ 358 h 717"/>
                <a:gd name="T8" fmla="*/ 358 w 725"/>
                <a:gd name="T9" fmla="*/ 716 h 717"/>
                <a:gd name="T10" fmla="*/ 724 w 725"/>
                <a:gd name="T11" fmla="*/ 358 h 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5" h="717">
                  <a:moveTo>
                    <a:pt x="724" y="358"/>
                  </a:moveTo>
                  <a:lnTo>
                    <a:pt x="724" y="358"/>
                  </a:lnTo>
                  <a:cubicBezTo>
                    <a:pt x="724" y="157"/>
                    <a:pt x="560" y="0"/>
                    <a:pt x="358" y="0"/>
                  </a:cubicBezTo>
                  <a:cubicBezTo>
                    <a:pt x="164" y="0"/>
                    <a:pt x="0" y="157"/>
                    <a:pt x="0" y="358"/>
                  </a:cubicBezTo>
                  <a:cubicBezTo>
                    <a:pt x="0" y="560"/>
                    <a:pt x="164" y="716"/>
                    <a:pt x="358" y="716"/>
                  </a:cubicBezTo>
                  <a:cubicBezTo>
                    <a:pt x="560" y="716"/>
                    <a:pt x="724" y="560"/>
                    <a:pt x="724" y="358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sp>
        <p:nvSpPr>
          <p:cNvPr id="5701" name="Freeform 581"/>
          <p:cNvSpPr>
            <a:spLocks noChangeArrowheads="1"/>
          </p:cNvSpPr>
          <p:nvPr/>
        </p:nvSpPr>
        <p:spPr bwMode="auto">
          <a:xfrm>
            <a:off x="2886035" y="5406144"/>
            <a:ext cx="164070" cy="307631"/>
          </a:xfrm>
          <a:custGeom>
            <a:avLst/>
            <a:gdLst>
              <a:gd name="T0" fmla="*/ 344 w 494"/>
              <a:gd name="T1" fmla="*/ 0 h 927"/>
              <a:gd name="T2" fmla="*/ 0 w 494"/>
              <a:gd name="T3" fmla="*/ 538 h 927"/>
              <a:gd name="T4" fmla="*/ 209 w 494"/>
              <a:gd name="T5" fmla="*/ 538 h 927"/>
              <a:gd name="T6" fmla="*/ 105 w 494"/>
              <a:gd name="T7" fmla="*/ 926 h 927"/>
              <a:gd name="T8" fmla="*/ 493 w 494"/>
              <a:gd name="T9" fmla="*/ 388 h 927"/>
              <a:gd name="T10" fmla="*/ 284 w 494"/>
              <a:gd name="T11" fmla="*/ 388 h 927"/>
              <a:gd name="T12" fmla="*/ 344 w 494"/>
              <a:gd name="T13" fmla="*/ 0 h 9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94" h="927">
                <a:moveTo>
                  <a:pt x="344" y="0"/>
                </a:moveTo>
                <a:lnTo>
                  <a:pt x="0" y="538"/>
                </a:lnTo>
                <a:lnTo>
                  <a:pt x="209" y="538"/>
                </a:lnTo>
                <a:lnTo>
                  <a:pt x="105" y="926"/>
                </a:lnTo>
                <a:lnTo>
                  <a:pt x="493" y="388"/>
                </a:lnTo>
                <a:lnTo>
                  <a:pt x="284" y="388"/>
                </a:lnTo>
                <a:lnTo>
                  <a:pt x="344" y="0"/>
                </a:lnTo>
              </a:path>
            </a:pathLst>
          </a:custGeom>
          <a:noFill/>
          <a:ln w="6350" cap="flat">
            <a:solidFill>
              <a:schemeClr val="accent1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Montserrat Light" charset="0"/>
            </a:endParaRPr>
          </a:p>
        </p:txBody>
      </p:sp>
      <p:sp>
        <p:nvSpPr>
          <p:cNvPr id="5702" name="Freeform 582"/>
          <p:cNvSpPr>
            <a:spLocks noChangeArrowheads="1"/>
          </p:cNvSpPr>
          <p:nvPr/>
        </p:nvSpPr>
        <p:spPr bwMode="auto">
          <a:xfrm>
            <a:off x="3444164" y="5470600"/>
            <a:ext cx="310561" cy="178719"/>
          </a:xfrm>
          <a:custGeom>
            <a:avLst/>
            <a:gdLst>
              <a:gd name="T0" fmla="*/ 597 w 934"/>
              <a:gd name="T1" fmla="*/ 538 h 539"/>
              <a:gd name="T2" fmla="*/ 597 w 934"/>
              <a:gd name="T3" fmla="*/ 538 h 539"/>
              <a:gd name="T4" fmla="*/ 814 w 934"/>
              <a:gd name="T5" fmla="*/ 538 h 539"/>
              <a:gd name="T6" fmla="*/ 933 w 934"/>
              <a:gd name="T7" fmla="*/ 418 h 539"/>
              <a:gd name="T8" fmla="*/ 814 w 934"/>
              <a:gd name="T9" fmla="*/ 299 h 539"/>
              <a:gd name="T10" fmla="*/ 493 w 934"/>
              <a:gd name="T11" fmla="*/ 0 h 539"/>
              <a:gd name="T12" fmla="*/ 179 w 934"/>
              <a:gd name="T13" fmla="*/ 239 h 539"/>
              <a:gd name="T14" fmla="*/ 157 w 934"/>
              <a:gd name="T15" fmla="*/ 239 h 539"/>
              <a:gd name="T16" fmla="*/ 0 w 934"/>
              <a:gd name="T17" fmla="*/ 388 h 539"/>
              <a:gd name="T18" fmla="*/ 149 w 934"/>
              <a:gd name="T19" fmla="*/ 538 h 539"/>
              <a:gd name="T20" fmla="*/ 597 w 934"/>
              <a:gd name="T21" fmla="*/ 538 h 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34" h="539">
                <a:moveTo>
                  <a:pt x="597" y="538"/>
                </a:moveTo>
                <a:lnTo>
                  <a:pt x="597" y="538"/>
                </a:lnTo>
                <a:cubicBezTo>
                  <a:pt x="814" y="538"/>
                  <a:pt x="814" y="538"/>
                  <a:pt x="814" y="538"/>
                </a:cubicBezTo>
                <a:cubicBezTo>
                  <a:pt x="881" y="538"/>
                  <a:pt x="933" y="486"/>
                  <a:pt x="933" y="418"/>
                </a:cubicBezTo>
                <a:cubicBezTo>
                  <a:pt x="933" y="351"/>
                  <a:pt x="881" y="299"/>
                  <a:pt x="814" y="299"/>
                </a:cubicBezTo>
                <a:cubicBezTo>
                  <a:pt x="814" y="135"/>
                  <a:pt x="664" y="0"/>
                  <a:pt x="493" y="0"/>
                </a:cubicBezTo>
                <a:cubicBezTo>
                  <a:pt x="343" y="0"/>
                  <a:pt x="209" y="97"/>
                  <a:pt x="179" y="239"/>
                </a:cubicBezTo>
                <a:cubicBezTo>
                  <a:pt x="179" y="239"/>
                  <a:pt x="164" y="239"/>
                  <a:pt x="157" y="239"/>
                </a:cubicBezTo>
                <a:cubicBezTo>
                  <a:pt x="67" y="239"/>
                  <a:pt x="0" y="306"/>
                  <a:pt x="0" y="388"/>
                </a:cubicBezTo>
                <a:cubicBezTo>
                  <a:pt x="0" y="471"/>
                  <a:pt x="67" y="538"/>
                  <a:pt x="149" y="538"/>
                </a:cubicBezTo>
                <a:cubicBezTo>
                  <a:pt x="597" y="538"/>
                  <a:pt x="597" y="538"/>
                  <a:pt x="597" y="538"/>
                </a:cubicBezTo>
              </a:path>
            </a:pathLst>
          </a:custGeom>
          <a:noFill/>
          <a:ln w="6350" cap="flat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Montserrat Light" charset="0"/>
            </a:endParaRPr>
          </a:p>
        </p:txBody>
      </p:sp>
      <p:sp>
        <p:nvSpPr>
          <p:cNvPr id="5703" name="Freeform 583"/>
          <p:cNvSpPr>
            <a:spLocks noChangeArrowheads="1"/>
          </p:cNvSpPr>
          <p:nvPr/>
        </p:nvSpPr>
        <p:spPr bwMode="auto">
          <a:xfrm>
            <a:off x="4085795" y="5406144"/>
            <a:ext cx="300307" cy="303237"/>
          </a:xfrm>
          <a:custGeom>
            <a:avLst/>
            <a:gdLst>
              <a:gd name="T0" fmla="*/ 455 w 904"/>
              <a:gd name="T1" fmla="*/ 687 h 912"/>
              <a:gd name="T2" fmla="*/ 157 w 904"/>
              <a:gd name="T3" fmla="*/ 911 h 912"/>
              <a:gd name="T4" fmla="*/ 276 w 904"/>
              <a:gd name="T5" fmla="*/ 553 h 912"/>
              <a:gd name="T6" fmla="*/ 0 w 904"/>
              <a:gd name="T7" fmla="*/ 344 h 912"/>
              <a:gd name="T8" fmla="*/ 336 w 904"/>
              <a:gd name="T9" fmla="*/ 344 h 912"/>
              <a:gd name="T10" fmla="*/ 455 w 904"/>
              <a:gd name="T11" fmla="*/ 0 h 912"/>
              <a:gd name="T12" fmla="*/ 575 w 904"/>
              <a:gd name="T13" fmla="*/ 344 h 912"/>
              <a:gd name="T14" fmla="*/ 903 w 904"/>
              <a:gd name="T15" fmla="*/ 344 h 912"/>
              <a:gd name="T16" fmla="*/ 635 w 904"/>
              <a:gd name="T17" fmla="*/ 553 h 912"/>
              <a:gd name="T18" fmla="*/ 754 w 904"/>
              <a:gd name="T19" fmla="*/ 911 h 912"/>
              <a:gd name="T20" fmla="*/ 455 w 904"/>
              <a:gd name="T21" fmla="*/ 687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04" h="912">
                <a:moveTo>
                  <a:pt x="455" y="687"/>
                </a:moveTo>
                <a:lnTo>
                  <a:pt x="157" y="911"/>
                </a:lnTo>
                <a:lnTo>
                  <a:pt x="276" y="553"/>
                </a:lnTo>
                <a:lnTo>
                  <a:pt x="0" y="344"/>
                </a:lnTo>
                <a:lnTo>
                  <a:pt x="336" y="344"/>
                </a:lnTo>
                <a:lnTo>
                  <a:pt x="455" y="0"/>
                </a:lnTo>
                <a:lnTo>
                  <a:pt x="575" y="344"/>
                </a:lnTo>
                <a:lnTo>
                  <a:pt x="903" y="344"/>
                </a:lnTo>
                <a:lnTo>
                  <a:pt x="635" y="553"/>
                </a:lnTo>
                <a:lnTo>
                  <a:pt x="754" y="911"/>
                </a:lnTo>
                <a:lnTo>
                  <a:pt x="455" y="687"/>
                </a:lnTo>
              </a:path>
            </a:pathLst>
          </a:custGeom>
          <a:noFill/>
          <a:ln w="6350" cap="flat">
            <a:solidFill>
              <a:schemeClr val="accent1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Montserrat Light" charset="0"/>
            </a:endParaRPr>
          </a:p>
        </p:txBody>
      </p:sp>
      <p:grpSp>
        <p:nvGrpSpPr>
          <p:cNvPr id="5858" name="Group 5857">
            <a:extLst>
              <a:ext uri="{FF2B5EF4-FFF2-40B4-BE49-F238E27FC236}">
                <a16:creationId xmlns:a16="http://schemas.microsoft.com/office/drawing/2014/main" id="{3A937E11-F3B4-F549-818B-F364A8B608E3}"/>
              </a:ext>
            </a:extLst>
          </p:cNvPr>
          <p:cNvGrpSpPr/>
          <p:nvPr/>
        </p:nvGrpSpPr>
        <p:grpSpPr>
          <a:xfrm>
            <a:off x="4720102" y="5426653"/>
            <a:ext cx="310561" cy="268079"/>
            <a:chOff x="4720102" y="5426653"/>
            <a:chExt cx="310561" cy="268079"/>
          </a:xfrm>
        </p:grpSpPr>
        <p:sp>
          <p:nvSpPr>
            <p:cNvPr id="5704" name="Freeform 584"/>
            <p:cNvSpPr>
              <a:spLocks noChangeArrowheads="1"/>
            </p:cNvSpPr>
            <p:nvPr/>
          </p:nvSpPr>
          <p:spPr bwMode="auto">
            <a:xfrm>
              <a:off x="4720102" y="5426653"/>
              <a:ext cx="310561" cy="268079"/>
            </a:xfrm>
            <a:custGeom>
              <a:avLst/>
              <a:gdLst>
                <a:gd name="T0" fmla="*/ 0 w 934"/>
                <a:gd name="T1" fmla="*/ 239 h 807"/>
                <a:gd name="T2" fmla="*/ 0 w 934"/>
                <a:gd name="T3" fmla="*/ 239 h 807"/>
                <a:gd name="T4" fmla="*/ 463 w 934"/>
                <a:gd name="T5" fmla="*/ 806 h 807"/>
                <a:gd name="T6" fmla="*/ 933 w 934"/>
                <a:gd name="T7" fmla="*/ 239 h 807"/>
                <a:gd name="T8" fmla="*/ 702 w 934"/>
                <a:gd name="T9" fmla="*/ 0 h 807"/>
                <a:gd name="T10" fmla="*/ 463 w 934"/>
                <a:gd name="T11" fmla="*/ 209 h 807"/>
                <a:gd name="T12" fmla="*/ 224 w 934"/>
                <a:gd name="T13" fmla="*/ 0 h 807"/>
                <a:gd name="T14" fmla="*/ 0 w 934"/>
                <a:gd name="T15" fmla="*/ 239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4" h="807">
                  <a:moveTo>
                    <a:pt x="0" y="239"/>
                  </a:moveTo>
                  <a:lnTo>
                    <a:pt x="0" y="239"/>
                  </a:lnTo>
                  <a:cubicBezTo>
                    <a:pt x="0" y="537"/>
                    <a:pt x="463" y="806"/>
                    <a:pt x="463" y="806"/>
                  </a:cubicBezTo>
                  <a:cubicBezTo>
                    <a:pt x="463" y="806"/>
                    <a:pt x="933" y="537"/>
                    <a:pt x="933" y="239"/>
                  </a:cubicBezTo>
                  <a:cubicBezTo>
                    <a:pt x="933" y="112"/>
                    <a:pt x="844" y="0"/>
                    <a:pt x="702" y="0"/>
                  </a:cubicBezTo>
                  <a:cubicBezTo>
                    <a:pt x="582" y="0"/>
                    <a:pt x="463" y="82"/>
                    <a:pt x="463" y="209"/>
                  </a:cubicBezTo>
                  <a:cubicBezTo>
                    <a:pt x="463" y="82"/>
                    <a:pt x="351" y="0"/>
                    <a:pt x="224" y="0"/>
                  </a:cubicBezTo>
                  <a:cubicBezTo>
                    <a:pt x="90" y="0"/>
                    <a:pt x="0" y="112"/>
                    <a:pt x="0" y="23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05" name="Freeform 585"/>
            <p:cNvSpPr>
              <a:spLocks noChangeArrowheads="1"/>
            </p:cNvSpPr>
            <p:nvPr/>
          </p:nvSpPr>
          <p:spPr bwMode="auto">
            <a:xfrm>
              <a:off x="4859268" y="5486714"/>
              <a:ext cx="45413" cy="199228"/>
            </a:xfrm>
            <a:custGeom>
              <a:avLst/>
              <a:gdLst>
                <a:gd name="T0" fmla="*/ 0 w 136"/>
                <a:gd name="T1" fmla="*/ 597 h 598"/>
                <a:gd name="T2" fmla="*/ 105 w 136"/>
                <a:gd name="T3" fmla="*/ 493 h 598"/>
                <a:gd name="T4" fmla="*/ 15 w 136"/>
                <a:gd name="T5" fmla="*/ 403 h 598"/>
                <a:gd name="T6" fmla="*/ 105 w 136"/>
                <a:gd name="T7" fmla="*/ 314 h 598"/>
                <a:gd name="T8" fmla="*/ 15 w 136"/>
                <a:gd name="T9" fmla="*/ 224 h 598"/>
                <a:gd name="T10" fmla="*/ 135 w 136"/>
                <a:gd name="T11" fmla="*/ 105 h 598"/>
                <a:gd name="T12" fmla="*/ 45 w 136"/>
                <a:gd name="T13" fmla="*/ 30 h 598"/>
                <a:gd name="T14" fmla="*/ 45 w 136"/>
                <a:gd name="T15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6" h="598">
                  <a:moveTo>
                    <a:pt x="0" y="597"/>
                  </a:moveTo>
                  <a:lnTo>
                    <a:pt x="105" y="493"/>
                  </a:lnTo>
                  <a:lnTo>
                    <a:pt x="15" y="403"/>
                  </a:lnTo>
                  <a:lnTo>
                    <a:pt x="105" y="314"/>
                  </a:lnTo>
                  <a:lnTo>
                    <a:pt x="15" y="224"/>
                  </a:lnTo>
                  <a:lnTo>
                    <a:pt x="135" y="105"/>
                  </a:lnTo>
                  <a:lnTo>
                    <a:pt x="45" y="30"/>
                  </a:lnTo>
                  <a:lnTo>
                    <a:pt x="45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53" name="Group 5852">
            <a:extLst>
              <a:ext uri="{FF2B5EF4-FFF2-40B4-BE49-F238E27FC236}">
                <a16:creationId xmlns:a16="http://schemas.microsoft.com/office/drawing/2014/main" id="{FDE7BEE6-19FC-F043-B8F0-66A3257DBD20}"/>
              </a:ext>
            </a:extLst>
          </p:cNvPr>
          <p:cNvGrpSpPr/>
          <p:nvPr/>
        </p:nvGrpSpPr>
        <p:grpSpPr>
          <a:xfrm>
            <a:off x="5357337" y="6044844"/>
            <a:ext cx="310561" cy="310561"/>
            <a:chOff x="5357337" y="6044844"/>
            <a:chExt cx="310561" cy="310561"/>
          </a:xfrm>
        </p:grpSpPr>
        <p:sp>
          <p:nvSpPr>
            <p:cNvPr id="5706" name="Freeform 586"/>
            <p:cNvSpPr>
              <a:spLocks noChangeArrowheads="1"/>
            </p:cNvSpPr>
            <p:nvPr/>
          </p:nvSpPr>
          <p:spPr bwMode="auto">
            <a:xfrm>
              <a:off x="5357337" y="6044844"/>
              <a:ext cx="310561" cy="310561"/>
            </a:xfrm>
            <a:custGeom>
              <a:avLst/>
              <a:gdLst>
                <a:gd name="T0" fmla="*/ 934 w 935"/>
                <a:gd name="T1" fmla="*/ 933 h 934"/>
                <a:gd name="T2" fmla="*/ 0 w 935"/>
                <a:gd name="T3" fmla="*/ 933 h 934"/>
                <a:gd name="T4" fmla="*/ 0 w 935"/>
                <a:gd name="T5" fmla="*/ 0 h 934"/>
                <a:gd name="T6" fmla="*/ 934 w 935"/>
                <a:gd name="T7" fmla="*/ 0 h 934"/>
                <a:gd name="T8" fmla="*/ 934 w 935"/>
                <a:gd name="T9" fmla="*/ 933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5" h="934">
                  <a:moveTo>
                    <a:pt x="934" y="933"/>
                  </a:moveTo>
                  <a:lnTo>
                    <a:pt x="0" y="933"/>
                  </a:lnTo>
                  <a:lnTo>
                    <a:pt x="0" y="0"/>
                  </a:lnTo>
                  <a:lnTo>
                    <a:pt x="934" y="0"/>
                  </a:lnTo>
                  <a:lnTo>
                    <a:pt x="934" y="93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07" name="Line 587"/>
            <p:cNvSpPr>
              <a:spLocks noChangeShapeType="1"/>
            </p:cNvSpPr>
            <p:nvPr/>
          </p:nvSpPr>
          <p:spPr bwMode="auto">
            <a:xfrm>
              <a:off x="5445232" y="6078537"/>
              <a:ext cx="1466" cy="9961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08" name="Line 588"/>
            <p:cNvSpPr>
              <a:spLocks noChangeShapeType="1"/>
            </p:cNvSpPr>
            <p:nvPr/>
          </p:nvSpPr>
          <p:spPr bwMode="auto">
            <a:xfrm flipH="1">
              <a:off x="5392495" y="6128345"/>
              <a:ext cx="10254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09" name="Line 589"/>
            <p:cNvSpPr>
              <a:spLocks noChangeShapeType="1"/>
            </p:cNvSpPr>
            <p:nvPr/>
          </p:nvSpPr>
          <p:spPr bwMode="auto">
            <a:xfrm flipH="1">
              <a:off x="5531662" y="6128345"/>
              <a:ext cx="10254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10" name="Line 590"/>
            <p:cNvSpPr>
              <a:spLocks noChangeShapeType="1"/>
            </p:cNvSpPr>
            <p:nvPr/>
          </p:nvSpPr>
          <p:spPr bwMode="auto">
            <a:xfrm flipV="1">
              <a:off x="5404215" y="6226493"/>
              <a:ext cx="79105" cy="849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11" name="Line 591"/>
            <p:cNvSpPr>
              <a:spLocks noChangeShapeType="1"/>
            </p:cNvSpPr>
            <p:nvPr/>
          </p:nvSpPr>
          <p:spPr bwMode="auto">
            <a:xfrm>
              <a:off x="5404215" y="6227959"/>
              <a:ext cx="79105" cy="8203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12" name="Line 592"/>
            <p:cNvSpPr>
              <a:spLocks noChangeShapeType="1"/>
            </p:cNvSpPr>
            <p:nvPr/>
          </p:nvSpPr>
          <p:spPr bwMode="auto">
            <a:xfrm>
              <a:off x="5533127" y="6254327"/>
              <a:ext cx="9961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13" name="Line 593"/>
            <p:cNvSpPr>
              <a:spLocks noChangeShapeType="1"/>
            </p:cNvSpPr>
            <p:nvPr/>
          </p:nvSpPr>
          <p:spPr bwMode="auto">
            <a:xfrm>
              <a:off x="5533127" y="6285089"/>
              <a:ext cx="99614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54" name="Group 5853">
            <a:extLst>
              <a:ext uri="{FF2B5EF4-FFF2-40B4-BE49-F238E27FC236}">
                <a16:creationId xmlns:a16="http://schemas.microsoft.com/office/drawing/2014/main" id="{988E403E-FA15-FA49-90F8-29BCB317F858}"/>
              </a:ext>
            </a:extLst>
          </p:cNvPr>
          <p:cNvGrpSpPr/>
          <p:nvPr/>
        </p:nvGrpSpPr>
        <p:grpSpPr>
          <a:xfrm>
            <a:off x="5410074" y="5406143"/>
            <a:ext cx="208017" cy="309097"/>
            <a:chOff x="5410074" y="5406143"/>
            <a:chExt cx="208017" cy="309097"/>
          </a:xfrm>
        </p:grpSpPr>
        <p:sp>
          <p:nvSpPr>
            <p:cNvPr id="5714" name="Freeform 594"/>
            <p:cNvSpPr>
              <a:spLocks noChangeArrowheads="1"/>
            </p:cNvSpPr>
            <p:nvPr/>
          </p:nvSpPr>
          <p:spPr bwMode="auto">
            <a:xfrm>
              <a:off x="5410074" y="5406143"/>
              <a:ext cx="208017" cy="218273"/>
            </a:xfrm>
            <a:custGeom>
              <a:avLst/>
              <a:gdLst>
                <a:gd name="T0" fmla="*/ 149 w 628"/>
                <a:gd name="T1" fmla="*/ 582 h 658"/>
                <a:gd name="T2" fmla="*/ 149 w 628"/>
                <a:gd name="T3" fmla="*/ 582 h 658"/>
                <a:gd name="T4" fmla="*/ 149 w 628"/>
                <a:gd name="T5" fmla="*/ 657 h 658"/>
                <a:gd name="T6" fmla="*/ 478 w 628"/>
                <a:gd name="T7" fmla="*/ 657 h 658"/>
                <a:gd name="T8" fmla="*/ 478 w 628"/>
                <a:gd name="T9" fmla="*/ 582 h 658"/>
                <a:gd name="T10" fmla="*/ 627 w 628"/>
                <a:gd name="T11" fmla="*/ 314 h 658"/>
                <a:gd name="T12" fmla="*/ 314 w 628"/>
                <a:gd name="T13" fmla="*/ 0 h 658"/>
                <a:gd name="T14" fmla="*/ 0 w 628"/>
                <a:gd name="T15" fmla="*/ 314 h 658"/>
                <a:gd name="T16" fmla="*/ 149 w 628"/>
                <a:gd name="T17" fmla="*/ 582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8" h="658">
                  <a:moveTo>
                    <a:pt x="149" y="582"/>
                  </a:moveTo>
                  <a:lnTo>
                    <a:pt x="149" y="582"/>
                  </a:lnTo>
                  <a:cubicBezTo>
                    <a:pt x="149" y="657"/>
                    <a:pt x="149" y="657"/>
                    <a:pt x="149" y="657"/>
                  </a:cubicBezTo>
                  <a:cubicBezTo>
                    <a:pt x="478" y="657"/>
                    <a:pt x="478" y="657"/>
                    <a:pt x="478" y="657"/>
                  </a:cubicBezTo>
                  <a:cubicBezTo>
                    <a:pt x="478" y="582"/>
                    <a:pt x="478" y="582"/>
                    <a:pt x="478" y="582"/>
                  </a:cubicBezTo>
                  <a:cubicBezTo>
                    <a:pt x="568" y="523"/>
                    <a:pt x="627" y="426"/>
                    <a:pt x="627" y="314"/>
                  </a:cubicBezTo>
                  <a:cubicBezTo>
                    <a:pt x="627" y="134"/>
                    <a:pt x="485" y="0"/>
                    <a:pt x="314" y="0"/>
                  </a:cubicBezTo>
                  <a:cubicBezTo>
                    <a:pt x="135" y="0"/>
                    <a:pt x="0" y="134"/>
                    <a:pt x="0" y="314"/>
                  </a:cubicBezTo>
                  <a:cubicBezTo>
                    <a:pt x="0" y="426"/>
                    <a:pt x="60" y="530"/>
                    <a:pt x="149" y="582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15" name="Line 595"/>
            <p:cNvSpPr>
              <a:spLocks noChangeShapeType="1"/>
            </p:cNvSpPr>
            <p:nvPr/>
          </p:nvSpPr>
          <p:spPr bwMode="auto">
            <a:xfrm flipH="1" flipV="1">
              <a:off x="5477460" y="5523337"/>
              <a:ext cx="17579" cy="10254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16" name="Line 596"/>
            <p:cNvSpPr>
              <a:spLocks noChangeShapeType="1"/>
            </p:cNvSpPr>
            <p:nvPr/>
          </p:nvSpPr>
          <p:spPr bwMode="auto">
            <a:xfrm flipV="1">
              <a:off x="5533127" y="5523337"/>
              <a:ext cx="14649" cy="10254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17" name="Freeform 597"/>
            <p:cNvSpPr>
              <a:spLocks noChangeArrowheads="1"/>
            </p:cNvSpPr>
            <p:nvPr/>
          </p:nvSpPr>
          <p:spPr bwMode="auto">
            <a:xfrm>
              <a:off x="5478926" y="5530661"/>
              <a:ext cx="70316" cy="14649"/>
            </a:xfrm>
            <a:custGeom>
              <a:avLst/>
              <a:gdLst>
                <a:gd name="T0" fmla="*/ 0 w 210"/>
                <a:gd name="T1" fmla="*/ 0 h 46"/>
                <a:gd name="T2" fmla="*/ 60 w 210"/>
                <a:gd name="T3" fmla="*/ 45 h 46"/>
                <a:gd name="T4" fmla="*/ 105 w 210"/>
                <a:gd name="T5" fmla="*/ 0 h 46"/>
                <a:gd name="T6" fmla="*/ 150 w 210"/>
                <a:gd name="T7" fmla="*/ 45 h 46"/>
                <a:gd name="T8" fmla="*/ 209 w 210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46">
                  <a:moveTo>
                    <a:pt x="0" y="0"/>
                  </a:moveTo>
                  <a:lnTo>
                    <a:pt x="60" y="45"/>
                  </a:lnTo>
                  <a:lnTo>
                    <a:pt x="105" y="0"/>
                  </a:lnTo>
                  <a:lnTo>
                    <a:pt x="150" y="45"/>
                  </a:lnTo>
                  <a:lnTo>
                    <a:pt x="20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18" name="Freeform 598"/>
            <p:cNvSpPr>
              <a:spLocks noChangeArrowheads="1"/>
            </p:cNvSpPr>
            <p:nvPr/>
          </p:nvSpPr>
          <p:spPr bwMode="auto">
            <a:xfrm>
              <a:off x="5459882" y="5624416"/>
              <a:ext cx="109869" cy="30763"/>
            </a:xfrm>
            <a:custGeom>
              <a:avLst/>
              <a:gdLst>
                <a:gd name="T0" fmla="*/ 329 w 330"/>
                <a:gd name="T1" fmla="*/ 90 h 91"/>
                <a:gd name="T2" fmla="*/ 0 w 330"/>
                <a:gd name="T3" fmla="*/ 90 h 91"/>
                <a:gd name="T4" fmla="*/ 0 w 330"/>
                <a:gd name="T5" fmla="*/ 0 h 91"/>
                <a:gd name="T6" fmla="*/ 329 w 330"/>
                <a:gd name="T7" fmla="*/ 0 h 91"/>
                <a:gd name="T8" fmla="*/ 329 w 330"/>
                <a:gd name="T9" fmla="*/ 9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0" h="91">
                  <a:moveTo>
                    <a:pt x="329" y="90"/>
                  </a:moveTo>
                  <a:lnTo>
                    <a:pt x="0" y="90"/>
                  </a:lnTo>
                  <a:lnTo>
                    <a:pt x="0" y="0"/>
                  </a:lnTo>
                  <a:lnTo>
                    <a:pt x="329" y="0"/>
                  </a:lnTo>
                  <a:lnTo>
                    <a:pt x="329" y="9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19" name="Freeform 599"/>
            <p:cNvSpPr>
              <a:spLocks noChangeArrowheads="1"/>
            </p:cNvSpPr>
            <p:nvPr/>
          </p:nvSpPr>
          <p:spPr bwMode="auto">
            <a:xfrm>
              <a:off x="5468670" y="5655178"/>
              <a:ext cx="89361" cy="29299"/>
            </a:xfrm>
            <a:custGeom>
              <a:avLst/>
              <a:gdLst>
                <a:gd name="T0" fmla="*/ 269 w 270"/>
                <a:gd name="T1" fmla="*/ 89 h 90"/>
                <a:gd name="T2" fmla="*/ 0 w 270"/>
                <a:gd name="T3" fmla="*/ 89 h 90"/>
                <a:gd name="T4" fmla="*/ 0 w 270"/>
                <a:gd name="T5" fmla="*/ 0 h 90"/>
                <a:gd name="T6" fmla="*/ 269 w 270"/>
                <a:gd name="T7" fmla="*/ 0 h 90"/>
                <a:gd name="T8" fmla="*/ 269 w 270"/>
                <a:gd name="T9" fmla="*/ 8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0" h="90">
                  <a:moveTo>
                    <a:pt x="269" y="89"/>
                  </a:moveTo>
                  <a:lnTo>
                    <a:pt x="0" y="89"/>
                  </a:lnTo>
                  <a:lnTo>
                    <a:pt x="0" y="0"/>
                  </a:lnTo>
                  <a:lnTo>
                    <a:pt x="269" y="0"/>
                  </a:lnTo>
                  <a:lnTo>
                    <a:pt x="269" y="8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20" name="Freeform 600"/>
            <p:cNvSpPr>
              <a:spLocks noChangeArrowheads="1"/>
            </p:cNvSpPr>
            <p:nvPr/>
          </p:nvSpPr>
          <p:spPr bwMode="auto">
            <a:xfrm>
              <a:off x="5478926" y="5684476"/>
              <a:ext cx="70316" cy="30764"/>
            </a:xfrm>
            <a:custGeom>
              <a:avLst/>
              <a:gdLst>
                <a:gd name="T0" fmla="*/ 209 w 210"/>
                <a:gd name="T1" fmla="*/ 90 h 91"/>
                <a:gd name="T2" fmla="*/ 0 w 210"/>
                <a:gd name="T3" fmla="*/ 90 h 91"/>
                <a:gd name="T4" fmla="*/ 0 w 210"/>
                <a:gd name="T5" fmla="*/ 0 h 91"/>
                <a:gd name="T6" fmla="*/ 209 w 210"/>
                <a:gd name="T7" fmla="*/ 0 h 91"/>
                <a:gd name="T8" fmla="*/ 209 w 210"/>
                <a:gd name="T9" fmla="*/ 9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91">
                  <a:moveTo>
                    <a:pt x="209" y="90"/>
                  </a:moveTo>
                  <a:lnTo>
                    <a:pt x="0" y="90"/>
                  </a:lnTo>
                  <a:lnTo>
                    <a:pt x="0" y="0"/>
                  </a:lnTo>
                  <a:lnTo>
                    <a:pt x="209" y="0"/>
                  </a:lnTo>
                  <a:lnTo>
                    <a:pt x="209" y="9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52" name="Group 5851">
            <a:extLst>
              <a:ext uri="{FF2B5EF4-FFF2-40B4-BE49-F238E27FC236}">
                <a16:creationId xmlns:a16="http://schemas.microsoft.com/office/drawing/2014/main" id="{ED2B52F9-7ED6-5A41-B28C-A7440FA112B0}"/>
              </a:ext>
            </a:extLst>
          </p:cNvPr>
          <p:cNvGrpSpPr/>
          <p:nvPr/>
        </p:nvGrpSpPr>
        <p:grpSpPr>
          <a:xfrm>
            <a:off x="6026802" y="5406144"/>
            <a:ext cx="251965" cy="309096"/>
            <a:chOff x="6026802" y="5406144"/>
            <a:chExt cx="251965" cy="309096"/>
          </a:xfrm>
        </p:grpSpPr>
        <p:sp>
          <p:nvSpPr>
            <p:cNvPr id="5721" name="Freeform 601"/>
            <p:cNvSpPr>
              <a:spLocks noChangeArrowheads="1"/>
            </p:cNvSpPr>
            <p:nvPr/>
          </p:nvSpPr>
          <p:spPr bwMode="auto">
            <a:xfrm>
              <a:off x="6072214" y="5406144"/>
              <a:ext cx="161141" cy="168465"/>
            </a:xfrm>
            <a:custGeom>
              <a:avLst/>
              <a:gdLst>
                <a:gd name="T0" fmla="*/ 0 w 487"/>
                <a:gd name="T1" fmla="*/ 388 h 509"/>
                <a:gd name="T2" fmla="*/ 0 w 487"/>
                <a:gd name="T3" fmla="*/ 388 h 509"/>
                <a:gd name="T4" fmla="*/ 239 w 487"/>
                <a:gd name="T5" fmla="*/ 508 h 509"/>
                <a:gd name="T6" fmla="*/ 486 w 487"/>
                <a:gd name="T7" fmla="*/ 388 h 509"/>
                <a:gd name="T8" fmla="*/ 486 w 487"/>
                <a:gd name="T9" fmla="*/ 0 h 509"/>
                <a:gd name="T10" fmla="*/ 0 w 487"/>
                <a:gd name="T11" fmla="*/ 0 h 509"/>
                <a:gd name="T12" fmla="*/ 0 w 487"/>
                <a:gd name="T13" fmla="*/ 388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7" h="509">
                  <a:moveTo>
                    <a:pt x="0" y="388"/>
                  </a:moveTo>
                  <a:lnTo>
                    <a:pt x="0" y="388"/>
                  </a:lnTo>
                  <a:cubicBezTo>
                    <a:pt x="0" y="456"/>
                    <a:pt x="90" y="508"/>
                    <a:pt x="239" y="508"/>
                  </a:cubicBezTo>
                  <a:cubicBezTo>
                    <a:pt x="388" y="508"/>
                    <a:pt x="486" y="456"/>
                    <a:pt x="486" y="388"/>
                  </a:cubicBezTo>
                  <a:cubicBezTo>
                    <a:pt x="486" y="0"/>
                    <a:pt x="486" y="0"/>
                    <a:pt x="48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388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22" name="Line 602"/>
            <p:cNvSpPr>
              <a:spLocks noChangeShapeType="1"/>
            </p:cNvSpPr>
            <p:nvPr/>
          </p:nvSpPr>
          <p:spPr bwMode="auto">
            <a:xfrm>
              <a:off x="6091258" y="5713774"/>
              <a:ext cx="118658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23" name="Line 603"/>
            <p:cNvSpPr>
              <a:spLocks noChangeShapeType="1"/>
            </p:cNvSpPr>
            <p:nvPr/>
          </p:nvSpPr>
          <p:spPr bwMode="auto">
            <a:xfrm>
              <a:off x="6151318" y="5576073"/>
              <a:ext cx="1466" cy="139167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24" name="Freeform 604"/>
            <p:cNvSpPr>
              <a:spLocks noChangeArrowheads="1"/>
            </p:cNvSpPr>
            <p:nvPr/>
          </p:nvSpPr>
          <p:spPr bwMode="auto">
            <a:xfrm>
              <a:off x="6026802" y="5436906"/>
              <a:ext cx="45412" cy="45412"/>
            </a:xfrm>
            <a:custGeom>
              <a:avLst/>
              <a:gdLst>
                <a:gd name="T0" fmla="*/ 134 w 135"/>
                <a:gd name="T1" fmla="*/ 0 h 135"/>
                <a:gd name="T2" fmla="*/ 134 w 135"/>
                <a:gd name="T3" fmla="*/ 0 h 135"/>
                <a:gd name="T4" fmla="*/ 0 w 135"/>
                <a:gd name="T5" fmla="*/ 0 h 135"/>
                <a:gd name="T6" fmla="*/ 134 w 135"/>
                <a:gd name="T7" fmla="*/ 13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5" h="135">
                  <a:moveTo>
                    <a:pt x="134" y="0"/>
                  </a:moveTo>
                  <a:lnTo>
                    <a:pt x="134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34"/>
                    <a:pt x="134" y="13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25" name="Freeform 605"/>
            <p:cNvSpPr>
              <a:spLocks noChangeArrowheads="1"/>
            </p:cNvSpPr>
            <p:nvPr/>
          </p:nvSpPr>
          <p:spPr bwMode="auto">
            <a:xfrm>
              <a:off x="6233354" y="5436906"/>
              <a:ext cx="45413" cy="45412"/>
            </a:xfrm>
            <a:custGeom>
              <a:avLst/>
              <a:gdLst>
                <a:gd name="T0" fmla="*/ 0 w 135"/>
                <a:gd name="T1" fmla="*/ 0 h 135"/>
                <a:gd name="T2" fmla="*/ 0 w 135"/>
                <a:gd name="T3" fmla="*/ 0 h 135"/>
                <a:gd name="T4" fmla="*/ 134 w 135"/>
                <a:gd name="T5" fmla="*/ 0 h 135"/>
                <a:gd name="T6" fmla="*/ 0 w 135"/>
                <a:gd name="T7" fmla="*/ 13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5" h="135">
                  <a:moveTo>
                    <a:pt x="0" y="0"/>
                  </a:moveTo>
                  <a:lnTo>
                    <a:pt x="0" y="0"/>
                  </a:lnTo>
                  <a:cubicBezTo>
                    <a:pt x="134" y="0"/>
                    <a:pt x="134" y="0"/>
                    <a:pt x="134" y="0"/>
                  </a:cubicBezTo>
                  <a:cubicBezTo>
                    <a:pt x="134" y="0"/>
                    <a:pt x="134" y="134"/>
                    <a:pt x="0" y="13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49" name="Group 5848">
            <a:extLst>
              <a:ext uri="{FF2B5EF4-FFF2-40B4-BE49-F238E27FC236}">
                <a16:creationId xmlns:a16="http://schemas.microsoft.com/office/drawing/2014/main" id="{657DCB34-6258-4241-BF80-D22957C35099}"/>
              </a:ext>
            </a:extLst>
          </p:cNvPr>
          <p:cNvGrpSpPr/>
          <p:nvPr/>
        </p:nvGrpSpPr>
        <p:grpSpPr>
          <a:xfrm>
            <a:off x="6634739" y="5451555"/>
            <a:ext cx="310561" cy="218272"/>
            <a:chOff x="6634739" y="5451555"/>
            <a:chExt cx="310561" cy="218272"/>
          </a:xfrm>
        </p:grpSpPr>
        <p:sp>
          <p:nvSpPr>
            <p:cNvPr id="5726" name="Freeform 606"/>
            <p:cNvSpPr>
              <a:spLocks noChangeArrowheads="1"/>
            </p:cNvSpPr>
            <p:nvPr/>
          </p:nvSpPr>
          <p:spPr bwMode="auto">
            <a:xfrm>
              <a:off x="6634739" y="5491108"/>
              <a:ext cx="310561" cy="178719"/>
            </a:xfrm>
            <a:custGeom>
              <a:avLst/>
              <a:gdLst>
                <a:gd name="T0" fmla="*/ 933 w 934"/>
                <a:gd name="T1" fmla="*/ 0 h 538"/>
                <a:gd name="T2" fmla="*/ 0 w 934"/>
                <a:gd name="T3" fmla="*/ 0 h 538"/>
                <a:gd name="T4" fmla="*/ 0 w 934"/>
                <a:gd name="T5" fmla="*/ 537 h 538"/>
                <a:gd name="T6" fmla="*/ 933 w 934"/>
                <a:gd name="T7" fmla="*/ 537 h 538"/>
                <a:gd name="T8" fmla="*/ 933 w 934"/>
                <a:gd name="T9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4" h="538">
                  <a:moveTo>
                    <a:pt x="933" y="0"/>
                  </a:moveTo>
                  <a:lnTo>
                    <a:pt x="0" y="0"/>
                  </a:lnTo>
                  <a:lnTo>
                    <a:pt x="0" y="537"/>
                  </a:lnTo>
                  <a:lnTo>
                    <a:pt x="933" y="537"/>
                  </a:lnTo>
                  <a:lnTo>
                    <a:pt x="933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27" name="Line 607"/>
            <p:cNvSpPr>
              <a:spLocks noChangeShapeType="1"/>
            </p:cNvSpPr>
            <p:nvPr/>
          </p:nvSpPr>
          <p:spPr bwMode="auto">
            <a:xfrm>
              <a:off x="6634739" y="5551170"/>
              <a:ext cx="310561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28" name="Freeform 608"/>
            <p:cNvSpPr>
              <a:spLocks noChangeArrowheads="1"/>
            </p:cNvSpPr>
            <p:nvPr/>
          </p:nvSpPr>
          <p:spPr bwMode="auto">
            <a:xfrm>
              <a:off x="6766581" y="5551170"/>
              <a:ext cx="49807" cy="30763"/>
            </a:xfrm>
            <a:custGeom>
              <a:avLst/>
              <a:gdLst>
                <a:gd name="T0" fmla="*/ 0 w 151"/>
                <a:gd name="T1" fmla="*/ 0 h 91"/>
                <a:gd name="T2" fmla="*/ 0 w 151"/>
                <a:gd name="T3" fmla="*/ 90 h 91"/>
                <a:gd name="T4" fmla="*/ 150 w 151"/>
                <a:gd name="T5" fmla="*/ 90 h 91"/>
                <a:gd name="T6" fmla="*/ 150 w 151"/>
                <a:gd name="T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1" h="91">
                  <a:moveTo>
                    <a:pt x="0" y="0"/>
                  </a:moveTo>
                  <a:lnTo>
                    <a:pt x="0" y="90"/>
                  </a:lnTo>
                  <a:lnTo>
                    <a:pt x="150" y="90"/>
                  </a:lnTo>
                  <a:lnTo>
                    <a:pt x="15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29" name="Freeform 609"/>
            <p:cNvSpPr>
              <a:spLocks noChangeArrowheads="1"/>
            </p:cNvSpPr>
            <p:nvPr/>
          </p:nvSpPr>
          <p:spPr bwMode="auto">
            <a:xfrm>
              <a:off x="6746072" y="5451555"/>
              <a:ext cx="89361" cy="39552"/>
            </a:xfrm>
            <a:custGeom>
              <a:avLst/>
              <a:gdLst>
                <a:gd name="T0" fmla="*/ 0 w 269"/>
                <a:gd name="T1" fmla="*/ 120 h 121"/>
                <a:gd name="T2" fmla="*/ 0 w 269"/>
                <a:gd name="T3" fmla="*/ 120 h 121"/>
                <a:gd name="T4" fmla="*/ 134 w 269"/>
                <a:gd name="T5" fmla="*/ 0 h 121"/>
                <a:gd name="T6" fmla="*/ 268 w 269"/>
                <a:gd name="T7" fmla="*/ 12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9" h="121">
                  <a:moveTo>
                    <a:pt x="0" y="120"/>
                  </a:moveTo>
                  <a:lnTo>
                    <a:pt x="0" y="120"/>
                  </a:lnTo>
                  <a:cubicBezTo>
                    <a:pt x="0" y="120"/>
                    <a:pt x="0" y="0"/>
                    <a:pt x="134" y="0"/>
                  </a:cubicBezTo>
                  <a:cubicBezTo>
                    <a:pt x="268" y="0"/>
                    <a:pt x="268" y="120"/>
                    <a:pt x="268" y="12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65" name="Group 5864">
            <a:extLst>
              <a:ext uri="{FF2B5EF4-FFF2-40B4-BE49-F238E27FC236}">
                <a16:creationId xmlns:a16="http://schemas.microsoft.com/office/drawing/2014/main" id="{03E6F2C0-66FD-7545-8421-F03DF893E34A}"/>
              </a:ext>
            </a:extLst>
          </p:cNvPr>
          <p:cNvGrpSpPr/>
          <p:nvPr/>
        </p:nvGrpSpPr>
        <p:grpSpPr>
          <a:xfrm>
            <a:off x="889362" y="6099046"/>
            <a:ext cx="310561" cy="200693"/>
            <a:chOff x="889362" y="6099046"/>
            <a:chExt cx="310561" cy="200693"/>
          </a:xfrm>
        </p:grpSpPr>
        <p:sp>
          <p:nvSpPr>
            <p:cNvPr id="5742" name="Freeform 622"/>
            <p:cNvSpPr>
              <a:spLocks noChangeArrowheads="1"/>
            </p:cNvSpPr>
            <p:nvPr/>
          </p:nvSpPr>
          <p:spPr bwMode="auto">
            <a:xfrm>
              <a:off x="889362" y="6138598"/>
              <a:ext cx="310561" cy="161141"/>
            </a:xfrm>
            <a:custGeom>
              <a:avLst/>
              <a:gdLst>
                <a:gd name="T0" fmla="*/ 672 w 934"/>
                <a:gd name="T1" fmla="*/ 150 h 487"/>
                <a:gd name="T2" fmla="*/ 933 w 934"/>
                <a:gd name="T3" fmla="*/ 0 h 487"/>
                <a:gd name="T4" fmla="*/ 933 w 934"/>
                <a:gd name="T5" fmla="*/ 486 h 487"/>
                <a:gd name="T6" fmla="*/ 672 w 934"/>
                <a:gd name="T7" fmla="*/ 329 h 487"/>
                <a:gd name="T8" fmla="*/ 672 w 934"/>
                <a:gd name="T9" fmla="*/ 486 h 487"/>
                <a:gd name="T10" fmla="*/ 0 w 934"/>
                <a:gd name="T11" fmla="*/ 486 h 487"/>
                <a:gd name="T12" fmla="*/ 0 w 934"/>
                <a:gd name="T13" fmla="*/ 0 h 487"/>
                <a:gd name="T14" fmla="*/ 672 w 934"/>
                <a:gd name="T15" fmla="*/ 0 h 487"/>
                <a:gd name="T16" fmla="*/ 672 w 934"/>
                <a:gd name="T17" fmla="*/ 15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4" h="487">
                  <a:moveTo>
                    <a:pt x="672" y="150"/>
                  </a:moveTo>
                  <a:lnTo>
                    <a:pt x="933" y="0"/>
                  </a:lnTo>
                  <a:lnTo>
                    <a:pt x="933" y="486"/>
                  </a:lnTo>
                  <a:lnTo>
                    <a:pt x="672" y="329"/>
                  </a:lnTo>
                  <a:lnTo>
                    <a:pt x="672" y="486"/>
                  </a:lnTo>
                  <a:lnTo>
                    <a:pt x="0" y="486"/>
                  </a:lnTo>
                  <a:lnTo>
                    <a:pt x="0" y="0"/>
                  </a:lnTo>
                  <a:lnTo>
                    <a:pt x="672" y="0"/>
                  </a:lnTo>
                  <a:lnTo>
                    <a:pt x="672" y="15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43" name="Line 623"/>
            <p:cNvSpPr>
              <a:spLocks noChangeShapeType="1"/>
            </p:cNvSpPr>
            <p:nvPr/>
          </p:nvSpPr>
          <p:spPr bwMode="auto">
            <a:xfrm>
              <a:off x="914266" y="6178151"/>
              <a:ext cx="2050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44" name="Line 624"/>
            <p:cNvSpPr>
              <a:spLocks noChangeShapeType="1"/>
            </p:cNvSpPr>
            <p:nvPr/>
          </p:nvSpPr>
          <p:spPr bwMode="auto">
            <a:xfrm>
              <a:off x="953818" y="6178151"/>
              <a:ext cx="2050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45" name="Freeform 625"/>
            <p:cNvSpPr>
              <a:spLocks noChangeArrowheads="1"/>
            </p:cNvSpPr>
            <p:nvPr/>
          </p:nvSpPr>
          <p:spPr bwMode="auto">
            <a:xfrm>
              <a:off x="918659" y="6217703"/>
              <a:ext cx="89361" cy="52737"/>
            </a:xfrm>
            <a:custGeom>
              <a:avLst/>
              <a:gdLst>
                <a:gd name="T0" fmla="*/ 269 w 270"/>
                <a:gd name="T1" fmla="*/ 0 h 158"/>
                <a:gd name="T2" fmla="*/ 0 w 270"/>
                <a:gd name="T3" fmla="*/ 0 h 158"/>
                <a:gd name="T4" fmla="*/ 0 w 270"/>
                <a:gd name="T5" fmla="*/ 157 h 158"/>
                <a:gd name="T6" fmla="*/ 269 w 270"/>
                <a:gd name="T7" fmla="*/ 157 h 158"/>
                <a:gd name="T8" fmla="*/ 269 w 270"/>
                <a:gd name="T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0" h="158">
                  <a:moveTo>
                    <a:pt x="269" y="0"/>
                  </a:moveTo>
                  <a:lnTo>
                    <a:pt x="0" y="0"/>
                  </a:lnTo>
                  <a:lnTo>
                    <a:pt x="0" y="157"/>
                  </a:lnTo>
                  <a:lnTo>
                    <a:pt x="269" y="157"/>
                  </a:lnTo>
                  <a:lnTo>
                    <a:pt x="26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46" name="Freeform 626"/>
            <p:cNvSpPr>
              <a:spLocks noChangeArrowheads="1"/>
            </p:cNvSpPr>
            <p:nvPr/>
          </p:nvSpPr>
          <p:spPr bwMode="auto">
            <a:xfrm>
              <a:off x="914266" y="6099046"/>
              <a:ext cx="168464" cy="39552"/>
            </a:xfrm>
            <a:custGeom>
              <a:avLst/>
              <a:gdLst>
                <a:gd name="T0" fmla="*/ 0 w 509"/>
                <a:gd name="T1" fmla="*/ 0 h 120"/>
                <a:gd name="T2" fmla="*/ 388 w 509"/>
                <a:gd name="T3" fmla="*/ 0 h 120"/>
                <a:gd name="T4" fmla="*/ 508 w 509"/>
                <a:gd name="T5" fmla="*/ 11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09" h="120">
                  <a:moveTo>
                    <a:pt x="0" y="0"/>
                  </a:moveTo>
                  <a:lnTo>
                    <a:pt x="388" y="0"/>
                  </a:lnTo>
                  <a:lnTo>
                    <a:pt x="508" y="11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66" name="Group 5865">
            <a:extLst>
              <a:ext uri="{FF2B5EF4-FFF2-40B4-BE49-F238E27FC236}">
                <a16:creationId xmlns:a16="http://schemas.microsoft.com/office/drawing/2014/main" id="{DFF0004E-8339-234F-A7B4-0998B8953F3F}"/>
              </a:ext>
            </a:extLst>
          </p:cNvPr>
          <p:cNvGrpSpPr/>
          <p:nvPr/>
        </p:nvGrpSpPr>
        <p:grpSpPr>
          <a:xfrm>
            <a:off x="1526598" y="6088791"/>
            <a:ext cx="310561" cy="210948"/>
            <a:chOff x="1526598" y="6088791"/>
            <a:chExt cx="310561" cy="210948"/>
          </a:xfrm>
        </p:grpSpPr>
        <p:sp>
          <p:nvSpPr>
            <p:cNvPr id="5747" name="Freeform 627"/>
            <p:cNvSpPr>
              <a:spLocks noChangeArrowheads="1"/>
            </p:cNvSpPr>
            <p:nvPr/>
          </p:nvSpPr>
          <p:spPr bwMode="auto">
            <a:xfrm>
              <a:off x="1526598" y="6088791"/>
              <a:ext cx="310561" cy="210947"/>
            </a:xfrm>
            <a:custGeom>
              <a:avLst/>
              <a:gdLst>
                <a:gd name="T0" fmla="*/ 679 w 934"/>
                <a:gd name="T1" fmla="*/ 149 h 636"/>
                <a:gd name="T2" fmla="*/ 560 w 934"/>
                <a:gd name="T3" fmla="*/ 0 h 636"/>
                <a:gd name="T4" fmla="*/ 380 w 934"/>
                <a:gd name="T5" fmla="*/ 0 h 636"/>
                <a:gd name="T6" fmla="*/ 261 w 934"/>
                <a:gd name="T7" fmla="*/ 149 h 636"/>
                <a:gd name="T8" fmla="*/ 0 w 934"/>
                <a:gd name="T9" fmla="*/ 149 h 636"/>
                <a:gd name="T10" fmla="*/ 0 w 934"/>
                <a:gd name="T11" fmla="*/ 635 h 636"/>
                <a:gd name="T12" fmla="*/ 933 w 934"/>
                <a:gd name="T13" fmla="*/ 635 h 636"/>
                <a:gd name="T14" fmla="*/ 933 w 934"/>
                <a:gd name="T15" fmla="*/ 149 h 636"/>
                <a:gd name="T16" fmla="*/ 679 w 934"/>
                <a:gd name="T17" fmla="*/ 149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4" h="636">
                  <a:moveTo>
                    <a:pt x="679" y="149"/>
                  </a:moveTo>
                  <a:lnTo>
                    <a:pt x="560" y="0"/>
                  </a:lnTo>
                  <a:lnTo>
                    <a:pt x="380" y="0"/>
                  </a:lnTo>
                  <a:lnTo>
                    <a:pt x="261" y="149"/>
                  </a:lnTo>
                  <a:lnTo>
                    <a:pt x="0" y="149"/>
                  </a:lnTo>
                  <a:lnTo>
                    <a:pt x="0" y="635"/>
                  </a:lnTo>
                  <a:lnTo>
                    <a:pt x="933" y="635"/>
                  </a:lnTo>
                  <a:lnTo>
                    <a:pt x="933" y="149"/>
                  </a:lnTo>
                  <a:lnTo>
                    <a:pt x="679" y="14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48" name="Freeform 628"/>
            <p:cNvSpPr>
              <a:spLocks noChangeArrowheads="1"/>
            </p:cNvSpPr>
            <p:nvPr/>
          </p:nvSpPr>
          <p:spPr bwMode="auto">
            <a:xfrm>
              <a:off x="1643791" y="6178151"/>
              <a:ext cx="79105" cy="82035"/>
            </a:xfrm>
            <a:custGeom>
              <a:avLst/>
              <a:gdLst>
                <a:gd name="T0" fmla="*/ 238 w 239"/>
                <a:gd name="T1" fmla="*/ 119 h 247"/>
                <a:gd name="T2" fmla="*/ 238 w 239"/>
                <a:gd name="T3" fmla="*/ 119 h 247"/>
                <a:gd name="T4" fmla="*/ 119 w 239"/>
                <a:gd name="T5" fmla="*/ 0 h 247"/>
                <a:gd name="T6" fmla="*/ 0 w 239"/>
                <a:gd name="T7" fmla="*/ 119 h 247"/>
                <a:gd name="T8" fmla="*/ 119 w 239"/>
                <a:gd name="T9" fmla="*/ 246 h 247"/>
                <a:gd name="T10" fmla="*/ 238 w 239"/>
                <a:gd name="T11" fmla="*/ 119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9" h="247">
                  <a:moveTo>
                    <a:pt x="238" y="119"/>
                  </a:moveTo>
                  <a:lnTo>
                    <a:pt x="238" y="119"/>
                  </a:lnTo>
                  <a:cubicBezTo>
                    <a:pt x="238" y="60"/>
                    <a:pt x="186" y="0"/>
                    <a:pt x="119" y="0"/>
                  </a:cubicBezTo>
                  <a:cubicBezTo>
                    <a:pt x="52" y="0"/>
                    <a:pt x="0" y="60"/>
                    <a:pt x="0" y="119"/>
                  </a:cubicBezTo>
                  <a:cubicBezTo>
                    <a:pt x="0" y="186"/>
                    <a:pt x="52" y="246"/>
                    <a:pt x="119" y="246"/>
                  </a:cubicBezTo>
                  <a:cubicBezTo>
                    <a:pt x="186" y="246"/>
                    <a:pt x="238" y="186"/>
                    <a:pt x="238" y="11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49" name="Line 629"/>
            <p:cNvSpPr>
              <a:spLocks noChangeShapeType="1"/>
            </p:cNvSpPr>
            <p:nvPr/>
          </p:nvSpPr>
          <p:spPr bwMode="auto">
            <a:xfrm>
              <a:off x="1566150" y="6138598"/>
              <a:ext cx="1466" cy="16114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50" name="Freeform 630"/>
            <p:cNvSpPr>
              <a:spLocks noChangeArrowheads="1"/>
            </p:cNvSpPr>
            <p:nvPr/>
          </p:nvSpPr>
          <p:spPr bwMode="auto">
            <a:xfrm>
              <a:off x="1791746" y="6178151"/>
              <a:ext cx="1466" cy="146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166763" y="6093186"/>
            <a:ext cx="310561" cy="210947"/>
            <a:chOff x="4330350" y="12186372"/>
            <a:chExt cx="621122" cy="421894"/>
          </a:xfrm>
        </p:grpSpPr>
        <p:sp>
          <p:nvSpPr>
            <p:cNvPr id="5751" name="Freeform 631"/>
            <p:cNvSpPr>
              <a:spLocks noChangeArrowheads="1"/>
            </p:cNvSpPr>
            <p:nvPr/>
          </p:nvSpPr>
          <p:spPr bwMode="auto">
            <a:xfrm>
              <a:off x="4330350" y="12186372"/>
              <a:ext cx="621122" cy="421894"/>
            </a:xfrm>
            <a:custGeom>
              <a:avLst/>
              <a:gdLst>
                <a:gd name="T0" fmla="*/ 934 w 935"/>
                <a:gd name="T1" fmla="*/ 0 h 635"/>
                <a:gd name="T2" fmla="*/ 0 w 935"/>
                <a:gd name="T3" fmla="*/ 0 h 635"/>
                <a:gd name="T4" fmla="*/ 0 w 935"/>
                <a:gd name="T5" fmla="*/ 634 h 635"/>
                <a:gd name="T6" fmla="*/ 934 w 935"/>
                <a:gd name="T7" fmla="*/ 634 h 635"/>
                <a:gd name="T8" fmla="*/ 934 w 935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5" h="635">
                  <a:moveTo>
                    <a:pt x="934" y="0"/>
                  </a:moveTo>
                  <a:lnTo>
                    <a:pt x="0" y="0"/>
                  </a:lnTo>
                  <a:lnTo>
                    <a:pt x="0" y="634"/>
                  </a:lnTo>
                  <a:lnTo>
                    <a:pt x="934" y="634"/>
                  </a:lnTo>
                  <a:lnTo>
                    <a:pt x="934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52" name="Freeform 632"/>
            <p:cNvSpPr>
              <a:spLocks noChangeArrowheads="1"/>
            </p:cNvSpPr>
            <p:nvPr/>
          </p:nvSpPr>
          <p:spPr bwMode="auto">
            <a:xfrm>
              <a:off x="4330350" y="12347511"/>
              <a:ext cx="621122" cy="222666"/>
            </a:xfrm>
            <a:custGeom>
              <a:avLst/>
              <a:gdLst>
                <a:gd name="T0" fmla="*/ 0 w 935"/>
                <a:gd name="T1" fmla="*/ 306 h 337"/>
                <a:gd name="T2" fmla="*/ 344 w 935"/>
                <a:gd name="T3" fmla="*/ 0 h 337"/>
                <a:gd name="T4" fmla="*/ 523 w 935"/>
                <a:gd name="T5" fmla="*/ 179 h 337"/>
                <a:gd name="T6" fmla="*/ 613 w 935"/>
                <a:gd name="T7" fmla="*/ 59 h 337"/>
                <a:gd name="T8" fmla="*/ 934 w 935"/>
                <a:gd name="T9" fmla="*/ 336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5" h="337">
                  <a:moveTo>
                    <a:pt x="0" y="306"/>
                  </a:moveTo>
                  <a:lnTo>
                    <a:pt x="344" y="0"/>
                  </a:lnTo>
                  <a:lnTo>
                    <a:pt x="523" y="179"/>
                  </a:lnTo>
                  <a:lnTo>
                    <a:pt x="613" y="59"/>
                  </a:lnTo>
                  <a:lnTo>
                    <a:pt x="934" y="336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53" name="Freeform 633"/>
            <p:cNvSpPr>
              <a:spLocks noChangeArrowheads="1"/>
            </p:cNvSpPr>
            <p:nvPr/>
          </p:nvSpPr>
          <p:spPr bwMode="auto">
            <a:xfrm>
              <a:off x="4775684" y="12247900"/>
              <a:ext cx="105473" cy="99613"/>
            </a:xfrm>
            <a:custGeom>
              <a:avLst/>
              <a:gdLst>
                <a:gd name="T0" fmla="*/ 157 w 158"/>
                <a:gd name="T1" fmla="*/ 75 h 151"/>
                <a:gd name="T2" fmla="*/ 157 w 158"/>
                <a:gd name="T3" fmla="*/ 75 h 151"/>
                <a:gd name="T4" fmla="*/ 75 w 158"/>
                <a:gd name="T5" fmla="*/ 150 h 151"/>
                <a:gd name="T6" fmla="*/ 0 w 158"/>
                <a:gd name="T7" fmla="*/ 75 h 151"/>
                <a:gd name="T8" fmla="*/ 75 w 158"/>
                <a:gd name="T9" fmla="*/ 0 h 151"/>
                <a:gd name="T10" fmla="*/ 157 w 158"/>
                <a:gd name="T11" fmla="*/ 7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151">
                  <a:moveTo>
                    <a:pt x="157" y="75"/>
                  </a:moveTo>
                  <a:lnTo>
                    <a:pt x="157" y="75"/>
                  </a:lnTo>
                  <a:cubicBezTo>
                    <a:pt x="157" y="120"/>
                    <a:pt x="120" y="150"/>
                    <a:pt x="75" y="150"/>
                  </a:cubicBezTo>
                  <a:cubicBezTo>
                    <a:pt x="38" y="150"/>
                    <a:pt x="0" y="120"/>
                    <a:pt x="0" y="75"/>
                  </a:cubicBezTo>
                  <a:cubicBezTo>
                    <a:pt x="0" y="38"/>
                    <a:pt x="38" y="0"/>
                    <a:pt x="75" y="0"/>
                  </a:cubicBezTo>
                  <a:cubicBezTo>
                    <a:pt x="120" y="0"/>
                    <a:pt x="157" y="38"/>
                    <a:pt x="157" y="75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62" name="Group 5861">
            <a:extLst>
              <a:ext uri="{FF2B5EF4-FFF2-40B4-BE49-F238E27FC236}">
                <a16:creationId xmlns:a16="http://schemas.microsoft.com/office/drawing/2014/main" id="{8B113078-C8DD-2547-AE7E-3494BE796302}"/>
              </a:ext>
            </a:extLst>
          </p:cNvPr>
          <p:cNvGrpSpPr/>
          <p:nvPr/>
        </p:nvGrpSpPr>
        <p:grpSpPr>
          <a:xfrm>
            <a:off x="2804000" y="6078537"/>
            <a:ext cx="310560" cy="240246"/>
            <a:chOff x="2804000" y="6078537"/>
            <a:chExt cx="310560" cy="240246"/>
          </a:xfrm>
        </p:grpSpPr>
        <p:sp>
          <p:nvSpPr>
            <p:cNvPr id="5754" name="Freeform 634"/>
            <p:cNvSpPr>
              <a:spLocks noChangeArrowheads="1"/>
            </p:cNvSpPr>
            <p:nvPr/>
          </p:nvSpPr>
          <p:spPr bwMode="auto">
            <a:xfrm>
              <a:off x="2804000" y="6118089"/>
              <a:ext cx="260755" cy="200694"/>
            </a:xfrm>
            <a:custGeom>
              <a:avLst/>
              <a:gdLst>
                <a:gd name="T0" fmla="*/ 784 w 785"/>
                <a:gd name="T1" fmla="*/ 0 h 605"/>
                <a:gd name="T2" fmla="*/ 0 w 785"/>
                <a:gd name="T3" fmla="*/ 0 h 605"/>
                <a:gd name="T4" fmla="*/ 0 w 785"/>
                <a:gd name="T5" fmla="*/ 604 h 605"/>
                <a:gd name="T6" fmla="*/ 784 w 785"/>
                <a:gd name="T7" fmla="*/ 604 h 605"/>
                <a:gd name="T8" fmla="*/ 784 w 785"/>
                <a:gd name="T9" fmla="*/ 0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5" h="605">
                  <a:moveTo>
                    <a:pt x="784" y="0"/>
                  </a:moveTo>
                  <a:lnTo>
                    <a:pt x="0" y="0"/>
                  </a:lnTo>
                  <a:lnTo>
                    <a:pt x="0" y="604"/>
                  </a:lnTo>
                  <a:lnTo>
                    <a:pt x="784" y="604"/>
                  </a:lnTo>
                  <a:lnTo>
                    <a:pt x="784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55" name="Freeform 635"/>
            <p:cNvSpPr>
              <a:spLocks noChangeArrowheads="1"/>
            </p:cNvSpPr>
            <p:nvPr/>
          </p:nvSpPr>
          <p:spPr bwMode="auto">
            <a:xfrm>
              <a:off x="2850876" y="6078537"/>
              <a:ext cx="263684" cy="200693"/>
            </a:xfrm>
            <a:custGeom>
              <a:avLst/>
              <a:gdLst>
                <a:gd name="T0" fmla="*/ 0 w 792"/>
                <a:gd name="T1" fmla="*/ 90 h 606"/>
                <a:gd name="T2" fmla="*/ 0 w 792"/>
                <a:gd name="T3" fmla="*/ 0 h 606"/>
                <a:gd name="T4" fmla="*/ 791 w 792"/>
                <a:gd name="T5" fmla="*/ 0 h 606"/>
                <a:gd name="T6" fmla="*/ 791 w 792"/>
                <a:gd name="T7" fmla="*/ 605 h 606"/>
                <a:gd name="T8" fmla="*/ 672 w 792"/>
                <a:gd name="T9" fmla="*/ 605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2" h="606">
                  <a:moveTo>
                    <a:pt x="0" y="90"/>
                  </a:moveTo>
                  <a:lnTo>
                    <a:pt x="0" y="0"/>
                  </a:lnTo>
                  <a:lnTo>
                    <a:pt x="791" y="0"/>
                  </a:lnTo>
                  <a:lnTo>
                    <a:pt x="791" y="605"/>
                  </a:lnTo>
                  <a:lnTo>
                    <a:pt x="672" y="605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56" name="Freeform 636"/>
            <p:cNvSpPr>
              <a:spLocks noChangeArrowheads="1"/>
            </p:cNvSpPr>
            <p:nvPr/>
          </p:nvSpPr>
          <p:spPr bwMode="auto">
            <a:xfrm>
              <a:off x="2804000" y="6198660"/>
              <a:ext cx="260755" cy="111333"/>
            </a:xfrm>
            <a:custGeom>
              <a:avLst/>
              <a:gdLst>
                <a:gd name="T0" fmla="*/ 0 w 785"/>
                <a:gd name="T1" fmla="*/ 216 h 336"/>
                <a:gd name="T2" fmla="*/ 216 w 785"/>
                <a:gd name="T3" fmla="*/ 0 h 336"/>
                <a:gd name="T4" fmla="*/ 425 w 785"/>
                <a:gd name="T5" fmla="*/ 246 h 336"/>
                <a:gd name="T6" fmla="*/ 575 w 785"/>
                <a:gd name="T7" fmla="*/ 149 h 336"/>
                <a:gd name="T8" fmla="*/ 784 w 785"/>
                <a:gd name="T9" fmla="*/ 335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5" h="336">
                  <a:moveTo>
                    <a:pt x="0" y="216"/>
                  </a:moveTo>
                  <a:lnTo>
                    <a:pt x="216" y="0"/>
                  </a:lnTo>
                  <a:lnTo>
                    <a:pt x="425" y="246"/>
                  </a:lnTo>
                  <a:lnTo>
                    <a:pt x="575" y="149"/>
                  </a:lnTo>
                  <a:lnTo>
                    <a:pt x="784" y="335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57" name="Freeform 637"/>
            <p:cNvSpPr>
              <a:spLocks noChangeArrowheads="1"/>
            </p:cNvSpPr>
            <p:nvPr/>
          </p:nvSpPr>
          <p:spPr bwMode="auto">
            <a:xfrm>
              <a:off x="2975394" y="6157643"/>
              <a:ext cx="49807" cy="49807"/>
            </a:xfrm>
            <a:custGeom>
              <a:avLst/>
              <a:gdLst>
                <a:gd name="T0" fmla="*/ 149 w 150"/>
                <a:gd name="T1" fmla="*/ 75 h 150"/>
                <a:gd name="T2" fmla="*/ 149 w 150"/>
                <a:gd name="T3" fmla="*/ 75 h 150"/>
                <a:gd name="T4" fmla="*/ 75 w 150"/>
                <a:gd name="T5" fmla="*/ 149 h 150"/>
                <a:gd name="T6" fmla="*/ 0 w 150"/>
                <a:gd name="T7" fmla="*/ 75 h 150"/>
                <a:gd name="T8" fmla="*/ 75 w 150"/>
                <a:gd name="T9" fmla="*/ 0 h 150"/>
                <a:gd name="T10" fmla="*/ 149 w 150"/>
                <a:gd name="T11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150">
                  <a:moveTo>
                    <a:pt x="149" y="75"/>
                  </a:moveTo>
                  <a:lnTo>
                    <a:pt x="149" y="75"/>
                  </a:lnTo>
                  <a:cubicBezTo>
                    <a:pt x="149" y="120"/>
                    <a:pt x="112" y="149"/>
                    <a:pt x="75" y="149"/>
                  </a:cubicBezTo>
                  <a:cubicBezTo>
                    <a:pt x="30" y="149"/>
                    <a:pt x="0" y="120"/>
                    <a:pt x="0" y="75"/>
                  </a:cubicBezTo>
                  <a:cubicBezTo>
                    <a:pt x="0" y="37"/>
                    <a:pt x="30" y="0"/>
                    <a:pt x="75" y="0"/>
                  </a:cubicBezTo>
                  <a:cubicBezTo>
                    <a:pt x="112" y="0"/>
                    <a:pt x="149" y="37"/>
                    <a:pt x="149" y="75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63" name="Group 5862">
            <a:extLst>
              <a:ext uri="{FF2B5EF4-FFF2-40B4-BE49-F238E27FC236}">
                <a16:creationId xmlns:a16="http://schemas.microsoft.com/office/drawing/2014/main" id="{60200315-6AD8-D94C-A4AD-3EB7DDBF2C91}"/>
              </a:ext>
            </a:extLst>
          </p:cNvPr>
          <p:cNvGrpSpPr/>
          <p:nvPr/>
        </p:nvGrpSpPr>
        <p:grpSpPr>
          <a:xfrm>
            <a:off x="3444164" y="6044844"/>
            <a:ext cx="310561" cy="310561"/>
            <a:chOff x="3444164" y="6044844"/>
            <a:chExt cx="310561" cy="310561"/>
          </a:xfrm>
        </p:grpSpPr>
        <p:sp>
          <p:nvSpPr>
            <p:cNvPr id="5758" name="Freeform 638"/>
            <p:cNvSpPr>
              <a:spLocks noChangeArrowheads="1"/>
            </p:cNvSpPr>
            <p:nvPr/>
          </p:nvSpPr>
          <p:spPr bwMode="auto">
            <a:xfrm>
              <a:off x="3444164" y="6044844"/>
              <a:ext cx="310561" cy="310561"/>
            </a:xfrm>
            <a:custGeom>
              <a:avLst/>
              <a:gdLst>
                <a:gd name="T0" fmla="*/ 463 w 934"/>
                <a:gd name="T1" fmla="*/ 0 h 934"/>
                <a:gd name="T2" fmla="*/ 373 w 934"/>
                <a:gd name="T3" fmla="*/ 0 h 934"/>
                <a:gd name="T4" fmla="*/ 373 w 934"/>
                <a:gd name="T5" fmla="*/ 134 h 934"/>
                <a:gd name="T6" fmla="*/ 284 w 934"/>
                <a:gd name="T7" fmla="*/ 164 h 934"/>
                <a:gd name="T8" fmla="*/ 194 w 934"/>
                <a:gd name="T9" fmla="*/ 74 h 934"/>
                <a:gd name="T10" fmla="*/ 75 w 934"/>
                <a:gd name="T11" fmla="*/ 194 h 934"/>
                <a:gd name="T12" fmla="*/ 164 w 934"/>
                <a:gd name="T13" fmla="*/ 283 h 934"/>
                <a:gd name="T14" fmla="*/ 134 w 934"/>
                <a:gd name="T15" fmla="*/ 373 h 934"/>
                <a:gd name="T16" fmla="*/ 0 w 934"/>
                <a:gd name="T17" fmla="*/ 373 h 934"/>
                <a:gd name="T18" fmla="*/ 0 w 934"/>
                <a:gd name="T19" fmla="*/ 552 h 934"/>
                <a:gd name="T20" fmla="*/ 134 w 934"/>
                <a:gd name="T21" fmla="*/ 552 h 934"/>
                <a:gd name="T22" fmla="*/ 164 w 934"/>
                <a:gd name="T23" fmla="*/ 649 h 934"/>
                <a:gd name="T24" fmla="*/ 75 w 934"/>
                <a:gd name="T25" fmla="*/ 739 h 934"/>
                <a:gd name="T26" fmla="*/ 194 w 934"/>
                <a:gd name="T27" fmla="*/ 858 h 934"/>
                <a:gd name="T28" fmla="*/ 284 w 934"/>
                <a:gd name="T29" fmla="*/ 769 h 934"/>
                <a:gd name="T30" fmla="*/ 373 w 934"/>
                <a:gd name="T31" fmla="*/ 798 h 934"/>
                <a:gd name="T32" fmla="*/ 373 w 934"/>
                <a:gd name="T33" fmla="*/ 933 h 934"/>
                <a:gd name="T34" fmla="*/ 463 w 934"/>
                <a:gd name="T35" fmla="*/ 933 h 934"/>
                <a:gd name="T36" fmla="*/ 552 w 934"/>
                <a:gd name="T37" fmla="*/ 933 h 934"/>
                <a:gd name="T38" fmla="*/ 552 w 934"/>
                <a:gd name="T39" fmla="*/ 798 h 934"/>
                <a:gd name="T40" fmla="*/ 642 w 934"/>
                <a:gd name="T41" fmla="*/ 769 h 934"/>
                <a:gd name="T42" fmla="*/ 731 w 934"/>
                <a:gd name="T43" fmla="*/ 858 h 934"/>
                <a:gd name="T44" fmla="*/ 858 w 934"/>
                <a:gd name="T45" fmla="*/ 739 h 934"/>
                <a:gd name="T46" fmla="*/ 769 w 934"/>
                <a:gd name="T47" fmla="*/ 649 h 934"/>
                <a:gd name="T48" fmla="*/ 799 w 934"/>
                <a:gd name="T49" fmla="*/ 552 h 934"/>
                <a:gd name="T50" fmla="*/ 933 w 934"/>
                <a:gd name="T51" fmla="*/ 552 h 934"/>
                <a:gd name="T52" fmla="*/ 933 w 934"/>
                <a:gd name="T53" fmla="*/ 373 h 934"/>
                <a:gd name="T54" fmla="*/ 799 w 934"/>
                <a:gd name="T55" fmla="*/ 373 h 934"/>
                <a:gd name="T56" fmla="*/ 769 w 934"/>
                <a:gd name="T57" fmla="*/ 283 h 934"/>
                <a:gd name="T58" fmla="*/ 858 w 934"/>
                <a:gd name="T59" fmla="*/ 194 h 934"/>
                <a:gd name="T60" fmla="*/ 731 w 934"/>
                <a:gd name="T61" fmla="*/ 74 h 934"/>
                <a:gd name="T62" fmla="*/ 642 w 934"/>
                <a:gd name="T63" fmla="*/ 164 h 934"/>
                <a:gd name="T64" fmla="*/ 552 w 934"/>
                <a:gd name="T65" fmla="*/ 134 h 934"/>
                <a:gd name="T66" fmla="*/ 552 w 934"/>
                <a:gd name="T67" fmla="*/ 0 h 934"/>
                <a:gd name="T68" fmla="*/ 463 w 934"/>
                <a:gd name="T69" fmla="*/ 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34" h="934">
                  <a:moveTo>
                    <a:pt x="463" y="0"/>
                  </a:moveTo>
                  <a:lnTo>
                    <a:pt x="373" y="0"/>
                  </a:lnTo>
                  <a:lnTo>
                    <a:pt x="373" y="134"/>
                  </a:lnTo>
                  <a:lnTo>
                    <a:pt x="284" y="164"/>
                  </a:lnTo>
                  <a:lnTo>
                    <a:pt x="194" y="74"/>
                  </a:lnTo>
                  <a:lnTo>
                    <a:pt x="75" y="194"/>
                  </a:lnTo>
                  <a:lnTo>
                    <a:pt x="164" y="283"/>
                  </a:lnTo>
                  <a:lnTo>
                    <a:pt x="134" y="373"/>
                  </a:lnTo>
                  <a:lnTo>
                    <a:pt x="0" y="373"/>
                  </a:lnTo>
                  <a:lnTo>
                    <a:pt x="0" y="552"/>
                  </a:lnTo>
                  <a:lnTo>
                    <a:pt x="134" y="552"/>
                  </a:lnTo>
                  <a:lnTo>
                    <a:pt x="164" y="649"/>
                  </a:lnTo>
                  <a:lnTo>
                    <a:pt x="75" y="739"/>
                  </a:lnTo>
                  <a:lnTo>
                    <a:pt x="194" y="858"/>
                  </a:lnTo>
                  <a:lnTo>
                    <a:pt x="284" y="769"/>
                  </a:lnTo>
                  <a:lnTo>
                    <a:pt x="373" y="798"/>
                  </a:lnTo>
                  <a:lnTo>
                    <a:pt x="373" y="933"/>
                  </a:lnTo>
                  <a:lnTo>
                    <a:pt x="463" y="933"/>
                  </a:lnTo>
                  <a:lnTo>
                    <a:pt x="552" y="933"/>
                  </a:lnTo>
                  <a:lnTo>
                    <a:pt x="552" y="798"/>
                  </a:lnTo>
                  <a:lnTo>
                    <a:pt x="642" y="769"/>
                  </a:lnTo>
                  <a:lnTo>
                    <a:pt x="731" y="858"/>
                  </a:lnTo>
                  <a:lnTo>
                    <a:pt x="858" y="739"/>
                  </a:lnTo>
                  <a:lnTo>
                    <a:pt x="769" y="649"/>
                  </a:lnTo>
                  <a:lnTo>
                    <a:pt x="799" y="552"/>
                  </a:lnTo>
                  <a:lnTo>
                    <a:pt x="933" y="552"/>
                  </a:lnTo>
                  <a:lnTo>
                    <a:pt x="933" y="373"/>
                  </a:lnTo>
                  <a:lnTo>
                    <a:pt x="799" y="373"/>
                  </a:lnTo>
                  <a:lnTo>
                    <a:pt x="769" y="283"/>
                  </a:lnTo>
                  <a:lnTo>
                    <a:pt x="858" y="194"/>
                  </a:lnTo>
                  <a:lnTo>
                    <a:pt x="731" y="74"/>
                  </a:lnTo>
                  <a:lnTo>
                    <a:pt x="642" y="164"/>
                  </a:lnTo>
                  <a:lnTo>
                    <a:pt x="552" y="134"/>
                  </a:lnTo>
                  <a:lnTo>
                    <a:pt x="552" y="0"/>
                  </a:lnTo>
                  <a:lnTo>
                    <a:pt x="463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59" name="Freeform 639"/>
            <p:cNvSpPr>
              <a:spLocks noChangeArrowheads="1"/>
            </p:cNvSpPr>
            <p:nvPr/>
          </p:nvSpPr>
          <p:spPr bwMode="auto">
            <a:xfrm>
              <a:off x="3567217" y="6167897"/>
              <a:ext cx="60062" cy="60062"/>
            </a:xfrm>
            <a:custGeom>
              <a:avLst/>
              <a:gdLst>
                <a:gd name="T0" fmla="*/ 179 w 180"/>
                <a:gd name="T1" fmla="*/ 90 h 180"/>
                <a:gd name="T2" fmla="*/ 179 w 180"/>
                <a:gd name="T3" fmla="*/ 90 h 180"/>
                <a:gd name="T4" fmla="*/ 90 w 180"/>
                <a:gd name="T5" fmla="*/ 0 h 180"/>
                <a:gd name="T6" fmla="*/ 0 w 180"/>
                <a:gd name="T7" fmla="*/ 90 h 180"/>
                <a:gd name="T8" fmla="*/ 90 w 180"/>
                <a:gd name="T9" fmla="*/ 179 h 180"/>
                <a:gd name="T10" fmla="*/ 179 w 180"/>
                <a:gd name="T11" fmla="*/ 9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0" h="180">
                  <a:moveTo>
                    <a:pt x="179" y="90"/>
                  </a:moveTo>
                  <a:lnTo>
                    <a:pt x="179" y="90"/>
                  </a:lnTo>
                  <a:cubicBezTo>
                    <a:pt x="179" y="45"/>
                    <a:pt x="142" y="0"/>
                    <a:pt x="90" y="0"/>
                  </a:cubicBezTo>
                  <a:cubicBezTo>
                    <a:pt x="45" y="0"/>
                    <a:pt x="0" y="45"/>
                    <a:pt x="0" y="90"/>
                  </a:cubicBezTo>
                  <a:cubicBezTo>
                    <a:pt x="0" y="142"/>
                    <a:pt x="45" y="179"/>
                    <a:pt x="90" y="179"/>
                  </a:cubicBezTo>
                  <a:cubicBezTo>
                    <a:pt x="142" y="179"/>
                    <a:pt x="179" y="142"/>
                    <a:pt x="179" y="9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085795" y="6059493"/>
            <a:ext cx="304702" cy="285659"/>
            <a:chOff x="8168415" y="12118985"/>
            <a:chExt cx="609403" cy="571318"/>
          </a:xfrm>
        </p:grpSpPr>
        <p:sp>
          <p:nvSpPr>
            <p:cNvPr id="5760" name="Line 640"/>
            <p:cNvSpPr>
              <a:spLocks noChangeShapeType="1"/>
            </p:cNvSpPr>
            <p:nvPr/>
          </p:nvSpPr>
          <p:spPr bwMode="auto">
            <a:xfrm>
              <a:off x="8511205" y="12414900"/>
              <a:ext cx="49806" cy="4980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61" name="Freeform 641"/>
            <p:cNvSpPr>
              <a:spLocks noChangeArrowheads="1"/>
            </p:cNvSpPr>
            <p:nvPr/>
          </p:nvSpPr>
          <p:spPr bwMode="auto">
            <a:xfrm>
              <a:off x="8528785" y="12435408"/>
              <a:ext cx="249033" cy="254895"/>
            </a:xfrm>
            <a:custGeom>
              <a:avLst/>
              <a:gdLst>
                <a:gd name="T0" fmla="*/ 0 w 374"/>
                <a:gd name="T1" fmla="*/ 90 h 382"/>
                <a:gd name="T2" fmla="*/ 90 w 374"/>
                <a:gd name="T3" fmla="*/ 0 h 382"/>
                <a:gd name="T4" fmla="*/ 373 w 374"/>
                <a:gd name="T5" fmla="*/ 291 h 382"/>
                <a:gd name="T6" fmla="*/ 284 w 374"/>
                <a:gd name="T7" fmla="*/ 381 h 382"/>
                <a:gd name="T8" fmla="*/ 0 w 374"/>
                <a:gd name="T9" fmla="*/ 9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4" h="382">
                  <a:moveTo>
                    <a:pt x="0" y="90"/>
                  </a:moveTo>
                  <a:lnTo>
                    <a:pt x="90" y="0"/>
                  </a:lnTo>
                  <a:lnTo>
                    <a:pt x="373" y="291"/>
                  </a:lnTo>
                  <a:lnTo>
                    <a:pt x="284" y="381"/>
                  </a:lnTo>
                  <a:lnTo>
                    <a:pt x="0" y="9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62" name="Freeform 642"/>
            <p:cNvSpPr>
              <a:spLocks noChangeArrowheads="1"/>
            </p:cNvSpPr>
            <p:nvPr/>
          </p:nvSpPr>
          <p:spPr bwMode="auto">
            <a:xfrm>
              <a:off x="8206504" y="12118985"/>
              <a:ext cx="123053" cy="120124"/>
            </a:xfrm>
            <a:custGeom>
              <a:avLst/>
              <a:gdLst>
                <a:gd name="T0" fmla="*/ 97 w 187"/>
                <a:gd name="T1" fmla="*/ 179 h 180"/>
                <a:gd name="T2" fmla="*/ 186 w 187"/>
                <a:gd name="T3" fmla="*/ 89 h 180"/>
                <a:gd name="T4" fmla="*/ 37 w 187"/>
                <a:gd name="T5" fmla="*/ 0 h 180"/>
                <a:gd name="T6" fmla="*/ 0 w 187"/>
                <a:gd name="T7" fmla="*/ 29 h 180"/>
                <a:gd name="T8" fmla="*/ 97 w 187"/>
                <a:gd name="T9" fmla="*/ 17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80">
                  <a:moveTo>
                    <a:pt x="97" y="179"/>
                  </a:moveTo>
                  <a:lnTo>
                    <a:pt x="186" y="89"/>
                  </a:lnTo>
                  <a:lnTo>
                    <a:pt x="37" y="0"/>
                  </a:lnTo>
                  <a:lnTo>
                    <a:pt x="0" y="29"/>
                  </a:lnTo>
                  <a:lnTo>
                    <a:pt x="97" y="17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63" name="Line 643"/>
            <p:cNvSpPr>
              <a:spLocks noChangeShapeType="1"/>
            </p:cNvSpPr>
            <p:nvPr/>
          </p:nvSpPr>
          <p:spPr bwMode="auto">
            <a:xfrm flipH="1" flipV="1">
              <a:off x="8300259" y="12203952"/>
              <a:ext cx="134771" cy="13477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64" name="Freeform 644"/>
            <p:cNvSpPr>
              <a:spLocks noChangeArrowheads="1"/>
            </p:cNvSpPr>
            <p:nvPr/>
          </p:nvSpPr>
          <p:spPr bwMode="auto">
            <a:xfrm>
              <a:off x="8168415" y="12118987"/>
              <a:ext cx="562525" cy="559596"/>
            </a:xfrm>
            <a:custGeom>
              <a:avLst/>
              <a:gdLst>
                <a:gd name="T0" fmla="*/ 844 w 845"/>
                <a:gd name="T1" fmla="*/ 126 h 844"/>
                <a:gd name="T2" fmla="*/ 844 w 845"/>
                <a:gd name="T3" fmla="*/ 126 h 844"/>
                <a:gd name="T4" fmla="*/ 724 w 845"/>
                <a:gd name="T5" fmla="*/ 186 h 844"/>
                <a:gd name="T6" fmla="*/ 664 w 845"/>
                <a:gd name="T7" fmla="*/ 119 h 844"/>
                <a:gd name="T8" fmla="*/ 717 w 845"/>
                <a:gd name="T9" fmla="*/ 0 h 844"/>
                <a:gd name="T10" fmla="*/ 717 w 845"/>
                <a:gd name="T11" fmla="*/ 0 h 844"/>
                <a:gd name="T12" fmla="*/ 530 w 845"/>
                <a:gd name="T13" fmla="*/ 149 h 844"/>
                <a:gd name="T14" fmla="*/ 530 w 845"/>
                <a:gd name="T15" fmla="*/ 209 h 844"/>
                <a:gd name="T16" fmla="*/ 23 w 845"/>
                <a:gd name="T17" fmla="*/ 724 h 844"/>
                <a:gd name="T18" fmla="*/ 0 w 845"/>
                <a:gd name="T19" fmla="*/ 813 h 844"/>
                <a:gd name="T20" fmla="*/ 30 w 845"/>
                <a:gd name="T21" fmla="*/ 843 h 844"/>
                <a:gd name="T22" fmla="*/ 120 w 845"/>
                <a:gd name="T23" fmla="*/ 821 h 844"/>
                <a:gd name="T24" fmla="*/ 635 w 845"/>
                <a:gd name="T25" fmla="*/ 313 h 844"/>
                <a:gd name="T26" fmla="*/ 694 w 845"/>
                <a:gd name="T27" fmla="*/ 313 h 844"/>
                <a:gd name="T28" fmla="*/ 844 w 845"/>
                <a:gd name="T29" fmla="*/ 126 h 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5" h="844">
                  <a:moveTo>
                    <a:pt x="844" y="126"/>
                  </a:moveTo>
                  <a:lnTo>
                    <a:pt x="844" y="126"/>
                  </a:lnTo>
                  <a:cubicBezTo>
                    <a:pt x="724" y="186"/>
                    <a:pt x="724" y="186"/>
                    <a:pt x="724" y="186"/>
                  </a:cubicBezTo>
                  <a:cubicBezTo>
                    <a:pt x="664" y="119"/>
                    <a:pt x="664" y="119"/>
                    <a:pt x="664" y="119"/>
                  </a:cubicBezTo>
                  <a:cubicBezTo>
                    <a:pt x="717" y="0"/>
                    <a:pt x="717" y="0"/>
                    <a:pt x="717" y="0"/>
                  </a:cubicBezTo>
                  <a:lnTo>
                    <a:pt x="717" y="0"/>
                  </a:lnTo>
                  <a:cubicBezTo>
                    <a:pt x="567" y="0"/>
                    <a:pt x="530" y="74"/>
                    <a:pt x="530" y="149"/>
                  </a:cubicBezTo>
                  <a:cubicBezTo>
                    <a:pt x="530" y="209"/>
                    <a:pt x="530" y="209"/>
                    <a:pt x="530" y="209"/>
                  </a:cubicBezTo>
                  <a:cubicBezTo>
                    <a:pt x="23" y="724"/>
                    <a:pt x="23" y="724"/>
                    <a:pt x="23" y="724"/>
                  </a:cubicBezTo>
                  <a:cubicBezTo>
                    <a:pt x="0" y="813"/>
                    <a:pt x="0" y="813"/>
                    <a:pt x="0" y="813"/>
                  </a:cubicBezTo>
                  <a:cubicBezTo>
                    <a:pt x="30" y="843"/>
                    <a:pt x="30" y="843"/>
                    <a:pt x="30" y="843"/>
                  </a:cubicBezTo>
                  <a:cubicBezTo>
                    <a:pt x="120" y="821"/>
                    <a:pt x="120" y="821"/>
                    <a:pt x="120" y="821"/>
                  </a:cubicBezTo>
                  <a:cubicBezTo>
                    <a:pt x="635" y="313"/>
                    <a:pt x="635" y="313"/>
                    <a:pt x="635" y="313"/>
                  </a:cubicBezTo>
                  <a:cubicBezTo>
                    <a:pt x="694" y="313"/>
                    <a:pt x="694" y="313"/>
                    <a:pt x="694" y="313"/>
                  </a:cubicBezTo>
                  <a:cubicBezTo>
                    <a:pt x="769" y="313"/>
                    <a:pt x="844" y="276"/>
                    <a:pt x="844" y="126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64" name="Group 5863">
            <a:extLst>
              <a:ext uri="{FF2B5EF4-FFF2-40B4-BE49-F238E27FC236}">
                <a16:creationId xmlns:a16="http://schemas.microsoft.com/office/drawing/2014/main" id="{C24DD7BA-0001-9840-B337-BC53B59E0B72}"/>
              </a:ext>
            </a:extLst>
          </p:cNvPr>
          <p:cNvGrpSpPr/>
          <p:nvPr/>
        </p:nvGrpSpPr>
        <p:grpSpPr>
          <a:xfrm>
            <a:off x="4720102" y="6053634"/>
            <a:ext cx="310561" cy="291518"/>
            <a:chOff x="4720102" y="6053634"/>
            <a:chExt cx="310561" cy="291518"/>
          </a:xfrm>
        </p:grpSpPr>
        <p:sp>
          <p:nvSpPr>
            <p:cNvPr id="5765" name="Line 645"/>
            <p:cNvSpPr>
              <a:spLocks noChangeShapeType="1"/>
            </p:cNvSpPr>
            <p:nvPr/>
          </p:nvSpPr>
          <p:spPr bwMode="auto">
            <a:xfrm>
              <a:off x="4824110" y="6138598"/>
              <a:ext cx="93754" cy="9375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66" name="Freeform 646"/>
            <p:cNvSpPr>
              <a:spLocks noChangeArrowheads="1"/>
            </p:cNvSpPr>
            <p:nvPr/>
          </p:nvSpPr>
          <p:spPr bwMode="auto">
            <a:xfrm>
              <a:off x="4904681" y="6217704"/>
              <a:ext cx="125982" cy="127448"/>
            </a:xfrm>
            <a:custGeom>
              <a:avLst/>
              <a:gdLst>
                <a:gd name="T0" fmla="*/ 0 w 381"/>
                <a:gd name="T1" fmla="*/ 90 h 382"/>
                <a:gd name="T2" fmla="*/ 89 w 381"/>
                <a:gd name="T3" fmla="*/ 0 h 382"/>
                <a:gd name="T4" fmla="*/ 380 w 381"/>
                <a:gd name="T5" fmla="*/ 291 h 382"/>
                <a:gd name="T6" fmla="*/ 291 w 381"/>
                <a:gd name="T7" fmla="*/ 381 h 382"/>
                <a:gd name="T8" fmla="*/ 0 w 381"/>
                <a:gd name="T9" fmla="*/ 9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1" h="382">
                  <a:moveTo>
                    <a:pt x="0" y="90"/>
                  </a:moveTo>
                  <a:lnTo>
                    <a:pt x="89" y="0"/>
                  </a:lnTo>
                  <a:lnTo>
                    <a:pt x="380" y="291"/>
                  </a:lnTo>
                  <a:lnTo>
                    <a:pt x="291" y="381"/>
                  </a:lnTo>
                  <a:lnTo>
                    <a:pt x="0" y="9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67" name="Freeform 647"/>
            <p:cNvSpPr>
              <a:spLocks noChangeArrowheads="1"/>
            </p:cNvSpPr>
            <p:nvPr/>
          </p:nvSpPr>
          <p:spPr bwMode="auto">
            <a:xfrm>
              <a:off x="4720102" y="6053634"/>
              <a:ext cx="164070" cy="134772"/>
            </a:xfrm>
            <a:custGeom>
              <a:avLst/>
              <a:gdLst>
                <a:gd name="T0" fmla="*/ 0 w 494"/>
                <a:gd name="T1" fmla="*/ 239 h 405"/>
                <a:gd name="T2" fmla="*/ 0 w 494"/>
                <a:gd name="T3" fmla="*/ 239 h 405"/>
                <a:gd name="T4" fmla="*/ 239 w 494"/>
                <a:gd name="T5" fmla="*/ 0 h 405"/>
                <a:gd name="T6" fmla="*/ 433 w 494"/>
                <a:gd name="T7" fmla="*/ 16 h 405"/>
                <a:gd name="T8" fmla="*/ 493 w 494"/>
                <a:gd name="T9" fmla="*/ 75 h 405"/>
                <a:gd name="T10" fmla="*/ 164 w 494"/>
                <a:gd name="T11" fmla="*/ 404 h 405"/>
                <a:gd name="T12" fmla="*/ 0 w 494"/>
                <a:gd name="T13" fmla="*/ 239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4" h="405">
                  <a:moveTo>
                    <a:pt x="0" y="239"/>
                  </a:moveTo>
                  <a:lnTo>
                    <a:pt x="0" y="239"/>
                  </a:lnTo>
                  <a:cubicBezTo>
                    <a:pt x="239" y="0"/>
                    <a:pt x="239" y="0"/>
                    <a:pt x="239" y="0"/>
                  </a:cubicBezTo>
                  <a:cubicBezTo>
                    <a:pt x="329" y="90"/>
                    <a:pt x="433" y="16"/>
                    <a:pt x="433" y="16"/>
                  </a:cubicBezTo>
                  <a:cubicBezTo>
                    <a:pt x="493" y="75"/>
                    <a:pt x="493" y="75"/>
                    <a:pt x="493" y="75"/>
                  </a:cubicBezTo>
                  <a:cubicBezTo>
                    <a:pt x="164" y="404"/>
                    <a:pt x="164" y="404"/>
                    <a:pt x="164" y="404"/>
                  </a:cubicBezTo>
                  <a:lnTo>
                    <a:pt x="0" y="23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51" name="Group 5850">
            <a:extLst>
              <a:ext uri="{FF2B5EF4-FFF2-40B4-BE49-F238E27FC236}">
                <a16:creationId xmlns:a16="http://schemas.microsoft.com/office/drawing/2014/main" id="{9A9CA752-3549-5B42-BCCD-116A9FE6C0EF}"/>
              </a:ext>
            </a:extLst>
          </p:cNvPr>
          <p:cNvGrpSpPr/>
          <p:nvPr/>
        </p:nvGrpSpPr>
        <p:grpSpPr>
          <a:xfrm>
            <a:off x="5997503" y="6044844"/>
            <a:ext cx="309096" cy="309097"/>
            <a:chOff x="5997503" y="6044844"/>
            <a:chExt cx="309096" cy="309097"/>
          </a:xfrm>
        </p:grpSpPr>
        <p:sp>
          <p:nvSpPr>
            <p:cNvPr id="5768" name="Freeform 648"/>
            <p:cNvSpPr>
              <a:spLocks noChangeArrowheads="1"/>
            </p:cNvSpPr>
            <p:nvPr/>
          </p:nvSpPr>
          <p:spPr bwMode="auto">
            <a:xfrm>
              <a:off x="6242143" y="6142993"/>
              <a:ext cx="64456" cy="175790"/>
            </a:xfrm>
            <a:custGeom>
              <a:avLst/>
              <a:gdLst>
                <a:gd name="T0" fmla="*/ 194 w 195"/>
                <a:gd name="T1" fmla="*/ 530 h 531"/>
                <a:gd name="T2" fmla="*/ 194 w 195"/>
                <a:gd name="T3" fmla="*/ 530 h 531"/>
                <a:gd name="T4" fmla="*/ 0 w 195"/>
                <a:gd name="T5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5" h="531">
                  <a:moveTo>
                    <a:pt x="194" y="530"/>
                  </a:moveTo>
                  <a:lnTo>
                    <a:pt x="194" y="530"/>
                  </a:lnTo>
                  <a:cubicBezTo>
                    <a:pt x="194" y="329"/>
                    <a:pt x="120" y="142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69" name="Freeform 649"/>
            <p:cNvSpPr>
              <a:spLocks noChangeArrowheads="1"/>
            </p:cNvSpPr>
            <p:nvPr/>
          </p:nvSpPr>
          <p:spPr bwMode="auto">
            <a:xfrm>
              <a:off x="6032662" y="6044844"/>
              <a:ext cx="210947" cy="99614"/>
            </a:xfrm>
            <a:custGeom>
              <a:avLst/>
              <a:gdLst>
                <a:gd name="T0" fmla="*/ 634 w 635"/>
                <a:gd name="T1" fmla="*/ 298 h 299"/>
                <a:gd name="T2" fmla="*/ 634 w 635"/>
                <a:gd name="T3" fmla="*/ 298 h 299"/>
                <a:gd name="T4" fmla="*/ 0 w 635"/>
                <a:gd name="T5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5" h="299">
                  <a:moveTo>
                    <a:pt x="634" y="298"/>
                  </a:moveTo>
                  <a:lnTo>
                    <a:pt x="634" y="298"/>
                  </a:lnTo>
                  <a:cubicBezTo>
                    <a:pt x="485" y="112"/>
                    <a:pt x="254" y="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70" name="Freeform 650"/>
            <p:cNvSpPr>
              <a:spLocks noChangeArrowheads="1"/>
            </p:cNvSpPr>
            <p:nvPr/>
          </p:nvSpPr>
          <p:spPr bwMode="auto">
            <a:xfrm>
              <a:off x="6032662" y="6100510"/>
              <a:ext cx="218272" cy="218273"/>
            </a:xfrm>
            <a:custGeom>
              <a:avLst/>
              <a:gdLst>
                <a:gd name="T0" fmla="*/ 657 w 658"/>
                <a:gd name="T1" fmla="*/ 657 h 658"/>
                <a:gd name="T2" fmla="*/ 657 w 658"/>
                <a:gd name="T3" fmla="*/ 657 h 658"/>
                <a:gd name="T4" fmla="*/ 0 w 658"/>
                <a:gd name="T5" fmla="*/ 0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58" h="658">
                  <a:moveTo>
                    <a:pt x="657" y="657"/>
                  </a:moveTo>
                  <a:lnTo>
                    <a:pt x="657" y="657"/>
                  </a:lnTo>
                  <a:cubicBezTo>
                    <a:pt x="657" y="292"/>
                    <a:pt x="366" y="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71" name="Freeform 651"/>
            <p:cNvSpPr>
              <a:spLocks noChangeArrowheads="1"/>
            </p:cNvSpPr>
            <p:nvPr/>
          </p:nvSpPr>
          <p:spPr bwMode="auto">
            <a:xfrm>
              <a:off x="6032662" y="6156177"/>
              <a:ext cx="161141" cy="164070"/>
            </a:xfrm>
            <a:custGeom>
              <a:avLst/>
              <a:gdLst>
                <a:gd name="T0" fmla="*/ 485 w 486"/>
                <a:gd name="T1" fmla="*/ 493 h 494"/>
                <a:gd name="T2" fmla="*/ 485 w 486"/>
                <a:gd name="T3" fmla="*/ 493 h 494"/>
                <a:gd name="T4" fmla="*/ 0 w 486"/>
                <a:gd name="T5" fmla="*/ 0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6" h="494">
                  <a:moveTo>
                    <a:pt x="485" y="493"/>
                  </a:moveTo>
                  <a:lnTo>
                    <a:pt x="485" y="493"/>
                  </a:lnTo>
                  <a:cubicBezTo>
                    <a:pt x="485" y="225"/>
                    <a:pt x="268" y="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72" name="Freeform 652"/>
            <p:cNvSpPr>
              <a:spLocks noChangeArrowheads="1"/>
            </p:cNvSpPr>
            <p:nvPr/>
          </p:nvSpPr>
          <p:spPr bwMode="auto">
            <a:xfrm>
              <a:off x="6032662" y="6213309"/>
              <a:ext cx="106938" cy="106938"/>
            </a:xfrm>
            <a:custGeom>
              <a:avLst/>
              <a:gdLst>
                <a:gd name="T0" fmla="*/ 321 w 322"/>
                <a:gd name="T1" fmla="*/ 321 h 322"/>
                <a:gd name="T2" fmla="*/ 321 w 322"/>
                <a:gd name="T3" fmla="*/ 321 h 322"/>
                <a:gd name="T4" fmla="*/ 0 w 322"/>
                <a:gd name="T5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2" h="322">
                  <a:moveTo>
                    <a:pt x="321" y="321"/>
                  </a:moveTo>
                  <a:lnTo>
                    <a:pt x="321" y="321"/>
                  </a:lnTo>
                  <a:cubicBezTo>
                    <a:pt x="321" y="142"/>
                    <a:pt x="179" y="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73" name="Freeform 653"/>
            <p:cNvSpPr>
              <a:spLocks noChangeArrowheads="1"/>
            </p:cNvSpPr>
            <p:nvPr/>
          </p:nvSpPr>
          <p:spPr bwMode="auto">
            <a:xfrm>
              <a:off x="5997503" y="6282160"/>
              <a:ext cx="70316" cy="71781"/>
            </a:xfrm>
            <a:custGeom>
              <a:avLst/>
              <a:gdLst>
                <a:gd name="T0" fmla="*/ 0 w 210"/>
                <a:gd name="T1" fmla="*/ 112 h 218"/>
                <a:gd name="T2" fmla="*/ 0 w 210"/>
                <a:gd name="T3" fmla="*/ 112 h 218"/>
                <a:gd name="T4" fmla="*/ 105 w 210"/>
                <a:gd name="T5" fmla="*/ 217 h 218"/>
                <a:gd name="T6" fmla="*/ 209 w 210"/>
                <a:gd name="T7" fmla="*/ 112 h 218"/>
                <a:gd name="T8" fmla="*/ 105 w 210"/>
                <a:gd name="T9" fmla="*/ 0 h 218"/>
                <a:gd name="T10" fmla="*/ 0 w 210"/>
                <a:gd name="T11" fmla="*/ 1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" h="218">
                  <a:moveTo>
                    <a:pt x="0" y="112"/>
                  </a:moveTo>
                  <a:lnTo>
                    <a:pt x="0" y="112"/>
                  </a:lnTo>
                  <a:cubicBezTo>
                    <a:pt x="0" y="165"/>
                    <a:pt x="45" y="217"/>
                    <a:pt x="105" y="217"/>
                  </a:cubicBezTo>
                  <a:cubicBezTo>
                    <a:pt x="164" y="217"/>
                    <a:pt x="209" y="165"/>
                    <a:pt x="209" y="112"/>
                  </a:cubicBezTo>
                  <a:cubicBezTo>
                    <a:pt x="209" y="53"/>
                    <a:pt x="164" y="0"/>
                    <a:pt x="105" y="0"/>
                  </a:cubicBezTo>
                  <a:cubicBezTo>
                    <a:pt x="45" y="0"/>
                    <a:pt x="0" y="53"/>
                    <a:pt x="0" y="112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50" name="Group 5849">
            <a:extLst>
              <a:ext uri="{FF2B5EF4-FFF2-40B4-BE49-F238E27FC236}">
                <a16:creationId xmlns:a16="http://schemas.microsoft.com/office/drawing/2014/main" id="{DD123EFF-5F79-F045-80F2-8A1427471B6A}"/>
              </a:ext>
            </a:extLst>
          </p:cNvPr>
          <p:cNvGrpSpPr/>
          <p:nvPr/>
        </p:nvGrpSpPr>
        <p:grpSpPr>
          <a:xfrm>
            <a:off x="6634739" y="6044844"/>
            <a:ext cx="310561" cy="310561"/>
            <a:chOff x="6634739" y="6044844"/>
            <a:chExt cx="310561" cy="310561"/>
          </a:xfrm>
        </p:grpSpPr>
        <p:sp>
          <p:nvSpPr>
            <p:cNvPr id="5774" name="Freeform 654"/>
            <p:cNvSpPr>
              <a:spLocks noChangeArrowheads="1"/>
            </p:cNvSpPr>
            <p:nvPr/>
          </p:nvSpPr>
          <p:spPr bwMode="auto">
            <a:xfrm>
              <a:off x="6634739" y="6044844"/>
              <a:ext cx="310561" cy="199228"/>
            </a:xfrm>
            <a:custGeom>
              <a:avLst/>
              <a:gdLst>
                <a:gd name="T0" fmla="*/ 0 w 934"/>
                <a:gd name="T1" fmla="*/ 433 h 598"/>
                <a:gd name="T2" fmla="*/ 933 w 934"/>
                <a:gd name="T3" fmla="*/ 0 h 598"/>
                <a:gd name="T4" fmla="*/ 336 w 934"/>
                <a:gd name="T5" fmla="*/ 597 h 598"/>
                <a:gd name="T6" fmla="*/ 0 w 934"/>
                <a:gd name="T7" fmla="*/ 433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34" h="598">
                  <a:moveTo>
                    <a:pt x="0" y="433"/>
                  </a:moveTo>
                  <a:lnTo>
                    <a:pt x="933" y="0"/>
                  </a:lnTo>
                  <a:lnTo>
                    <a:pt x="336" y="597"/>
                  </a:lnTo>
                  <a:lnTo>
                    <a:pt x="0" y="43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75" name="Freeform 655"/>
            <p:cNvSpPr>
              <a:spLocks noChangeArrowheads="1"/>
            </p:cNvSpPr>
            <p:nvPr/>
          </p:nvSpPr>
          <p:spPr bwMode="auto">
            <a:xfrm>
              <a:off x="6746072" y="6044844"/>
              <a:ext cx="199228" cy="310561"/>
            </a:xfrm>
            <a:custGeom>
              <a:avLst/>
              <a:gdLst>
                <a:gd name="T0" fmla="*/ 164 w 598"/>
                <a:gd name="T1" fmla="*/ 933 h 934"/>
                <a:gd name="T2" fmla="*/ 597 w 598"/>
                <a:gd name="T3" fmla="*/ 0 h 934"/>
                <a:gd name="T4" fmla="*/ 0 w 598"/>
                <a:gd name="T5" fmla="*/ 597 h 934"/>
                <a:gd name="T6" fmla="*/ 164 w 598"/>
                <a:gd name="T7" fmla="*/ 933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8" h="934">
                  <a:moveTo>
                    <a:pt x="164" y="933"/>
                  </a:moveTo>
                  <a:lnTo>
                    <a:pt x="597" y="0"/>
                  </a:lnTo>
                  <a:lnTo>
                    <a:pt x="0" y="597"/>
                  </a:lnTo>
                  <a:lnTo>
                    <a:pt x="164" y="93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7255434" y="1575189"/>
            <a:ext cx="210947" cy="310561"/>
            <a:chOff x="14507692" y="3150377"/>
            <a:chExt cx="421894" cy="621122"/>
          </a:xfrm>
        </p:grpSpPr>
        <p:sp>
          <p:nvSpPr>
            <p:cNvPr id="5121" name="Freeform 1"/>
            <p:cNvSpPr>
              <a:spLocks noChangeArrowheads="1"/>
            </p:cNvSpPr>
            <p:nvPr/>
          </p:nvSpPr>
          <p:spPr bwMode="auto">
            <a:xfrm>
              <a:off x="14657115" y="3299797"/>
              <a:ext cx="120122" cy="120124"/>
            </a:xfrm>
            <a:custGeom>
              <a:avLst/>
              <a:gdLst>
                <a:gd name="T0" fmla="*/ 179 w 180"/>
                <a:gd name="T1" fmla="*/ 89 h 180"/>
                <a:gd name="T2" fmla="*/ 179 w 180"/>
                <a:gd name="T3" fmla="*/ 89 h 180"/>
                <a:gd name="T4" fmla="*/ 89 w 180"/>
                <a:gd name="T5" fmla="*/ 0 h 180"/>
                <a:gd name="T6" fmla="*/ 0 w 180"/>
                <a:gd name="T7" fmla="*/ 89 h 180"/>
                <a:gd name="T8" fmla="*/ 89 w 180"/>
                <a:gd name="T9" fmla="*/ 179 h 180"/>
                <a:gd name="T10" fmla="*/ 179 w 180"/>
                <a:gd name="T11" fmla="*/ 8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0" h="180">
                  <a:moveTo>
                    <a:pt x="179" y="89"/>
                  </a:moveTo>
                  <a:lnTo>
                    <a:pt x="179" y="89"/>
                  </a:lnTo>
                  <a:cubicBezTo>
                    <a:pt x="179" y="45"/>
                    <a:pt x="141" y="0"/>
                    <a:pt x="89" y="0"/>
                  </a:cubicBezTo>
                  <a:cubicBezTo>
                    <a:pt x="44" y="0"/>
                    <a:pt x="0" y="45"/>
                    <a:pt x="0" y="89"/>
                  </a:cubicBezTo>
                  <a:cubicBezTo>
                    <a:pt x="0" y="142"/>
                    <a:pt x="44" y="179"/>
                    <a:pt x="89" y="179"/>
                  </a:cubicBezTo>
                  <a:cubicBezTo>
                    <a:pt x="141" y="179"/>
                    <a:pt x="179" y="142"/>
                    <a:pt x="179" y="8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22" name="Freeform 2"/>
            <p:cNvSpPr>
              <a:spLocks noChangeArrowheads="1"/>
            </p:cNvSpPr>
            <p:nvPr/>
          </p:nvSpPr>
          <p:spPr bwMode="auto">
            <a:xfrm>
              <a:off x="14507692" y="3150377"/>
              <a:ext cx="421894" cy="621122"/>
            </a:xfrm>
            <a:custGeom>
              <a:avLst/>
              <a:gdLst>
                <a:gd name="T0" fmla="*/ 627 w 635"/>
                <a:gd name="T1" fmla="*/ 328 h 934"/>
                <a:gd name="T2" fmla="*/ 627 w 635"/>
                <a:gd name="T3" fmla="*/ 328 h 934"/>
                <a:gd name="T4" fmla="*/ 313 w 635"/>
                <a:gd name="T5" fmla="*/ 0 h 934"/>
                <a:gd name="T6" fmla="*/ 0 w 635"/>
                <a:gd name="T7" fmla="*/ 328 h 934"/>
                <a:gd name="T8" fmla="*/ 313 w 635"/>
                <a:gd name="T9" fmla="*/ 933 h 934"/>
                <a:gd name="T10" fmla="*/ 627 w 635"/>
                <a:gd name="T11" fmla="*/ 328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5" h="934">
                  <a:moveTo>
                    <a:pt x="627" y="328"/>
                  </a:moveTo>
                  <a:lnTo>
                    <a:pt x="627" y="328"/>
                  </a:lnTo>
                  <a:cubicBezTo>
                    <a:pt x="627" y="149"/>
                    <a:pt x="492" y="0"/>
                    <a:pt x="313" y="0"/>
                  </a:cubicBezTo>
                  <a:cubicBezTo>
                    <a:pt x="142" y="0"/>
                    <a:pt x="0" y="149"/>
                    <a:pt x="0" y="328"/>
                  </a:cubicBezTo>
                  <a:cubicBezTo>
                    <a:pt x="0" y="560"/>
                    <a:pt x="313" y="933"/>
                    <a:pt x="313" y="933"/>
                  </a:cubicBezTo>
                  <a:cubicBezTo>
                    <a:pt x="313" y="933"/>
                    <a:pt x="634" y="560"/>
                    <a:pt x="627" y="328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DB75D7C-4E0F-3D48-B3A4-0E7FFEB9DA07}"/>
              </a:ext>
            </a:extLst>
          </p:cNvPr>
          <p:cNvGrpSpPr/>
          <p:nvPr/>
        </p:nvGrpSpPr>
        <p:grpSpPr>
          <a:xfrm>
            <a:off x="7842864" y="1575190"/>
            <a:ext cx="310561" cy="326673"/>
            <a:chOff x="7842864" y="1575190"/>
            <a:chExt cx="310561" cy="326673"/>
          </a:xfrm>
        </p:grpSpPr>
        <p:sp>
          <p:nvSpPr>
            <p:cNvPr id="5123" name="Freeform 3"/>
            <p:cNvSpPr>
              <a:spLocks noChangeArrowheads="1"/>
            </p:cNvSpPr>
            <p:nvPr/>
          </p:nvSpPr>
          <p:spPr bwMode="auto">
            <a:xfrm>
              <a:off x="7842864" y="1591302"/>
              <a:ext cx="310561" cy="310561"/>
            </a:xfrm>
            <a:custGeom>
              <a:avLst/>
              <a:gdLst>
                <a:gd name="T0" fmla="*/ 769 w 934"/>
                <a:gd name="T1" fmla="*/ 164 h 934"/>
                <a:gd name="T2" fmla="*/ 769 w 934"/>
                <a:gd name="T3" fmla="*/ 164 h 934"/>
                <a:gd name="T4" fmla="*/ 769 w 934"/>
                <a:gd name="T5" fmla="*/ 769 h 934"/>
                <a:gd name="T6" fmla="*/ 171 w 934"/>
                <a:gd name="T7" fmla="*/ 769 h 934"/>
                <a:gd name="T8" fmla="*/ 171 w 934"/>
                <a:gd name="T9" fmla="*/ 164 h 934"/>
                <a:gd name="T10" fmla="*/ 769 w 934"/>
                <a:gd name="T11" fmla="*/ 164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4" h="934">
                  <a:moveTo>
                    <a:pt x="769" y="164"/>
                  </a:moveTo>
                  <a:lnTo>
                    <a:pt x="769" y="164"/>
                  </a:lnTo>
                  <a:cubicBezTo>
                    <a:pt x="933" y="328"/>
                    <a:pt x="933" y="597"/>
                    <a:pt x="769" y="769"/>
                  </a:cubicBezTo>
                  <a:cubicBezTo>
                    <a:pt x="604" y="933"/>
                    <a:pt x="336" y="933"/>
                    <a:pt x="171" y="769"/>
                  </a:cubicBezTo>
                  <a:cubicBezTo>
                    <a:pt x="0" y="597"/>
                    <a:pt x="0" y="328"/>
                    <a:pt x="171" y="164"/>
                  </a:cubicBezTo>
                  <a:cubicBezTo>
                    <a:pt x="336" y="0"/>
                    <a:pt x="604" y="0"/>
                    <a:pt x="769" y="16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24" name="Freeform 4"/>
            <p:cNvSpPr>
              <a:spLocks noChangeArrowheads="1"/>
            </p:cNvSpPr>
            <p:nvPr/>
          </p:nvSpPr>
          <p:spPr bwMode="auto">
            <a:xfrm>
              <a:off x="7935152" y="1674804"/>
              <a:ext cx="128912" cy="131842"/>
            </a:xfrm>
            <a:custGeom>
              <a:avLst/>
              <a:gdLst>
                <a:gd name="T0" fmla="*/ 269 w 389"/>
                <a:gd name="T1" fmla="*/ 283 h 396"/>
                <a:gd name="T2" fmla="*/ 388 w 389"/>
                <a:gd name="T3" fmla="*/ 0 h 396"/>
                <a:gd name="T4" fmla="*/ 104 w 389"/>
                <a:gd name="T5" fmla="*/ 119 h 396"/>
                <a:gd name="T6" fmla="*/ 0 w 389"/>
                <a:gd name="T7" fmla="*/ 395 h 396"/>
                <a:gd name="T8" fmla="*/ 269 w 389"/>
                <a:gd name="T9" fmla="*/ 283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9" h="396">
                  <a:moveTo>
                    <a:pt x="269" y="283"/>
                  </a:moveTo>
                  <a:lnTo>
                    <a:pt x="388" y="0"/>
                  </a:lnTo>
                  <a:lnTo>
                    <a:pt x="104" y="119"/>
                  </a:lnTo>
                  <a:lnTo>
                    <a:pt x="0" y="395"/>
                  </a:lnTo>
                  <a:lnTo>
                    <a:pt x="269" y="28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25" name="Line 5"/>
            <p:cNvSpPr>
              <a:spLocks noChangeShapeType="1"/>
            </p:cNvSpPr>
            <p:nvPr/>
          </p:nvSpPr>
          <p:spPr bwMode="auto">
            <a:xfrm>
              <a:off x="7968846" y="1714356"/>
              <a:ext cx="54201" cy="54202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26" name="Freeform 6"/>
            <p:cNvSpPr>
              <a:spLocks noChangeArrowheads="1"/>
            </p:cNvSpPr>
            <p:nvPr/>
          </p:nvSpPr>
          <p:spPr bwMode="auto">
            <a:xfrm>
              <a:off x="7974706" y="1575190"/>
              <a:ext cx="49807" cy="30763"/>
            </a:xfrm>
            <a:custGeom>
              <a:avLst/>
              <a:gdLst>
                <a:gd name="T0" fmla="*/ 150 w 151"/>
                <a:gd name="T1" fmla="*/ 90 h 91"/>
                <a:gd name="T2" fmla="*/ 150 w 151"/>
                <a:gd name="T3" fmla="*/ 90 h 91"/>
                <a:gd name="T4" fmla="*/ 150 w 151"/>
                <a:gd name="T5" fmla="*/ 74 h 91"/>
                <a:gd name="T6" fmla="*/ 75 w 151"/>
                <a:gd name="T7" fmla="*/ 0 h 91"/>
                <a:gd name="T8" fmla="*/ 0 w 151"/>
                <a:gd name="T9" fmla="*/ 74 h 91"/>
                <a:gd name="T10" fmla="*/ 0 w 151"/>
                <a:gd name="T11" fmla="*/ 9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91">
                  <a:moveTo>
                    <a:pt x="150" y="90"/>
                  </a:moveTo>
                  <a:lnTo>
                    <a:pt x="150" y="90"/>
                  </a:lnTo>
                  <a:cubicBezTo>
                    <a:pt x="150" y="82"/>
                    <a:pt x="150" y="82"/>
                    <a:pt x="150" y="74"/>
                  </a:cubicBezTo>
                  <a:cubicBezTo>
                    <a:pt x="150" y="37"/>
                    <a:pt x="112" y="0"/>
                    <a:pt x="75" y="0"/>
                  </a:cubicBezTo>
                  <a:cubicBezTo>
                    <a:pt x="30" y="0"/>
                    <a:pt x="0" y="37"/>
                    <a:pt x="0" y="74"/>
                  </a:cubicBezTo>
                  <a:cubicBezTo>
                    <a:pt x="0" y="82"/>
                    <a:pt x="0" y="82"/>
                    <a:pt x="0" y="9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27" name="Line 7"/>
            <p:cNvSpPr>
              <a:spLocks noChangeShapeType="1"/>
            </p:cNvSpPr>
            <p:nvPr/>
          </p:nvSpPr>
          <p:spPr bwMode="auto">
            <a:xfrm>
              <a:off x="7999608" y="1605952"/>
              <a:ext cx="1466" cy="2490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28" name="Line 8"/>
            <p:cNvSpPr>
              <a:spLocks noChangeShapeType="1"/>
            </p:cNvSpPr>
            <p:nvPr/>
          </p:nvSpPr>
          <p:spPr bwMode="auto">
            <a:xfrm>
              <a:off x="7999608" y="1860846"/>
              <a:ext cx="1466" cy="2490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29" name="Line 9"/>
            <p:cNvSpPr>
              <a:spLocks noChangeShapeType="1"/>
            </p:cNvSpPr>
            <p:nvPr/>
          </p:nvSpPr>
          <p:spPr bwMode="auto">
            <a:xfrm flipH="1">
              <a:off x="8112406" y="1745119"/>
              <a:ext cx="27833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30" name="Line 10"/>
            <p:cNvSpPr>
              <a:spLocks noChangeShapeType="1"/>
            </p:cNvSpPr>
            <p:nvPr/>
          </p:nvSpPr>
          <p:spPr bwMode="auto">
            <a:xfrm flipH="1">
              <a:off x="7856047" y="1745119"/>
              <a:ext cx="2783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4C85FE3-02B0-F844-9561-31FCE9909422}"/>
              </a:ext>
            </a:extLst>
          </p:cNvPr>
          <p:cNvGrpSpPr/>
          <p:nvPr/>
        </p:nvGrpSpPr>
        <p:grpSpPr>
          <a:xfrm>
            <a:off x="8483028" y="1595698"/>
            <a:ext cx="310561" cy="271008"/>
            <a:chOff x="8483028" y="1595698"/>
            <a:chExt cx="310561" cy="271008"/>
          </a:xfrm>
        </p:grpSpPr>
        <p:sp>
          <p:nvSpPr>
            <p:cNvPr id="5131" name="Freeform 11"/>
            <p:cNvSpPr>
              <a:spLocks noChangeArrowheads="1"/>
            </p:cNvSpPr>
            <p:nvPr/>
          </p:nvSpPr>
          <p:spPr bwMode="auto">
            <a:xfrm>
              <a:off x="8483028" y="1595698"/>
              <a:ext cx="310561" cy="271008"/>
            </a:xfrm>
            <a:custGeom>
              <a:avLst/>
              <a:gdLst>
                <a:gd name="T0" fmla="*/ 0 w 935"/>
                <a:gd name="T1" fmla="*/ 813 h 814"/>
                <a:gd name="T2" fmla="*/ 314 w 935"/>
                <a:gd name="T3" fmla="*/ 694 h 814"/>
                <a:gd name="T4" fmla="*/ 613 w 935"/>
                <a:gd name="T5" fmla="*/ 813 h 814"/>
                <a:gd name="T6" fmla="*/ 934 w 935"/>
                <a:gd name="T7" fmla="*/ 694 h 814"/>
                <a:gd name="T8" fmla="*/ 934 w 935"/>
                <a:gd name="T9" fmla="*/ 0 h 814"/>
                <a:gd name="T10" fmla="*/ 613 w 935"/>
                <a:gd name="T11" fmla="*/ 119 h 814"/>
                <a:gd name="T12" fmla="*/ 314 w 935"/>
                <a:gd name="T13" fmla="*/ 0 h 814"/>
                <a:gd name="T14" fmla="*/ 0 w 935"/>
                <a:gd name="T15" fmla="*/ 119 h 814"/>
                <a:gd name="T16" fmla="*/ 0 w 935"/>
                <a:gd name="T17" fmla="*/ 813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5" h="814">
                  <a:moveTo>
                    <a:pt x="0" y="813"/>
                  </a:moveTo>
                  <a:lnTo>
                    <a:pt x="314" y="694"/>
                  </a:lnTo>
                  <a:lnTo>
                    <a:pt x="613" y="813"/>
                  </a:lnTo>
                  <a:lnTo>
                    <a:pt x="934" y="694"/>
                  </a:lnTo>
                  <a:lnTo>
                    <a:pt x="934" y="0"/>
                  </a:lnTo>
                  <a:lnTo>
                    <a:pt x="613" y="119"/>
                  </a:lnTo>
                  <a:lnTo>
                    <a:pt x="314" y="0"/>
                  </a:lnTo>
                  <a:lnTo>
                    <a:pt x="0" y="119"/>
                  </a:lnTo>
                  <a:lnTo>
                    <a:pt x="0" y="81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32" name="Line 12"/>
            <p:cNvSpPr>
              <a:spLocks noChangeShapeType="1"/>
            </p:cNvSpPr>
            <p:nvPr/>
          </p:nvSpPr>
          <p:spPr bwMode="auto">
            <a:xfrm>
              <a:off x="8587038" y="1595698"/>
              <a:ext cx="1465" cy="22999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33" name="Line 13"/>
            <p:cNvSpPr>
              <a:spLocks noChangeShapeType="1"/>
            </p:cNvSpPr>
            <p:nvPr/>
          </p:nvSpPr>
          <p:spPr bwMode="auto">
            <a:xfrm>
              <a:off x="8686651" y="1635250"/>
              <a:ext cx="1465" cy="229992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1D3054E-6C18-2C46-A842-75ACB33305C3}"/>
              </a:ext>
            </a:extLst>
          </p:cNvPr>
          <p:cNvGrpSpPr/>
          <p:nvPr/>
        </p:nvGrpSpPr>
        <p:grpSpPr>
          <a:xfrm>
            <a:off x="9177396" y="1575190"/>
            <a:ext cx="234386" cy="316420"/>
            <a:chOff x="9177396" y="1575190"/>
            <a:chExt cx="234386" cy="316420"/>
          </a:xfrm>
        </p:grpSpPr>
        <p:sp>
          <p:nvSpPr>
            <p:cNvPr id="5134" name="Freeform 14"/>
            <p:cNvSpPr>
              <a:spLocks noChangeArrowheads="1"/>
            </p:cNvSpPr>
            <p:nvPr/>
          </p:nvSpPr>
          <p:spPr bwMode="auto">
            <a:xfrm>
              <a:off x="9212554" y="1575190"/>
              <a:ext cx="199228" cy="271008"/>
            </a:xfrm>
            <a:custGeom>
              <a:avLst/>
              <a:gdLst>
                <a:gd name="T0" fmla="*/ 194 w 598"/>
                <a:gd name="T1" fmla="*/ 0 h 815"/>
                <a:gd name="T2" fmla="*/ 194 w 598"/>
                <a:gd name="T3" fmla="*/ 0 h 815"/>
                <a:gd name="T4" fmla="*/ 597 w 598"/>
                <a:gd name="T5" fmla="*/ 403 h 815"/>
                <a:gd name="T6" fmla="*/ 194 w 598"/>
                <a:gd name="T7" fmla="*/ 814 h 815"/>
                <a:gd name="T8" fmla="*/ 0 w 598"/>
                <a:gd name="T9" fmla="*/ 754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815">
                  <a:moveTo>
                    <a:pt x="194" y="0"/>
                  </a:moveTo>
                  <a:lnTo>
                    <a:pt x="194" y="0"/>
                  </a:lnTo>
                  <a:cubicBezTo>
                    <a:pt x="411" y="0"/>
                    <a:pt x="597" y="187"/>
                    <a:pt x="597" y="403"/>
                  </a:cubicBezTo>
                  <a:cubicBezTo>
                    <a:pt x="597" y="620"/>
                    <a:pt x="411" y="814"/>
                    <a:pt x="194" y="814"/>
                  </a:cubicBezTo>
                  <a:cubicBezTo>
                    <a:pt x="45" y="814"/>
                    <a:pt x="0" y="754"/>
                    <a:pt x="0" y="75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35" name="Freeform 15"/>
            <p:cNvSpPr>
              <a:spLocks noChangeArrowheads="1"/>
            </p:cNvSpPr>
            <p:nvPr/>
          </p:nvSpPr>
          <p:spPr bwMode="auto">
            <a:xfrm>
              <a:off x="9177396" y="1610347"/>
              <a:ext cx="199228" cy="200693"/>
            </a:xfrm>
            <a:custGeom>
              <a:avLst/>
              <a:gdLst>
                <a:gd name="T0" fmla="*/ 597 w 598"/>
                <a:gd name="T1" fmla="*/ 299 h 606"/>
                <a:gd name="T2" fmla="*/ 597 w 598"/>
                <a:gd name="T3" fmla="*/ 299 h 606"/>
                <a:gd name="T4" fmla="*/ 298 w 598"/>
                <a:gd name="T5" fmla="*/ 605 h 606"/>
                <a:gd name="T6" fmla="*/ 0 w 598"/>
                <a:gd name="T7" fmla="*/ 299 h 606"/>
                <a:gd name="T8" fmla="*/ 298 w 598"/>
                <a:gd name="T9" fmla="*/ 0 h 606"/>
                <a:gd name="T10" fmla="*/ 597 w 598"/>
                <a:gd name="T11" fmla="*/ 299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8" h="606">
                  <a:moveTo>
                    <a:pt x="597" y="299"/>
                  </a:moveTo>
                  <a:lnTo>
                    <a:pt x="597" y="299"/>
                  </a:lnTo>
                  <a:cubicBezTo>
                    <a:pt x="597" y="471"/>
                    <a:pt x="462" y="605"/>
                    <a:pt x="298" y="605"/>
                  </a:cubicBezTo>
                  <a:cubicBezTo>
                    <a:pt x="134" y="605"/>
                    <a:pt x="0" y="471"/>
                    <a:pt x="0" y="299"/>
                  </a:cubicBezTo>
                  <a:cubicBezTo>
                    <a:pt x="0" y="135"/>
                    <a:pt x="134" y="0"/>
                    <a:pt x="298" y="0"/>
                  </a:cubicBezTo>
                  <a:cubicBezTo>
                    <a:pt x="462" y="0"/>
                    <a:pt x="597" y="135"/>
                    <a:pt x="597" y="29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36" name="Line 16"/>
            <p:cNvSpPr>
              <a:spLocks noChangeShapeType="1"/>
            </p:cNvSpPr>
            <p:nvPr/>
          </p:nvSpPr>
          <p:spPr bwMode="auto">
            <a:xfrm>
              <a:off x="9277009" y="1841803"/>
              <a:ext cx="1466" cy="49807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37" name="Line 17"/>
            <p:cNvSpPr>
              <a:spLocks noChangeShapeType="1"/>
            </p:cNvSpPr>
            <p:nvPr/>
          </p:nvSpPr>
          <p:spPr bwMode="auto">
            <a:xfrm>
              <a:off x="9227203" y="1885751"/>
              <a:ext cx="9961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9760430" y="1605952"/>
            <a:ext cx="310561" cy="250501"/>
            <a:chOff x="19517684" y="3211903"/>
            <a:chExt cx="621122" cy="501001"/>
          </a:xfrm>
        </p:grpSpPr>
        <p:sp>
          <p:nvSpPr>
            <p:cNvPr id="5138" name="Freeform 18"/>
            <p:cNvSpPr>
              <a:spLocks noChangeArrowheads="1"/>
            </p:cNvSpPr>
            <p:nvPr/>
          </p:nvSpPr>
          <p:spPr bwMode="auto">
            <a:xfrm>
              <a:off x="19784300" y="3291010"/>
              <a:ext cx="79104" cy="79104"/>
            </a:xfrm>
            <a:custGeom>
              <a:avLst/>
              <a:gdLst>
                <a:gd name="T0" fmla="*/ 119 w 120"/>
                <a:gd name="T1" fmla="*/ 60 h 120"/>
                <a:gd name="T2" fmla="*/ 119 w 120"/>
                <a:gd name="T3" fmla="*/ 60 h 120"/>
                <a:gd name="T4" fmla="*/ 60 w 120"/>
                <a:gd name="T5" fmla="*/ 0 h 120"/>
                <a:gd name="T6" fmla="*/ 0 w 120"/>
                <a:gd name="T7" fmla="*/ 60 h 120"/>
                <a:gd name="T8" fmla="*/ 60 w 120"/>
                <a:gd name="T9" fmla="*/ 119 h 120"/>
                <a:gd name="T10" fmla="*/ 119 w 120"/>
                <a:gd name="T11" fmla="*/ 6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120">
                  <a:moveTo>
                    <a:pt x="119" y="60"/>
                  </a:moveTo>
                  <a:lnTo>
                    <a:pt x="119" y="60"/>
                  </a:lnTo>
                  <a:cubicBezTo>
                    <a:pt x="119" y="30"/>
                    <a:pt x="97" y="0"/>
                    <a:pt x="60" y="0"/>
                  </a:cubicBezTo>
                  <a:cubicBezTo>
                    <a:pt x="30" y="0"/>
                    <a:pt x="0" y="30"/>
                    <a:pt x="0" y="60"/>
                  </a:cubicBezTo>
                  <a:cubicBezTo>
                    <a:pt x="0" y="97"/>
                    <a:pt x="30" y="119"/>
                    <a:pt x="60" y="119"/>
                  </a:cubicBezTo>
                  <a:cubicBezTo>
                    <a:pt x="97" y="119"/>
                    <a:pt x="119" y="97"/>
                    <a:pt x="119" y="6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39" name="Freeform 19"/>
            <p:cNvSpPr>
              <a:spLocks noChangeArrowheads="1"/>
            </p:cNvSpPr>
            <p:nvPr/>
          </p:nvSpPr>
          <p:spPr bwMode="auto">
            <a:xfrm>
              <a:off x="19693474" y="3211903"/>
              <a:ext cx="263684" cy="401387"/>
            </a:xfrm>
            <a:custGeom>
              <a:avLst/>
              <a:gdLst>
                <a:gd name="T0" fmla="*/ 389 w 397"/>
                <a:gd name="T1" fmla="*/ 209 h 605"/>
                <a:gd name="T2" fmla="*/ 389 w 397"/>
                <a:gd name="T3" fmla="*/ 209 h 605"/>
                <a:gd name="T4" fmla="*/ 195 w 397"/>
                <a:gd name="T5" fmla="*/ 0 h 605"/>
                <a:gd name="T6" fmla="*/ 0 w 397"/>
                <a:gd name="T7" fmla="*/ 209 h 605"/>
                <a:gd name="T8" fmla="*/ 195 w 397"/>
                <a:gd name="T9" fmla="*/ 604 h 605"/>
                <a:gd name="T10" fmla="*/ 389 w 397"/>
                <a:gd name="T11" fmla="*/ 209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7" h="605">
                  <a:moveTo>
                    <a:pt x="389" y="209"/>
                  </a:moveTo>
                  <a:lnTo>
                    <a:pt x="389" y="209"/>
                  </a:lnTo>
                  <a:cubicBezTo>
                    <a:pt x="389" y="97"/>
                    <a:pt x="307" y="0"/>
                    <a:pt x="195" y="0"/>
                  </a:cubicBezTo>
                  <a:cubicBezTo>
                    <a:pt x="90" y="0"/>
                    <a:pt x="0" y="97"/>
                    <a:pt x="0" y="209"/>
                  </a:cubicBezTo>
                  <a:cubicBezTo>
                    <a:pt x="0" y="358"/>
                    <a:pt x="195" y="604"/>
                    <a:pt x="195" y="604"/>
                  </a:cubicBezTo>
                  <a:cubicBezTo>
                    <a:pt x="195" y="604"/>
                    <a:pt x="396" y="358"/>
                    <a:pt x="389" y="20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40" name="Freeform 20"/>
            <p:cNvSpPr>
              <a:spLocks noChangeArrowheads="1"/>
            </p:cNvSpPr>
            <p:nvPr/>
          </p:nvSpPr>
          <p:spPr bwMode="auto">
            <a:xfrm>
              <a:off x="19517684" y="3507816"/>
              <a:ext cx="621122" cy="205088"/>
            </a:xfrm>
            <a:custGeom>
              <a:avLst/>
              <a:gdLst>
                <a:gd name="T0" fmla="*/ 298 w 934"/>
                <a:gd name="T1" fmla="*/ 0 h 307"/>
                <a:gd name="T2" fmla="*/ 164 w 934"/>
                <a:gd name="T3" fmla="*/ 0 h 307"/>
                <a:gd name="T4" fmla="*/ 0 w 934"/>
                <a:gd name="T5" fmla="*/ 306 h 307"/>
                <a:gd name="T6" fmla="*/ 463 w 934"/>
                <a:gd name="T7" fmla="*/ 306 h 307"/>
                <a:gd name="T8" fmla="*/ 933 w 934"/>
                <a:gd name="T9" fmla="*/ 306 h 307"/>
                <a:gd name="T10" fmla="*/ 769 w 934"/>
                <a:gd name="T11" fmla="*/ 0 h 307"/>
                <a:gd name="T12" fmla="*/ 627 w 934"/>
                <a:gd name="T13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4" h="307">
                  <a:moveTo>
                    <a:pt x="298" y="0"/>
                  </a:moveTo>
                  <a:lnTo>
                    <a:pt x="164" y="0"/>
                  </a:lnTo>
                  <a:lnTo>
                    <a:pt x="0" y="306"/>
                  </a:lnTo>
                  <a:lnTo>
                    <a:pt x="463" y="306"/>
                  </a:lnTo>
                  <a:lnTo>
                    <a:pt x="933" y="306"/>
                  </a:lnTo>
                  <a:lnTo>
                    <a:pt x="769" y="0"/>
                  </a:lnTo>
                  <a:lnTo>
                    <a:pt x="627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E10D67A-D663-C741-9CEE-755FAC0C2600}"/>
              </a:ext>
            </a:extLst>
          </p:cNvPr>
          <p:cNvGrpSpPr/>
          <p:nvPr/>
        </p:nvGrpSpPr>
        <p:grpSpPr>
          <a:xfrm>
            <a:off x="10402061" y="1604487"/>
            <a:ext cx="300307" cy="285657"/>
            <a:chOff x="10402061" y="1604487"/>
            <a:chExt cx="300307" cy="285657"/>
          </a:xfrm>
        </p:grpSpPr>
        <p:sp>
          <p:nvSpPr>
            <p:cNvPr id="5141" name="Freeform 21"/>
            <p:cNvSpPr>
              <a:spLocks noChangeArrowheads="1"/>
            </p:cNvSpPr>
            <p:nvPr/>
          </p:nvSpPr>
          <p:spPr bwMode="auto">
            <a:xfrm>
              <a:off x="10503140" y="1630856"/>
              <a:ext cx="199228" cy="60061"/>
            </a:xfrm>
            <a:custGeom>
              <a:avLst/>
              <a:gdLst>
                <a:gd name="T0" fmla="*/ 493 w 598"/>
                <a:gd name="T1" fmla="*/ 179 h 180"/>
                <a:gd name="T2" fmla="*/ 0 w 598"/>
                <a:gd name="T3" fmla="*/ 179 h 180"/>
                <a:gd name="T4" fmla="*/ 0 w 598"/>
                <a:gd name="T5" fmla="*/ 0 h 180"/>
                <a:gd name="T6" fmla="*/ 493 w 598"/>
                <a:gd name="T7" fmla="*/ 0 h 180"/>
                <a:gd name="T8" fmla="*/ 597 w 598"/>
                <a:gd name="T9" fmla="*/ 90 h 180"/>
                <a:gd name="T10" fmla="*/ 493 w 598"/>
                <a:gd name="T11" fmla="*/ 17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8" h="180">
                  <a:moveTo>
                    <a:pt x="493" y="179"/>
                  </a:moveTo>
                  <a:lnTo>
                    <a:pt x="0" y="179"/>
                  </a:lnTo>
                  <a:lnTo>
                    <a:pt x="0" y="0"/>
                  </a:lnTo>
                  <a:lnTo>
                    <a:pt x="493" y="0"/>
                  </a:lnTo>
                  <a:lnTo>
                    <a:pt x="597" y="90"/>
                  </a:lnTo>
                  <a:lnTo>
                    <a:pt x="493" y="17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42" name="Freeform 22"/>
            <p:cNvSpPr>
              <a:spLocks noChangeArrowheads="1"/>
            </p:cNvSpPr>
            <p:nvPr/>
          </p:nvSpPr>
          <p:spPr bwMode="auto">
            <a:xfrm>
              <a:off x="10402061" y="1709961"/>
              <a:ext cx="200694" cy="60061"/>
            </a:xfrm>
            <a:custGeom>
              <a:avLst/>
              <a:gdLst>
                <a:gd name="T0" fmla="*/ 112 w 606"/>
                <a:gd name="T1" fmla="*/ 0 h 180"/>
                <a:gd name="T2" fmla="*/ 605 w 606"/>
                <a:gd name="T3" fmla="*/ 0 h 180"/>
                <a:gd name="T4" fmla="*/ 605 w 606"/>
                <a:gd name="T5" fmla="*/ 179 h 180"/>
                <a:gd name="T6" fmla="*/ 112 w 606"/>
                <a:gd name="T7" fmla="*/ 179 h 180"/>
                <a:gd name="T8" fmla="*/ 0 w 606"/>
                <a:gd name="T9" fmla="*/ 90 h 180"/>
                <a:gd name="T10" fmla="*/ 112 w 606"/>
                <a:gd name="T11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6" h="180">
                  <a:moveTo>
                    <a:pt x="112" y="0"/>
                  </a:moveTo>
                  <a:lnTo>
                    <a:pt x="605" y="0"/>
                  </a:lnTo>
                  <a:lnTo>
                    <a:pt x="605" y="179"/>
                  </a:lnTo>
                  <a:lnTo>
                    <a:pt x="112" y="179"/>
                  </a:lnTo>
                  <a:lnTo>
                    <a:pt x="0" y="90"/>
                  </a:lnTo>
                  <a:lnTo>
                    <a:pt x="112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43" name="Line 23"/>
            <p:cNvSpPr>
              <a:spLocks noChangeShapeType="1"/>
            </p:cNvSpPr>
            <p:nvPr/>
          </p:nvSpPr>
          <p:spPr bwMode="auto">
            <a:xfrm>
              <a:off x="10552948" y="1768557"/>
              <a:ext cx="1465" cy="121587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44" name="Line 24"/>
            <p:cNvSpPr>
              <a:spLocks noChangeShapeType="1"/>
            </p:cNvSpPr>
            <p:nvPr/>
          </p:nvSpPr>
          <p:spPr bwMode="auto">
            <a:xfrm flipV="1">
              <a:off x="10552948" y="1687987"/>
              <a:ext cx="1465" cy="23438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45" name="Line 25"/>
            <p:cNvSpPr>
              <a:spLocks noChangeShapeType="1"/>
            </p:cNvSpPr>
            <p:nvPr/>
          </p:nvSpPr>
          <p:spPr bwMode="auto">
            <a:xfrm flipV="1">
              <a:off x="10552948" y="1604487"/>
              <a:ext cx="1465" cy="2783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46" name="Line 26"/>
            <p:cNvSpPr>
              <a:spLocks noChangeShapeType="1"/>
            </p:cNvSpPr>
            <p:nvPr/>
          </p:nvSpPr>
          <p:spPr bwMode="auto">
            <a:xfrm>
              <a:off x="10513395" y="1885751"/>
              <a:ext cx="79105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1034903" y="1575189"/>
            <a:ext cx="313491" cy="310561"/>
            <a:chOff x="22066630" y="3150377"/>
            <a:chExt cx="626982" cy="621122"/>
          </a:xfrm>
        </p:grpSpPr>
        <p:sp>
          <p:nvSpPr>
            <p:cNvPr id="5147" name="Freeform 27"/>
            <p:cNvSpPr>
              <a:spLocks noChangeArrowheads="1"/>
            </p:cNvSpPr>
            <p:nvPr/>
          </p:nvSpPr>
          <p:spPr bwMode="auto">
            <a:xfrm>
              <a:off x="22069559" y="3150377"/>
              <a:ext cx="621122" cy="621122"/>
            </a:xfrm>
            <a:custGeom>
              <a:avLst/>
              <a:gdLst>
                <a:gd name="T0" fmla="*/ 463 w 934"/>
                <a:gd name="T1" fmla="*/ 0 h 934"/>
                <a:gd name="T2" fmla="*/ 463 w 934"/>
                <a:gd name="T3" fmla="*/ 0 h 934"/>
                <a:gd name="T4" fmla="*/ 933 w 934"/>
                <a:gd name="T5" fmla="*/ 463 h 934"/>
                <a:gd name="T6" fmla="*/ 463 w 934"/>
                <a:gd name="T7" fmla="*/ 933 h 934"/>
                <a:gd name="T8" fmla="*/ 0 w 934"/>
                <a:gd name="T9" fmla="*/ 463 h 934"/>
                <a:gd name="T10" fmla="*/ 463 w 934"/>
                <a:gd name="T11" fmla="*/ 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4" h="934">
                  <a:moveTo>
                    <a:pt x="463" y="0"/>
                  </a:moveTo>
                  <a:lnTo>
                    <a:pt x="463" y="0"/>
                  </a:lnTo>
                  <a:cubicBezTo>
                    <a:pt x="724" y="0"/>
                    <a:pt x="933" y="209"/>
                    <a:pt x="933" y="463"/>
                  </a:cubicBezTo>
                  <a:cubicBezTo>
                    <a:pt x="933" y="724"/>
                    <a:pt x="724" y="933"/>
                    <a:pt x="463" y="933"/>
                  </a:cubicBezTo>
                  <a:cubicBezTo>
                    <a:pt x="209" y="933"/>
                    <a:pt x="0" y="724"/>
                    <a:pt x="0" y="463"/>
                  </a:cubicBezTo>
                  <a:cubicBezTo>
                    <a:pt x="0" y="209"/>
                    <a:pt x="209" y="0"/>
                    <a:pt x="463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48" name="Line 28"/>
            <p:cNvSpPr>
              <a:spLocks noChangeShapeType="1"/>
            </p:cNvSpPr>
            <p:nvPr/>
          </p:nvSpPr>
          <p:spPr bwMode="auto">
            <a:xfrm>
              <a:off x="22377189" y="3150377"/>
              <a:ext cx="2931" cy="621122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49" name="Line 29"/>
            <p:cNvSpPr>
              <a:spLocks noChangeShapeType="1"/>
            </p:cNvSpPr>
            <p:nvPr/>
          </p:nvSpPr>
          <p:spPr bwMode="auto">
            <a:xfrm flipH="1">
              <a:off x="22066630" y="3458007"/>
              <a:ext cx="626982" cy="293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50" name="Freeform 30"/>
            <p:cNvSpPr>
              <a:spLocks noChangeArrowheads="1"/>
            </p:cNvSpPr>
            <p:nvPr/>
          </p:nvSpPr>
          <p:spPr bwMode="auto">
            <a:xfrm>
              <a:off x="22218979" y="3150377"/>
              <a:ext cx="140631" cy="621122"/>
            </a:xfrm>
            <a:custGeom>
              <a:avLst/>
              <a:gdLst>
                <a:gd name="T0" fmla="*/ 209 w 210"/>
                <a:gd name="T1" fmla="*/ 0 h 934"/>
                <a:gd name="T2" fmla="*/ 209 w 210"/>
                <a:gd name="T3" fmla="*/ 0 h 934"/>
                <a:gd name="T4" fmla="*/ 0 w 210"/>
                <a:gd name="T5" fmla="*/ 463 h 934"/>
                <a:gd name="T6" fmla="*/ 209 w 210"/>
                <a:gd name="T7" fmla="*/ 933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0" h="934">
                  <a:moveTo>
                    <a:pt x="209" y="0"/>
                  </a:moveTo>
                  <a:lnTo>
                    <a:pt x="209" y="0"/>
                  </a:lnTo>
                  <a:cubicBezTo>
                    <a:pt x="209" y="0"/>
                    <a:pt x="0" y="164"/>
                    <a:pt x="0" y="463"/>
                  </a:cubicBezTo>
                  <a:cubicBezTo>
                    <a:pt x="0" y="769"/>
                    <a:pt x="209" y="933"/>
                    <a:pt x="209" y="933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51" name="Freeform 31"/>
            <p:cNvSpPr>
              <a:spLocks noChangeArrowheads="1"/>
            </p:cNvSpPr>
            <p:nvPr/>
          </p:nvSpPr>
          <p:spPr bwMode="auto">
            <a:xfrm>
              <a:off x="22397700" y="3150377"/>
              <a:ext cx="140631" cy="621122"/>
            </a:xfrm>
            <a:custGeom>
              <a:avLst/>
              <a:gdLst>
                <a:gd name="T0" fmla="*/ 0 w 210"/>
                <a:gd name="T1" fmla="*/ 0 h 934"/>
                <a:gd name="T2" fmla="*/ 0 w 210"/>
                <a:gd name="T3" fmla="*/ 0 h 934"/>
                <a:gd name="T4" fmla="*/ 209 w 210"/>
                <a:gd name="T5" fmla="*/ 463 h 934"/>
                <a:gd name="T6" fmla="*/ 0 w 210"/>
                <a:gd name="T7" fmla="*/ 933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0" h="934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209" y="164"/>
                    <a:pt x="209" y="463"/>
                  </a:cubicBezTo>
                  <a:cubicBezTo>
                    <a:pt x="209" y="769"/>
                    <a:pt x="0" y="933"/>
                    <a:pt x="0" y="933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52" name="Freeform 32"/>
            <p:cNvSpPr>
              <a:spLocks noChangeArrowheads="1"/>
            </p:cNvSpPr>
            <p:nvPr/>
          </p:nvSpPr>
          <p:spPr bwMode="auto">
            <a:xfrm>
              <a:off x="22139875" y="3261712"/>
              <a:ext cx="480490" cy="99613"/>
            </a:xfrm>
            <a:custGeom>
              <a:avLst/>
              <a:gdLst>
                <a:gd name="T0" fmla="*/ 0 w 725"/>
                <a:gd name="T1" fmla="*/ 0 h 150"/>
                <a:gd name="T2" fmla="*/ 0 w 725"/>
                <a:gd name="T3" fmla="*/ 0 h 150"/>
                <a:gd name="T4" fmla="*/ 358 w 725"/>
                <a:gd name="T5" fmla="*/ 149 h 150"/>
                <a:gd name="T6" fmla="*/ 724 w 725"/>
                <a:gd name="T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5" h="150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74" y="149"/>
                    <a:pt x="358" y="149"/>
                  </a:cubicBezTo>
                  <a:cubicBezTo>
                    <a:pt x="649" y="149"/>
                    <a:pt x="724" y="0"/>
                    <a:pt x="724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53" name="Freeform 33"/>
            <p:cNvSpPr>
              <a:spLocks noChangeArrowheads="1"/>
            </p:cNvSpPr>
            <p:nvPr/>
          </p:nvSpPr>
          <p:spPr bwMode="auto">
            <a:xfrm>
              <a:off x="22139875" y="3563484"/>
              <a:ext cx="480490" cy="99613"/>
            </a:xfrm>
            <a:custGeom>
              <a:avLst/>
              <a:gdLst>
                <a:gd name="T0" fmla="*/ 0 w 725"/>
                <a:gd name="T1" fmla="*/ 149 h 150"/>
                <a:gd name="T2" fmla="*/ 0 w 725"/>
                <a:gd name="T3" fmla="*/ 149 h 150"/>
                <a:gd name="T4" fmla="*/ 358 w 725"/>
                <a:gd name="T5" fmla="*/ 0 h 150"/>
                <a:gd name="T6" fmla="*/ 724 w 725"/>
                <a:gd name="T7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5" h="150">
                  <a:moveTo>
                    <a:pt x="0" y="149"/>
                  </a:moveTo>
                  <a:lnTo>
                    <a:pt x="0" y="149"/>
                  </a:lnTo>
                  <a:cubicBezTo>
                    <a:pt x="0" y="149"/>
                    <a:pt x="74" y="0"/>
                    <a:pt x="358" y="0"/>
                  </a:cubicBezTo>
                  <a:cubicBezTo>
                    <a:pt x="649" y="0"/>
                    <a:pt x="724" y="149"/>
                    <a:pt x="724" y="14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95662B8-A746-8042-8C9F-7A043A2ABBCF}"/>
              </a:ext>
            </a:extLst>
          </p:cNvPr>
          <p:cNvGrpSpPr/>
          <p:nvPr/>
        </p:nvGrpSpPr>
        <p:grpSpPr>
          <a:xfrm>
            <a:off x="6656713" y="2214105"/>
            <a:ext cx="584073" cy="309095"/>
            <a:chOff x="6656713" y="2214105"/>
            <a:chExt cx="584073" cy="309095"/>
          </a:xfrm>
        </p:grpSpPr>
        <p:sp>
          <p:nvSpPr>
            <p:cNvPr id="5595" name="Freeform 475"/>
            <p:cNvSpPr>
              <a:spLocks noChangeArrowheads="1"/>
            </p:cNvSpPr>
            <p:nvPr/>
          </p:nvSpPr>
          <p:spPr bwMode="auto">
            <a:xfrm>
              <a:off x="6656713" y="2214105"/>
              <a:ext cx="268078" cy="199228"/>
            </a:xfrm>
            <a:custGeom>
              <a:avLst/>
              <a:gdLst>
                <a:gd name="T0" fmla="*/ 0 w 807"/>
                <a:gd name="T1" fmla="*/ 597 h 598"/>
                <a:gd name="T2" fmla="*/ 89 w 807"/>
                <a:gd name="T3" fmla="*/ 0 h 598"/>
                <a:gd name="T4" fmla="*/ 716 w 807"/>
                <a:gd name="T5" fmla="*/ 0 h 598"/>
                <a:gd name="T6" fmla="*/ 806 w 807"/>
                <a:gd name="T7" fmla="*/ 597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07" h="598">
                  <a:moveTo>
                    <a:pt x="0" y="597"/>
                  </a:moveTo>
                  <a:lnTo>
                    <a:pt x="89" y="0"/>
                  </a:lnTo>
                  <a:lnTo>
                    <a:pt x="716" y="0"/>
                  </a:lnTo>
                  <a:lnTo>
                    <a:pt x="806" y="597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96" name="Freeform 476"/>
            <p:cNvSpPr>
              <a:spLocks noChangeArrowheads="1"/>
            </p:cNvSpPr>
            <p:nvPr/>
          </p:nvSpPr>
          <p:spPr bwMode="auto">
            <a:xfrm>
              <a:off x="6656713" y="2411867"/>
              <a:ext cx="268078" cy="111333"/>
            </a:xfrm>
            <a:custGeom>
              <a:avLst/>
              <a:gdLst>
                <a:gd name="T0" fmla="*/ 239 w 807"/>
                <a:gd name="T1" fmla="*/ 0 h 337"/>
                <a:gd name="T2" fmla="*/ 239 w 807"/>
                <a:gd name="T3" fmla="*/ 0 h 337"/>
                <a:gd name="T4" fmla="*/ 403 w 807"/>
                <a:gd name="T5" fmla="*/ 172 h 337"/>
                <a:gd name="T6" fmla="*/ 567 w 807"/>
                <a:gd name="T7" fmla="*/ 0 h 337"/>
                <a:gd name="T8" fmla="*/ 806 w 807"/>
                <a:gd name="T9" fmla="*/ 0 h 337"/>
                <a:gd name="T10" fmla="*/ 806 w 807"/>
                <a:gd name="T11" fmla="*/ 336 h 337"/>
                <a:gd name="T12" fmla="*/ 0 w 807"/>
                <a:gd name="T13" fmla="*/ 336 h 337"/>
                <a:gd name="T14" fmla="*/ 0 w 807"/>
                <a:gd name="T15" fmla="*/ 0 h 337"/>
                <a:gd name="T16" fmla="*/ 239 w 80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7" h="337">
                  <a:moveTo>
                    <a:pt x="239" y="0"/>
                  </a:moveTo>
                  <a:lnTo>
                    <a:pt x="239" y="0"/>
                  </a:lnTo>
                  <a:cubicBezTo>
                    <a:pt x="239" y="97"/>
                    <a:pt x="313" y="172"/>
                    <a:pt x="403" y="172"/>
                  </a:cubicBezTo>
                  <a:cubicBezTo>
                    <a:pt x="493" y="172"/>
                    <a:pt x="567" y="97"/>
                    <a:pt x="567" y="0"/>
                  </a:cubicBezTo>
                  <a:cubicBezTo>
                    <a:pt x="806" y="0"/>
                    <a:pt x="806" y="0"/>
                    <a:pt x="806" y="0"/>
                  </a:cubicBezTo>
                  <a:cubicBezTo>
                    <a:pt x="806" y="336"/>
                    <a:pt x="806" y="336"/>
                    <a:pt x="806" y="336"/>
                  </a:cubicBezTo>
                  <a:cubicBezTo>
                    <a:pt x="0" y="336"/>
                    <a:pt x="0" y="336"/>
                    <a:pt x="0" y="336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3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97" name="Line 477"/>
            <p:cNvSpPr>
              <a:spLocks noChangeShapeType="1"/>
            </p:cNvSpPr>
            <p:nvPr/>
          </p:nvSpPr>
          <p:spPr bwMode="auto">
            <a:xfrm>
              <a:off x="6691871" y="2362059"/>
              <a:ext cx="199228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98" name="Line 478"/>
            <p:cNvSpPr>
              <a:spLocks noChangeShapeType="1"/>
            </p:cNvSpPr>
            <p:nvPr/>
          </p:nvSpPr>
          <p:spPr bwMode="auto">
            <a:xfrm>
              <a:off x="6702125" y="2312253"/>
              <a:ext cx="17871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599" name="Line 479"/>
            <p:cNvSpPr>
              <a:spLocks noChangeShapeType="1"/>
            </p:cNvSpPr>
            <p:nvPr/>
          </p:nvSpPr>
          <p:spPr bwMode="auto">
            <a:xfrm>
              <a:off x="6710914" y="2262446"/>
              <a:ext cx="158211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56" name="Line 36"/>
            <p:cNvSpPr>
              <a:spLocks noChangeShapeType="1"/>
            </p:cNvSpPr>
            <p:nvPr/>
          </p:nvSpPr>
          <p:spPr bwMode="auto">
            <a:xfrm>
              <a:off x="7220277" y="2369171"/>
              <a:ext cx="2050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F0AAA3D-C5B8-3342-BBF3-349A79A65D43}"/>
              </a:ext>
            </a:extLst>
          </p:cNvPr>
          <p:cNvGrpSpPr/>
          <p:nvPr/>
        </p:nvGrpSpPr>
        <p:grpSpPr>
          <a:xfrm>
            <a:off x="7190978" y="2197775"/>
            <a:ext cx="339859" cy="339859"/>
            <a:chOff x="7190978" y="2197775"/>
            <a:chExt cx="339859" cy="339859"/>
          </a:xfrm>
        </p:grpSpPr>
        <p:sp>
          <p:nvSpPr>
            <p:cNvPr id="5154" name="Freeform 34"/>
            <p:cNvSpPr>
              <a:spLocks noChangeArrowheads="1"/>
            </p:cNvSpPr>
            <p:nvPr/>
          </p:nvSpPr>
          <p:spPr bwMode="auto">
            <a:xfrm>
              <a:off x="7190978" y="2197775"/>
              <a:ext cx="339859" cy="339859"/>
            </a:xfrm>
            <a:custGeom>
              <a:avLst/>
              <a:gdLst>
                <a:gd name="T0" fmla="*/ 837 w 1024"/>
                <a:gd name="T1" fmla="*/ 186 h 1023"/>
                <a:gd name="T2" fmla="*/ 837 w 1024"/>
                <a:gd name="T3" fmla="*/ 186 h 1023"/>
                <a:gd name="T4" fmla="*/ 837 w 1024"/>
                <a:gd name="T5" fmla="*/ 843 h 1023"/>
                <a:gd name="T6" fmla="*/ 180 w 1024"/>
                <a:gd name="T7" fmla="*/ 843 h 1023"/>
                <a:gd name="T8" fmla="*/ 180 w 1024"/>
                <a:gd name="T9" fmla="*/ 186 h 1023"/>
                <a:gd name="T10" fmla="*/ 837 w 1024"/>
                <a:gd name="T11" fmla="*/ 186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4" h="1023">
                  <a:moveTo>
                    <a:pt x="837" y="186"/>
                  </a:moveTo>
                  <a:lnTo>
                    <a:pt x="837" y="186"/>
                  </a:lnTo>
                  <a:cubicBezTo>
                    <a:pt x="1023" y="365"/>
                    <a:pt x="1023" y="664"/>
                    <a:pt x="837" y="843"/>
                  </a:cubicBezTo>
                  <a:cubicBezTo>
                    <a:pt x="657" y="1022"/>
                    <a:pt x="366" y="1022"/>
                    <a:pt x="180" y="843"/>
                  </a:cubicBezTo>
                  <a:cubicBezTo>
                    <a:pt x="0" y="664"/>
                    <a:pt x="0" y="365"/>
                    <a:pt x="180" y="186"/>
                  </a:cubicBezTo>
                  <a:cubicBezTo>
                    <a:pt x="366" y="0"/>
                    <a:pt x="657" y="0"/>
                    <a:pt x="837" y="186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55" name="Freeform 35"/>
            <p:cNvSpPr>
              <a:spLocks noChangeArrowheads="1"/>
            </p:cNvSpPr>
            <p:nvPr/>
          </p:nvSpPr>
          <p:spPr bwMode="auto">
            <a:xfrm>
              <a:off x="7359443" y="2269557"/>
              <a:ext cx="45412" cy="143562"/>
            </a:xfrm>
            <a:custGeom>
              <a:avLst/>
              <a:gdLst>
                <a:gd name="T0" fmla="*/ 0 w 136"/>
                <a:gd name="T1" fmla="*/ 0 h 434"/>
                <a:gd name="T2" fmla="*/ 0 w 136"/>
                <a:gd name="T3" fmla="*/ 299 h 434"/>
                <a:gd name="T4" fmla="*/ 135 w 136"/>
                <a:gd name="T5" fmla="*/ 433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6" h="434">
                  <a:moveTo>
                    <a:pt x="0" y="0"/>
                  </a:moveTo>
                  <a:lnTo>
                    <a:pt x="0" y="299"/>
                  </a:lnTo>
                  <a:lnTo>
                    <a:pt x="135" y="43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57" name="Line 37"/>
            <p:cNvSpPr>
              <a:spLocks noChangeShapeType="1"/>
            </p:cNvSpPr>
            <p:nvPr/>
          </p:nvSpPr>
          <p:spPr bwMode="auto">
            <a:xfrm>
              <a:off x="7481030" y="2369171"/>
              <a:ext cx="2050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58" name="Line 38"/>
            <p:cNvSpPr>
              <a:spLocks noChangeShapeType="1"/>
            </p:cNvSpPr>
            <p:nvPr/>
          </p:nvSpPr>
          <p:spPr bwMode="auto">
            <a:xfrm flipV="1">
              <a:off x="7359443" y="2486363"/>
              <a:ext cx="1465" cy="23438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59" name="Line 39"/>
            <p:cNvSpPr>
              <a:spLocks noChangeShapeType="1"/>
            </p:cNvSpPr>
            <p:nvPr/>
          </p:nvSpPr>
          <p:spPr bwMode="auto">
            <a:xfrm flipV="1">
              <a:off x="7359443" y="2230004"/>
              <a:ext cx="1465" cy="2197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3FDED5B-CAB8-6D4C-9D82-CE9B94C4DB73}"/>
              </a:ext>
            </a:extLst>
          </p:cNvPr>
          <p:cNvGrpSpPr/>
          <p:nvPr/>
        </p:nvGrpSpPr>
        <p:grpSpPr>
          <a:xfrm>
            <a:off x="7842863" y="2215355"/>
            <a:ext cx="310562" cy="307631"/>
            <a:chOff x="7842863" y="2215355"/>
            <a:chExt cx="310562" cy="307631"/>
          </a:xfrm>
        </p:grpSpPr>
        <p:sp>
          <p:nvSpPr>
            <p:cNvPr id="5160" name="Freeform 40"/>
            <p:cNvSpPr>
              <a:spLocks noChangeArrowheads="1"/>
            </p:cNvSpPr>
            <p:nvPr/>
          </p:nvSpPr>
          <p:spPr bwMode="auto">
            <a:xfrm>
              <a:off x="7999609" y="2269557"/>
              <a:ext cx="45413" cy="143562"/>
            </a:xfrm>
            <a:custGeom>
              <a:avLst/>
              <a:gdLst>
                <a:gd name="T0" fmla="*/ 0 w 135"/>
                <a:gd name="T1" fmla="*/ 0 h 434"/>
                <a:gd name="T2" fmla="*/ 0 w 135"/>
                <a:gd name="T3" fmla="*/ 299 h 434"/>
                <a:gd name="T4" fmla="*/ 134 w 135"/>
                <a:gd name="T5" fmla="*/ 433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5" h="434">
                  <a:moveTo>
                    <a:pt x="0" y="0"/>
                  </a:moveTo>
                  <a:lnTo>
                    <a:pt x="0" y="299"/>
                  </a:lnTo>
                  <a:lnTo>
                    <a:pt x="134" y="43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61" name="Line 41"/>
            <p:cNvSpPr>
              <a:spLocks noChangeShapeType="1"/>
            </p:cNvSpPr>
            <p:nvPr/>
          </p:nvSpPr>
          <p:spPr bwMode="auto">
            <a:xfrm>
              <a:off x="7857513" y="2369171"/>
              <a:ext cx="1904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62" name="Line 42"/>
            <p:cNvSpPr>
              <a:spLocks noChangeShapeType="1"/>
            </p:cNvSpPr>
            <p:nvPr/>
          </p:nvSpPr>
          <p:spPr bwMode="auto">
            <a:xfrm>
              <a:off x="8118266" y="2369171"/>
              <a:ext cx="2050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63" name="Line 43"/>
            <p:cNvSpPr>
              <a:spLocks noChangeShapeType="1"/>
            </p:cNvSpPr>
            <p:nvPr/>
          </p:nvSpPr>
          <p:spPr bwMode="auto">
            <a:xfrm flipV="1">
              <a:off x="7999608" y="2486363"/>
              <a:ext cx="1466" cy="23438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64" name="Line 44"/>
            <p:cNvSpPr>
              <a:spLocks noChangeShapeType="1"/>
            </p:cNvSpPr>
            <p:nvPr/>
          </p:nvSpPr>
          <p:spPr bwMode="auto">
            <a:xfrm flipV="1">
              <a:off x="7999608" y="2230004"/>
              <a:ext cx="1466" cy="2197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65" name="Freeform 45"/>
            <p:cNvSpPr>
              <a:spLocks noChangeArrowheads="1"/>
            </p:cNvSpPr>
            <p:nvPr/>
          </p:nvSpPr>
          <p:spPr bwMode="auto">
            <a:xfrm>
              <a:off x="7999609" y="2215355"/>
              <a:ext cx="153816" cy="307631"/>
            </a:xfrm>
            <a:custGeom>
              <a:avLst/>
              <a:gdLst>
                <a:gd name="T0" fmla="*/ 0 w 464"/>
                <a:gd name="T1" fmla="*/ 925 h 926"/>
                <a:gd name="T2" fmla="*/ 0 w 464"/>
                <a:gd name="T3" fmla="*/ 925 h 926"/>
                <a:gd name="T4" fmla="*/ 463 w 464"/>
                <a:gd name="T5" fmla="*/ 463 h 926"/>
                <a:gd name="T6" fmla="*/ 0 w 464"/>
                <a:gd name="T7" fmla="*/ 0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4" h="926">
                  <a:moveTo>
                    <a:pt x="0" y="925"/>
                  </a:moveTo>
                  <a:lnTo>
                    <a:pt x="0" y="925"/>
                  </a:lnTo>
                  <a:cubicBezTo>
                    <a:pt x="254" y="925"/>
                    <a:pt x="463" y="716"/>
                    <a:pt x="463" y="463"/>
                  </a:cubicBezTo>
                  <a:cubicBezTo>
                    <a:pt x="463" y="201"/>
                    <a:pt x="254" y="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66" name="Freeform 46"/>
            <p:cNvSpPr>
              <a:spLocks noChangeArrowheads="1"/>
            </p:cNvSpPr>
            <p:nvPr/>
          </p:nvSpPr>
          <p:spPr bwMode="auto">
            <a:xfrm>
              <a:off x="7842863" y="2250512"/>
              <a:ext cx="156745" cy="272474"/>
            </a:xfrm>
            <a:custGeom>
              <a:avLst/>
              <a:gdLst>
                <a:gd name="T0" fmla="*/ 470 w 471"/>
                <a:gd name="T1" fmla="*/ 821 h 822"/>
                <a:gd name="T2" fmla="*/ 470 w 471"/>
                <a:gd name="T3" fmla="*/ 821 h 822"/>
                <a:gd name="T4" fmla="*/ 0 w 471"/>
                <a:gd name="T5" fmla="*/ 359 h 822"/>
                <a:gd name="T6" fmla="*/ 89 w 471"/>
                <a:gd name="T7" fmla="*/ 90 h 822"/>
                <a:gd name="T8" fmla="*/ 171 w 471"/>
                <a:gd name="T9" fmla="*/ 0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1" h="822">
                  <a:moveTo>
                    <a:pt x="470" y="821"/>
                  </a:moveTo>
                  <a:lnTo>
                    <a:pt x="470" y="821"/>
                  </a:lnTo>
                  <a:cubicBezTo>
                    <a:pt x="209" y="821"/>
                    <a:pt x="0" y="612"/>
                    <a:pt x="0" y="359"/>
                  </a:cubicBezTo>
                  <a:cubicBezTo>
                    <a:pt x="0" y="254"/>
                    <a:pt x="37" y="164"/>
                    <a:pt x="89" y="90"/>
                  </a:cubicBezTo>
                  <a:cubicBezTo>
                    <a:pt x="171" y="0"/>
                    <a:pt x="171" y="0"/>
                    <a:pt x="171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67" name="Freeform 47"/>
            <p:cNvSpPr>
              <a:spLocks noChangeArrowheads="1"/>
            </p:cNvSpPr>
            <p:nvPr/>
          </p:nvSpPr>
          <p:spPr bwMode="auto">
            <a:xfrm>
              <a:off x="7848723" y="2250512"/>
              <a:ext cx="57131" cy="54202"/>
            </a:xfrm>
            <a:custGeom>
              <a:avLst/>
              <a:gdLst>
                <a:gd name="T0" fmla="*/ 171 w 172"/>
                <a:gd name="T1" fmla="*/ 164 h 165"/>
                <a:gd name="T2" fmla="*/ 171 w 172"/>
                <a:gd name="T3" fmla="*/ 0 h 165"/>
                <a:gd name="T4" fmla="*/ 0 w 172"/>
                <a:gd name="T5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2" h="165">
                  <a:moveTo>
                    <a:pt x="171" y="164"/>
                  </a:moveTo>
                  <a:lnTo>
                    <a:pt x="171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76993583-CE64-1C4D-848D-2E2F86EE03D9}"/>
              </a:ext>
            </a:extLst>
          </p:cNvPr>
          <p:cNvGrpSpPr/>
          <p:nvPr/>
        </p:nvGrpSpPr>
        <p:grpSpPr>
          <a:xfrm>
            <a:off x="8483028" y="2215355"/>
            <a:ext cx="310561" cy="307631"/>
            <a:chOff x="8483028" y="2215355"/>
            <a:chExt cx="310561" cy="307631"/>
          </a:xfrm>
        </p:grpSpPr>
        <p:sp>
          <p:nvSpPr>
            <p:cNvPr id="5168" name="Freeform 48"/>
            <p:cNvSpPr>
              <a:spLocks noChangeArrowheads="1"/>
            </p:cNvSpPr>
            <p:nvPr/>
          </p:nvSpPr>
          <p:spPr bwMode="auto">
            <a:xfrm>
              <a:off x="8636844" y="2269557"/>
              <a:ext cx="45412" cy="143562"/>
            </a:xfrm>
            <a:custGeom>
              <a:avLst/>
              <a:gdLst>
                <a:gd name="T0" fmla="*/ 0 w 136"/>
                <a:gd name="T1" fmla="*/ 0 h 434"/>
                <a:gd name="T2" fmla="*/ 0 w 136"/>
                <a:gd name="T3" fmla="*/ 299 h 434"/>
                <a:gd name="T4" fmla="*/ 135 w 136"/>
                <a:gd name="T5" fmla="*/ 433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6" h="434">
                  <a:moveTo>
                    <a:pt x="0" y="0"/>
                  </a:moveTo>
                  <a:lnTo>
                    <a:pt x="0" y="299"/>
                  </a:lnTo>
                  <a:lnTo>
                    <a:pt x="135" y="43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69" name="Line 49"/>
            <p:cNvSpPr>
              <a:spLocks noChangeShapeType="1"/>
            </p:cNvSpPr>
            <p:nvPr/>
          </p:nvSpPr>
          <p:spPr bwMode="auto">
            <a:xfrm>
              <a:off x="8497678" y="2369171"/>
              <a:ext cx="2050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70" name="Line 50"/>
            <p:cNvSpPr>
              <a:spLocks noChangeShapeType="1"/>
            </p:cNvSpPr>
            <p:nvPr/>
          </p:nvSpPr>
          <p:spPr bwMode="auto">
            <a:xfrm>
              <a:off x="8758432" y="2369171"/>
              <a:ext cx="2050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71" name="Line 51"/>
            <p:cNvSpPr>
              <a:spLocks noChangeShapeType="1"/>
            </p:cNvSpPr>
            <p:nvPr/>
          </p:nvSpPr>
          <p:spPr bwMode="auto">
            <a:xfrm flipV="1">
              <a:off x="8636845" y="2486363"/>
              <a:ext cx="1465" cy="23438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72" name="Line 52"/>
            <p:cNvSpPr>
              <a:spLocks noChangeShapeType="1"/>
            </p:cNvSpPr>
            <p:nvPr/>
          </p:nvSpPr>
          <p:spPr bwMode="auto">
            <a:xfrm flipV="1">
              <a:off x="8636845" y="2230004"/>
              <a:ext cx="1465" cy="2197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73" name="Freeform 53"/>
            <p:cNvSpPr>
              <a:spLocks noChangeArrowheads="1"/>
            </p:cNvSpPr>
            <p:nvPr/>
          </p:nvSpPr>
          <p:spPr bwMode="auto">
            <a:xfrm>
              <a:off x="8483028" y="2215355"/>
              <a:ext cx="153816" cy="307631"/>
            </a:xfrm>
            <a:custGeom>
              <a:avLst/>
              <a:gdLst>
                <a:gd name="T0" fmla="*/ 463 w 464"/>
                <a:gd name="T1" fmla="*/ 925 h 926"/>
                <a:gd name="T2" fmla="*/ 463 w 464"/>
                <a:gd name="T3" fmla="*/ 925 h 926"/>
                <a:gd name="T4" fmla="*/ 0 w 464"/>
                <a:gd name="T5" fmla="*/ 463 h 926"/>
                <a:gd name="T6" fmla="*/ 463 w 464"/>
                <a:gd name="T7" fmla="*/ 0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4" h="926">
                  <a:moveTo>
                    <a:pt x="463" y="925"/>
                  </a:moveTo>
                  <a:lnTo>
                    <a:pt x="463" y="925"/>
                  </a:lnTo>
                  <a:cubicBezTo>
                    <a:pt x="210" y="925"/>
                    <a:pt x="0" y="716"/>
                    <a:pt x="0" y="463"/>
                  </a:cubicBezTo>
                  <a:cubicBezTo>
                    <a:pt x="0" y="201"/>
                    <a:pt x="210" y="0"/>
                    <a:pt x="463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74" name="Freeform 54"/>
            <p:cNvSpPr>
              <a:spLocks noChangeArrowheads="1"/>
            </p:cNvSpPr>
            <p:nvPr/>
          </p:nvSpPr>
          <p:spPr bwMode="auto">
            <a:xfrm>
              <a:off x="8636844" y="2250512"/>
              <a:ext cx="156745" cy="272474"/>
            </a:xfrm>
            <a:custGeom>
              <a:avLst/>
              <a:gdLst>
                <a:gd name="T0" fmla="*/ 0 w 472"/>
                <a:gd name="T1" fmla="*/ 821 h 822"/>
                <a:gd name="T2" fmla="*/ 0 w 472"/>
                <a:gd name="T3" fmla="*/ 821 h 822"/>
                <a:gd name="T4" fmla="*/ 471 w 472"/>
                <a:gd name="T5" fmla="*/ 359 h 822"/>
                <a:gd name="T6" fmla="*/ 381 w 472"/>
                <a:gd name="T7" fmla="*/ 90 h 822"/>
                <a:gd name="T8" fmla="*/ 299 w 472"/>
                <a:gd name="T9" fmla="*/ 0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822">
                  <a:moveTo>
                    <a:pt x="0" y="821"/>
                  </a:moveTo>
                  <a:lnTo>
                    <a:pt x="0" y="821"/>
                  </a:lnTo>
                  <a:cubicBezTo>
                    <a:pt x="262" y="821"/>
                    <a:pt x="471" y="612"/>
                    <a:pt x="471" y="359"/>
                  </a:cubicBezTo>
                  <a:cubicBezTo>
                    <a:pt x="471" y="254"/>
                    <a:pt x="433" y="164"/>
                    <a:pt x="381" y="90"/>
                  </a:cubicBezTo>
                  <a:cubicBezTo>
                    <a:pt x="299" y="0"/>
                    <a:pt x="299" y="0"/>
                    <a:pt x="299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75" name="Freeform 55"/>
            <p:cNvSpPr>
              <a:spLocks noChangeArrowheads="1"/>
            </p:cNvSpPr>
            <p:nvPr/>
          </p:nvSpPr>
          <p:spPr bwMode="auto">
            <a:xfrm>
              <a:off x="8730599" y="2250512"/>
              <a:ext cx="57131" cy="54202"/>
            </a:xfrm>
            <a:custGeom>
              <a:avLst/>
              <a:gdLst>
                <a:gd name="T0" fmla="*/ 0 w 173"/>
                <a:gd name="T1" fmla="*/ 164 h 165"/>
                <a:gd name="T2" fmla="*/ 0 w 173"/>
                <a:gd name="T3" fmla="*/ 0 h 165"/>
                <a:gd name="T4" fmla="*/ 172 w 173"/>
                <a:gd name="T5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3" h="165">
                  <a:moveTo>
                    <a:pt x="0" y="164"/>
                  </a:moveTo>
                  <a:lnTo>
                    <a:pt x="0" y="0"/>
                  </a:lnTo>
                  <a:lnTo>
                    <a:pt x="172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E271157E-481D-C34B-80F5-474885293B91}"/>
              </a:ext>
            </a:extLst>
          </p:cNvPr>
          <p:cNvGrpSpPr/>
          <p:nvPr/>
        </p:nvGrpSpPr>
        <p:grpSpPr>
          <a:xfrm>
            <a:off x="9123195" y="2215354"/>
            <a:ext cx="307631" cy="322281"/>
            <a:chOff x="9123195" y="2215354"/>
            <a:chExt cx="307631" cy="322281"/>
          </a:xfrm>
        </p:grpSpPr>
        <p:sp>
          <p:nvSpPr>
            <p:cNvPr id="5176" name="Freeform 56"/>
            <p:cNvSpPr>
              <a:spLocks noChangeArrowheads="1"/>
            </p:cNvSpPr>
            <p:nvPr/>
          </p:nvSpPr>
          <p:spPr bwMode="auto">
            <a:xfrm>
              <a:off x="9123195" y="2230004"/>
              <a:ext cx="307631" cy="307631"/>
            </a:xfrm>
            <a:custGeom>
              <a:avLst/>
              <a:gdLst>
                <a:gd name="T0" fmla="*/ 762 w 927"/>
                <a:gd name="T1" fmla="*/ 164 h 926"/>
                <a:gd name="T2" fmla="*/ 762 w 927"/>
                <a:gd name="T3" fmla="*/ 164 h 926"/>
                <a:gd name="T4" fmla="*/ 762 w 927"/>
                <a:gd name="T5" fmla="*/ 761 h 926"/>
                <a:gd name="T6" fmla="*/ 165 w 927"/>
                <a:gd name="T7" fmla="*/ 761 h 926"/>
                <a:gd name="T8" fmla="*/ 165 w 927"/>
                <a:gd name="T9" fmla="*/ 164 h 926"/>
                <a:gd name="T10" fmla="*/ 762 w 927"/>
                <a:gd name="T11" fmla="*/ 164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762" y="164"/>
                  </a:moveTo>
                  <a:lnTo>
                    <a:pt x="762" y="164"/>
                  </a:lnTo>
                  <a:cubicBezTo>
                    <a:pt x="926" y="328"/>
                    <a:pt x="926" y="597"/>
                    <a:pt x="762" y="761"/>
                  </a:cubicBezTo>
                  <a:cubicBezTo>
                    <a:pt x="598" y="925"/>
                    <a:pt x="329" y="925"/>
                    <a:pt x="165" y="761"/>
                  </a:cubicBezTo>
                  <a:cubicBezTo>
                    <a:pt x="0" y="597"/>
                    <a:pt x="0" y="328"/>
                    <a:pt x="165" y="164"/>
                  </a:cubicBezTo>
                  <a:cubicBezTo>
                    <a:pt x="329" y="0"/>
                    <a:pt x="598" y="0"/>
                    <a:pt x="762" y="16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77" name="Freeform 57"/>
            <p:cNvSpPr>
              <a:spLocks noChangeArrowheads="1"/>
            </p:cNvSpPr>
            <p:nvPr/>
          </p:nvSpPr>
          <p:spPr bwMode="auto">
            <a:xfrm>
              <a:off x="9277009" y="2215354"/>
              <a:ext cx="30764" cy="29299"/>
            </a:xfrm>
            <a:custGeom>
              <a:avLst/>
              <a:gdLst>
                <a:gd name="T0" fmla="*/ 0 w 91"/>
                <a:gd name="T1" fmla="*/ 89 h 90"/>
                <a:gd name="T2" fmla="*/ 0 w 91"/>
                <a:gd name="T3" fmla="*/ 0 h 90"/>
                <a:gd name="T4" fmla="*/ 90 w 91"/>
                <a:gd name="T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1" h="90">
                  <a:moveTo>
                    <a:pt x="0" y="89"/>
                  </a:moveTo>
                  <a:lnTo>
                    <a:pt x="0" y="0"/>
                  </a:lnTo>
                  <a:lnTo>
                    <a:pt x="9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78" name="Line 58"/>
            <p:cNvSpPr>
              <a:spLocks noChangeShapeType="1"/>
            </p:cNvSpPr>
            <p:nvPr/>
          </p:nvSpPr>
          <p:spPr bwMode="auto">
            <a:xfrm>
              <a:off x="9246247" y="2215354"/>
              <a:ext cx="2929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79" name="Line 59"/>
            <p:cNvSpPr>
              <a:spLocks noChangeShapeType="1"/>
            </p:cNvSpPr>
            <p:nvPr/>
          </p:nvSpPr>
          <p:spPr bwMode="auto">
            <a:xfrm flipV="1">
              <a:off x="9277009" y="2502478"/>
              <a:ext cx="1466" cy="2197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80" name="Line 60"/>
            <p:cNvSpPr>
              <a:spLocks noChangeShapeType="1"/>
            </p:cNvSpPr>
            <p:nvPr/>
          </p:nvSpPr>
          <p:spPr bwMode="auto">
            <a:xfrm flipV="1">
              <a:off x="9277009" y="2243188"/>
              <a:ext cx="1466" cy="23438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81" name="Line 61"/>
            <p:cNvSpPr>
              <a:spLocks noChangeShapeType="1"/>
            </p:cNvSpPr>
            <p:nvPr/>
          </p:nvSpPr>
          <p:spPr bwMode="auto">
            <a:xfrm>
              <a:off x="9134915" y="2383820"/>
              <a:ext cx="1904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82" name="Line 62"/>
            <p:cNvSpPr>
              <a:spLocks noChangeShapeType="1"/>
            </p:cNvSpPr>
            <p:nvPr/>
          </p:nvSpPr>
          <p:spPr bwMode="auto">
            <a:xfrm>
              <a:off x="9395668" y="2383820"/>
              <a:ext cx="1904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83" name="Line 63"/>
            <p:cNvSpPr>
              <a:spLocks noChangeShapeType="1"/>
            </p:cNvSpPr>
            <p:nvPr/>
          </p:nvSpPr>
          <p:spPr bwMode="auto">
            <a:xfrm>
              <a:off x="9189116" y="2297390"/>
              <a:ext cx="11719" cy="1464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84" name="Line 64"/>
            <p:cNvSpPr>
              <a:spLocks noChangeShapeType="1"/>
            </p:cNvSpPr>
            <p:nvPr/>
          </p:nvSpPr>
          <p:spPr bwMode="auto">
            <a:xfrm>
              <a:off x="9348792" y="2455600"/>
              <a:ext cx="14649" cy="1464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85" name="Line 65"/>
            <p:cNvSpPr>
              <a:spLocks noChangeShapeType="1"/>
            </p:cNvSpPr>
            <p:nvPr/>
          </p:nvSpPr>
          <p:spPr bwMode="auto">
            <a:xfrm flipH="1">
              <a:off x="9347325" y="2297390"/>
              <a:ext cx="17579" cy="1464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86" name="Line 66"/>
            <p:cNvSpPr>
              <a:spLocks noChangeShapeType="1"/>
            </p:cNvSpPr>
            <p:nvPr/>
          </p:nvSpPr>
          <p:spPr bwMode="auto">
            <a:xfrm flipH="1">
              <a:off x="9189116" y="2455600"/>
              <a:ext cx="14649" cy="1464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87" name="Line 67"/>
            <p:cNvSpPr>
              <a:spLocks noChangeShapeType="1"/>
            </p:cNvSpPr>
            <p:nvPr/>
          </p:nvSpPr>
          <p:spPr bwMode="auto">
            <a:xfrm>
              <a:off x="9277009" y="2314968"/>
              <a:ext cx="1466" cy="60062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88" name="Freeform 68"/>
            <p:cNvSpPr>
              <a:spLocks noChangeArrowheads="1"/>
            </p:cNvSpPr>
            <p:nvPr/>
          </p:nvSpPr>
          <p:spPr bwMode="auto">
            <a:xfrm>
              <a:off x="9260897" y="2369170"/>
              <a:ext cx="30763" cy="29299"/>
            </a:xfrm>
            <a:custGeom>
              <a:avLst/>
              <a:gdLst>
                <a:gd name="T0" fmla="*/ 90 w 91"/>
                <a:gd name="T1" fmla="*/ 44 h 90"/>
                <a:gd name="T2" fmla="*/ 90 w 91"/>
                <a:gd name="T3" fmla="*/ 44 h 90"/>
                <a:gd name="T4" fmla="*/ 45 w 91"/>
                <a:gd name="T5" fmla="*/ 89 h 90"/>
                <a:gd name="T6" fmla="*/ 0 w 91"/>
                <a:gd name="T7" fmla="*/ 44 h 90"/>
                <a:gd name="T8" fmla="*/ 45 w 91"/>
                <a:gd name="T9" fmla="*/ 0 h 90"/>
                <a:gd name="T10" fmla="*/ 90 w 91"/>
                <a:gd name="T11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90">
                  <a:moveTo>
                    <a:pt x="90" y="44"/>
                  </a:moveTo>
                  <a:lnTo>
                    <a:pt x="90" y="44"/>
                  </a:lnTo>
                  <a:cubicBezTo>
                    <a:pt x="90" y="67"/>
                    <a:pt x="68" y="89"/>
                    <a:pt x="45" y="89"/>
                  </a:cubicBezTo>
                  <a:cubicBezTo>
                    <a:pt x="16" y="89"/>
                    <a:pt x="0" y="67"/>
                    <a:pt x="0" y="44"/>
                  </a:cubicBezTo>
                  <a:cubicBezTo>
                    <a:pt x="0" y="22"/>
                    <a:pt x="16" y="0"/>
                    <a:pt x="45" y="0"/>
                  </a:cubicBezTo>
                  <a:cubicBezTo>
                    <a:pt x="68" y="0"/>
                    <a:pt x="90" y="22"/>
                    <a:pt x="90" y="4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9824886" y="2215355"/>
            <a:ext cx="178719" cy="309096"/>
            <a:chOff x="19646597" y="4430710"/>
            <a:chExt cx="357437" cy="618192"/>
          </a:xfrm>
        </p:grpSpPr>
        <p:sp>
          <p:nvSpPr>
            <p:cNvPr id="5189" name="Freeform 69"/>
            <p:cNvSpPr>
              <a:spLocks noChangeArrowheads="1"/>
            </p:cNvSpPr>
            <p:nvPr/>
          </p:nvSpPr>
          <p:spPr bwMode="auto">
            <a:xfrm>
              <a:off x="19646597" y="4430710"/>
              <a:ext cx="357437" cy="41018"/>
            </a:xfrm>
            <a:custGeom>
              <a:avLst/>
              <a:gdLst>
                <a:gd name="T0" fmla="*/ 537 w 538"/>
                <a:gd name="T1" fmla="*/ 59 h 60"/>
                <a:gd name="T2" fmla="*/ 0 w 538"/>
                <a:gd name="T3" fmla="*/ 59 h 60"/>
                <a:gd name="T4" fmla="*/ 0 w 538"/>
                <a:gd name="T5" fmla="*/ 0 h 60"/>
                <a:gd name="T6" fmla="*/ 537 w 538"/>
                <a:gd name="T7" fmla="*/ 0 h 60"/>
                <a:gd name="T8" fmla="*/ 537 w 538"/>
                <a:gd name="T9" fmla="*/ 5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8" h="60">
                  <a:moveTo>
                    <a:pt x="537" y="59"/>
                  </a:moveTo>
                  <a:lnTo>
                    <a:pt x="0" y="59"/>
                  </a:lnTo>
                  <a:lnTo>
                    <a:pt x="0" y="0"/>
                  </a:lnTo>
                  <a:lnTo>
                    <a:pt x="537" y="0"/>
                  </a:lnTo>
                  <a:lnTo>
                    <a:pt x="537" y="5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90" name="Freeform 70"/>
            <p:cNvSpPr>
              <a:spLocks noChangeArrowheads="1"/>
            </p:cNvSpPr>
            <p:nvPr/>
          </p:nvSpPr>
          <p:spPr bwMode="auto">
            <a:xfrm>
              <a:off x="19646597" y="5007884"/>
              <a:ext cx="357437" cy="41018"/>
            </a:xfrm>
            <a:custGeom>
              <a:avLst/>
              <a:gdLst>
                <a:gd name="T0" fmla="*/ 537 w 538"/>
                <a:gd name="T1" fmla="*/ 59 h 60"/>
                <a:gd name="T2" fmla="*/ 0 w 538"/>
                <a:gd name="T3" fmla="*/ 59 h 60"/>
                <a:gd name="T4" fmla="*/ 0 w 538"/>
                <a:gd name="T5" fmla="*/ 0 h 60"/>
                <a:gd name="T6" fmla="*/ 537 w 538"/>
                <a:gd name="T7" fmla="*/ 0 h 60"/>
                <a:gd name="T8" fmla="*/ 537 w 538"/>
                <a:gd name="T9" fmla="*/ 5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8" h="60">
                  <a:moveTo>
                    <a:pt x="537" y="59"/>
                  </a:moveTo>
                  <a:lnTo>
                    <a:pt x="0" y="59"/>
                  </a:lnTo>
                  <a:lnTo>
                    <a:pt x="0" y="0"/>
                  </a:lnTo>
                  <a:lnTo>
                    <a:pt x="537" y="0"/>
                  </a:lnTo>
                  <a:lnTo>
                    <a:pt x="537" y="5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91" name="Freeform 71"/>
            <p:cNvSpPr>
              <a:spLocks noChangeArrowheads="1"/>
            </p:cNvSpPr>
            <p:nvPr/>
          </p:nvSpPr>
          <p:spPr bwMode="auto">
            <a:xfrm>
              <a:off x="19684687" y="4471726"/>
              <a:ext cx="287123" cy="536158"/>
            </a:xfrm>
            <a:custGeom>
              <a:avLst/>
              <a:gdLst>
                <a:gd name="T0" fmla="*/ 0 w 434"/>
                <a:gd name="T1" fmla="*/ 807 h 808"/>
                <a:gd name="T2" fmla="*/ 0 w 434"/>
                <a:gd name="T3" fmla="*/ 807 h 808"/>
                <a:gd name="T4" fmla="*/ 0 w 434"/>
                <a:gd name="T5" fmla="*/ 598 h 808"/>
                <a:gd name="T6" fmla="*/ 433 w 434"/>
                <a:gd name="T7" fmla="*/ 225 h 808"/>
                <a:gd name="T8" fmla="*/ 433 w 434"/>
                <a:gd name="T9" fmla="*/ 0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4" h="808">
                  <a:moveTo>
                    <a:pt x="0" y="807"/>
                  </a:moveTo>
                  <a:lnTo>
                    <a:pt x="0" y="807"/>
                  </a:lnTo>
                  <a:cubicBezTo>
                    <a:pt x="0" y="807"/>
                    <a:pt x="0" y="687"/>
                    <a:pt x="0" y="598"/>
                  </a:cubicBezTo>
                  <a:cubicBezTo>
                    <a:pt x="0" y="508"/>
                    <a:pt x="433" y="314"/>
                    <a:pt x="433" y="225"/>
                  </a:cubicBezTo>
                  <a:cubicBezTo>
                    <a:pt x="433" y="195"/>
                    <a:pt x="433" y="0"/>
                    <a:pt x="433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92" name="Freeform 72"/>
            <p:cNvSpPr>
              <a:spLocks noChangeArrowheads="1"/>
            </p:cNvSpPr>
            <p:nvPr/>
          </p:nvSpPr>
          <p:spPr bwMode="auto">
            <a:xfrm>
              <a:off x="19684687" y="4471726"/>
              <a:ext cx="287123" cy="536158"/>
            </a:xfrm>
            <a:custGeom>
              <a:avLst/>
              <a:gdLst>
                <a:gd name="T0" fmla="*/ 433 w 434"/>
                <a:gd name="T1" fmla="*/ 807 h 808"/>
                <a:gd name="T2" fmla="*/ 433 w 434"/>
                <a:gd name="T3" fmla="*/ 807 h 808"/>
                <a:gd name="T4" fmla="*/ 433 w 434"/>
                <a:gd name="T5" fmla="*/ 598 h 808"/>
                <a:gd name="T6" fmla="*/ 0 w 434"/>
                <a:gd name="T7" fmla="*/ 225 h 808"/>
                <a:gd name="T8" fmla="*/ 0 w 434"/>
                <a:gd name="T9" fmla="*/ 0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4" h="808">
                  <a:moveTo>
                    <a:pt x="433" y="807"/>
                  </a:moveTo>
                  <a:lnTo>
                    <a:pt x="433" y="807"/>
                  </a:lnTo>
                  <a:cubicBezTo>
                    <a:pt x="433" y="807"/>
                    <a:pt x="433" y="687"/>
                    <a:pt x="433" y="598"/>
                  </a:cubicBezTo>
                  <a:cubicBezTo>
                    <a:pt x="433" y="508"/>
                    <a:pt x="0" y="314"/>
                    <a:pt x="0" y="225"/>
                  </a:cubicBezTo>
                  <a:cubicBezTo>
                    <a:pt x="0" y="195"/>
                    <a:pt x="0" y="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120" name="Group 5119">
            <a:extLst>
              <a:ext uri="{FF2B5EF4-FFF2-40B4-BE49-F238E27FC236}">
                <a16:creationId xmlns:a16="http://schemas.microsoft.com/office/drawing/2014/main" id="{ED11E5F1-54D5-5A41-B8DD-C128BDA068E0}"/>
              </a:ext>
            </a:extLst>
          </p:cNvPr>
          <p:cNvGrpSpPr/>
          <p:nvPr/>
        </p:nvGrpSpPr>
        <p:grpSpPr>
          <a:xfrm>
            <a:off x="10453333" y="2215354"/>
            <a:ext cx="199228" cy="307631"/>
            <a:chOff x="10453333" y="2215354"/>
            <a:chExt cx="199228" cy="307631"/>
          </a:xfrm>
        </p:grpSpPr>
        <p:sp>
          <p:nvSpPr>
            <p:cNvPr id="5193" name="Freeform 73"/>
            <p:cNvSpPr>
              <a:spLocks noChangeArrowheads="1"/>
            </p:cNvSpPr>
            <p:nvPr/>
          </p:nvSpPr>
          <p:spPr bwMode="auto">
            <a:xfrm>
              <a:off x="10453333" y="2269556"/>
              <a:ext cx="199228" cy="199228"/>
            </a:xfrm>
            <a:custGeom>
              <a:avLst/>
              <a:gdLst>
                <a:gd name="T0" fmla="*/ 597 w 598"/>
                <a:gd name="T1" fmla="*/ 299 h 598"/>
                <a:gd name="T2" fmla="*/ 597 w 598"/>
                <a:gd name="T3" fmla="*/ 299 h 598"/>
                <a:gd name="T4" fmla="*/ 298 w 598"/>
                <a:gd name="T5" fmla="*/ 0 h 598"/>
                <a:gd name="T6" fmla="*/ 0 w 598"/>
                <a:gd name="T7" fmla="*/ 299 h 598"/>
                <a:gd name="T8" fmla="*/ 298 w 598"/>
                <a:gd name="T9" fmla="*/ 597 h 598"/>
                <a:gd name="T10" fmla="*/ 597 w 598"/>
                <a:gd name="T11" fmla="*/ 299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8" h="598">
                  <a:moveTo>
                    <a:pt x="597" y="299"/>
                  </a:moveTo>
                  <a:lnTo>
                    <a:pt x="597" y="299"/>
                  </a:lnTo>
                  <a:cubicBezTo>
                    <a:pt x="597" y="134"/>
                    <a:pt x="463" y="0"/>
                    <a:pt x="298" y="0"/>
                  </a:cubicBezTo>
                  <a:cubicBezTo>
                    <a:pt x="134" y="0"/>
                    <a:pt x="0" y="134"/>
                    <a:pt x="0" y="299"/>
                  </a:cubicBezTo>
                  <a:cubicBezTo>
                    <a:pt x="0" y="463"/>
                    <a:pt x="134" y="597"/>
                    <a:pt x="298" y="597"/>
                  </a:cubicBezTo>
                  <a:cubicBezTo>
                    <a:pt x="463" y="597"/>
                    <a:pt x="597" y="463"/>
                    <a:pt x="597" y="29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94" name="Freeform 74"/>
            <p:cNvSpPr>
              <a:spLocks noChangeArrowheads="1"/>
            </p:cNvSpPr>
            <p:nvPr/>
          </p:nvSpPr>
          <p:spPr bwMode="auto">
            <a:xfrm>
              <a:off x="10492886" y="2215354"/>
              <a:ext cx="120123" cy="70316"/>
            </a:xfrm>
            <a:custGeom>
              <a:avLst/>
              <a:gdLst>
                <a:gd name="T0" fmla="*/ 0 w 360"/>
                <a:gd name="T1" fmla="*/ 209 h 210"/>
                <a:gd name="T2" fmla="*/ 0 w 360"/>
                <a:gd name="T3" fmla="*/ 0 h 210"/>
                <a:gd name="T4" fmla="*/ 359 w 360"/>
                <a:gd name="T5" fmla="*/ 0 h 210"/>
                <a:gd name="T6" fmla="*/ 359 w 360"/>
                <a:gd name="T7" fmla="*/ 20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0" h="210">
                  <a:moveTo>
                    <a:pt x="0" y="209"/>
                  </a:moveTo>
                  <a:lnTo>
                    <a:pt x="0" y="0"/>
                  </a:lnTo>
                  <a:lnTo>
                    <a:pt x="359" y="0"/>
                  </a:lnTo>
                  <a:lnTo>
                    <a:pt x="359" y="20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95" name="Freeform 75"/>
            <p:cNvSpPr>
              <a:spLocks noChangeArrowheads="1"/>
            </p:cNvSpPr>
            <p:nvPr/>
          </p:nvSpPr>
          <p:spPr bwMode="auto">
            <a:xfrm>
              <a:off x="10492886" y="2452669"/>
              <a:ext cx="120123" cy="70316"/>
            </a:xfrm>
            <a:custGeom>
              <a:avLst/>
              <a:gdLst>
                <a:gd name="T0" fmla="*/ 359 w 360"/>
                <a:gd name="T1" fmla="*/ 0 h 210"/>
                <a:gd name="T2" fmla="*/ 359 w 360"/>
                <a:gd name="T3" fmla="*/ 209 h 210"/>
                <a:gd name="T4" fmla="*/ 0 w 360"/>
                <a:gd name="T5" fmla="*/ 209 h 210"/>
                <a:gd name="T6" fmla="*/ 0 w 360"/>
                <a:gd name="T7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0" h="210">
                  <a:moveTo>
                    <a:pt x="359" y="0"/>
                  </a:moveTo>
                  <a:lnTo>
                    <a:pt x="359" y="209"/>
                  </a:lnTo>
                  <a:lnTo>
                    <a:pt x="0" y="209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96" name="Freeform 76"/>
            <p:cNvSpPr>
              <a:spLocks noChangeArrowheads="1"/>
            </p:cNvSpPr>
            <p:nvPr/>
          </p:nvSpPr>
          <p:spPr bwMode="auto">
            <a:xfrm>
              <a:off x="10552947" y="2310574"/>
              <a:ext cx="39552" cy="79105"/>
            </a:xfrm>
            <a:custGeom>
              <a:avLst/>
              <a:gdLst>
                <a:gd name="T0" fmla="*/ 0 w 121"/>
                <a:gd name="T1" fmla="*/ 0 h 239"/>
                <a:gd name="T2" fmla="*/ 0 w 121"/>
                <a:gd name="T3" fmla="*/ 179 h 239"/>
                <a:gd name="T4" fmla="*/ 120 w 121"/>
                <a:gd name="T5" fmla="*/ 23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1" h="239">
                  <a:moveTo>
                    <a:pt x="0" y="0"/>
                  </a:moveTo>
                  <a:lnTo>
                    <a:pt x="0" y="179"/>
                  </a:lnTo>
                  <a:lnTo>
                    <a:pt x="120" y="238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02" name="Group 5801">
            <a:extLst>
              <a:ext uri="{FF2B5EF4-FFF2-40B4-BE49-F238E27FC236}">
                <a16:creationId xmlns:a16="http://schemas.microsoft.com/office/drawing/2014/main" id="{A95E3778-1BB9-5E44-BEDF-B7FD90CB1F39}"/>
              </a:ext>
            </a:extLst>
          </p:cNvPr>
          <p:cNvGrpSpPr/>
          <p:nvPr/>
        </p:nvGrpSpPr>
        <p:grpSpPr>
          <a:xfrm>
            <a:off x="11036367" y="2230003"/>
            <a:ext cx="310561" cy="294449"/>
            <a:chOff x="11036367" y="2230003"/>
            <a:chExt cx="310561" cy="294449"/>
          </a:xfrm>
        </p:grpSpPr>
        <p:sp>
          <p:nvSpPr>
            <p:cNvPr id="5197" name="Freeform 77"/>
            <p:cNvSpPr>
              <a:spLocks noChangeArrowheads="1"/>
            </p:cNvSpPr>
            <p:nvPr/>
          </p:nvSpPr>
          <p:spPr bwMode="auto">
            <a:xfrm>
              <a:off x="11061271" y="2240258"/>
              <a:ext cx="260755" cy="257825"/>
            </a:xfrm>
            <a:custGeom>
              <a:avLst/>
              <a:gdLst>
                <a:gd name="T0" fmla="*/ 784 w 785"/>
                <a:gd name="T1" fmla="*/ 389 h 778"/>
                <a:gd name="T2" fmla="*/ 784 w 785"/>
                <a:gd name="T3" fmla="*/ 389 h 778"/>
                <a:gd name="T4" fmla="*/ 388 w 785"/>
                <a:gd name="T5" fmla="*/ 0 h 778"/>
                <a:gd name="T6" fmla="*/ 0 w 785"/>
                <a:gd name="T7" fmla="*/ 389 h 778"/>
                <a:gd name="T8" fmla="*/ 388 w 785"/>
                <a:gd name="T9" fmla="*/ 777 h 778"/>
                <a:gd name="T10" fmla="*/ 784 w 785"/>
                <a:gd name="T11" fmla="*/ 389 h 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5" h="778">
                  <a:moveTo>
                    <a:pt x="784" y="389"/>
                  </a:moveTo>
                  <a:lnTo>
                    <a:pt x="784" y="389"/>
                  </a:lnTo>
                  <a:cubicBezTo>
                    <a:pt x="784" y="172"/>
                    <a:pt x="604" y="0"/>
                    <a:pt x="388" y="0"/>
                  </a:cubicBezTo>
                  <a:cubicBezTo>
                    <a:pt x="171" y="0"/>
                    <a:pt x="0" y="172"/>
                    <a:pt x="0" y="389"/>
                  </a:cubicBezTo>
                  <a:cubicBezTo>
                    <a:pt x="0" y="605"/>
                    <a:pt x="171" y="777"/>
                    <a:pt x="388" y="777"/>
                  </a:cubicBezTo>
                  <a:cubicBezTo>
                    <a:pt x="604" y="777"/>
                    <a:pt x="784" y="605"/>
                    <a:pt x="784" y="38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98" name="Freeform 78"/>
            <p:cNvSpPr>
              <a:spLocks noChangeArrowheads="1"/>
            </p:cNvSpPr>
            <p:nvPr/>
          </p:nvSpPr>
          <p:spPr bwMode="auto">
            <a:xfrm>
              <a:off x="11190183" y="2310574"/>
              <a:ext cx="39553" cy="79105"/>
            </a:xfrm>
            <a:custGeom>
              <a:avLst/>
              <a:gdLst>
                <a:gd name="T0" fmla="*/ 0 w 120"/>
                <a:gd name="T1" fmla="*/ 0 h 239"/>
                <a:gd name="T2" fmla="*/ 0 w 120"/>
                <a:gd name="T3" fmla="*/ 179 h 239"/>
                <a:gd name="T4" fmla="*/ 119 w 120"/>
                <a:gd name="T5" fmla="*/ 23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0" h="239">
                  <a:moveTo>
                    <a:pt x="0" y="0"/>
                  </a:moveTo>
                  <a:lnTo>
                    <a:pt x="0" y="179"/>
                  </a:lnTo>
                  <a:lnTo>
                    <a:pt x="119" y="238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199" name="Line 79"/>
            <p:cNvSpPr>
              <a:spLocks noChangeShapeType="1"/>
            </p:cNvSpPr>
            <p:nvPr/>
          </p:nvSpPr>
          <p:spPr bwMode="auto">
            <a:xfrm flipH="1">
              <a:off x="11103754" y="2487828"/>
              <a:ext cx="38088" cy="3515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00" name="Line 80"/>
            <p:cNvSpPr>
              <a:spLocks noChangeShapeType="1"/>
            </p:cNvSpPr>
            <p:nvPr/>
          </p:nvSpPr>
          <p:spPr bwMode="auto">
            <a:xfrm flipH="1" flipV="1">
              <a:off x="11238525" y="2486364"/>
              <a:ext cx="39552" cy="38088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01" name="Freeform 81"/>
            <p:cNvSpPr>
              <a:spLocks noChangeArrowheads="1"/>
            </p:cNvSpPr>
            <p:nvPr/>
          </p:nvSpPr>
          <p:spPr bwMode="auto">
            <a:xfrm>
              <a:off x="11036367" y="2230003"/>
              <a:ext cx="70316" cy="70316"/>
            </a:xfrm>
            <a:custGeom>
              <a:avLst/>
              <a:gdLst>
                <a:gd name="T0" fmla="*/ 0 w 210"/>
                <a:gd name="T1" fmla="*/ 59 h 210"/>
                <a:gd name="T2" fmla="*/ 60 w 210"/>
                <a:gd name="T3" fmla="*/ 0 h 210"/>
                <a:gd name="T4" fmla="*/ 209 w 210"/>
                <a:gd name="T5" fmla="*/ 29 h 210"/>
                <a:gd name="T6" fmla="*/ 30 w 210"/>
                <a:gd name="T7" fmla="*/ 209 h 210"/>
                <a:gd name="T8" fmla="*/ 0 w 210"/>
                <a:gd name="T9" fmla="*/ 5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210">
                  <a:moveTo>
                    <a:pt x="0" y="59"/>
                  </a:moveTo>
                  <a:lnTo>
                    <a:pt x="60" y="0"/>
                  </a:lnTo>
                  <a:lnTo>
                    <a:pt x="209" y="29"/>
                  </a:lnTo>
                  <a:lnTo>
                    <a:pt x="30" y="209"/>
                  </a:lnTo>
                  <a:lnTo>
                    <a:pt x="0" y="5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02" name="Freeform 82"/>
            <p:cNvSpPr>
              <a:spLocks noChangeArrowheads="1"/>
            </p:cNvSpPr>
            <p:nvPr/>
          </p:nvSpPr>
          <p:spPr bwMode="auto">
            <a:xfrm>
              <a:off x="11276612" y="2230003"/>
              <a:ext cx="70316" cy="70316"/>
            </a:xfrm>
            <a:custGeom>
              <a:avLst/>
              <a:gdLst>
                <a:gd name="T0" fmla="*/ 149 w 210"/>
                <a:gd name="T1" fmla="*/ 0 h 210"/>
                <a:gd name="T2" fmla="*/ 209 w 210"/>
                <a:gd name="T3" fmla="*/ 59 h 210"/>
                <a:gd name="T4" fmla="*/ 179 w 210"/>
                <a:gd name="T5" fmla="*/ 209 h 210"/>
                <a:gd name="T6" fmla="*/ 0 w 210"/>
                <a:gd name="T7" fmla="*/ 29 h 210"/>
                <a:gd name="T8" fmla="*/ 149 w 210"/>
                <a:gd name="T9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210">
                  <a:moveTo>
                    <a:pt x="149" y="0"/>
                  </a:moveTo>
                  <a:lnTo>
                    <a:pt x="209" y="59"/>
                  </a:lnTo>
                  <a:lnTo>
                    <a:pt x="179" y="209"/>
                  </a:lnTo>
                  <a:lnTo>
                    <a:pt x="0" y="29"/>
                  </a:lnTo>
                  <a:lnTo>
                    <a:pt x="14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09" name="Group 5808">
            <a:extLst>
              <a:ext uri="{FF2B5EF4-FFF2-40B4-BE49-F238E27FC236}">
                <a16:creationId xmlns:a16="http://schemas.microsoft.com/office/drawing/2014/main" id="{E0C1AC50-4F6D-BE47-B105-FA5432261A44}"/>
              </a:ext>
            </a:extLst>
          </p:cNvPr>
          <p:cNvGrpSpPr/>
          <p:nvPr/>
        </p:nvGrpSpPr>
        <p:grpSpPr>
          <a:xfrm>
            <a:off x="7280338" y="2852591"/>
            <a:ext cx="159676" cy="310561"/>
            <a:chOff x="7280338" y="2852591"/>
            <a:chExt cx="159676" cy="310561"/>
          </a:xfrm>
        </p:grpSpPr>
        <p:sp>
          <p:nvSpPr>
            <p:cNvPr id="5207" name="Freeform 87"/>
            <p:cNvSpPr>
              <a:spLocks noChangeArrowheads="1"/>
            </p:cNvSpPr>
            <p:nvPr/>
          </p:nvSpPr>
          <p:spPr bwMode="auto">
            <a:xfrm>
              <a:off x="7280339" y="2852591"/>
              <a:ext cx="159675" cy="310561"/>
            </a:xfrm>
            <a:custGeom>
              <a:avLst/>
              <a:gdLst>
                <a:gd name="T0" fmla="*/ 478 w 479"/>
                <a:gd name="T1" fmla="*/ 933 h 934"/>
                <a:gd name="T2" fmla="*/ 0 w 479"/>
                <a:gd name="T3" fmla="*/ 933 h 934"/>
                <a:gd name="T4" fmla="*/ 0 w 479"/>
                <a:gd name="T5" fmla="*/ 0 h 934"/>
                <a:gd name="T6" fmla="*/ 478 w 479"/>
                <a:gd name="T7" fmla="*/ 0 h 934"/>
                <a:gd name="T8" fmla="*/ 478 w 479"/>
                <a:gd name="T9" fmla="*/ 933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9" h="934">
                  <a:moveTo>
                    <a:pt x="478" y="933"/>
                  </a:moveTo>
                  <a:lnTo>
                    <a:pt x="0" y="933"/>
                  </a:lnTo>
                  <a:lnTo>
                    <a:pt x="0" y="0"/>
                  </a:lnTo>
                  <a:lnTo>
                    <a:pt x="478" y="0"/>
                  </a:lnTo>
                  <a:lnTo>
                    <a:pt x="478" y="93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08" name="Line 88"/>
            <p:cNvSpPr>
              <a:spLocks noChangeShapeType="1"/>
            </p:cNvSpPr>
            <p:nvPr/>
          </p:nvSpPr>
          <p:spPr bwMode="auto">
            <a:xfrm>
              <a:off x="7280338" y="3026915"/>
              <a:ext cx="158211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09" name="Line 89"/>
            <p:cNvSpPr>
              <a:spLocks noChangeShapeType="1"/>
            </p:cNvSpPr>
            <p:nvPr/>
          </p:nvSpPr>
          <p:spPr bwMode="auto">
            <a:xfrm>
              <a:off x="7280338" y="2873100"/>
              <a:ext cx="158211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10" name="Freeform 90"/>
            <p:cNvSpPr>
              <a:spLocks noChangeArrowheads="1"/>
            </p:cNvSpPr>
            <p:nvPr/>
          </p:nvSpPr>
          <p:spPr bwMode="auto">
            <a:xfrm>
              <a:off x="7309637" y="3048889"/>
              <a:ext cx="95219" cy="95219"/>
            </a:xfrm>
            <a:custGeom>
              <a:avLst/>
              <a:gdLst>
                <a:gd name="T0" fmla="*/ 284 w 285"/>
                <a:gd name="T1" fmla="*/ 142 h 285"/>
                <a:gd name="T2" fmla="*/ 284 w 285"/>
                <a:gd name="T3" fmla="*/ 142 h 285"/>
                <a:gd name="T4" fmla="*/ 142 w 285"/>
                <a:gd name="T5" fmla="*/ 0 h 285"/>
                <a:gd name="T6" fmla="*/ 0 w 285"/>
                <a:gd name="T7" fmla="*/ 142 h 285"/>
                <a:gd name="T8" fmla="*/ 142 w 285"/>
                <a:gd name="T9" fmla="*/ 284 h 285"/>
                <a:gd name="T10" fmla="*/ 284 w 285"/>
                <a:gd name="T11" fmla="*/ 14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285">
                  <a:moveTo>
                    <a:pt x="284" y="142"/>
                  </a:moveTo>
                  <a:lnTo>
                    <a:pt x="284" y="142"/>
                  </a:lnTo>
                  <a:cubicBezTo>
                    <a:pt x="284" y="60"/>
                    <a:pt x="224" y="0"/>
                    <a:pt x="142" y="0"/>
                  </a:cubicBezTo>
                  <a:cubicBezTo>
                    <a:pt x="67" y="0"/>
                    <a:pt x="0" y="60"/>
                    <a:pt x="0" y="142"/>
                  </a:cubicBezTo>
                  <a:cubicBezTo>
                    <a:pt x="0" y="217"/>
                    <a:pt x="67" y="284"/>
                    <a:pt x="142" y="284"/>
                  </a:cubicBezTo>
                  <a:cubicBezTo>
                    <a:pt x="224" y="284"/>
                    <a:pt x="284" y="217"/>
                    <a:pt x="284" y="142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11" name="Freeform 91"/>
            <p:cNvSpPr>
              <a:spLocks noChangeArrowheads="1"/>
            </p:cNvSpPr>
            <p:nvPr/>
          </p:nvSpPr>
          <p:spPr bwMode="auto">
            <a:xfrm>
              <a:off x="7344794" y="3082581"/>
              <a:ext cx="24903" cy="24904"/>
            </a:xfrm>
            <a:custGeom>
              <a:avLst/>
              <a:gdLst>
                <a:gd name="T0" fmla="*/ 75 w 76"/>
                <a:gd name="T1" fmla="*/ 38 h 76"/>
                <a:gd name="T2" fmla="*/ 75 w 76"/>
                <a:gd name="T3" fmla="*/ 38 h 76"/>
                <a:gd name="T4" fmla="*/ 38 w 76"/>
                <a:gd name="T5" fmla="*/ 0 h 76"/>
                <a:gd name="T6" fmla="*/ 0 w 76"/>
                <a:gd name="T7" fmla="*/ 38 h 76"/>
                <a:gd name="T8" fmla="*/ 38 w 76"/>
                <a:gd name="T9" fmla="*/ 75 h 76"/>
                <a:gd name="T10" fmla="*/ 75 w 76"/>
                <a:gd name="T11" fmla="*/ 3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76">
                  <a:moveTo>
                    <a:pt x="75" y="38"/>
                  </a:moveTo>
                  <a:lnTo>
                    <a:pt x="75" y="38"/>
                  </a:lnTo>
                  <a:cubicBezTo>
                    <a:pt x="75" y="15"/>
                    <a:pt x="60" y="0"/>
                    <a:pt x="38" y="0"/>
                  </a:cubicBezTo>
                  <a:cubicBezTo>
                    <a:pt x="15" y="0"/>
                    <a:pt x="0" y="15"/>
                    <a:pt x="0" y="38"/>
                  </a:cubicBezTo>
                  <a:cubicBezTo>
                    <a:pt x="0" y="53"/>
                    <a:pt x="15" y="75"/>
                    <a:pt x="38" y="75"/>
                  </a:cubicBezTo>
                  <a:cubicBezTo>
                    <a:pt x="60" y="75"/>
                    <a:pt x="75" y="53"/>
                    <a:pt x="75" y="38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08" name="Group 5807">
            <a:extLst>
              <a:ext uri="{FF2B5EF4-FFF2-40B4-BE49-F238E27FC236}">
                <a16:creationId xmlns:a16="http://schemas.microsoft.com/office/drawing/2014/main" id="{DEBC643A-856E-5745-B422-7D8DB383D161}"/>
              </a:ext>
            </a:extLst>
          </p:cNvPr>
          <p:cNvGrpSpPr/>
          <p:nvPr/>
        </p:nvGrpSpPr>
        <p:grpSpPr>
          <a:xfrm>
            <a:off x="7920503" y="2852591"/>
            <a:ext cx="159676" cy="310561"/>
            <a:chOff x="7920503" y="2852591"/>
            <a:chExt cx="159676" cy="310561"/>
          </a:xfrm>
        </p:grpSpPr>
        <p:sp>
          <p:nvSpPr>
            <p:cNvPr id="5212" name="Freeform 92"/>
            <p:cNvSpPr>
              <a:spLocks noChangeArrowheads="1"/>
            </p:cNvSpPr>
            <p:nvPr/>
          </p:nvSpPr>
          <p:spPr bwMode="auto">
            <a:xfrm>
              <a:off x="7920503" y="2852591"/>
              <a:ext cx="159676" cy="310561"/>
            </a:xfrm>
            <a:custGeom>
              <a:avLst/>
              <a:gdLst>
                <a:gd name="T0" fmla="*/ 478 w 479"/>
                <a:gd name="T1" fmla="*/ 933 h 934"/>
                <a:gd name="T2" fmla="*/ 0 w 479"/>
                <a:gd name="T3" fmla="*/ 933 h 934"/>
                <a:gd name="T4" fmla="*/ 0 w 479"/>
                <a:gd name="T5" fmla="*/ 0 h 934"/>
                <a:gd name="T6" fmla="*/ 478 w 479"/>
                <a:gd name="T7" fmla="*/ 0 h 934"/>
                <a:gd name="T8" fmla="*/ 478 w 479"/>
                <a:gd name="T9" fmla="*/ 933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9" h="934">
                  <a:moveTo>
                    <a:pt x="478" y="933"/>
                  </a:moveTo>
                  <a:lnTo>
                    <a:pt x="0" y="933"/>
                  </a:lnTo>
                  <a:lnTo>
                    <a:pt x="0" y="0"/>
                  </a:lnTo>
                  <a:lnTo>
                    <a:pt x="478" y="0"/>
                  </a:lnTo>
                  <a:lnTo>
                    <a:pt x="478" y="93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13" name="Line 93"/>
            <p:cNvSpPr>
              <a:spLocks noChangeShapeType="1"/>
            </p:cNvSpPr>
            <p:nvPr/>
          </p:nvSpPr>
          <p:spPr bwMode="auto">
            <a:xfrm>
              <a:off x="7979100" y="2873100"/>
              <a:ext cx="39553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14" name="Line 94"/>
            <p:cNvSpPr>
              <a:spLocks noChangeShapeType="1"/>
            </p:cNvSpPr>
            <p:nvPr/>
          </p:nvSpPr>
          <p:spPr bwMode="auto">
            <a:xfrm>
              <a:off x="7920503" y="3103090"/>
              <a:ext cx="158211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15" name="Line 95"/>
            <p:cNvSpPr>
              <a:spLocks noChangeShapeType="1"/>
            </p:cNvSpPr>
            <p:nvPr/>
          </p:nvSpPr>
          <p:spPr bwMode="auto">
            <a:xfrm>
              <a:off x="7920503" y="2892142"/>
              <a:ext cx="158211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16" name="Freeform 96"/>
            <p:cNvSpPr>
              <a:spLocks noChangeArrowheads="1"/>
            </p:cNvSpPr>
            <p:nvPr/>
          </p:nvSpPr>
          <p:spPr bwMode="auto">
            <a:xfrm>
              <a:off x="7989354" y="3123599"/>
              <a:ext cx="20509" cy="20509"/>
            </a:xfrm>
            <a:custGeom>
              <a:avLst/>
              <a:gdLst>
                <a:gd name="T0" fmla="*/ 60 w 61"/>
                <a:gd name="T1" fmla="*/ 30 h 61"/>
                <a:gd name="T2" fmla="*/ 60 w 61"/>
                <a:gd name="T3" fmla="*/ 30 h 61"/>
                <a:gd name="T4" fmla="*/ 30 w 61"/>
                <a:gd name="T5" fmla="*/ 0 h 61"/>
                <a:gd name="T6" fmla="*/ 0 w 61"/>
                <a:gd name="T7" fmla="*/ 30 h 61"/>
                <a:gd name="T8" fmla="*/ 30 w 61"/>
                <a:gd name="T9" fmla="*/ 60 h 61"/>
                <a:gd name="T10" fmla="*/ 60 w 61"/>
                <a:gd name="T11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60" y="30"/>
                  </a:moveTo>
                  <a:lnTo>
                    <a:pt x="60" y="30"/>
                  </a:lnTo>
                  <a:cubicBezTo>
                    <a:pt x="60" y="7"/>
                    <a:pt x="45" y="0"/>
                    <a:pt x="30" y="0"/>
                  </a:cubicBezTo>
                  <a:cubicBezTo>
                    <a:pt x="15" y="0"/>
                    <a:pt x="0" y="7"/>
                    <a:pt x="0" y="30"/>
                  </a:cubicBezTo>
                  <a:cubicBezTo>
                    <a:pt x="0" y="45"/>
                    <a:pt x="15" y="60"/>
                    <a:pt x="30" y="60"/>
                  </a:cubicBezTo>
                  <a:cubicBezTo>
                    <a:pt x="45" y="60"/>
                    <a:pt x="60" y="45"/>
                    <a:pt x="60" y="3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07" name="Group 5806">
            <a:extLst>
              <a:ext uri="{FF2B5EF4-FFF2-40B4-BE49-F238E27FC236}">
                <a16:creationId xmlns:a16="http://schemas.microsoft.com/office/drawing/2014/main" id="{D5F8FBC0-B073-E449-932E-4445486E6BE4}"/>
              </a:ext>
            </a:extLst>
          </p:cNvPr>
          <p:cNvGrpSpPr/>
          <p:nvPr/>
        </p:nvGrpSpPr>
        <p:grpSpPr>
          <a:xfrm>
            <a:off x="8532836" y="2852591"/>
            <a:ext cx="210947" cy="310561"/>
            <a:chOff x="8532836" y="2852591"/>
            <a:chExt cx="210947" cy="310561"/>
          </a:xfrm>
        </p:grpSpPr>
        <p:sp>
          <p:nvSpPr>
            <p:cNvPr id="5217" name="Freeform 97"/>
            <p:cNvSpPr>
              <a:spLocks noChangeArrowheads="1"/>
            </p:cNvSpPr>
            <p:nvPr/>
          </p:nvSpPr>
          <p:spPr bwMode="auto">
            <a:xfrm>
              <a:off x="8532836" y="2852591"/>
              <a:ext cx="210947" cy="310561"/>
            </a:xfrm>
            <a:custGeom>
              <a:avLst/>
              <a:gdLst>
                <a:gd name="T0" fmla="*/ 634 w 635"/>
                <a:gd name="T1" fmla="*/ 933 h 934"/>
                <a:gd name="T2" fmla="*/ 0 w 635"/>
                <a:gd name="T3" fmla="*/ 933 h 934"/>
                <a:gd name="T4" fmla="*/ 0 w 635"/>
                <a:gd name="T5" fmla="*/ 0 h 934"/>
                <a:gd name="T6" fmla="*/ 634 w 635"/>
                <a:gd name="T7" fmla="*/ 0 h 934"/>
                <a:gd name="T8" fmla="*/ 634 w 635"/>
                <a:gd name="T9" fmla="*/ 933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5" h="934">
                  <a:moveTo>
                    <a:pt x="634" y="933"/>
                  </a:moveTo>
                  <a:lnTo>
                    <a:pt x="0" y="933"/>
                  </a:lnTo>
                  <a:lnTo>
                    <a:pt x="0" y="0"/>
                  </a:lnTo>
                  <a:lnTo>
                    <a:pt x="634" y="0"/>
                  </a:lnTo>
                  <a:lnTo>
                    <a:pt x="634" y="933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18" name="Line 98"/>
            <p:cNvSpPr>
              <a:spLocks noChangeShapeType="1"/>
            </p:cNvSpPr>
            <p:nvPr/>
          </p:nvSpPr>
          <p:spPr bwMode="auto">
            <a:xfrm>
              <a:off x="8616336" y="2873100"/>
              <a:ext cx="39552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19" name="Line 99"/>
            <p:cNvSpPr>
              <a:spLocks noChangeShapeType="1"/>
            </p:cNvSpPr>
            <p:nvPr/>
          </p:nvSpPr>
          <p:spPr bwMode="auto">
            <a:xfrm>
              <a:off x="8532836" y="3103090"/>
              <a:ext cx="210947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20" name="Line 100"/>
            <p:cNvSpPr>
              <a:spLocks noChangeShapeType="1"/>
            </p:cNvSpPr>
            <p:nvPr/>
          </p:nvSpPr>
          <p:spPr bwMode="auto">
            <a:xfrm>
              <a:off x="8532836" y="2892142"/>
              <a:ext cx="210947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21" name="Freeform 101"/>
            <p:cNvSpPr>
              <a:spLocks noChangeArrowheads="1"/>
            </p:cNvSpPr>
            <p:nvPr/>
          </p:nvSpPr>
          <p:spPr bwMode="auto">
            <a:xfrm>
              <a:off x="8626590" y="3123599"/>
              <a:ext cx="20509" cy="20509"/>
            </a:xfrm>
            <a:custGeom>
              <a:avLst/>
              <a:gdLst>
                <a:gd name="T0" fmla="*/ 59 w 60"/>
                <a:gd name="T1" fmla="*/ 30 h 61"/>
                <a:gd name="T2" fmla="*/ 59 w 60"/>
                <a:gd name="T3" fmla="*/ 30 h 61"/>
                <a:gd name="T4" fmla="*/ 29 w 60"/>
                <a:gd name="T5" fmla="*/ 0 h 61"/>
                <a:gd name="T6" fmla="*/ 0 w 60"/>
                <a:gd name="T7" fmla="*/ 30 h 61"/>
                <a:gd name="T8" fmla="*/ 29 w 60"/>
                <a:gd name="T9" fmla="*/ 60 h 61"/>
                <a:gd name="T10" fmla="*/ 59 w 60"/>
                <a:gd name="T11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61">
                  <a:moveTo>
                    <a:pt x="59" y="30"/>
                  </a:moveTo>
                  <a:lnTo>
                    <a:pt x="59" y="30"/>
                  </a:lnTo>
                  <a:cubicBezTo>
                    <a:pt x="59" y="7"/>
                    <a:pt x="44" y="0"/>
                    <a:pt x="29" y="0"/>
                  </a:cubicBezTo>
                  <a:cubicBezTo>
                    <a:pt x="15" y="0"/>
                    <a:pt x="0" y="7"/>
                    <a:pt x="0" y="30"/>
                  </a:cubicBezTo>
                  <a:cubicBezTo>
                    <a:pt x="0" y="45"/>
                    <a:pt x="15" y="60"/>
                    <a:pt x="29" y="60"/>
                  </a:cubicBezTo>
                  <a:cubicBezTo>
                    <a:pt x="44" y="60"/>
                    <a:pt x="59" y="45"/>
                    <a:pt x="59" y="3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06" name="Group 5805">
            <a:extLst>
              <a:ext uri="{FF2B5EF4-FFF2-40B4-BE49-F238E27FC236}">
                <a16:creationId xmlns:a16="http://schemas.microsoft.com/office/drawing/2014/main" id="{5FDA7CD6-8766-8C41-A032-4C26B31187F9}"/>
              </a:ext>
            </a:extLst>
          </p:cNvPr>
          <p:cNvGrpSpPr/>
          <p:nvPr/>
        </p:nvGrpSpPr>
        <p:grpSpPr>
          <a:xfrm>
            <a:off x="9120265" y="2898002"/>
            <a:ext cx="314956" cy="266615"/>
            <a:chOff x="9120265" y="2898002"/>
            <a:chExt cx="314956" cy="266615"/>
          </a:xfrm>
        </p:grpSpPr>
        <p:sp>
          <p:nvSpPr>
            <p:cNvPr id="5222" name="Freeform 102"/>
            <p:cNvSpPr>
              <a:spLocks noChangeArrowheads="1"/>
            </p:cNvSpPr>
            <p:nvPr/>
          </p:nvSpPr>
          <p:spPr bwMode="auto">
            <a:xfrm>
              <a:off x="9120265" y="2898002"/>
              <a:ext cx="310561" cy="206553"/>
            </a:xfrm>
            <a:custGeom>
              <a:avLst/>
              <a:gdLst>
                <a:gd name="T0" fmla="*/ 933 w 934"/>
                <a:gd name="T1" fmla="*/ 619 h 620"/>
                <a:gd name="T2" fmla="*/ 0 w 934"/>
                <a:gd name="T3" fmla="*/ 619 h 620"/>
                <a:gd name="T4" fmla="*/ 0 w 934"/>
                <a:gd name="T5" fmla="*/ 0 h 620"/>
                <a:gd name="T6" fmla="*/ 933 w 934"/>
                <a:gd name="T7" fmla="*/ 0 h 620"/>
                <a:gd name="T8" fmla="*/ 933 w 934"/>
                <a:gd name="T9" fmla="*/ 6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4" h="620">
                  <a:moveTo>
                    <a:pt x="933" y="619"/>
                  </a:moveTo>
                  <a:lnTo>
                    <a:pt x="0" y="619"/>
                  </a:lnTo>
                  <a:lnTo>
                    <a:pt x="0" y="0"/>
                  </a:lnTo>
                  <a:lnTo>
                    <a:pt x="933" y="0"/>
                  </a:lnTo>
                  <a:lnTo>
                    <a:pt x="933" y="61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23" name="Line 103"/>
            <p:cNvSpPr>
              <a:spLocks noChangeShapeType="1"/>
            </p:cNvSpPr>
            <p:nvPr/>
          </p:nvSpPr>
          <p:spPr bwMode="auto">
            <a:xfrm>
              <a:off x="9227203" y="3163152"/>
              <a:ext cx="9961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24" name="Line 104"/>
            <p:cNvSpPr>
              <a:spLocks noChangeShapeType="1"/>
            </p:cNvSpPr>
            <p:nvPr/>
          </p:nvSpPr>
          <p:spPr bwMode="auto">
            <a:xfrm flipV="1">
              <a:off x="9277009" y="3101625"/>
              <a:ext cx="1466" cy="62991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25" name="Line 105"/>
            <p:cNvSpPr>
              <a:spLocks noChangeShapeType="1"/>
            </p:cNvSpPr>
            <p:nvPr/>
          </p:nvSpPr>
          <p:spPr bwMode="auto">
            <a:xfrm>
              <a:off x="9120265" y="3063538"/>
              <a:ext cx="314956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05" name="Group 5804">
            <a:extLst>
              <a:ext uri="{FF2B5EF4-FFF2-40B4-BE49-F238E27FC236}">
                <a16:creationId xmlns:a16="http://schemas.microsoft.com/office/drawing/2014/main" id="{A971412B-2D64-644C-83FD-22D7CD7530F3}"/>
              </a:ext>
            </a:extLst>
          </p:cNvPr>
          <p:cNvGrpSpPr/>
          <p:nvPr/>
        </p:nvGrpSpPr>
        <p:grpSpPr>
          <a:xfrm>
            <a:off x="9760430" y="2906792"/>
            <a:ext cx="310561" cy="202159"/>
            <a:chOff x="9760430" y="2906792"/>
            <a:chExt cx="310561" cy="202159"/>
          </a:xfrm>
        </p:grpSpPr>
        <p:sp>
          <p:nvSpPr>
            <p:cNvPr id="5226" name="Freeform 106"/>
            <p:cNvSpPr>
              <a:spLocks noChangeArrowheads="1"/>
            </p:cNvSpPr>
            <p:nvPr/>
          </p:nvSpPr>
          <p:spPr bwMode="auto">
            <a:xfrm>
              <a:off x="9794124" y="2906792"/>
              <a:ext cx="240245" cy="171395"/>
            </a:xfrm>
            <a:custGeom>
              <a:avLst/>
              <a:gdLst>
                <a:gd name="T0" fmla="*/ 724 w 725"/>
                <a:gd name="T1" fmla="*/ 515 h 516"/>
                <a:gd name="T2" fmla="*/ 0 w 725"/>
                <a:gd name="T3" fmla="*/ 515 h 516"/>
                <a:gd name="T4" fmla="*/ 0 w 725"/>
                <a:gd name="T5" fmla="*/ 0 h 516"/>
                <a:gd name="T6" fmla="*/ 724 w 725"/>
                <a:gd name="T7" fmla="*/ 0 h 516"/>
                <a:gd name="T8" fmla="*/ 724 w 725"/>
                <a:gd name="T9" fmla="*/ 515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5" h="516">
                  <a:moveTo>
                    <a:pt x="724" y="515"/>
                  </a:moveTo>
                  <a:lnTo>
                    <a:pt x="0" y="515"/>
                  </a:lnTo>
                  <a:lnTo>
                    <a:pt x="0" y="0"/>
                  </a:lnTo>
                  <a:lnTo>
                    <a:pt x="724" y="0"/>
                  </a:lnTo>
                  <a:lnTo>
                    <a:pt x="724" y="515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27" name="Freeform 107"/>
            <p:cNvSpPr>
              <a:spLocks noChangeArrowheads="1"/>
            </p:cNvSpPr>
            <p:nvPr/>
          </p:nvSpPr>
          <p:spPr bwMode="auto">
            <a:xfrm>
              <a:off x="9760430" y="3078188"/>
              <a:ext cx="310561" cy="30763"/>
            </a:xfrm>
            <a:custGeom>
              <a:avLst/>
              <a:gdLst>
                <a:gd name="T0" fmla="*/ 933 w 934"/>
                <a:gd name="T1" fmla="*/ 90 h 91"/>
                <a:gd name="T2" fmla="*/ 0 w 934"/>
                <a:gd name="T3" fmla="*/ 90 h 91"/>
                <a:gd name="T4" fmla="*/ 0 w 934"/>
                <a:gd name="T5" fmla="*/ 0 h 91"/>
                <a:gd name="T6" fmla="*/ 933 w 934"/>
                <a:gd name="T7" fmla="*/ 0 h 91"/>
                <a:gd name="T8" fmla="*/ 933 w 934"/>
                <a:gd name="T9" fmla="*/ 9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4" h="91">
                  <a:moveTo>
                    <a:pt x="933" y="90"/>
                  </a:moveTo>
                  <a:lnTo>
                    <a:pt x="0" y="90"/>
                  </a:lnTo>
                  <a:lnTo>
                    <a:pt x="0" y="0"/>
                  </a:lnTo>
                  <a:lnTo>
                    <a:pt x="933" y="0"/>
                  </a:lnTo>
                  <a:lnTo>
                    <a:pt x="933" y="9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28" name="Line 108"/>
            <p:cNvSpPr>
              <a:spLocks noChangeShapeType="1"/>
            </p:cNvSpPr>
            <p:nvPr/>
          </p:nvSpPr>
          <p:spPr bwMode="auto">
            <a:xfrm flipH="1">
              <a:off x="9902527" y="2927301"/>
              <a:ext cx="23438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04" name="Group 5803">
            <a:extLst>
              <a:ext uri="{FF2B5EF4-FFF2-40B4-BE49-F238E27FC236}">
                <a16:creationId xmlns:a16="http://schemas.microsoft.com/office/drawing/2014/main" id="{3C397554-A093-974F-BE3C-AE77F27ACC63}"/>
              </a:ext>
            </a:extLst>
          </p:cNvPr>
          <p:cNvGrpSpPr/>
          <p:nvPr/>
        </p:nvGrpSpPr>
        <p:grpSpPr>
          <a:xfrm>
            <a:off x="10396201" y="2852591"/>
            <a:ext cx="310561" cy="310562"/>
            <a:chOff x="10396201" y="2852591"/>
            <a:chExt cx="310561" cy="310562"/>
          </a:xfrm>
        </p:grpSpPr>
        <p:sp>
          <p:nvSpPr>
            <p:cNvPr id="5229" name="Freeform 109"/>
            <p:cNvSpPr>
              <a:spLocks noChangeArrowheads="1"/>
            </p:cNvSpPr>
            <p:nvPr/>
          </p:nvSpPr>
          <p:spPr bwMode="auto">
            <a:xfrm>
              <a:off x="10473842" y="2852591"/>
              <a:ext cx="158211" cy="95219"/>
            </a:xfrm>
            <a:custGeom>
              <a:avLst/>
              <a:gdLst>
                <a:gd name="T0" fmla="*/ 477 w 478"/>
                <a:gd name="T1" fmla="*/ 0 h 285"/>
                <a:gd name="T2" fmla="*/ 0 w 478"/>
                <a:gd name="T3" fmla="*/ 0 h 285"/>
                <a:gd name="T4" fmla="*/ 0 w 478"/>
                <a:gd name="T5" fmla="*/ 284 h 285"/>
                <a:gd name="T6" fmla="*/ 477 w 478"/>
                <a:gd name="T7" fmla="*/ 284 h 285"/>
                <a:gd name="T8" fmla="*/ 477 w 478"/>
                <a:gd name="T9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8" h="285">
                  <a:moveTo>
                    <a:pt x="477" y="0"/>
                  </a:moveTo>
                  <a:lnTo>
                    <a:pt x="0" y="0"/>
                  </a:lnTo>
                  <a:lnTo>
                    <a:pt x="0" y="284"/>
                  </a:lnTo>
                  <a:lnTo>
                    <a:pt x="477" y="284"/>
                  </a:lnTo>
                  <a:lnTo>
                    <a:pt x="477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30" name="Freeform 110"/>
            <p:cNvSpPr>
              <a:spLocks noChangeArrowheads="1"/>
            </p:cNvSpPr>
            <p:nvPr/>
          </p:nvSpPr>
          <p:spPr bwMode="auto">
            <a:xfrm>
              <a:off x="10476772" y="3107486"/>
              <a:ext cx="1465" cy="146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31" name="Freeform 111"/>
            <p:cNvSpPr>
              <a:spLocks noChangeArrowheads="1"/>
            </p:cNvSpPr>
            <p:nvPr/>
          </p:nvSpPr>
          <p:spPr bwMode="auto">
            <a:xfrm>
              <a:off x="10396201" y="2946345"/>
              <a:ext cx="310561" cy="161141"/>
            </a:xfrm>
            <a:custGeom>
              <a:avLst/>
              <a:gdLst>
                <a:gd name="T0" fmla="*/ 232 w 934"/>
                <a:gd name="T1" fmla="*/ 485 h 486"/>
                <a:gd name="T2" fmla="*/ 0 w 934"/>
                <a:gd name="T3" fmla="*/ 485 h 486"/>
                <a:gd name="T4" fmla="*/ 0 w 934"/>
                <a:gd name="T5" fmla="*/ 0 h 486"/>
                <a:gd name="T6" fmla="*/ 933 w 934"/>
                <a:gd name="T7" fmla="*/ 0 h 486"/>
                <a:gd name="T8" fmla="*/ 933 w 934"/>
                <a:gd name="T9" fmla="*/ 485 h 486"/>
                <a:gd name="T10" fmla="*/ 709 w 934"/>
                <a:gd name="T11" fmla="*/ 48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4" h="486">
                  <a:moveTo>
                    <a:pt x="232" y="485"/>
                  </a:moveTo>
                  <a:lnTo>
                    <a:pt x="0" y="485"/>
                  </a:lnTo>
                  <a:lnTo>
                    <a:pt x="0" y="0"/>
                  </a:lnTo>
                  <a:lnTo>
                    <a:pt x="933" y="0"/>
                  </a:lnTo>
                  <a:lnTo>
                    <a:pt x="933" y="485"/>
                  </a:lnTo>
                  <a:lnTo>
                    <a:pt x="709" y="485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32" name="Freeform 112"/>
            <p:cNvSpPr>
              <a:spLocks noChangeArrowheads="1"/>
            </p:cNvSpPr>
            <p:nvPr/>
          </p:nvSpPr>
          <p:spPr bwMode="auto">
            <a:xfrm>
              <a:off x="10473842" y="3041565"/>
              <a:ext cx="158211" cy="121588"/>
            </a:xfrm>
            <a:custGeom>
              <a:avLst/>
              <a:gdLst>
                <a:gd name="T0" fmla="*/ 477 w 478"/>
                <a:gd name="T1" fmla="*/ 0 h 366"/>
                <a:gd name="T2" fmla="*/ 0 w 478"/>
                <a:gd name="T3" fmla="*/ 0 h 366"/>
                <a:gd name="T4" fmla="*/ 0 w 478"/>
                <a:gd name="T5" fmla="*/ 365 h 366"/>
                <a:gd name="T6" fmla="*/ 477 w 478"/>
                <a:gd name="T7" fmla="*/ 365 h 366"/>
                <a:gd name="T8" fmla="*/ 477 w 478"/>
                <a:gd name="T9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8" h="366">
                  <a:moveTo>
                    <a:pt x="477" y="0"/>
                  </a:moveTo>
                  <a:lnTo>
                    <a:pt x="0" y="0"/>
                  </a:lnTo>
                  <a:lnTo>
                    <a:pt x="0" y="365"/>
                  </a:lnTo>
                  <a:lnTo>
                    <a:pt x="477" y="365"/>
                  </a:lnTo>
                  <a:lnTo>
                    <a:pt x="477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33" name="Line 113"/>
            <p:cNvSpPr>
              <a:spLocks noChangeShapeType="1"/>
            </p:cNvSpPr>
            <p:nvPr/>
          </p:nvSpPr>
          <p:spPr bwMode="auto">
            <a:xfrm>
              <a:off x="10421105" y="2981504"/>
              <a:ext cx="21973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34" name="Line 114"/>
            <p:cNvSpPr>
              <a:spLocks noChangeShapeType="1"/>
            </p:cNvSpPr>
            <p:nvPr/>
          </p:nvSpPr>
          <p:spPr bwMode="auto">
            <a:xfrm>
              <a:off x="10453334" y="2981504"/>
              <a:ext cx="2050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35" name="Line 115"/>
            <p:cNvSpPr>
              <a:spLocks noChangeShapeType="1"/>
            </p:cNvSpPr>
            <p:nvPr/>
          </p:nvSpPr>
          <p:spPr bwMode="auto">
            <a:xfrm>
              <a:off x="10503140" y="3082581"/>
              <a:ext cx="99614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36" name="Line 116"/>
            <p:cNvSpPr>
              <a:spLocks noChangeShapeType="1"/>
            </p:cNvSpPr>
            <p:nvPr/>
          </p:nvSpPr>
          <p:spPr bwMode="auto">
            <a:xfrm>
              <a:off x="10503140" y="3123599"/>
              <a:ext cx="99614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37" name="Freeform 117"/>
            <p:cNvSpPr>
              <a:spLocks noChangeArrowheads="1"/>
            </p:cNvSpPr>
            <p:nvPr/>
          </p:nvSpPr>
          <p:spPr bwMode="auto">
            <a:xfrm>
              <a:off x="10473842" y="3107486"/>
              <a:ext cx="1465" cy="146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03" name="Group 5802">
            <a:extLst>
              <a:ext uri="{FF2B5EF4-FFF2-40B4-BE49-F238E27FC236}">
                <a16:creationId xmlns:a16="http://schemas.microsoft.com/office/drawing/2014/main" id="{DFEDFF80-18BA-134F-B4E5-72421888478D}"/>
              </a:ext>
            </a:extLst>
          </p:cNvPr>
          <p:cNvGrpSpPr/>
          <p:nvPr/>
        </p:nvGrpSpPr>
        <p:grpSpPr>
          <a:xfrm>
            <a:off x="11036367" y="2867241"/>
            <a:ext cx="310561" cy="240245"/>
            <a:chOff x="11036367" y="2867241"/>
            <a:chExt cx="310561" cy="240245"/>
          </a:xfrm>
        </p:grpSpPr>
        <p:sp>
          <p:nvSpPr>
            <p:cNvPr id="5238" name="Freeform 118"/>
            <p:cNvSpPr>
              <a:spLocks noChangeArrowheads="1"/>
            </p:cNvSpPr>
            <p:nvPr/>
          </p:nvSpPr>
          <p:spPr bwMode="auto">
            <a:xfrm>
              <a:off x="11036367" y="2956600"/>
              <a:ext cx="310561" cy="150886"/>
            </a:xfrm>
            <a:custGeom>
              <a:avLst/>
              <a:gdLst>
                <a:gd name="T0" fmla="*/ 933 w 934"/>
                <a:gd name="T1" fmla="*/ 455 h 456"/>
                <a:gd name="T2" fmla="*/ 0 w 934"/>
                <a:gd name="T3" fmla="*/ 455 h 456"/>
                <a:gd name="T4" fmla="*/ 0 w 934"/>
                <a:gd name="T5" fmla="*/ 0 h 456"/>
                <a:gd name="T6" fmla="*/ 933 w 934"/>
                <a:gd name="T7" fmla="*/ 0 h 456"/>
                <a:gd name="T8" fmla="*/ 933 w 934"/>
                <a:gd name="T9" fmla="*/ 455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4" h="456">
                  <a:moveTo>
                    <a:pt x="933" y="455"/>
                  </a:moveTo>
                  <a:lnTo>
                    <a:pt x="0" y="455"/>
                  </a:lnTo>
                  <a:lnTo>
                    <a:pt x="0" y="0"/>
                  </a:lnTo>
                  <a:lnTo>
                    <a:pt x="933" y="0"/>
                  </a:lnTo>
                  <a:lnTo>
                    <a:pt x="933" y="455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39" name="Freeform 119"/>
            <p:cNvSpPr>
              <a:spLocks noChangeArrowheads="1"/>
            </p:cNvSpPr>
            <p:nvPr/>
          </p:nvSpPr>
          <p:spPr bwMode="auto">
            <a:xfrm>
              <a:off x="11067130" y="2867241"/>
              <a:ext cx="70316" cy="89360"/>
            </a:xfrm>
            <a:custGeom>
              <a:avLst/>
              <a:gdLst>
                <a:gd name="T0" fmla="*/ 0 w 210"/>
                <a:gd name="T1" fmla="*/ 269 h 270"/>
                <a:gd name="T2" fmla="*/ 0 w 210"/>
                <a:gd name="T3" fmla="*/ 149 h 270"/>
                <a:gd name="T4" fmla="*/ 209 w 210"/>
                <a:gd name="T5" fmla="*/ 149 h 270"/>
                <a:gd name="T6" fmla="*/ 209 w 210"/>
                <a:gd name="T7" fmla="*/ 45 h 270"/>
                <a:gd name="T8" fmla="*/ 59 w 210"/>
                <a:gd name="T9" fmla="*/ 45 h 270"/>
                <a:gd name="T10" fmla="*/ 59 w 210"/>
                <a:gd name="T11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" h="270">
                  <a:moveTo>
                    <a:pt x="0" y="269"/>
                  </a:moveTo>
                  <a:lnTo>
                    <a:pt x="0" y="149"/>
                  </a:lnTo>
                  <a:lnTo>
                    <a:pt x="209" y="149"/>
                  </a:lnTo>
                  <a:lnTo>
                    <a:pt x="209" y="45"/>
                  </a:lnTo>
                  <a:lnTo>
                    <a:pt x="59" y="45"/>
                  </a:lnTo>
                  <a:lnTo>
                    <a:pt x="5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40" name="Line 120"/>
            <p:cNvSpPr>
              <a:spLocks noChangeShapeType="1"/>
            </p:cNvSpPr>
            <p:nvPr/>
          </p:nvSpPr>
          <p:spPr bwMode="auto">
            <a:xfrm>
              <a:off x="11051016" y="2991756"/>
              <a:ext cx="2050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41" name="Line 121"/>
            <p:cNvSpPr>
              <a:spLocks noChangeShapeType="1"/>
            </p:cNvSpPr>
            <p:nvPr/>
          </p:nvSpPr>
          <p:spPr bwMode="auto">
            <a:xfrm>
              <a:off x="11081779" y="2991756"/>
              <a:ext cx="19045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42" name="Line 122"/>
            <p:cNvSpPr>
              <a:spLocks noChangeShapeType="1"/>
            </p:cNvSpPr>
            <p:nvPr/>
          </p:nvSpPr>
          <p:spPr bwMode="auto">
            <a:xfrm>
              <a:off x="11111077" y="2991756"/>
              <a:ext cx="2050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43" name="Line 123"/>
            <p:cNvSpPr>
              <a:spLocks noChangeShapeType="1"/>
            </p:cNvSpPr>
            <p:nvPr/>
          </p:nvSpPr>
          <p:spPr bwMode="auto">
            <a:xfrm>
              <a:off x="11140376" y="2991756"/>
              <a:ext cx="19045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44" name="Line 124"/>
            <p:cNvSpPr>
              <a:spLocks noChangeShapeType="1"/>
            </p:cNvSpPr>
            <p:nvPr/>
          </p:nvSpPr>
          <p:spPr bwMode="auto">
            <a:xfrm>
              <a:off x="11171139" y="2991756"/>
              <a:ext cx="2050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45" name="Line 125"/>
            <p:cNvSpPr>
              <a:spLocks noChangeShapeType="1"/>
            </p:cNvSpPr>
            <p:nvPr/>
          </p:nvSpPr>
          <p:spPr bwMode="auto">
            <a:xfrm>
              <a:off x="11200438" y="2991756"/>
              <a:ext cx="2050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46" name="Line 126"/>
            <p:cNvSpPr>
              <a:spLocks noChangeShapeType="1"/>
            </p:cNvSpPr>
            <p:nvPr/>
          </p:nvSpPr>
          <p:spPr bwMode="auto">
            <a:xfrm>
              <a:off x="11229736" y="2991756"/>
              <a:ext cx="2050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47" name="Line 127"/>
            <p:cNvSpPr>
              <a:spLocks noChangeShapeType="1"/>
            </p:cNvSpPr>
            <p:nvPr/>
          </p:nvSpPr>
          <p:spPr bwMode="auto">
            <a:xfrm>
              <a:off x="11260499" y="2991756"/>
              <a:ext cx="21974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48" name="Line 128"/>
            <p:cNvSpPr>
              <a:spLocks noChangeShapeType="1"/>
            </p:cNvSpPr>
            <p:nvPr/>
          </p:nvSpPr>
          <p:spPr bwMode="auto">
            <a:xfrm>
              <a:off x="11292726" y="2991756"/>
              <a:ext cx="2050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49" name="Line 129"/>
            <p:cNvSpPr>
              <a:spLocks noChangeShapeType="1"/>
            </p:cNvSpPr>
            <p:nvPr/>
          </p:nvSpPr>
          <p:spPr bwMode="auto">
            <a:xfrm>
              <a:off x="11051016" y="3073792"/>
              <a:ext cx="2050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50" name="Line 130"/>
            <p:cNvSpPr>
              <a:spLocks noChangeShapeType="1"/>
            </p:cNvSpPr>
            <p:nvPr/>
          </p:nvSpPr>
          <p:spPr bwMode="auto">
            <a:xfrm>
              <a:off x="11081779" y="3073792"/>
              <a:ext cx="19045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51" name="Line 131"/>
            <p:cNvSpPr>
              <a:spLocks noChangeShapeType="1"/>
            </p:cNvSpPr>
            <p:nvPr/>
          </p:nvSpPr>
          <p:spPr bwMode="auto">
            <a:xfrm>
              <a:off x="11111077" y="3073792"/>
              <a:ext cx="128912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52" name="Line 132"/>
            <p:cNvSpPr>
              <a:spLocks noChangeShapeType="1"/>
            </p:cNvSpPr>
            <p:nvPr/>
          </p:nvSpPr>
          <p:spPr bwMode="auto">
            <a:xfrm>
              <a:off x="11282472" y="3073792"/>
              <a:ext cx="2050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53" name="Line 133"/>
            <p:cNvSpPr>
              <a:spLocks noChangeShapeType="1"/>
            </p:cNvSpPr>
            <p:nvPr/>
          </p:nvSpPr>
          <p:spPr bwMode="auto">
            <a:xfrm>
              <a:off x="11311771" y="3073792"/>
              <a:ext cx="19044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54" name="Line 134"/>
            <p:cNvSpPr>
              <a:spLocks noChangeShapeType="1"/>
            </p:cNvSpPr>
            <p:nvPr/>
          </p:nvSpPr>
          <p:spPr bwMode="auto">
            <a:xfrm>
              <a:off x="11250244" y="3073792"/>
              <a:ext cx="2050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55" name="Line 135"/>
            <p:cNvSpPr>
              <a:spLocks noChangeShapeType="1"/>
            </p:cNvSpPr>
            <p:nvPr/>
          </p:nvSpPr>
          <p:spPr bwMode="auto">
            <a:xfrm>
              <a:off x="11071525" y="3031310"/>
              <a:ext cx="1904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56" name="Line 136"/>
            <p:cNvSpPr>
              <a:spLocks noChangeShapeType="1"/>
            </p:cNvSpPr>
            <p:nvPr/>
          </p:nvSpPr>
          <p:spPr bwMode="auto">
            <a:xfrm>
              <a:off x="11100824" y="3031310"/>
              <a:ext cx="2050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57" name="Line 137"/>
            <p:cNvSpPr>
              <a:spLocks noChangeShapeType="1"/>
            </p:cNvSpPr>
            <p:nvPr/>
          </p:nvSpPr>
          <p:spPr bwMode="auto">
            <a:xfrm>
              <a:off x="11131586" y="3031310"/>
              <a:ext cx="2050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58" name="Line 138"/>
            <p:cNvSpPr>
              <a:spLocks noChangeShapeType="1"/>
            </p:cNvSpPr>
            <p:nvPr/>
          </p:nvSpPr>
          <p:spPr bwMode="auto">
            <a:xfrm>
              <a:off x="11160885" y="3031310"/>
              <a:ext cx="2050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59" name="Line 139"/>
            <p:cNvSpPr>
              <a:spLocks noChangeShapeType="1"/>
            </p:cNvSpPr>
            <p:nvPr/>
          </p:nvSpPr>
          <p:spPr bwMode="auto">
            <a:xfrm>
              <a:off x="11190183" y="3031310"/>
              <a:ext cx="2050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60" name="Line 140"/>
            <p:cNvSpPr>
              <a:spLocks noChangeShapeType="1"/>
            </p:cNvSpPr>
            <p:nvPr/>
          </p:nvSpPr>
          <p:spPr bwMode="auto">
            <a:xfrm>
              <a:off x="11220946" y="3031310"/>
              <a:ext cx="1904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61" name="Line 141"/>
            <p:cNvSpPr>
              <a:spLocks noChangeShapeType="1"/>
            </p:cNvSpPr>
            <p:nvPr/>
          </p:nvSpPr>
          <p:spPr bwMode="auto">
            <a:xfrm>
              <a:off x="11250244" y="3031310"/>
              <a:ext cx="2050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62" name="Line 142"/>
            <p:cNvSpPr>
              <a:spLocks noChangeShapeType="1"/>
            </p:cNvSpPr>
            <p:nvPr/>
          </p:nvSpPr>
          <p:spPr bwMode="auto">
            <a:xfrm>
              <a:off x="11282472" y="3031310"/>
              <a:ext cx="2050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63" name="Line 143"/>
            <p:cNvSpPr>
              <a:spLocks noChangeShapeType="1"/>
            </p:cNvSpPr>
            <p:nvPr/>
          </p:nvSpPr>
          <p:spPr bwMode="auto">
            <a:xfrm>
              <a:off x="11311771" y="3031310"/>
              <a:ext cx="19044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11" name="Group 5810">
            <a:extLst>
              <a:ext uri="{FF2B5EF4-FFF2-40B4-BE49-F238E27FC236}">
                <a16:creationId xmlns:a16="http://schemas.microsoft.com/office/drawing/2014/main" id="{5C91685F-DBBB-0547-813D-7A14BF221ED5}"/>
              </a:ext>
            </a:extLst>
          </p:cNvPr>
          <p:cNvGrpSpPr/>
          <p:nvPr/>
        </p:nvGrpSpPr>
        <p:grpSpPr>
          <a:xfrm>
            <a:off x="7280339" y="3492757"/>
            <a:ext cx="159675" cy="307631"/>
            <a:chOff x="7280339" y="3492757"/>
            <a:chExt cx="159675" cy="307631"/>
          </a:xfrm>
        </p:grpSpPr>
        <p:sp>
          <p:nvSpPr>
            <p:cNvPr id="5279" name="Freeform 159"/>
            <p:cNvSpPr>
              <a:spLocks noChangeArrowheads="1"/>
            </p:cNvSpPr>
            <p:nvPr/>
          </p:nvSpPr>
          <p:spPr bwMode="auto">
            <a:xfrm>
              <a:off x="7280339" y="3492757"/>
              <a:ext cx="159675" cy="307631"/>
            </a:xfrm>
            <a:custGeom>
              <a:avLst/>
              <a:gdLst>
                <a:gd name="T0" fmla="*/ 478 w 479"/>
                <a:gd name="T1" fmla="*/ 239 h 927"/>
                <a:gd name="T2" fmla="*/ 478 w 479"/>
                <a:gd name="T3" fmla="*/ 239 h 927"/>
                <a:gd name="T4" fmla="*/ 239 w 479"/>
                <a:gd name="T5" fmla="*/ 0 h 927"/>
                <a:gd name="T6" fmla="*/ 0 w 479"/>
                <a:gd name="T7" fmla="*/ 239 h 927"/>
                <a:gd name="T8" fmla="*/ 0 w 479"/>
                <a:gd name="T9" fmla="*/ 687 h 927"/>
                <a:gd name="T10" fmla="*/ 239 w 479"/>
                <a:gd name="T11" fmla="*/ 926 h 927"/>
                <a:gd name="T12" fmla="*/ 478 w 479"/>
                <a:gd name="T13" fmla="*/ 687 h 927"/>
                <a:gd name="T14" fmla="*/ 478 w 479"/>
                <a:gd name="T15" fmla="*/ 239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9" h="927">
                  <a:moveTo>
                    <a:pt x="478" y="239"/>
                  </a:moveTo>
                  <a:lnTo>
                    <a:pt x="478" y="239"/>
                  </a:lnTo>
                  <a:cubicBezTo>
                    <a:pt x="478" y="104"/>
                    <a:pt x="374" y="0"/>
                    <a:pt x="239" y="0"/>
                  </a:cubicBezTo>
                  <a:cubicBezTo>
                    <a:pt x="105" y="0"/>
                    <a:pt x="0" y="104"/>
                    <a:pt x="0" y="239"/>
                  </a:cubicBezTo>
                  <a:cubicBezTo>
                    <a:pt x="0" y="687"/>
                    <a:pt x="0" y="687"/>
                    <a:pt x="0" y="687"/>
                  </a:cubicBezTo>
                  <a:cubicBezTo>
                    <a:pt x="0" y="821"/>
                    <a:pt x="105" y="926"/>
                    <a:pt x="239" y="926"/>
                  </a:cubicBezTo>
                  <a:cubicBezTo>
                    <a:pt x="374" y="926"/>
                    <a:pt x="478" y="821"/>
                    <a:pt x="478" y="687"/>
                  </a:cubicBezTo>
                  <a:lnTo>
                    <a:pt x="478" y="23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80" name="Line 160"/>
            <p:cNvSpPr>
              <a:spLocks noChangeShapeType="1"/>
            </p:cNvSpPr>
            <p:nvPr/>
          </p:nvSpPr>
          <p:spPr bwMode="auto">
            <a:xfrm>
              <a:off x="7359443" y="3536704"/>
              <a:ext cx="1465" cy="3955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44" name="Group 5843">
            <a:extLst>
              <a:ext uri="{FF2B5EF4-FFF2-40B4-BE49-F238E27FC236}">
                <a16:creationId xmlns:a16="http://schemas.microsoft.com/office/drawing/2014/main" id="{4FA43343-97F7-304C-9068-925ACD7B4F76}"/>
              </a:ext>
            </a:extLst>
          </p:cNvPr>
          <p:cNvGrpSpPr/>
          <p:nvPr/>
        </p:nvGrpSpPr>
        <p:grpSpPr>
          <a:xfrm>
            <a:off x="7920503" y="3492756"/>
            <a:ext cx="159676" cy="307632"/>
            <a:chOff x="7920503" y="3492756"/>
            <a:chExt cx="159676" cy="307632"/>
          </a:xfrm>
        </p:grpSpPr>
        <p:sp>
          <p:nvSpPr>
            <p:cNvPr id="5281" name="Freeform 161"/>
            <p:cNvSpPr>
              <a:spLocks noChangeArrowheads="1"/>
            </p:cNvSpPr>
            <p:nvPr/>
          </p:nvSpPr>
          <p:spPr bwMode="auto">
            <a:xfrm>
              <a:off x="7920503" y="3492757"/>
              <a:ext cx="159676" cy="307631"/>
            </a:xfrm>
            <a:custGeom>
              <a:avLst/>
              <a:gdLst>
                <a:gd name="T0" fmla="*/ 478 w 479"/>
                <a:gd name="T1" fmla="*/ 239 h 927"/>
                <a:gd name="T2" fmla="*/ 478 w 479"/>
                <a:gd name="T3" fmla="*/ 239 h 927"/>
                <a:gd name="T4" fmla="*/ 239 w 479"/>
                <a:gd name="T5" fmla="*/ 0 h 927"/>
                <a:gd name="T6" fmla="*/ 0 w 479"/>
                <a:gd name="T7" fmla="*/ 239 h 927"/>
                <a:gd name="T8" fmla="*/ 0 w 479"/>
                <a:gd name="T9" fmla="*/ 687 h 927"/>
                <a:gd name="T10" fmla="*/ 239 w 479"/>
                <a:gd name="T11" fmla="*/ 926 h 927"/>
                <a:gd name="T12" fmla="*/ 478 w 479"/>
                <a:gd name="T13" fmla="*/ 687 h 927"/>
                <a:gd name="T14" fmla="*/ 478 w 479"/>
                <a:gd name="T15" fmla="*/ 239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9" h="927">
                  <a:moveTo>
                    <a:pt x="478" y="239"/>
                  </a:moveTo>
                  <a:lnTo>
                    <a:pt x="478" y="239"/>
                  </a:lnTo>
                  <a:cubicBezTo>
                    <a:pt x="478" y="104"/>
                    <a:pt x="373" y="0"/>
                    <a:pt x="239" y="0"/>
                  </a:cubicBezTo>
                  <a:cubicBezTo>
                    <a:pt x="105" y="0"/>
                    <a:pt x="0" y="104"/>
                    <a:pt x="0" y="239"/>
                  </a:cubicBezTo>
                  <a:cubicBezTo>
                    <a:pt x="0" y="687"/>
                    <a:pt x="0" y="687"/>
                    <a:pt x="0" y="687"/>
                  </a:cubicBezTo>
                  <a:cubicBezTo>
                    <a:pt x="0" y="821"/>
                    <a:pt x="105" y="926"/>
                    <a:pt x="239" y="926"/>
                  </a:cubicBezTo>
                  <a:cubicBezTo>
                    <a:pt x="373" y="926"/>
                    <a:pt x="478" y="821"/>
                    <a:pt x="478" y="687"/>
                  </a:cubicBezTo>
                  <a:lnTo>
                    <a:pt x="478" y="239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82" name="Line 162"/>
            <p:cNvSpPr>
              <a:spLocks noChangeShapeType="1"/>
            </p:cNvSpPr>
            <p:nvPr/>
          </p:nvSpPr>
          <p:spPr bwMode="auto">
            <a:xfrm>
              <a:off x="7999608" y="3492756"/>
              <a:ext cx="1466" cy="9961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83" name="Line 163"/>
            <p:cNvSpPr>
              <a:spLocks noChangeShapeType="1"/>
            </p:cNvSpPr>
            <p:nvPr/>
          </p:nvSpPr>
          <p:spPr bwMode="auto">
            <a:xfrm>
              <a:off x="7920503" y="3592370"/>
              <a:ext cx="158211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43" name="Group 5842">
            <a:extLst>
              <a:ext uri="{FF2B5EF4-FFF2-40B4-BE49-F238E27FC236}">
                <a16:creationId xmlns:a16="http://schemas.microsoft.com/office/drawing/2014/main" id="{54F0E915-DC63-CE46-AAF0-83E01701A1CB}"/>
              </a:ext>
            </a:extLst>
          </p:cNvPr>
          <p:cNvGrpSpPr/>
          <p:nvPr/>
        </p:nvGrpSpPr>
        <p:grpSpPr>
          <a:xfrm>
            <a:off x="8483028" y="3492756"/>
            <a:ext cx="310561" cy="307632"/>
            <a:chOff x="8483028" y="3492756"/>
            <a:chExt cx="310561" cy="307632"/>
          </a:xfrm>
        </p:grpSpPr>
        <p:sp>
          <p:nvSpPr>
            <p:cNvPr id="5284" name="Freeform 164"/>
            <p:cNvSpPr>
              <a:spLocks noChangeArrowheads="1"/>
            </p:cNvSpPr>
            <p:nvPr/>
          </p:nvSpPr>
          <p:spPr bwMode="auto">
            <a:xfrm>
              <a:off x="8483028" y="3492757"/>
              <a:ext cx="310561" cy="307631"/>
            </a:xfrm>
            <a:custGeom>
              <a:avLst/>
              <a:gdLst>
                <a:gd name="T0" fmla="*/ 934 w 935"/>
                <a:gd name="T1" fmla="*/ 926 h 927"/>
                <a:gd name="T2" fmla="*/ 0 w 935"/>
                <a:gd name="T3" fmla="*/ 926 h 927"/>
                <a:gd name="T4" fmla="*/ 0 w 935"/>
                <a:gd name="T5" fmla="*/ 0 h 927"/>
                <a:gd name="T6" fmla="*/ 747 w 935"/>
                <a:gd name="T7" fmla="*/ 0 h 927"/>
                <a:gd name="T8" fmla="*/ 934 w 935"/>
                <a:gd name="T9" fmla="*/ 179 h 927"/>
                <a:gd name="T10" fmla="*/ 934 w 935"/>
                <a:gd name="T11" fmla="*/ 926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5" h="927">
                  <a:moveTo>
                    <a:pt x="934" y="926"/>
                  </a:moveTo>
                  <a:lnTo>
                    <a:pt x="0" y="926"/>
                  </a:lnTo>
                  <a:lnTo>
                    <a:pt x="0" y="0"/>
                  </a:lnTo>
                  <a:lnTo>
                    <a:pt x="747" y="0"/>
                  </a:lnTo>
                  <a:lnTo>
                    <a:pt x="934" y="179"/>
                  </a:lnTo>
                  <a:lnTo>
                    <a:pt x="934" y="926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85" name="Freeform 165"/>
            <p:cNvSpPr>
              <a:spLocks noChangeArrowheads="1"/>
            </p:cNvSpPr>
            <p:nvPr/>
          </p:nvSpPr>
          <p:spPr bwMode="auto">
            <a:xfrm>
              <a:off x="8512327" y="3640713"/>
              <a:ext cx="250500" cy="159675"/>
            </a:xfrm>
            <a:custGeom>
              <a:avLst/>
              <a:gdLst>
                <a:gd name="T0" fmla="*/ 754 w 755"/>
                <a:gd name="T1" fmla="*/ 0 h 479"/>
                <a:gd name="T2" fmla="*/ 0 w 755"/>
                <a:gd name="T3" fmla="*/ 0 h 479"/>
                <a:gd name="T4" fmla="*/ 0 w 755"/>
                <a:gd name="T5" fmla="*/ 478 h 479"/>
                <a:gd name="T6" fmla="*/ 754 w 755"/>
                <a:gd name="T7" fmla="*/ 478 h 479"/>
                <a:gd name="T8" fmla="*/ 754 w 755"/>
                <a:gd name="T9" fmla="*/ 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5" h="479">
                  <a:moveTo>
                    <a:pt x="754" y="0"/>
                  </a:moveTo>
                  <a:lnTo>
                    <a:pt x="0" y="0"/>
                  </a:lnTo>
                  <a:lnTo>
                    <a:pt x="0" y="478"/>
                  </a:lnTo>
                  <a:lnTo>
                    <a:pt x="754" y="478"/>
                  </a:lnTo>
                  <a:lnTo>
                    <a:pt x="754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86" name="Line 166"/>
            <p:cNvSpPr>
              <a:spLocks noChangeShapeType="1"/>
            </p:cNvSpPr>
            <p:nvPr/>
          </p:nvSpPr>
          <p:spPr bwMode="auto">
            <a:xfrm>
              <a:off x="8547485" y="3680265"/>
              <a:ext cx="17871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87" name="Line 167"/>
            <p:cNvSpPr>
              <a:spLocks noChangeShapeType="1"/>
            </p:cNvSpPr>
            <p:nvPr/>
          </p:nvSpPr>
          <p:spPr bwMode="auto">
            <a:xfrm>
              <a:off x="8547485" y="3721282"/>
              <a:ext cx="178719" cy="14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88" name="Line 168"/>
            <p:cNvSpPr>
              <a:spLocks noChangeShapeType="1"/>
            </p:cNvSpPr>
            <p:nvPr/>
          </p:nvSpPr>
          <p:spPr bwMode="auto">
            <a:xfrm>
              <a:off x="8547485" y="3760836"/>
              <a:ext cx="178719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89" name="Freeform 169"/>
            <p:cNvSpPr>
              <a:spLocks noChangeArrowheads="1"/>
            </p:cNvSpPr>
            <p:nvPr/>
          </p:nvSpPr>
          <p:spPr bwMode="auto">
            <a:xfrm>
              <a:off x="8551880" y="3492756"/>
              <a:ext cx="168464" cy="95220"/>
            </a:xfrm>
            <a:custGeom>
              <a:avLst/>
              <a:gdLst>
                <a:gd name="T0" fmla="*/ 507 w 508"/>
                <a:gd name="T1" fmla="*/ 284 h 285"/>
                <a:gd name="T2" fmla="*/ 0 w 508"/>
                <a:gd name="T3" fmla="*/ 284 h 285"/>
                <a:gd name="T4" fmla="*/ 0 w 508"/>
                <a:gd name="T5" fmla="*/ 0 h 285"/>
                <a:gd name="T6" fmla="*/ 507 w 508"/>
                <a:gd name="T7" fmla="*/ 0 h 285"/>
                <a:gd name="T8" fmla="*/ 507 w 508"/>
                <a:gd name="T9" fmla="*/ 284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8" h="285">
                  <a:moveTo>
                    <a:pt x="507" y="284"/>
                  </a:moveTo>
                  <a:lnTo>
                    <a:pt x="0" y="284"/>
                  </a:lnTo>
                  <a:lnTo>
                    <a:pt x="0" y="0"/>
                  </a:lnTo>
                  <a:lnTo>
                    <a:pt x="507" y="0"/>
                  </a:lnTo>
                  <a:lnTo>
                    <a:pt x="507" y="284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90" name="Freeform 170"/>
            <p:cNvSpPr>
              <a:spLocks noChangeArrowheads="1"/>
            </p:cNvSpPr>
            <p:nvPr/>
          </p:nvSpPr>
          <p:spPr bwMode="auto">
            <a:xfrm>
              <a:off x="8666143" y="3511801"/>
              <a:ext cx="24903" cy="54201"/>
            </a:xfrm>
            <a:custGeom>
              <a:avLst/>
              <a:gdLst>
                <a:gd name="T0" fmla="*/ 0 w 76"/>
                <a:gd name="T1" fmla="*/ 0 h 165"/>
                <a:gd name="T2" fmla="*/ 0 w 76"/>
                <a:gd name="T3" fmla="*/ 164 h 165"/>
                <a:gd name="T4" fmla="*/ 75 w 76"/>
                <a:gd name="T5" fmla="*/ 164 h 165"/>
                <a:gd name="T6" fmla="*/ 75 w 76"/>
                <a:gd name="T7" fmla="*/ 0 h 165"/>
                <a:gd name="T8" fmla="*/ 0 w 76"/>
                <a:gd name="T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165">
                  <a:moveTo>
                    <a:pt x="0" y="0"/>
                  </a:moveTo>
                  <a:lnTo>
                    <a:pt x="0" y="164"/>
                  </a:lnTo>
                  <a:lnTo>
                    <a:pt x="75" y="164"/>
                  </a:lnTo>
                  <a:lnTo>
                    <a:pt x="75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42" name="Group 5841">
            <a:extLst>
              <a:ext uri="{FF2B5EF4-FFF2-40B4-BE49-F238E27FC236}">
                <a16:creationId xmlns:a16="http://schemas.microsoft.com/office/drawing/2014/main" id="{15002981-5B18-9147-940C-04EDEC76CBA2}"/>
              </a:ext>
            </a:extLst>
          </p:cNvPr>
          <p:cNvGrpSpPr/>
          <p:nvPr/>
        </p:nvGrpSpPr>
        <p:grpSpPr>
          <a:xfrm>
            <a:off x="9149564" y="3492756"/>
            <a:ext cx="262218" cy="307632"/>
            <a:chOff x="9149564" y="3492756"/>
            <a:chExt cx="262218" cy="307632"/>
          </a:xfrm>
        </p:grpSpPr>
        <p:sp>
          <p:nvSpPr>
            <p:cNvPr id="5291" name="Freeform 171"/>
            <p:cNvSpPr>
              <a:spLocks noChangeArrowheads="1"/>
            </p:cNvSpPr>
            <p:nvPr/>
          </p:nvSpPr>
          <p:spPr bwMode="auto">
            <a:xfrm>
              <a:off x="9149564" y="3765229"/>
              <a:ext cx="260755" cy="35159"/>
            </a:xfrm>
            <a:custGeom>
              <a:avLst/>
              <a:gdLst>
                <a:gd name="T0" fmla="*/ 783 w 784"/>
                <a:gd name="T1" fmla="*/ 0 h 106"/>
                <a:gd name="T2" fmla="*/ 783 w 784"/>
                <a:gd name="T3" fmla="*/ 0 h 106"/>
                <a:gd name="T4" fmla="*/ 395 w 784"/>
                <a:gd name="T5" fmla="*/ 105 h 106"/>
                <a:gd name="T6" fmla="*/ 0 w 784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4" h="106">
                  <a:moveTo>
                    <a:pt x="783" y="0"/>
                  </a:moveTo>
                  <a:lnTo>
                    <a:pt x="783" y="0"/>
                  </a:lnTo>
                  <a:cubicBezTo>
                    <a:pt x="783" y="60"/>
                    <a:pt x="612" y="105"/>
                    <a:pt x="395" y="105"/>
                  </a:cubicBezTo>
                  <a:cubicBezTo>
                    <a:pt x="179" y="105"/>
                    <a:pt x="0" y="6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92" name="Freeform 172"/>
            <p:cNvSpPr>
              <a:spLocks noChangeArrowheads="1"/>
            </p:cNvSpPr>
            <p:nvPr/>
          </p:nvSpPr>
          <p:spPr bwMode="auto">
            <a:xfrm>
              <a:off x="9149564" y="3686124"/>
              <a:ext cx="260755" cy="35159"/>
            </a:xfrm>
            <a:custGeom>
              <a:avLst/>
              <a:gdLst>
                <a:gd name="T0" fmla="*/ 783 w 784"/>
                <a:gd name="T1" fmla="*/ 0 h 106"/>
                <a:gd name="T2" fmla="*/ 783 w 784"/>
                <a:gd name="T3" fmla="*/ 0 h 106"/>
                <a:gd name="T4" fmla="*/ 395 w 784"/>
                <a:gd name="T5" fmla="*/ 105 h 106"/>
                <a:gd name="T6" fmla="*/ 0 w 784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4" h="106">
                  <a:moveTo>
                    <a:pt x="783" y="0"/>
                  </a:moveTo>
                  <a:lnTo>
                    <a:pt x="783" y="0"/>
                  </a:lnTo>
                  <a:cubicBezTo>
                    <a:pt x="783" y="60"/>
                    <a:pt x="612" y="105"/>
                    <a:pt x="395" y="105"/>
                  </a:cubicBezTo>
                  <a:cubicBezTo>
                    <a:pt x="179" y="105"/>
                    <a:pt x="0" y="6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93" name="Freeform 173"/>
            <p:cNvSpPr>
              <a:spLocks noChangeArrowheads="1"/>
            </p:cNvSpPr>
            <p:nvPr/>
          </p:nvSpPr>
          <p:spPr bwMode="auto">
            <a:xfrm>
              <a:off x="9149564" y="3607019"/>
              <a:ext cx="260755" cy="35159"/>
            </a:xfrm>
            <a:custGeom>
              <a:avLst/>
              <a:gdLst>
                <a:gd name="T0" fmla="*/ 783 w 784"/>
                <a:gd name="T1" fmla="*/ 0 h 105"/>
                <a:gd name="T2" fmla="*/ 783 w 784"/>
                <a:gd name="T3" fmla="*/ 0 h 105"/>
                <a:gd name="T4" fmla="*/ 395 w 784"/>
                <a:gd name="T5" fmla="*/ 104 h 105"/>
                <a:gd name="T6" fmla="*/ 0 w 784"/>
                <a:gd name="T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4" h="105">
                  <a:moveTo>
                    <a:pt x="783" y="0"/>
                  </a:moveTo>
                  <a:lnTo>
                    <a:pt x="783" y="0"/>
                  </a:lnTo>
                  <a:cubicBezTo>
                    <a:pt x="783" y="59"/>
                    <a:pt x="612" y="104"/>
                    <a:pt x="395" y="104"/>
                  </a:cubicBezTo>
                  <a:cubicBezTo>
                    <a:pt x="179" y="104"/>
                    <a:pt x="0" y="59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94" name="Freeform 174"/>
            <p:cNvSpPr>
              <a:spLocks noChangeArrowheads="1"/>
            </p:cNvSpPr>
            <p:nvPr/>
          </p:nvSpPr>
          <p:spPr bwMode="auto">
            <a:xfrm>
              <a:off x="9149564" y="3492756"/>
              <a:ext cx="260755" cy="70316"/>
            </a:xfrm>
            <a:custGeom>
              <a:avLst/>
              <a:gdLst>
                <a:gd name="T0" fmla="*/ 783 w 784"/>
                <a:gd name="T1" fmla="*/ 104 h 210"/>
                <a:gd name="T2" fmla="*/ 783 w 784"/>
                <a:gd name="T3" fmla="*/ 104 h 210"/>
                <a:gd name="T4" fmla="*/ 395 w 784"/>
                <a:gd name="T5" fmla="*/ 209 h 210"/>
                <a:gd name="T6" fmla="*/ 0 w 784"/>
                <a:gd name="T7" fmla="*/ 104 h 210"/>
                <a:gd name="T8" fmla="*/ 395 w 784"/>
                <a:gd name="T9" fmla="*/ 0 h 210"/>
                <a:gd name="T10" fmla="*/ 783 w 784"/>
                <a:gd name="T11" fmla="*/ 1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4" h="210">
                  <a:moveTo>
                    <a:pt x="783" y="104"/>
                  </a:moveTo>
                  <a:lnTo>
                    <a:pt x="783" y="104"/>
                  </a:lnTo>
                  <a:cubicBezTo>
                    <a:pt x="783" y="157"/>
                    <a:pt x="612" y="209"/>
                    <a:pt x="395" y="209"/>
                  </a:cubicBezTo>
                  <a:cubicBezTo>
                    <a:pt x="179" y="209"/>
                    <a:pt x="0" y="157"/>
                    <a:pt x="0" y="104"/>
                  </a:cubicBezTo>
                  <a:cubicBezTo>
                    <a:pt x="0" y="45"/>
                    <a:pt x="179" y="0"/>
                    <a:pt x="395" y="0"/>
                  </a:cubicBezTo>
                  <a:cubicBezTo>
                    <a:pt x="612" y="0"/>
                    <a:pt x="783" y="45"/>
                    <a:pt x="783" y="10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95" name="Line 175"/>
            <p:cNvSpPr>
              <a:spLocks noChangeShapeType="1"/>
            </p:cNvSpPr>
            <p:nvPr/>
          </p:nvSpPr>
          <p:spPr bwMode="auto">
            <a:xfrm>
              <a:off x="9149564" y="3526450"/>
              <a:ext cx="1465" cy="23878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96" name="Line 176"/>
            <p:cNvSpPr>
              <a:spLocks noChangeShapeType="1"/>
            </p:cNvSpPr>
            <p:nvPr/>
          </p:nvSpPr>
          <p:spPr bwMode="auto">
            <a:xfrm>
              <a:off x="9410317" y="3526450"/>
              <a:ext cx="1465" cy="23878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41" name="Group 5840">
            <a:extLst>
              <a:ext uri="{FF2B5EF4-FFF2-40B4-BE49-F238E27FC236}">
                <a16:creationId xmlns:a16="http://schemas.microsoft.com/office/drawing/2014/main" id="{F6B605B2-FEFB-424A-A218-9FACCE5E2321}"/>
              </a:ext>
            </a:extLst>
          </p:cNvPr>
          <p:cNvGrpSpPr/>
          <p:nvPr/>
        </p:nvGrpSpPr>
        <p:grpSpPr>
          <a:xfrm>
            <a:off x="9779475" y="3492756"/>
            <a:ext cx="271008" cy="307631"/>
            <a:chOff x="9779475" y="3492756"/>
            <a:chExt cx="271008" cy="307631"/>
          </a:xfrm>
        </p:grpSpPr>
        <p:sp>
          <p:nvSpPr>
            <p:cNvPr id="5297" name="Freeform 177"/>
            <p:cNvSpPr>
              <a:spLocks noChangeArrowheads="1"/>
            </p:cNvSpPr>
            <p:nvPr/>
          </p:nvSpPr>
          <p:spPr bwMode="auto">
            <a:xfrm>
              <a:off x="9779475" y="3492756"/>
              <a:ext cx="271008" cy="199228"/>
            </a:xfrm>
            <a:custGeom>
              <a:avLst/>
              <a:gdLst>
                <a:gd name="T0" fmla="*/ 0 w 815"/>
                <a:gd name="T1" fmla="*/ 597 h 598"/>
                <a:gd name="T2" fmla="*/ 90 w 815"/>
                <a:gd name="T3" fmla="*/ 0 h 598"/>
                <a:gd name="T4" fmla="*/ 725 w 815"/>
                <a:gd name="T5" fmla="*/ 0 h 598"/>
                <a:gd name="T6" fmla="*/ 814 w 815"/>
                <a:gd name="T7" fmla="*/ 597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5" h="598">
                  <a:moveTo>
                    <a:pt x="0" y="597"/>
                  </a:moveTo>
                  <a:lnTo>
                    <a:pt x="90" y="0"/>
                  </a:lnTo>
                  <a:lnTo>
                    <a:pt x="725" y="0"/>
                  </a:lnTo>
                  <a:lnTo>
                    <a:pt x="814" y="597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98" name="Freeform 178"/>
            <p:cNvSpPr>
              <a:spLocks noChangeArrowheads="1"/>
            </p:cNvSpPr>
            <p:nvPr/>
          </p:nvSpPr>
          <p:spPr bwMode="auto">
            <a:xfrm>
              <a:off x="9779475" y="3690519"/>
              <a:ext cx="271008" cy="109868"/>
            </a:xfrm>
            <a:custGeom>
              <a:avLst/>
              <a:gdLst>
                <a:gd name="T0" fmla="*/ 814 w 815"/>
                <a:gd name="T1" fmla="*/ 0 h 330"/>
                <a:gd name="T2" fmla="*/ 814 w 815"/>
                <a:gd name="T3" fmla="*/ 329 h 330"/>
                <a:gd name="T4" fmla="*/ 0 w 815"/>
                <a:gd name="T5" fmla="*/ 329 h 330"/>
                <a:gd name="T6" fmla="*/ 0 w 815"/>
                <a:gd name="T7" fmla="*/ 0 h 330"/>
                <a:gd name="T8" fmla="*/ 814 w 815"/>
                <a:gd name="T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5" h="330">
                  <a:moveTo>
                    <a:pt x="814" y="0"/>
                  </a:moveTo>
                  <a:lnTo>
                    <a:pt x="814" y="329"/>
                  </a:lnTo>
                  <a:lnTo>
                    <a:pt x="0" y="329"/>
                  </a:lnTo>
                  <a:lnTo>
                    <a:pt x="0" y="0"/>
                  </a:lnTo>
                  <a:lnTo>
                    <a:pt x="814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99" name="Freeform 179"/>
            <p:cNvSpPr>
              <a:spLocks noChangeArrowheads="1"/>
            </p:cNvSpPr>
            <p:nvPr/>
          </p:nvSpPr>
          <p:spPr bwMode="auto">
            <a:xfrm>
              <a:off x="9978702" y="3730071"/>
              <a:ext cx="32229" cy="29299"/>
            </a:xfrm>
            <a:custGeom>
              <a:avLst/>
              <a:gdLst>
                <a:gd name="T0" fmla="*/ 97 w 98"/>
                <a:gd name="T1" fmla="*/ 44 h 90"/>
                <a:gd name="T2" fmla="*/ 97 w 98"/>
                <a:gd name="T3" fmla="*/ 44 h 90"/>
                <a:gd name="T4" fmla="*/ 45 w 98"/>
                <a:gd name="T5" fmla="*/ 0 h 90"/>
                <a:gd name="T6" fmla="*/ 0 w 98"/>
                <a:gd name="T7" fmla="*/ 44 h 90"/>
                <a:gd name="T8" fmla="*/ 45 w 98"/>
                <a:gd name="T9" fmla="*/ 89 h 90"/>
                <a:gd name="T10" fmla="*/ 97 w 98"/>
                <a:gd name="T11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90">
                  <a:moveTo>
                    <a:pt x="97" y="44"/>
                  </a:moveTo>
                  <a:lnTo>
                    <a:pt x="97" y="44"/>
                  </a:lnTo>
                  <a:cubicBezTo>
                    <a:pt x="97" y="22"/>
                    <a:pt x="74" y="0"/>
                    <a:pt x="45" y="0"/>
                  </a:cubicBezTo>
                  <a:cubicBezTo>
                    <a:pt x="22" y="0"/>
                    <a:pt x="0" y="22"/>
                    <a:pt x="0" y="44"/>
                  </a:cubicBezTo>
                  <a:cubicBezTo>
                    <a:pt x="0" y="67"/>
                    <a:pt x="22" y="89"/>
                    <a:pt x="45" y="89"/>
                  </a:cubicBezTo>
                  <a:cubicBezTo>
                    <a:pt x="74" y="89"/>
                    <a:pt x="97" y="67"/>
                    <a:pt x="97" y="4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40" name="Group 5839">
            <a:extLst>
              <a:ext uri="{FF2B5EF4-FFF2-40B4-BE49-F238E27FC236}">
                <a16:creationId xmlns:a16="http://schemas.microsoft.com/office/drawing/2014/main" id="{C6AA07A5-5D02-EE46-AE7B-519713DAFB93}"/>
              </a:ext>
            </a:extLst>
          </p:cNvPr>
          <p:cNvGrpSpPr/>
          <p:nvPr/>
        </p:nvGrpSpPr>
        <p:grpSpPr>
          <a:xfrm>
            <a:off x="10416710" y="3492756"/>
            <a:ext cx="271009" cy="307631"/>
            <a:chOff x="10416710" y="3492756"/>
            <a:chExt cx="271009" cy="307631"/>
          </a:xfrm>
        </p:grpSpPr>
        <p:sp>
          <p:nvSpPr>
            <p:cNvPr id="5300" name="Freeform 180"/>
            <p:cNvSpPr>
              <a:spLocks noChangeArrowheads="1"/>
            </p:cNvSpPr>
            <p:nvPr/>
          </p:nvSpPr>
          <p:spPr bwMode="auto">
            <a:xfrm>
              <a:off x="10416710" y="3492756"/>
              <a:ext cx="271009" cy="199228"/>
            </a:xfrm>
            <a:custGeom>
              <a:avLst/>
              <a:gdLst>
                <a:gd name="T0" fmla="*/ 0 w 815"/>
                <a:gd name="T1" fmla="*/ 597 h 598"/>
                <a:gd name="T2" fmla="*/ 97 w 815"/>
                <a:gd name="T3" fmla="*/ 0 h 598"/>
                <a:gd name="T4" fmla="*/ 724 w 815"/>
                <a:gd name="T5" fmla="*/ 0 h 598"/>
                <a:gd name="T6" fmla="*/ 814 w 815"/>
                <a:gd name="T7" fmla="*/ 597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5" h="598">
                  <a:moveTo>
                    <a:pt x="0" y="597"/>
                  </a:moveTo>
                  <a:lnTo>
                    <a:pt x="97" y="0"/>
                  </a:lnTo>
                  <a:lnTo>
                    <a:pt x="724" y="0"/>
                  </a:lnTo>
                  <a:lnTo>
                    <a:pt x="814" y="597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01" name="Freeform 181"/>
            <p:cNvSpPr>
              <a:spLocks noChangeArrowheads="1"/>
            </p:cNvSpPr>
            <p:nvPr/>
          </p:nvSpPr>
          <p:spPr bwMode="auto">
            <a:xfrm>
              <a:off x="10416710" y="3690519"/>
              <a:ext cx="271009" cy="109868"/>
            </a:xfrm>
            <a:custGeom>
              <a:avLst/>
              <a:gdLst>
                <a:gd name="T0" fmla="*/ 814 w 815"/>
                <a:gd name="T1" fmla="*/ 0 h 330"/>
                <a:gd name="T2" fmla="*/ 814 w 815"/>
                <a:gd name="T3" fmla="*/ 329 h 330"/>
                <a:gd name="T4" fmla="*/ 0 w 815"/>
                <a:gd name="T5" fmla="*/ 329 h 330"/>
                <a:gd name="T6" fmla="*/ 0 w 815"/>
                <a:gd name="T7" fmla="*/ 0 h 330"/>
                <a:gd name="T8" fmla="*/ 814 w 815"/>
                <a:gd name="T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5" h="330">
                  <a:moveTo>
                    <a:pt x="814" y="0"/>
                  </a:moveTo>
                  <a:lnTo>
                    <a:pt x="814" y="329"/>
                  </a:lnTo>
                  <a:lnTo>
                    <a:pt x="0" y="329"/>
                  </a:lnTo>
                  <a:lnTo>
                    <a:pt x="0" y="0"/>
                  </a:lnTo>
                  <a:lnTo>
                    <a:pt x="814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02" name="Freeform 182"/>
            <p:cNvSpPr>
              <a:spLocks noChangeArrowheads="1"/>
            </p:cNvSpPr>
            <p:nvPr/>
          </p:nvSpPr>
          <p:spPr bwMode="auto">
            <a:xfrm>
              <a:off x="10617403" y="3730071"/>
              <a:ext cx="29299" cy="29299"/>
            </a:xfrm>
            <a:custGeom>
              <a:avLst/>
              <a:gdLst>
                <a:gd name="T0" fmla="*/ 89 w 90"/>
                <a:gd name="T1" fmla="*/ 44 h 90"/>
                <a:gd name="T2" fmla="*/ 89 w 90"/>
                <a:gd name="T3" fmla="*/ 44 h 90"/>
                <a:gd name="T4" fmla="*/ 44 w 90"/>
                <a:gd name="T5" fmla="*/ 0 h 90"/>
                <a:gd name="T6" fmla="*/ 0 w 90"/>
                <a:gd name="T7" fmla="*/ 44 h 90"/>
                <a:gd name="T8" fmla="*/ 44 w 90"/>
                <a:gd name="T9" fmla="*/ 89 h 90"/>
                <a:gd name="T10" fmla="*/ 89 w 90"/>
                <a:gd name="T11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90">
                  <a:moveTo>
                    <a:pt x="89" y="44"/>
                  </a:moveTo>
                  <a:lnTo>
                    <a:pt x="89" y="44"/>
                  </a:lnTo>
                  <a:cubicBezTo>
                    <a:pt x="89" y="22"/>
                    <a:pt x="67" y="0"/>
                    <a:pt x="44" y="0"/>
                  </a:cubicBezTo>
                  <a:cubicBezTo>
                    <a:pt x="22" y="0"/>
                    <a:pt x="0" y="22"/>
                    <a:pt x="0" y="44"/>
                  </a:cubicBezTo>
                  <a:cubicBezTo>
                    <a:pt x="0" y="67"/>
                    <a:pt x="22" y="89"/>
                    <a:pt x="44" y="89"/>
                  </a:cubicBezTo>
                  <a:cubicBezTo>
                    <a:pt x="67" y="89"/>
                    <a:pt x="89" y="67"/>
                    <a:pt x="89" y="4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03" name="Freeform 183"/>
            <p:cNvSpPr>
              <a:spLocks noChangeArrowheads="1"/>
            </p:cNvSpPr>
            <p:nvPr/>
          </p:nvSpPr>
          <p:spPr bwMode="auto">
            <a:xfrm>
              <a:off x="10513395" y="3601160"/>
              <a:ext cx="79105" cy="39553"/>
            </a:xfrm>
            <a:custGeom>
              <a:avLst/>
              <a:gdLst>
                <a:gd name="T0" fmla="*/ 239 w 240"/>
                <a:gd name="T1" fmla="*/ 0 h 120"/>
                <a:gd name="T2" fmla="*/ 119 w 240"/>
                <a:gd name="T3" fmla="*/ 119 h 120"/>
                <a:gd name="T4" fmla="*/ 0 w 240"/>
                <a:gd name="T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0" h="120">
                  <a:moveTo>
                    <a:pt x="239" y="0"/>
                  </a:moveTo>
                  <a:lnTo>
                    <a:pt x="119" y="119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04" name="Line 184"/>
            <p:cNvSpPr>
              <a:spLocks noChangeShapeType="1"/>
            </p:cNvSpPr>
            <p:nvPr/>
          </p:nvSpPr>
          <p:spPr bwMode="auto">
            <a:xfrm flipV="1">
              <a:off x="10552948" y="3539633"/>
              <a:ext cx="1465" cy="10254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39" name="Group 5838">
            <a:extLst>
              <a:ext uri="{FF2B5EF4-FFF2-40B4-BE49-F238E27FC236}">
                <a16:creationId xmlns:a16="http://schemas.microsoft.com/office/drawing/2014/main" id="{B92611A2-18F7-C243-9565-D0988B0FEFD3}"/>
              </a:ext>
            </a:extLst>
          </p:cNvPr>
          <p:cNvGrpSpPr/>
          <p:nvPr/>
        </p:nvGrpSpPr>
        <p:grpSpPr>
          <a:xfrm>
            <a:off x="11056876" y="3492756"/>
            <a:ext cx="271008" cy="307631"/>
            <a:chOff x="11056876" y="3492756"/>
            <a:chExt cx="271008" cy="307631"/>
          </a:xfrm>
        </p:grpSpPr>
        <p:sp>
          <p:nvSpPr>
            <p:cNvPr id="5310" name="Freeform 190"/>
            <p:cNvSpPr>
              <a:spLocks noChangeArrowheads="1"/>
            </p:cNvSpPr>
            <p:nvPr/>
          </p:nvSpPr>
          <p:spPr bwMode="auto">
            <a:xfrm>
              <a:off x="11056876" y="3492756"/>
              <a:ext cx="271008" cy="199228"/>
            </a:xfrm>
            <a:custGeom>
              <a:avLst/>
              <a:gdLst>
                <a:gd name="T0" fmla="*/ 0 w 814"/>
                <a:gd name="T1" fmla="*/ 597 h 598"/>
                <a:gd name="T2" fmla="*/ 89 w 814"/>
                <a:gd name="T3" fmla="*/ 0 h 598"/>
                <a:gd name="T4" fmla="*/ 724 w 814"/>
                <a:gd name="T5" fmla="*/ 0 h 598"/>
                <a:gd name="T6" fmla="*/ 813 w 814"/>
                <a:gd name="T7" fmla="*/ 597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4" h="598">
                  <a:moveTo>
                    <a:pt x="0" y="597"/>
                  </a:moveTo>
                  <a:lnTo>
                    <a:pt x="89" y="0"/>
                  </a:lnTo>
                  <a:lnTo>
                    <a:pt x="724" y="0"/>
                  </a:lnTo>
                  <a:lnTo>
                    <a:pt x="813" y="597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11" name="Freeform 191"/>
            <p:cNvSpPr>
              <a:spLocks noChangeArrowheads="1"/>
            </p:cNvSpPr>
            <p:nvPr/>
          </p:nvSpPr>
          <p:spPr bwMode="auto">
            <a:xfrm>
              <a:off x="11056876" y="3690519"/>
              <a:ext cx="271008" cy="109868"/>
            </a:xfrm>
            <a:custGeom>
              <a:avLst/>
              <a:gdLst>
                <a:gd name="T0" fmla="*/ 813 w 814"/>
                <a:gd name="T1" fmla="*/ 0 h 330"/>
                <a:gd name="T2" fmla="*/ 813 w 814"/>
                <a:gd name="T3" fmla="*/ 329 h 330"/>
                <a:gd name="T4" fmla="*/ 0 w 814"/>
                <a:gd name="T5" fmla="*/ 329 h 330"/>
                <a:gd name="T6" fmla="*/ 0 w 814"/>
                <a:gd name="T7" fmla="*/ 0 h 330"/>
                <a:gd name="T8" fmla="*/ 813 w 814"/>
                <a:gd name="T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4" h="330">
                  <a:moveTo>
                    <a:pt x="813" y="0"/>
                  </a:moveTo>
                  <a:lnTo>
                    <a:pt x="813" y="329"/>
                  </a:lnTo>
                  <a:lnTo>
                    <a:pt x="0" y="329"/>
                  </a:lnTo>
                  <a:lnTo>
                    <a:pt x="0" y="0"/>
                  </a:lnTo>
                  <a:lnTo>
                    <a:pt x="813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12" name="Freeform 192"/>
            <p:cNvSpPr>
              <a:spLocks noChangeArrowheads="1"/>
            </p:cNvSpPr>
            <p:nvPr/>
          </p:nvSpPr>
          <p:spPr bwMode="auto">
            <a:xfrm>
              <a:off x="11254639" y="3730071"/>
              <a:ext cx="32229" cy="29299"/>
            </a:xfrm>
            <a:custGeom>
              <a:avLst/>
              <a:gdLst>
                <a:gd name="T0" fmla="*/ 97 w 98"/>
                <a:gd name="T1" fmla="*/ 44 h 90"/>
                <a:gd name="T2" fmla="*/ 97 w 98"/>
                <a:gd name="T3" fmla="*/ 44 h 90"/>
                <a:gd name="T4" fmla="*/ 45 w 98"/>
                <a:gd name="T5" fmla="*/ 0 h 90"/>
                <a:gd name="T6" fmla="*/ 0 w 98"/>
                <a:gd name="T7" fmla="*/ 44 h 90"/>
                <a:gd name="T8" fmla="*/ 45 w 98"/>
                <a:gd name="T9" fmla="*/ 89 h 90"/>
                <a:gd name="T10" fmla="*/ 97 w 98"/>
                <a:gd name="T11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90">
                  <a:moveTo>
                    <a:pt x="97" y="44"/>
                  </a:moveTo>
                  <a:lnTo>
                    <a:pt x="97" y="44"/>
                  </a:lnTo>
                  <a:cubicBezTo>
                    <a:pt x="97" y="22"/>
                    <a:pt x="75" y="0"/>
                    <a:pt x="45" y="0"/>
                  </a:cubicBezTo>
                  <a:cubicBezTo>
                    <a:pt x="22" y="0"/>
                    <a:pt x="0" y="22"/>
                    <a:pt x="0" y="44"/>
                  </a:cubicBezTo>
                  <a:cubicBezTo>
                    <a:pt x="0" y="67"/>
                    <a:pt x="22" y="89"/>
                    <a:pt x="45" y="89"/>
                  </a:cubicBezTo>
                  <a:cubicBezTo>
                    <a:pt x="75" y="89"/>
                    <a:pt x="97" y="67"/>
                    <a:pt x="97" y="4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13" name="Freeform 193"/>
            <p:cNvSpPr>
              <a:spLocks noChangeArrowheads="1"/>
            </p:cNvSpPr>
            <p:nvPr/>
          </p:nvSpPr>
          <p:spPr bwMode="auto">
            <a:xfrm>
              <a:off x="11150631" y="3546958"/>
              <a:ext cx="79105" cy="39552"/>
            </a:xfrm>
            <a:custGeom>
              <a:avLst/>
              <a:gdLst>
                <a:gd name="T0" fmla="*/ 0 w 239"/>
                <a:gd name="T1" fmla="*/ 120 h 121"/>
                <a:gd name="T2" fmla="*/ 119 w 239"/>
                <a:gd name="T3" fmla="*/ 0 h 121"/>
                <a:gd name="T4" fmla="*/ 238 w 239"/>
                <a:gd name="T5" fmla="*/ 12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9" h="121">
                  <a:moveTo>
                    <a:pt x="0" y="120"/>
                  </a:moveTo>
                  <a:lnTo>
                    <a:pt x="119" y="0"/>
                  </a:lnTo>
                  <a:lnTo>
                    <a:pt x="238" y="12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14" name="Line 194"/>
            <p:cNvSpPr>
              <a:spLocks noChangeShapeType="1"/>
            </p:cNvSpPr>
            <p:nvPr/>
          </p:nvSpPr>
          <p:spPr bwMode="auto">
            <a:xfrm>
              <a:off x="11190182" y="3546958"/>
              <a:ext cx="1466" cy="9961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7240785" y="937952"/>
            <a:ext cx="240245" cy="309098"/>
            <a:chOff x="14478394" y="1875904"/>
            <a:chExt cx="480490" cy="618195"/>
          </a:xfrm>
        </p:grpSpPr>
        <p:sp>
          <p:nvSpPr>
            <p:cNvPr id="5730" name="Freeform 610"/>
            <p:cNvSpPr>
              <a:spLocks noChangeArrowheads="1"/>
            </p:cNvSpPr>
            <p:nvPr/>
          </p:nvSpPr>
          <p:spPr bwMode="auto">
            <a:xfrm>
              <a:off x="14478394" y="2195258"/>
              <a:ext cx="480490" cy="298841"/>
            </a:xfrm>
            <a:custGeom>
              <a:avLst/>
              <a:gdLst>
                <a:gd name="T0" fmla="*/ 724 w 725"/>
                <a:gd name="T1" fmla="*/ 0 h 449"/>
                <a:gd name="T2" fmla="*/ 0 w 725"/>
                <a:gd name="T3" fmla="*/ 0 h 449"/>
                <a:gd name="T4" fmla="*/ 0 w 725"/>
                <a:gd name="T5" fmla="*/ 448 h 449"/>
                <a:gd name="T6" fmla="*/ 724 w 725"/>
                <a:gd name="T7" fmla="*/ 448 h 449"/>
                <a:gd name="T8" fmla="*/ 724 w 725"/>
                <a:gd name="T9" fmla="*/ 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5" h="449">
                  <a:moveTo>
                    <a:pt x="724" y="0"/>
                  </a:moveTo>
                  <a:lnTo>
                    <a:pt x="0" y="0"/>
                  </a:lnTo>
                  <a:lnTo>
                    <a:pt x="0" y="448"/>
                  </a:lnTo>
                  <a:lnTo>
                    <a:pt x="724" y="448"/>
                  </a:lnTo>
                  <a:lnTo>
                    <a:pt x="724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31" name="Freeform 611"/>
            <p:cNvSpPr>
              <a:spLocks noChangeArrowheads="1"/>
            </p:cNvSpPr>
            <p:nvPr/>
          </p:nvSpPr>
          <p:spPr bwMode="auto">
            <a:xfrm>
              <a:off x="14557502" y="1875904"/>
              <a:ext cx="319350" cy="316421"/>
            </a:xfrm>
            <a:custGeom>
              <a:avLst/>
              <a:gdLst>
                <a:gd name="T0" fmla="*/ 0 w 479"/>
                <a:gd name="T1" fmla="*/ 477 h 478"/>
                <a:gd name="T2" fmla="*/ 0 w 479"/>
                <a:gd name="T3" fmla="*/ 477 h 478"/>
                <a:gd name="T4" fmla="*/ 0 w 479"/>
                <a:gd name="T5" fmla="*/ 238 h 478"/>
                <a:gd name="T6" fmla="*/ 239 w 479"/>
                <a:gd name="T7" fmla="*/ 0 h 478"/>
                <a:gd name="T8" fmla="*/ 478 w 479"/>
                <a:gd name="T9" fmla="*/ 238 h 478"/>
                <a:gd name="T10" fmla="*/ 478 w 479"/>
                <a:gd name="T11" fmla="*/ 477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9" h="478">
                  <a:moveTo>
                    <a:pt x="0" y="477"/>
                  </a:moveTo>
                  <a:lnTo>
                    <a:pt x="0" y="477"/>
                  </a:lnTo>
                  <a:cubicBezTo>
                    <a:pt x="0" y="238"/>
                    <a:pt x="0" y="238"/>
                    <a:pt x="0" y="238"/>
                  </a:cubicBezTo>
                  <a:cubicBezTo>
                    <a:pt x="0" y="104"/>
                    <a:pt x="105" y="0"/>
                    <a:pt x="239" y="0"/>
                  </a:cubicBezTo>
                  <a:cubicBezTo>
                    <a:pt x="374" y="0"/>
                    <a:pt x="478" y="104"/>
                    <a:pt x="478" y="238"/>
                  </a:cubicBezTo>
                  <a:cubicBezTo>
                    <a:pt x="478" y="477"/>
                    <a:pt x="478" y="477"/>
                    <a:pt x="478" y="477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32" name="Freeform 612"/>
            <p:cNvSpPr>
              <a:spLocks noChangeArrowheads="1"/>
            </p:cNvSpPr>
            <p:nvPr/>
          </p:nvSpPr>
          <p:spPr bwMode="auto">
            <a:xfrm>
              <a:off x="14674693" y="2294871"/>
              <a:ext cx="79104" cy="79104"/>
            </a:xfrm>
            <a:custGeom>
              <a:avLst/>
              <a:gdLst>
                <a:gd name="T0" fmla="*/ 120 w 121"/>
                <a:gd name="T1" fmla="*/ 59 h 120"/>
                <a:gd name="T2" fmla="*/ 120 w 121"/>
                <a:gd name="T3" fmla="*/ 59 h 120"/>
                <a:gd name="T4" fmla="*/ 60 w 121"/>
                <a:gd name="T5" fmla="*/ 119 h 120"/>
                <a:gd name="T6" fmla="*/ 0 w 121"/>
                <a:gd name="T7" fmla="*/ 59 h 120"/>
                <a:gd name="T8" fmla="*/ 60 w 121"/>
                <a:gd name="T9" fmla="*/ 0 h 120"/>
                <a:gd name="T10" fmla="*/ 120 w 121"/>
                <a:gd name="T11" fmla="*/ 5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120">
                  <a:moveTo>
                    <a:pt x="120" y="59"/>
                  </a:moveTo>
                  <a:lnTo>
                    <a:pt x="120" y="59"/>
                  </a:lnTo>
                  <a:cubicBezTo>
                    <a:pt x="120" y="97"/>
                    <a:pt x="97" y="119"/>
                    <a:pt x="60" y="119"/>
                  </a:cubicBezTo>
                  <a:cubicBezTo>
                    <a:pt x="30" y="119"/>
                    <a:pt x="0" y="97"/>
                    <a:pt x="0" y="59"/>
                  </a:cubicBezTo>
                  <a:cubicBezTo>
                    <a:pt x="0" y="30"/>
                    <a:pt x="30" y="0"/>
                    <a:pt x="60" y="0"/>
                  </a:cubicBezTo>
                  <a:cubicBezTo>
                    <a:pt x="97" y="0"/>
                    <a:pt x="120" y="30"/>
                    <a:pt x="120" y="5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33" name="Line 613"/>
            <p:cNvSpPr>
              <a:spLocks noChangeShapeType="1"/>
            </p:cNvSpPr>
            <p:nvPr/>
          </p:nvSpPr>
          <p:spPr bwMode="auto">
            <a:xfrm>
              <a:off x="14715711" y="2373975"/>
              <a:ext cx="2929" cy="41018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7878021" y="937952"/>
            <a:ext cx="240245" cy="309098"/>
            <a:chOff x="15752867" y="1875904"/>
            <a:chExt cx="480490" cy="618195"/>
          </a:xfrm>
        </p:grpSpPr>
        <p:sp>
          <p:nvSpPr>
            <p:cNvPr id="5734" name="Freeform 614"/>
            <p:cNvSpPr>
              <a:spLocks noChangeArrowheads="1"/>
            </p:cNvSpPr>
            <p:nvPr/>
          </p:nvSpPr>
          <p:spPr bwMode="auto">
            <a:xfrm>
              <a:off x="15752867" y="2195258"/>
              <a:ext cx="480490" cy="298841"/>
            </a:xfrm>
            <a:custGeom>
              <a:avLst/>
              <a:gdLst>
                <a:gd name="T0" fmla="*/ 724 w 725"/>
                <a:gd name="T1" fmla="*/ 0 h 449"/>
                <a:gd name="T2" fmla="*/ 0 w 725"/>
                <a:gd name="T3" fmla="*/ 0 h 449"/>
                <a:gd name="T4" fmla="*/ 0 w 725"/>
                <a:gd name="T5" fmla="*/ 448 h 449"/>
                <a:gd name="T6" fmla="*/ 724 w 725"/>
                <a:gd name="T7" fmla="*/ 448 h 449"/>
                <a:gd name="T8" fmla="*/ 724 w 725"/>
                <a:gd name="T9" fmla="*/ 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5" h="449">
                  <a:moveTo>
                    <a:pt x="724" y="0"/>
                  </a:moveTo>
                  <a:lnTo>
                    <a:pt x="0" y="0"/>
                  </a:lnTo>
                  <a:lnTo>
                    <a:pt x="0" y="448"/>
                  </a:lnTo>
                  <a:lnTo>
                    <a:pt x="724" y="448"/>
                  </a:lnTo>
                  <a:lnTo>
                    <a:pt x="724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35" name="Freeform 615"/>
            <p:cNvSpPr>
              <a:spLocks noChangeArrowheads="1"/>
            </p:cNvSpPr>
            <p:nvPr/>
          </p:nvSpPr>
          <p:spPr bwMode="auto">
            <a:xfrm>
              <a:off x="15837830" y="1875904"/>
              <a:ext cx="319352" cy="316421"/>
            </a:xfrm>
            <a:custGeom>
              <a:avLst/>
              <a:gdLst>
                <a:gd name="T0" fmla="*/ 0 w 479"/>
                <a:gd name="T1" fmla="*/ 477 h 478"/>
                <a:gd name="T2" fmla="*/ 0 w 479"/>
                <a:gd name="T3" fmla="*/ 477 h 478"/>
                <a:gd name="T4" fmla="*/ 0 w 479"/>
                <a:gd name="T5" fmla="*/ 238 h 478"/>
                <a:gd name="T6" fmla="*/ 239 w 479"/>
                <a:gd name="T7" fmla="*/ 0 h 478"/>
                <a:gd name="T8" fmla="*/ 478 w 479"/>
                <a:gd name="T9" fmla="*/ 238 h 478"/>
                <a:gd name="T10" fmla="*/ 478 w 479"/>
                <a:gd name="T11" fmla="*/ 283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9" h="478">
                  <a:moveTo>
                    <a:pt x="0" y="477"/>
                  </a:moveTo>
                  <a:lnTo>
                    <a:pt x="0" y="477"/>
                  </a:lnTo>
                  <a:cubicBezTo>
                    <a:pt x="0" y="238"/>
                    <a:pt x="0" y="238"/>
                    <a:pt x="0" y="238"/>
                  </a:cubicBezTo>
                  <a:cubicBezTo>
                    <a:pt x="0" y="104"/>
                    <a:pt x="105" y="0"/>
                    <a:pt x="239" y="0"/>
                  </a:cubicBezTo>
                  <a:cubicBezTo>
                    <a:pt x="373" y="0"/>
                    <a:pt x="478" y="104"/>
                    <a:pt x="478" y="238"/>
                  </a:cubicBezTo>
                  <a:cubicBezTo>
                    <a:pt x="478" y="283"/>
                    <a:pt x="478" y="283"/>
                    <a:pt x="478" y="283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36" name="Freeform 616"/>
            <p:cNvSpPr>
              <a:spLocks noChangeArrowheads="1"/>
            </p:cNvSpPr>
            <p:nvPr/>
          </p:nvSpPr>
          <p:spPr bwMode="auto">
            <a:xfrm>
              <a:off x="15955024" y="2294871"/>
              <a:ext cx="79106" cy="79104"/>
            </a:xfrm>
            <a:custGeom>
              <a:avLst/>
              <a:gdLst>
                <a:gd name="T0" fmla="*/ 120 w 121"/>
                <a:gd name="T1" fmla="*/ 59 h 120"/>
                <a:gd name="T2" fmla="*/ 120 w 121"/>
                <a:gd name="T3" fmla="*/ 59 h 120"/>
                <a:gd name="T4" fmla="*/ 60 w 121"/>
                <a:gd name="T5" fmla="*/ 119 h 120"/>
                <a:gd name="T6" fmla="*/ 0 w 121"/>
                <a:gd name="T7" fmla="*/ 59 h 120"/>
                <a:gd name="T8" fmla="*/ 60 w 121"/>
                <a:gd name="T9" fmla="*/ 0 h 120"/>
                <a:gd name="T10" fmla="*/ 120 w 121"/>
                <a:gd name="T11" fmla="*/ 5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120">
                  <a:moveTo>
                    <a:pt x="120" y="59"/>
                  </a:moveTo>
                  <a:lnTo>
                    <a:pt x="120" y="59"/>
                  </a:lnTo>
                  <a:cubicBezTo>
                    <a:pt x="120" y="97"/>
                    <a:pt x="90" y="119"/>
                    <a:pt x="60" y="119"/>
                  </a:cubicBezTo>
                  <a:cubicBezTo>
                    <a:pt x="23" y="119"/>
                    <a:pt x="0" y="97"/>
                    <a:pt x="0" y="59"/>
                  </a:cubicBezTo>
                  <a:cubicBezTo>
                    <a:pt x="0" y="30"/>
                    <a:pt x="23" y="0"/>
                    <a:pt x="60" y="0"/>
                  </a:cubicBezTo>
                  <a:cubicBezTo>
                    <a:pt x="90" y="0"/>
                    <a:pt x="120" y="30"/>
                    <a:pt x="120" y="5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37" name="Line 617"/>
            <p:cNvSpPr>
              <a:spLocks noChangeShapeType="1"/>
            </p:cNvSpPr>
            <p:nvPr/>
          </p:nvSpPr>
          <p:spPr bwMode="auto">
            <a:xfrm>
              <a:off x="15996040" y="2373975"/>
              <a:ext cx="2931" cy="41018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8478635" y="1033173"/>
            <a:ext cx="314954" cy="118658"/>
            <a:chOff x="16954094" y="2066345"/>
            <a:chExt cx="629908" cy="237315"/>
          </a:xfrm>
        </p:grpSpPr>
        <p:sp>
          <p:nvSpPr>
            <p:cNvPr id="5738" name="Freeform 618"/>
            <p:cNvSpPr>
              <a:spLocks noChangeArrowheads="1"/>
            </p:cNvSpPr>
            <p:nvPr/>
          </p:nvSpPr>
          <p:spPr bwMode="auto">
            <a:xfrm>
              <a:off x="17340829" y="2066345"/>
              <a:ext cx="243173" cy="237315"/>
            </a:xfrm>
            <a:custGeom>
              <a:avLst/>
              <a:gdLst>
                <a:gd name="T0" fmla="*/ 0 w 367"/>
                <a:gd name="T1" fmla="*/ 179 h 359"/>
                <a:gd name="T2" fmla="*/ 0 w 367"/>
                <a:gd name="T3" fmla="*/ 179 h 359"/>
                <a:gd name="T4" fmla="*/ 179 w 367"/>
                <a:gd name="T5" fmla="*/ 0 h 359"/>
                <a:gd name="T6" fmla="*/ 366 w 367"/>
                <a:gd name="T7" fmla="*/ 179 h 359"/>
                <a:gd name="T8" fmla="*/ 179 w 367"/>
                <a:gd name="T9" fmla="*/ 358 h 359"/>
                <a:gd name="T10" fmla="*/ 0 w 367"/>
                <a:gd name="T11" fmla="*/ 17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7" h="359">
                  <a:moveTo>
                    <a:pt x="0" y="179"/>
                  </a:moveTo>
                  <a:lnTo>
                    <a:pt x="0" y="179"/>
                  </a:lnTo>
                  <a:cubicBezTo>
                    <a:pt x="0" y="82"/>
                    <a:pt x="82" y="0"/>
                    <a:pt x="179" y="0"/>
                  </a:cubicBezTo>
                  <a:cubicBezTo>
                    <a:pt x="284" y="0"/>
                    <a:pt x="366" y="82"/>
                    <a:pt x="366" y="179"/>
                  </a:cubicBezTo>
                  <a:cubicBezTo>
                    <a:pt x="366" y="276"/>
                    <a:pt x="284" y="358"/>
                    <a:pt x="179" y="358"/>
                  </a:cubicBezTo>
                  <a:cubicBezTo>
                    <a:pt x="82" y="358"/>
                    <a:pt x="0" y="276"/>
                    <a:pt x="0" y="17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39" name="Line 619"/>
            <p:cNvSpPr>
              <a:spLocks noChangeShapeType="1"/>
            </p:cNvSpPr>
            <p:nvPr/>
          </p:nvSpPr>
          <p:spPr bwMode="auto">
            <a:xfrm>
              <a:off x="16954094" y="2183538"/>
              <a:ext cx="377947" cy="292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40" name="Line 620"/>
            <p:cNvSpPr>
              <a:spLocks noChangeShapeType="1"/>
            </p:cNvSpPr>
            <p:nvPr/>
          </p:nvSpPr>
          <p:spPr bwMode="auto">
            <a:xfrm>
              <a:off x="17012690" y="2183538"/>
              <a:ext cx="2929" cy="996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41" name="Line 621"/>
            <p:cNvSpPr>
              <a:spLocks noChangeShapeType="1"/>
            </p:cNvSpPr>
            <p:nvPr/>
          </p:nvSpPr>
          <p:spPr bwMode="auto">
            <a:xfrm>
              <a:off x="17091794" y="2183536"/>
              <a:ext cx="2931" cy="58597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9120265" y="936489"/>
            <a:ext cx="310561" cy="310561"/>
            <a:chOff x="18237355" y="1872977"/>
            <a:chExt cx="621122" cy="621122"/>
          </a:xfrm>
        </p:grpSpPr>
        <p:sp>
          <p:nvSpPr>
            <p:cNvPr id="5776" name="Freeform 656"/>
            <p:cNvSpPr>
              <a:spLocks noChangeArrowheads="1"/>
            </p:cNvSpPr>
            <p:nvPr/>
          </p:nvSpPr>
          <p:spPr bwMode="auto">
            <a:xfrm>
              <a:off x="18539125" y="1872977"/>
              <a:ext cx="319352" cy="322281"/>
            </a:xfrm>
            <a:custGeom>
              <a:avLst/>
              <a:gdLst>
                <a:gd name="T0" fmla="*/ 90 w 479"/>
                <a:gd name="T1" fmla="*/ 470 h 486"/>
                <a:gd name="T2" fmla="*/ 90 w 479"/>
                <a:gd name="T3" fmla="*/ 470 h 486"/>
                <a:gd name="T4" fmla="*/ 150 w 479"/>
                <a:gd name="T5" fmla="*/ 485 h 486"/>
                <a:gd name="T6" fmla="*/ 269 w 479"/>
                <a:gd name="T7" fmla="*/ 426 h 486"/>
                <a:gd name="T8" fmla="*/ 448 w 479"/>
                <a:gd name="T9" fmla="*/ 246 h 486"/>
                <a:gd name="T10" fmla="*/ 478 w 479"/>
                <a:gd name="T11" fmla="*/ 157 h 486"/>
                <a:gd name="T12" fmla="*/ 329 w 479"/>
                <a:gd name="T13" fmla="*/ 0 h 486"/>
                <a:gd name="T14" fmla="*/ 239 w 479"/>
                <a:gd name="T15" fmla="*/ 37 h 486"/>
                <a:gd name="T16" fmla="*/ 45 w 479"/>
                <a:gd name="T17" fmla="*/ 231 h 486"/>
                <a:gd name="T18" fmla="*/ 0 w 479"/>
                <a:gd name="T19" fmla="*/ 336 h 486"/>
                <a:gd name="T20" fmla="*/ 8 w 479"/>
                <a:gd name="T21" fmla="*/ 39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9" h="486">
                  <a:moveTo>
                    <a:pt x="90" y="470"/>
                  </a:moveTo>
                  <a:lnTo>
                    <a:pt x="90" y="470"/>
                  </a:lnTo>
                  <a:cubicBezTo>
                    <a:pt x="105" y="478"/>
                    <a:pt x="127" y="485"/>
                    <a:pt x="150" y="485"/>
                  </a:cubicBezTo>
                  <a:cubicBezTo>
                    <a:pt x="195" y="485"/>
                    <a:pt x="239" y="463"/>
                    <a:pt x="269" y="426"/>
                  </a:cubicBezTo>
                  <a:cubicBezTo>
                    <a:pt x="448" y="246"/>
                    <a:pt x="448" y="246"/>
                    <a:pt x="448" y="246"/>
                  </a:cubicBezTo>
                  <a:cubicBezTo>
                    <a:pt x="471" y="217"/>
                    <a:pt x="478" y="187"/>
                    <a:pt x="478" y="157"/>
                  </a:cubicBezTo>
                  <a:cubicBezTo>
                    <a:pt x="478" y="67"/>
                    <a:pt x="411" y="0"/>
                    <a:pt x="329" y="0"/>
                  </a:cubicBezTo>
                  <a:cubicBezTo>
                    <a:pt x="291" y="0"/>
                    <a:pt x="262" y="15"/>
                    <a:pt x="239" y="37"/>
                  </a:cubicBezTo>
                  <a:cubicBezTo>
                    <a:pt x="45" y="231"/>
                    <a:pt x="45" y="231"/>
                    <a:pt x="45" y="231"/>
                  </a:cubicBezTo>
                  <a:cubicBezTo>
                    <a:pt x="15" y="254"/>
                    <a:pt x="0" y="291"/>
                    <a:pt x="0" y="336"/>
                  </a:cubicBezTo>
                  <a:cubicBezTo>
                    <a:pt x="0" y="358"/>
                    <a:pt x="0" y="373"/>
                    <a:pt x="8" y="396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77" name="Freeform 657"/>
            <p:cNvSpPr>
              <a:spLocks noChangeArrowheads="1"/>
            </p:cNvSpPr>
            <p:nvPr/>
          </p:nvSpPr>
          <p:spPr bwMode="auto">
            <a:xfrm>
              <a:off x="18600653" y="2183538"/>
              <a:ext cx="2929" cy="29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78" name="Freeform 658"/>
            <p:cNvSpPr>
              <a:spLocks noChangeArrowheads="1"/>
            </p:cNvSpPr>
            <p:nvPr/>
          </p:nvSpPr>
          <p:spPr bwMode="auto">
            <a:xfrm>
              <a:off x="18544985" y="2133730"/>
              <a:ext cx="5860" cy="5860"/>
            </a:xfrm>
            <a:custGeom>
              <a:avLst/>
              <a:gdLst>
                <a:gd name="T0" fmla="*/ 0 w 8"/>
                <a:gd name="T1" fmla="*/ 0 h 8"/>
                <a:gd name="T2" fmla="*/ 0 w 8"/>
                <a:gd name="T3" fmla="*/ 0 h 8"/>
                <a:gd name="T4" fmla="*/ 7 w 8"/>
                <a:gd name="T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8">
                  <a:moveTo>
                    <a:pt x="0" y="0"/>
                  </a:moveTo>
                  <a:lnTo>
                    <a:pt x="0" y="0"/>
                  </a:lnTo>
                  <a:cubicBezTo>
                    <a:pt x="7" y="0"/>
                    <a:pt x="7" y="0"/>
                    <a:pt x="7" y="7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79" name="Freeform 659"/>
            <p:cNvSpPr>
              <a:spLocks noChangeArrowheads="1"/>
            </p:cNvSpPr>
            <p:nvPr/>
          </p:nvSpPr>
          <p:spPr bwMode="auto">
            <a:xfrm>
              <a:off x="18237355" y="2174747"/>
              <a:ext cx="322281" cy="319352"/>
            </a:xfrm>
            <a:custGeom>
              <a:avLst/>
              <a:gdLst>
                <a:gd name="T0" fmla="*/ 396 w 486"/>
                <a:gd name="T1" fmla="*/ 15 h 479"/>
                <a:gd name="T2" fmla="*/ 396 w 486"/>
                <a:gd name="T3" fmla="*/ 15 h 479"/>
                <a:gd name="T4" fmla="*/ 336 w 486"/>
                <a:gd name="T5" fmla="*/ 0 h 479"/>
                <a:gd name="T6" fmla="*/ 246 w 486"/>
                <a:gd name="T7" fmla="*/ 30 h 479"/>
                <a:gd name="T8" fmla="*/ 45 w 486"/>
                <a:gd name="T9" fmla="*/ 224 h 479"/>
                <a:gd name="T10" fmla="*/ 0 w 486"/>
                <a:gd name="T11" fmla="*/ 329 h 479"/>
                <a:gd name="T12" fmla="*/ 157 w 486"/>
                <a:gd name="T13" fmla="*/ 478 h 479"/>
                <a:gd name="T14" fmla="*/ 276 w 486"/>
                <a:gd name="T15" fmla="*/ 419 h 479"/>
                <a:gd name="T16" fmla="*/ 455 w 486"/>
                <a:gd name="T17" fmla="*/ 239 h 479"/>
                <a:gd name="T18" fmla="*/ 485 w 486"/>
                <a:gd name="T19" fmla="*/ 150 h 479"/>
                <a:gd name="T20" fmla="*/ 470 w 486"/>
                <a:gd name="T21" fmla="*/ 9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6" h="479">
                  <a:moveTo>
                    <a:pt x="396" y="15"/>
                  </a:moveTo>
                  <a:lnTo>
                    <a:pt x="396" y="15"/>
                  </a:lnTo>
                  <a:cubicBezTo>
                    <a:pt x="373" y="0"/>
                    <a:pt x="358" y="0"/>
                    <a:pt x="336" y="0"/>
                  </a:cubicBezTo>
                  <a:cubicBezTo>
                    <a:pt x="299" y="0"/>
                    <a:pt x="269" y="8"/>
                    <a:pt x="246" y="30"/>
                  </a:cubicBezTo>
                  <a:cubicBezTo>
                    <a:pt x="45" y="224"/>
                    <a:pt x="45" y="224"/>
                    <a:pt x="45" y="224"/>
                  </a:cubicBezTo>
                  <a:cubicBezTo>
                    <a:pt x="22" y="254"/>
                    <a:pt x="0" y="291"/>
                    <a:pt x="0" y="329"/>
                  </a:cubicBezTo>
                  <a:cubicBezTo>
                    <a:pt x="0" y="411"/>
                    <a:pt x="67" y="478"/>
                    <a:pt x="157" y="478"/>
                  </a:cubicBezTo>
                  <a:cubicBezTo>
                    <a:pt x="202" y="478"/>
                    <a:pt x="246" y="456"/>
                    <a:pt x="276" y="419"/>
                  </a:cubicBezTo>
                  <a:cubicBezTo>
                    <a:pt x="455" y="239"/>
                    <a:pt x="455" y="239"/>
                    <a:pt x="455" y="239"/>
                  </a:cubicBezTo>
                  <a:cubicBezTo>
                    <a:pt x="470" y="217"/>
                    <a:pt x="485" y="187"/>
                    <a:pt x="485" y="150"/>
                  </a:cubicBezTo>
                  <a:cubicBezTo>
                    <a:pt x="485" y="127"/>
                    <a:pt x="478" y="105"/>
                    <a:pt x="470" y="9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80" name="Line 660"/>
            <p:cNvSpPr>
              <a:spLocks noChangeShapeType="1"/>
            </p:cNvSpPr>
            <p:nvPr/>
          </p:nvSpPr>
          <p:spPr bwMode="auto">
            <a:xfrm flipV="1">
              <a:off x="18460021" y="2092712"/>
              <a:ext cx="178719" cy="18457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9760431" y="937953"/>
            <a:ext cx="309096" cy="309097"/>
            <a:chOff x="19517686" y="1875906"/>
            <a:chExt cx="618191" cy="618193"/>
          </a:xfrm>
        </p:grpSpPr>
        <p:sp>
          <p:nvSpPr>
            <p:cNvPr id="5781" name="Freeform 661"/>
            <p:cNvSpPr>
              <a:spLocks noChangeArrowheads="1"/>
            </p:cNvSpPr>
            <p:nvPr/>
          </p:nvSpPr>
          <p:spPr bwMode="auto">
            <a:xfrm>
              <a:off x="19655387" y="1875906"/>
              <a:ext cx="480490" cy="477561"/>
            </a:xfrm>
            <a:custGeom>
              <a:avLst/>
              <a:gdLst>
                <a:gd name="T0" fmla="*/ 0 w 725"/>
                <a:gd name="T1" fmla="*/ 358 h 717"/>
                <a:gd name="T2" fmla="*/ 0 w 725"/>
                <a:gd name="T3" fmla="*/ 358 h 717"/>
                <a:gd name="T4" fmla="*/ 358 w 725"/>
                <a:gd name="T5" fmla="*/ 0 h 717"/>
                <a:gd name="T6" fmla="*/ 724 w 725"/>
                <a:gd name="T7" fmla="*/ 358 h 717"/>
                <a:gd name="T8" fmla="*/ 358 w 725"/>
                <a:gd name="T9" fmla="*/ 716 h 717"/>
                <a:gd name="T10" fmla="*/ 0 w 725"/>
                <a:gd name="T11" fmla="*/ 358 h 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5" h="717">
                  <a:moveTo>
                    <a:pt x="0" y="358"/>
                  </a:moveTo>
                  <a:lnTo>
                    <a:pt x="0" y="358"/>
                  </a:lnTo>
                  <a:cubicBezTo>
                    <a:pt x="0" y="156"/>
                    <a:pt x="164" y="0"/>
                    <a:pt x="358" y="0"/>
                  </a:cubicBezTo>
                  <a:cubicBezTo>
                    <a:pt x="560" y="0"/>
                    <a:pt x="724" y="156"/>
                    <a:pt x="724" y="358"/>
                  </a:cubicBezTo>
                  <a:cubicBezTo>
                    <a:pt x="724" y="552"/>
                    <a:pt x="560" y="716"/>
                    <a:pt x="358" y="716"/>
                  </a:cubicBezTo>
                  <a:cubicBezTo>
                    <a:pt x="164" y="716"/>
                    <a:pt x="0" y="552"/>
                    <a:pt x="0" y="358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82" name="Line 662"/>
            <p:cNvSpPr>
              <a:spLocks noChangeShapeType="1"/>
            </p:cNvSpPr>
            <p:nvPr/>
          </p:nvSpPr>
          <p:spPr bwMode="auto">
            <a:xfrm flipV="1">
              <a:off x="19517686" y="2280220"/>
              <a:ext cx="208019" cy="213877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83" name="Line 663"/>
            <p:cNvSpPr>
              <a:spLocks noChangeShapeType="1"/>
            </p:cNvSpPr>
            <p:nvPr/>
          </p:nvSpPr>
          <p:spPr bwMode="auto">
            <a:xfrm>
              <a:off x="19517686" y="2324169"/>
              <a:ext cx="169930" cy="16993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10396201" y="937952"/>
            <a:ext cx="312027" cy="309097"/>
            <a:chOff x="20789226" y="1875904"/>
            <a:chExt cx="624053" cy="618194"/>
          </a:xfrm>
        </p:grpSpPr>
        <p:sp>
          <p:nvSpPr>
            <p:cNvPr id="5784" name="Freeform 664"/>
            <p:cNvSpPr>
              <a:spLocks noChangeArrowheads="1"/>
            </p:cNvSpPr>
            <p:nvPr/>
          </p:nvSpPr>
          <p:spPr bwMode="auto">
            <a:xfrm>
              <a:off x="20789226" y="2016537"/>
              <a:ext cx="480490" cy="477561"/>
            </a:xfrm>
            <a:custGeom>
              <a:avLst/>
              <a:gdLst>
                <a:gd name="T0" fmla="*/ 724 w 725"/>
                <a:gd name="T1" fmla="*/ 358 h 717"/>
                <a:gd name="T2" fmla="*/ 724 w 725"/>
                <a:gd name="T3" fmla="*/ 358 h 717"/>
                <a:gd name="T4" fmla="*/ 366 w 725"/>
                <a:gd name="T5" fmla="*/ 716 h 717"/>
                <a:gd name="T6" fmla="*/ 0 w 725"/>
                <a:gd name="T7" fmla="*/ 358 h 717"/>
                <a:gd name="T8" fmla="*/ 366 w 725"/>
                <a:gd name="T9" fmla="*/ 0 h 717"/>
                <a:gd name="T10" fmla="*/ 724 w 725"/>
                <a:gd name="T11" fmla="*/ 358 h 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5" h="717">
                  <a:moveTo>
                    <a:pt x="724" y="358"/>
                  </a:moveTo>
                  <a:lnTo>
                    <a:pt x="724" y="358"/>
                  </a:lnTo>
                  <a:cubicBezTo>
                    <a:pt x="724" y="559"/>
                    <a:pt x="560" y="716"/>
                    <a:pt x="366" y="716"/>
                  </a:cubicBezTo>
                  <a:cubicBezTo>
                    <a:pt x="164" y="716"/>
                    <a:pt x="0" y="559"/>
                    <a:pt x="0" y="358"/>
                  </a:cubicBezTo>
                  <a:cubicBezTo>
                    <a:pt x="0" y="156"/>
                    <a:pt x="164" y="0"/>
                    <a:pt x="366" y="0"/>
                  </a:cubicBezTo>
                  <a:cubicBezTo>
                    <a:pt x="560" y="0"/>
                    <a:pt x="724" y="156"/>
                    <a:pt x="724" y="358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85" name="Line 665"/>
            <p:cNvSpPr>
              <a:spLocks noChangeShapeType="1"/>
            </p:cNvSpPr>
            <p:nvPr/>
          </p:nvSpPr>
          <p:spPr bwMode="auto">
            <a:xfrm flipH="1">
              <a:off x="21199402" y="1875906"/>
              <a:ext cx="213877" cy="208019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86" name="Freeform 666"/>
            <p:cNvSpPr>
              <a:spLocks noChangeArrowheads="1"/>
            </p:cNvSpPr>
            <p:nvPr/>
          </p:nvSpPr>
          <p:spPr bwMode="auto">
            <a:xfrm>
              <a:off x="21231631" y="1875904"/>
              <a:ext cx="178719" cy="178721"/>
            </a:xfrm>
            <a:custGeom>
              <a:avLst/>
              <a:gdLst>
                <a:gd name="T0" fmla="*/ 0 w 269"/>
                <a:gd name="T1" fmla="*/ 0 h 269"/>
                <a:gd name="T2" fmla="*/ 268 w 269"/>
                <a:gd name="T3" fmla="*/ 0 h 269"/>
                <a:gd name="T4" fmla="*/ 268 w 269"/>
                <a:gd name="T5" fmla="*/ 26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9" h="269">
                  <a:moveTo>
                    <a:pt x="0" y="0"/>
                  </a:moveTo>
                  <a:lnTo>
                    <a:pt x="268" y="0"/>
                  </a:lnTo>
                  <a:lnTo>
                    <a:pt x="268" y="268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11036367" y="937952"/>
            <a:ext cx="310562" cy="307632"/>
            <a:chOff x="22069559" y="1875904"/>
            <a:chExt cx="621123" cy="615264"/>
          </a:xfrm>
        </p:grpSpPr>
        <p:sp>
          <p:nvSpPr>
            <p:cNvPr id="5787" name="Freeform 667"/>
            <p:cNvSpPr>
              <a:spLocks noChangeArrowheads="1"/>
            </p:cNvSpPr>
            <p:nvPr/>
          </p:nvSpPr>
          <p:spPr bwMode="auto">
            <a:xfrm>
              <a:off x="22447507" y="1875904"/>
              <a:ext cx="243175" cy="237317"/>
            </a:xfrm>
            <a:custGeom>
              <a:avLst/>
              <a:gdLst>
                <a:gd name="T0" fmla="*/ 0 w 367"/>
                <a:gd name="T1" fmla="*/ 179 h 359"/>
                <a:gd name="T2" fmla="*/ 0 w 367"/>
                <a:gd name="T3" fmla="*/ 179 h 359"/>
                <a:gd name="T4" fmla="*/ 187 w 367"/>
                <a:gd name="T5" fmla="*/ 358 h 359"/>
                <a:gd name="T6" fmla="*/ 366 w 367"/>
                <a:gd name="T7" fmla="*/ 179 h 359"/>
                <a:gd name="T8" fmla="*/ 187 w 367"/>
                <a:gd name="T9" fmla="*/ 0 h 359"/>
                <a:gd name="T10" fmla="*/ 0 w 367"/>
                <a:gd name="T11" fmla="*/ 17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7" h="359">
                  <a:moveTo>
                    <a:pt x="0" y="179"/>
                  </a:moveTo>
                  <a:lnTo>
                    <a:pt x="0" y="179"/>
                  </a:lnTo>
                  <a:cubicBezTo>
                    <a:pt x="0" y="276"/>
                    <a:pt x="83" y="358"/>
                    <a:pt x="187" y="358"/>
                  </a:cubicBezTo>
                  <a:cubicBezTo>
                    <a:pt x="284" y="358"/>
                    <a:pt x="366" y="276"/>
                    <a:pt x="366" y="179"/>
                  </a:cubicBezTo>
                  <a:cubicBezTo>
                    <a:pt x="366" y="74"/>
                    <a:pt x="284" y="0"/>
                    <a:pt x="187" y="0"/>
                  </a:cubicBezTo>
                  <a:cubicBezTo>
                    <a:pt x="83" y="0"/>
                    <a:pt x="0" y="74"/>
                    <a:pt x="0" y="17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88" name="Freeform 668"/>
            <p:cNvSpPr>
              <a:spLocks noChangeArrowheads="1"/>
            </p:cNvSpPr>
            <p:nvPr/>
          </p:nvSpPr>
          <p:spPr bwMode="auto">
            <a:xfrm>
              <a:off x="22069559" y="2183536"/>
              <a:ext cx="199228" cy="199228"/>
            </a:xfrm>
            <a:custGeom>
              <a:avLst/>
              <a:gdLst>
                <a:gd name="T0" fmla="*/ 299 w 300"/>
                <a:gd name="T1" fmla="*/ 150 h 300"/>
                <a:gd name="T2" fmla="*/ 299 w 300"/>
                <a:gd name="T3" fmla="*/ 150 h 300"/>
                <a:gd name="T4" fmla="*/ 149 w 300"/>
                <a:gd name="T5" fmla="*/ 299 h 300"/>
                <a:gd name="T6" fmla="*/ 0 w 300"/>
                <a:gd name="T7" fmla="*/ 150 h 300"/>
                <a:gd name="T8" fmla="*/ 149 w 300"/>
                <a:gd name="T9" fmla="*/ 0 h 300"/>
                <a:gd name="T10" fmla="*/ 299 w 300"/>
                <a:gd name="T11" fmla="*/ 15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0" h="300">
                  <a:moveTo>
                    <a:pt x="299" y="150"/>
                  </a:moveTo>
                  <a:lnTo>
                    <a:pt x="299" y="150"/>
                  </a:lnTo>
                  <a:cubicBezTo>
                    <a:pt x="299" y="232"/>
                    <a:pt x="232" y="299"/>
                    <a:pt x="149" y="299"/>
                  </a:cubicBezTo>
                  <a:cubicBezTo>
                    <a:pt x="67" y="299"/>
                    <a:pt x="0" y="232"/>
                    <a:pt x="0" y="150"/>
                  </a:cubicBezTo>
                  <a:cubicBezTo>
                    <a:pt x="0" y="67"/>
                    <a:pt x="67" y="0"/>
                    <a:pt x="149" y="0"/>
                  </a:cubicBezTo>
                  <a:cubicBezTo>
                    <a:pt x="232" y="0"/>
                    <a:pt x="299" y="67"/>
                    <a:pt x="299" y="15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89" name="Freeform 669"/>
            <p:cNvSpPr>
              <a:spLocks noChangeArrowheads="1"/>
            </p:cNvSpPr>
            <p:nvPr/>
          </p:nvSpPr>
          <p:spPr bwMode="auto">
            <a:xfrm>
              <a:off x="22456296" y="2332958"/>
              <a:ext cx="164070" cy="158210"/>
            </a:xfrm>
            <a:custGeom>
              <a:avLst/>
              <a:gdLst>
                <a:gd name="T0" fmla="*/ 0 w 248"/>
                <a:gd name="T1" fmla="*/ 120 h 240"/>
                <a:gd name="T2" fmla="*/ 0 w 248"/>
                <a:gd name="T3" fmla="*/ 120 h 240"/>
                <a:gd name="T4" fmla="*/ 120 w 248"/>
                <a:gd name="T5" fmla="*/ 0 h 240"/>
                <a:gd name="T6" fmla="*/ 247 w 248"/>
                <a:gd name="T7" fmla="*/ 120 h 240"/>
                <a:gd name="T8" fmla="*/ 120 w 248"/>
                <a:gd name="T9" fmla="*/ 239 h 240"/>
                <a:gd name="T10" fmla="*/ 0 w 248"/>
                <a:gd name="T11" fmla="*/ 12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8" h="240">
                  <a:moveTo>
                    <a:pt x="0" y="120"/>
                  </a:moveTo>
                  <a:lnTo>
                    <a:pt x="0" y="120"/>
                  </a:lnTo>
                  <a:cubicBezTo>
                    <a:pt x="0" y="52"/>
                    <a:pt x="60" y="0"/>
                    <a:pt x="120" y="0"/>
                  </a:cubicBezTo>
                  <a:cubicBezTo>
                    <a:pt x="187" y="0"/>
                    <a:pt x="247" y="52"/>
                    <a:pt x="247" y="120"/>
                  </a:cubicBezTo>
                  <a:cubicBezTo>
                    <a:pt x="247" y="187"/>
                    <a:pt x="187" y="239"/>
                    <a:pt x="120" y="239"/>
                  </a:cubicBezTo>
                  <a:cubicBezTo>
                    <a:pt x="60" y="239"/>
                    <a:pt x="0" y="187"/>
                    <a:pt x="0" y="12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90" name="Line 670"/>
            <p:cNvSpPr>
              <a:spLocks noChangeShapeType="1"/>
            </p:cNvSpPr>
            <p:nvPr/>
          </p:nvSpPr>
          <p:spPr bwMode="auto">
            <a:xfrm flipH="1" flipV="1">
              <a:off x="22254137" y="2321238"/>
              <a:ext cx="205088" cy="8496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91" name="Line 671"/>
            <p:cNvSpPr>
              <a:spLocks noChangeShapeType="1"/>
            </p:cNvSpPr>
            <p:nvPr/>
          </p:nvSpPr>
          <p:spPr bwMode="auto">
            <a:xfrm flipV="1">
              <a:off x="22248279" y="2072205"/>
              <a:ext cx="216806" cy="14356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7230743" y="4788381"/>
            <a:ext cx="310562" cy="266614"/>
            <a:chOff x="14458311" y="9576762"/>
            <a:chExt cx="621123" cy="533227"/>
          </a:xfrm>
        </p:grpSpPr>
        <p:sp>
          <p:nvSpPr>
            <p:cNvPr id="5264" name="Freeform 144"/>
            <p:cNvSpPr>
              <a:spLocks noChangeArrowheads="1"/>
            </p:cNvSpPr>
            <p:nvPr/>
          </p:nvSpPr>
          <p:spPr bwMode="auto">
            <a:xfrm>
              <a:off x="14458311" y="9793568"/>
              <a:ext cx="125984" cy="205088"/>
            </a:xfrm>
            <a:custGeom>
              <a:avLst/>
              <a:gdLst>
                <a:gd name="T0" fmla="*/ 157 w 188"/>
                <a:gd name="T1" fmla="*/ 306 h 307"/>
                <a:gd name="T2" fmla="*/ 157 w 188"/>
                <a:gd name="T3" fmla="*/ 306 h 307"/>
                <a:gd name="T4" fmla="*/ 0 w 188"/>
                <a:gd name="T5" fmla="*/ 150 h 307"/>
                <a:gd name="T6" fmla="*/ 157 w 188"/>
                <a:gd name="T7" fmla="*/ 0 h 307"/>
                <a:gd name="T8" fmla="*/ 187 w 188"/>
                <a:gd name="T9" fmla="*/ 0 h 307"/>
                <a:gd name="T10" fmla="*/ 187 w 188"/>
                <a:gd name="T11" fmla="*/ 306 h 307"/>
                <a:gd name="T12" fmla="*/ 157 w 188"/>
                <a:gd name="T13" fmla="*/ 306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307">
                  <a:moveTo>
                    <a:pt x="157" y="306"/>
                  </a:moveTo>
                  <a:lnTo>
                    <a:pt x="157" y="306"/>
                  </a:lnTo>
                  <a:cubicBezTo>
                    <a:pt x="68" y="306"/>
                    <a:pt x="0" y="239"/>
                    <a:pt x="0" y="150"/>
                  </a:cubicBezTo>
                  <a:cubicBezTo>
                    <a:pt x="0" y="67"/>
                    <a:pt x="68" y="0"/>
                    <a:pt x="157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187" y="306"/>
                    <a:pt x="187" y="306"/>
                    <a:pt x="187" y="306"/>
                  </a:cubicBezTo>
                  <a:lnTo>
                    <a:pt x="157" y="306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65" name="Freeform 145"/>
            <p:cNvSpPr>
              <a:spLocks noChangeArrowheads="1"/>
            </p:cNvSpPr>
            <p:nvPr/>
          </p:nvSpPr>
          <p:spPr bwMode="auto">
            <a:xfrm>
              <a:off x="14959312" y="9793568"/>
              <a:ext cx="120122" cy="205088"/>
            </a:xfrm>
            <a:custGeom>
              <a:avLst/>
              <a:gdLst>
                <a:gd name="T0" fmla="*/ 29 w 180"/>
                <a:gd name="T1" fmla="*/ 0 h 307"/>
                <a:gd name="T2" fmla="*/ 29 w 180"/>
                <a:gd name="T3" fmla="*/ 0 h 307"/>
                <a:gd name="T4" fmla="*/ 179 w 180"/>
                <a:gd name="T5" fmla="*/ 150 h 307"/>
                <a:gd name="T6" fmla="*/ 29 w 180"/>
                <a:gd name="T7" fmla="*/ 306 h 307"/>
                <a:gd name="T8" fmla="*/ 0 w 180"/>
                <a:gd name="T9" fmla="*/ 306 h 307"/>
                <a:gd name="T10" fmla="*/ 0 w 180"/>
                <a:gd name="T11" fmla="*/ 0 h 307"/>
                <a:gd name="T12" fmla="*/ 29 w 180"/>
                <a:gd name="T13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307">
                  <a:moveTo>
                    <a:pt x="29" y="0"/>
                  </a:moveTo>
                  <a:lnTo>
                    <a:pt x="29" y="0"/>
                  </a:lnTo>
                  <a:cubicBezTo>
                    <a:pt x="111" y="0"/>
                    <a:pt x="179" y="67"/>
                    <a:pt x="179" y="150"/>
                  </a:cubicBezTo>
                  <a:cubicBezTo>
                    <a:pt x="179" y="239"/>
                    <a:pt x="111" y="306"/>
                    <a:pt x="29" y="306"/>
                  </a:cubicBezTo>
                  <a:cubicBezTo>
                    <a:pt x="0" y="306"/>
                    <a:pt x="0" y="306"/>
                    <a:pt x="0" y="306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9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66" name="Freeform 146"/>
            <p:cNvSpPr>
              <a:spLocks noChangeArrowheads="1"/>
            </p:cNvSpPr>
            <p:nvPr/>
          </p:nvSpPr>
          <p:spPr bwMode="auto">
            <a:xfrm>
              <a:off x="14584295" y="9576762"/>
              <a:ext cx="377947" cy="249035"/>
            </a:xfrm>
            <a:custGeom>
              <a:avLst/>
              <a:gdLst>
                <a:gd name="T0" fmla="*/ 0 w 569"/>
                <a:gd name="T1" fmla="*/ 373 h 374"/>
                <a:gd name="T2" fmla="*/ 0 w 569"/>
                <a:gd name="T3" fmla="*/ 373 h 374"/>
                <a:gd name="T4" fmla="*/ 0 w 569"/>
                <a:gd name="T5" fmla="*/ 239 h 374"/>
                <a:gd name="T6" fmla="*/ 284 w 569"/>
                <a:gd name="T7" fmla="*/ 0 h 374"/>
                <a:gd name="T8" fmla="*/ 568 w 569"/>
                <a:gd name="T9" fmla="*/ 239 h 374"/>
                <a:gd name="T10" fmla="*/ 568 w 569"/>
                <a:gd name="T11" fmla="*/ 328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9" h="374">
                  <a:moveTo>
                    <a:pt x="0" y="373"/>
                  </a:moveTo>
                  <a:lnTo>
                    <a:pt x="0" y="373"/>
                  </a:lnTo>
                  <a:cubicBezTo>
                    <a:pt x="0" y="239"/>
                    <a:pt x="0" y="239"/>
                    <a:pt x="0" y="239"/>
                  </a:cubicBezTo>
                  <a:cubicBezTo>
                    <a:pt x="0" y="239"/>
                    <a:pt x="0" y="0"/>
                    <a:pt x="284" y="0"/>
                  </a:cubicBezTo>
                  <a:cubicBezTo>
                    <a:pt x="568" y="0"/>
                    <a:pt x="568" y="239"/>
                    <a:pt x="568" y="239"/>
                  </a:cubicBezTo>
                  <a:cubicBezTo>
                    <a:pt x="568" y="328"/>
                    <a:pt x="568" y="328"/>
                    <a:pt x="568" y="328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67" name="Freeform 147"/>
            <p:cNvSpPr>
              <a:spLocks noChangeArrowheads="1"/>
            </p:cNvSpPr>
            <p:nvPr/>
          </p:nvSpPr>
          <p:spPr bwMode="auto">
            <a:xfrm>
              <a:off x="14730786" y="9998656"/>
              <a:ext cx="228526" cy="111333"/>
            </a:xfrm>
            <a:custGeom>
              <a:avLst/>
              <a:gdLst>
                <a:gd name="T0" fmla="*/ 344 w 345"/>
                <a:gd name="T1" fmla="*/ 0 h 166"/>
                <a:gd name="T2" fmla="*/ 344 w 345"/>
                <a:gd name="T3" fmla="*/ 75 h 166"/>
                <a:gd name="T4" fmla="*/ 119 w 345"/>
                <a:gd name="T5" fmla="*/ 165 h 166"/>
                <a:gd name="T6" fmla="*/ 0 w 345"/>
                <a:gd name="T7" fmla="*/ 165 h 166"/>
                <a:gd name="T8" fmla="*/ 0 w 345"/>
                <a:gd name="T9" fmla="*/ 105 h 166"/>
                <a:gd name="T10" fmla="*/ 119 w 345"/>
                <a:gd name="T11" fmla="*/ 105 h 166"/>
                <a:gd name="T12" fmla="*/ 119 w 345"/>
                <a:gd name="T13" fmla="*/ 15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5" h="166">
                  <a:moveTo>
                    <a:pt x="344" y="0"/>
                  </a:moveTo>
                  <a:lnTo>
                    <a:pt x="344" y="75"/>
                  </a:lnTo>
                  <a:lnTo>
                    <a:pt x="119" y="165"/>
                  </a:lnTo>
                  <a:lnTo>
                    <a:pt x="0" y="165"/>
                  </a:lnTo>
                  <a:lnTo>
                    <a:pt x="0" y="105"/>
                  </a:lnTo>
                  <a:lnTo>
                    <a:pt x="119" y="105"/>
                  </a:lnTo>
                  <a:lnTo>
                    <a:pt x="119" y="15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47" name="Group 5846">
            <a:extLst>
              <a:ext uri="{FF2B5EF4-FFF2-40B4-BE49-F238E27FC236}">
                <a16:creationId xmlns:a16="http://schemas.microsoft.com/office/drawing/2014/main" id="{AC9E7B37-6ECA-BD42-BB6C-F95BF5FB61E6}"/>
              </a:ext>
            </a:extLst>
          </p:cNvPr>
          <p:cNvGrpSpPr/>
          <p:nvPr/>
        </p:nvGrpSpPr>
        <p:grpSpPr>
          <a:xfrm>
            <a:off x="7870909" y="4763478"/>
            <a:ext cx="310563" cy="310562"/>
            <a:chOff x="7870909" y="4763478"/>
            <a:chExt cx="310563" cy="310562"/>
          </a:xfrm>
        </p:grpSpPr>
        <p:sp>
          <p:nvSpPr>
            <p:cNvPr id="5268" name="Freeform 148"/>
            <p:cNvSpPr>
              <a:spLocks noChangeArrowheads="1"/>
            </p:cNvSpPr>
            <p:nvPr/>
          </p:nvSpPr>
          <p:spPr bwMode="auto">
            <a:xfrm>
              <a:off x="7870909" y="4763478"/>
              <a:ext cx="134772" cy="134772"/>
            </a:xfrm>
            <a:custGeom>
              <a:avLst/>
              <a:gdLst>
                <a:gd name="T0" fmla="*/ 194 w 404"/>
                <a:gd name="T1" fmla="*/ 0 h 404"/>
                <a:gd name="T2" fmla="*/ 0 w 404"/>
                <a:gd name="T3" fmla="*/ 194 h 404"/>
                <a:gd name="T4" fmla="*/ 209 w 404"/>
                <a:gd name="T5" fmla="*/ 403 h 404"/>
                <a:gd name="T6" fmla="*/ 403 w 404"/>
                <a:gd name="T7" fmla="*/ 209 h 404"/>
                <a:gd name="T8" fmla="*/ 194 w 404"/>
                <a:gd name="T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4" h="404">
                  <a:moveTo>
                    <a:pt x="194" y="0"/>
                  </a:moveTo>
                  <a:lnTo>
                    <a:pt x="0" y="194"/>
                  </a:lnTo>
                  <a:lnTo>
                    <a:pt x="209" y="403"/>
                  </a:lnTo>
                  <a:lnTo>
                    <a:pt x="403" y="209"/>
                  </a:lnTo>
                  <a:lnTo>
                    <a:pt x="194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69" name="Freeform 149"/>
            <p:cNvSpPr>
              <a:spLocks noChangeArrowheads="1"/>
            </p:cNvSpPr>
            <p:nvPr/>
          </p:nvSpPr>
          <p:spPr bwMode="auto">
            <a:xfrm>
              <a:off x="7920717" y="4813285"/>
              <a:ext cx="260755" cy="260755"/>
            </a:xfrm>
            <a:custGeom>
              <a:avLst/>
              <a:gdLst>
                <a:gd name="T0" fmla="*/ 313 w 784"/>
                <a:gd name="T1" fmla="*/ 0 h 784"/>
                <a:gd name="T2" fmla="*/ 0 w 784"/>
                <a:gd name="T3" fmla="*/ 313 h 784"/>
                <a:gd name="T4" fmla="*/ 462 w 784"/>
                <a:gd name="T5" fmla="*/ 783 h 784"/>
                <a:gd name="T6" fmla="*/ 783 w 784"/>
                <a:gd name="T7" fmla="*/ 470 h 784"/>
                <a:gd name="T8" fmla="*/ 313 w 784"/>
                <a:gd name="T9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4" h="784">
                  <a:moveTo>
                    <a:pt x="313" y="0"/>
                  </a:moveTo>
                  <a:lnTo>
                    <a:pt x="0" y="313"/>
                  </a:lnTo>
                  <a:lnTo>
                    <a:pt x="462" y="783"/>
                  </a:lnTo>
                  <a:lnTo>
                    <a:pt x="783" y="470"/>
                  </a:lnTo>
                  <a:lnTo>
                    <a:pt x="313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70" name="Line 150"/>
            <p:cNvSpPr>
              <a:spLocks noChangeShapeType="1"/>
            </p:cNvSpPr>
            <p:nvPr/>
          </p:nvSpPr>
          <p:spPr bwMode="auto">
            <a:xfrm>
              <a:off x="7900208" y="4823539"/>
              <a:ext cx="43948" cy="45413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71" name="Line 151"/>
            <p:cNvSpPr>
              <a:spLocks noChangeShapeType="1"/>
            </p:cNvSpPr>
            <p:nvPr/>
          </p:nvSpPr>
          <p:spPr bwMode="auto">
            <a:xfrm>
              <a:off x="7930970" y="4792777"/>
              <a:ext cx="43948" cy="43948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46" name="Group 5845">
            <a:extLst>
              <a:ext uri="{FF2B5EF4-FFF2-40B4-BE49-F238E27FC236}">
                <a16:creationId xmlns:a16="http://schemas.microsoft.com/office/drawing/2014/main" id="{2BCF0D22-B24E-074F-96E7-24AF66745743}"/>
              </a:ext>
            </a:extLst>
          </p:cNvPr>
          <p:cNvGrpSpPr/>
          <p:nvPr/>
        </p:nvGrpSpPr>
        <p:grpSpPr>
          <a:xfrm>
            <a:off x="8508145" y="4813285"/>
            <a:ext cx="310561" cy="210948"/>
            <a:chOff x="8508145" y="4813285"/>
            <a:chExt cx="310561" cy="210948"/>
          </a:xfrm>
        </p:grpSpPr>
        <p:sp>
          <p:nvSpPr>
            <p:cNvPr id="5272" name="Freeform 152"/>
            <p:cNvSpPr>
              <a:spLocks noChangeArrowheads="1"/>
            </p:cNvSpPr>
            <p:nvPr/>
          </p:nvSpPr>
          <p:spPr bwMode="auto">
            <a:xfrm>
              <a:off x="8508145" y="4892391"/>
              <a:ext cx="310561" cy="131842"/>
            </a:xfrm>
            <a:custGeom>
              <a:avLst/>
              <a:gdLst>
                <a:gd name="T0" fmla="*/ 739 w 934"/>
                <a:gd name="T1" fmla="*/ 0 h 397"/>
                <a:gd name="T2" fmla="*/ 739 w 934"/>
                <a:gd name="T3" fmla="*/ 0 h 397"/>
                <a:gd name="T4" fmla="*/ 201 w 934"/>
                <a:gd name="T5" fmla="*/ 0 h 397"/>
                <a:gd name="T6" fmla="*/ 0 w 934"/>
                <a:gd name="T7" fmla="*/ 202 h 397"/>
                <a:gd name="T8" fmla="*/ 201 w 934"/>
                <a:gd name="T9" fmla="*/ 396 h 397"/>
                <a:gd name="T10" fmla="*/ 365 w 934"/>
                <a:gd name="T11" fmla="*/ 306 h 397"/>
                <a:gd name="T12" fmla="*/ 574 w 934"/>
                <a:gd name="T13" fmla="*/ 306 h 397"/>
                <a:gd name="T14" fmla="*/ 739 w 934"/>
                <a:gd name="T15" fmla="*/ 396 h 397"/>
                <a:gd name="T16" fmla="*/ 933 w 934"/>
                <a:gd name="T17" fmla="*/ 202 h 397"/>
                <a:gd name="T18" fmla="*/ 739 w 934"/>
                <a:gd name="T19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397">
                  <a:moveTo>
                    <a:pt x="739" y="0"/>
                  </a:moveTo>
                  <a:lnTo>
                    <a:pt x="739" y="0"/>
                  </a:lnTo>
                  <a:cubicBezTo>
                    <a:pt x="201" y="0"/>
                    <a:pt x="201" y="0"/>
                    <a:pt x="201" y="0"/>
                  </a:cubicBezTo>
                  <a:cubicBezTo>
                    <a:pt x="89" y="0"/>
                    <a:pt x="0" y="90"/>
                    <a:pt x="0" y="202"/>
                  </a:cubicBezTo>
                  <a:cubicBezTo>
                    <a:pt x="0" y="306"/>
                    <a:pt x="89" y="396"/>
                    <a:pt x="201" y="396"/>
                  </a:cubicBezTo>
                  <a:cubicBezTo>
                    <a:pt x="268" y="396"/>
                    <a:pt x="328" y="359"/>
                    <a:pt x="365" y="306"/>
                  </a:cubicBezTo>
                  <a:cubicBezTo>
                    <a:pt x="574" y="306"/>
                    <a:pt x="574" y="306"/>
                    <a:pt x="574" y="306"/>
                  </a:cubicBezTo>
                  <a:cubicBezTo>
                    <a:pt x="612" y="359"/>
                    <a:pt x="671" y="396"/>
                    <a:pt x="739" y="396"/>
                  </a:cubicBezTo>
                  <a:cubicBezTo>
                    <a:pt x="843" y="396"/>
                    <a:pt x="933" y="306"/>
                    <a:pt x="933" y="202"/>
                  </a:cubicBezTo>
                  <a:cubicBezTo>
                    <a:pt x="933" y="90"/>
                    <a:pt x="843" y="0"/>
                    <a:pt x="739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73" name="Line 153"/>
            <p:cNvSpPr>
              <a:spLocks noChangeShapeType="1"/>
            </p:cNvSpPr>
            <p:nvPr/>
          </p:nvSpPr>
          <p:spPr bwMode="auto">
            <a:xfrm>
              <a:off x="8575530" y="4917293"/>
              <a:ext cx="1466" cy="8203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74" name="Line 154"/>
            <p:cNvSpPr>
              <a:spLocks noChangeShapeType="1"/>
            </p:cNvSpPr>
            <p:nvPr/>
          </p:nvSpPr>
          <p:spPr bwMode="auto">
            <a:xfrm flipH="1">
              <a:off x="8534513" y="4959776"/>
              <a:ext cx="82035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75" name="Freeform 155"/>
            <p:cNvSpPr>
              <a:spLocks noChangeArrowheads="1"/>
            </p:cNvSpPr>
            <p:nvPr/>
          </p:nvSpPr>
          <p:spPr bwMode="auto">
            <a:xfrm>
              <a:off x="8719092" y="4921689"/>
              <a:ext cx="70316" cy="71780"/>
            </a:xfrm>
            <a:custGeom>
              <a:avLst/>
              <a:gdLst>
                <a:gd name="T0" fmla="*/ 209 w 210"/>
                <a:gd name="T1" fmla="*/ 104 h 217"/>
                <a:gd name="T2" fmla="*/ 209 w 210"/>
                <a:gd name="T3" fmla="*/ 104 h 217"/>
                <a:gd name="T4" fmla="*/ 105 w 210"/>
                <a:gd name="T5" fmla="*/ 216 h 217"/>
                <a:gd name="T6" fmla="*/ 0 w 210"/>
                <a:gd name="T7" fmla="*/ 104 h 217"/>
                <a:gd name="T8" fmla="*/ 105 w 210"/>
                <a:gd name="T9" fmla="*/ 0 h 217"/>
                <a:gd name="T10" fmla="*/ 209 w 210"/>
                <a:gd name="T11" fmla="*/ 10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" h="217">
                  <a:moveTo>
                    <a:pt x="209" y="104"/>
                  </a:moveTo>
                  <a:lnTo>
                    <a:pt x="209" y="104"/>
                  </a:lnTo>
                  <a:cubicBezTo>
                    <a:pt x="209" y="164"/>
                    <a:pt x="164" y="216"/>
                    <a:pt x="105" y="216"/>
                  </a:cubicBezTo>
                  <a:cubicBezTo>
                    <a:pt x="45" y="216"/>
                    <a:pt x="0" y="164"/>
                    <a:pt x="0" y="104"/>
                  </a:cubicBezTo>
                  <a:cubicBezTo>
                    <a:pt x="0" y="52"/>
                    <a:pt x="45" y="0"/>
                    <a:pt x="105" y="0"/>
                  </a:cubicBezTo>
                  <a:cubicBezTo>
                    <a:pt x="164" y="0"/>
                    <a:pt x="209" y="52"/>
                    <a:pt x="209" y="10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76" name="Line 156"/>
            <p:cNvSpPr>
              <a:spLocks noChangeShapeType="1"/>
            </p:cNvSpPr>
            <p:nvPr/>
          </p:nvSpPr>
          <p:spPr bwMode="auto">
            <a:xfrm>
              <a:off x="8754250" y="4921689"/>
              <a:ext cx="1466" cy="71780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77" name="Line 157"/>
            <p:cNvSpPr>
              <a:spLocks noChangeShapeType="1"/>
            </p:cNvSpPr>
            <p:nvPr/>
          </p:nvSpPr>
          <p:spPr bwMode="auto">
            <a:xfrm flipH="1">
              <a:off x="8717628" y="4959776"/>
              <a:ext cx="71780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78" name="Freeform 158"/>
            <p:cNvSpPr>
              <a:spLocks noChangeArrowheads="1"/>
            </p:cNvSpPr>
            <p:nvPr/>
          </p:nvSpPr>
          <p:spPr bwMode="auto">
            <a:xfrm>
              <a:off x="8664891" y="4813285"/>
              <a:ext cx="70316" cy="79105"/>
            </a:xfrm>
            <a:custGeom>
              <a:avLst/>
              <a:gdLst>
                <a:gd name="T0" fmla="*/ 0 w 210"/>
                <a:gd name="T1" fmla="*/ 238 h 239"/>
                <a:gd name="T2" fmla="*/ 0 w 210"/>
                <a:gd name="T3" fmla="*/ 149 h 239"/>
                <a:gd name="T4" fmla="*/ 209 w 210"/>
                <a:gd name="T5" fmla="*/ 149 h 239"/>
                <a:gd name="T6" fmla="*/ 209 w 210"/>
                <a:gd name="T7" fmla="*/ 44 h 239"/>
                <a:gd name="T8" fmla="*/ 60 w 210"/>
                <a:gd name="T9" fmla="*/ 44 h 239"/>
                <a:gd name="T10" fmla="*/ 60 w 210"/>
                <a:gd name="T11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" h="239">
                  <a:moveTo>
                    <a:pt x="0" y="238"/>
                  </a:moveTo>
                  <a:lnTo>
                    <a:pt x="0" y="149"/>
                  </a:lnTo>
                  <a:lnTo>
                    <a:pt x="209" y="149"/>
                  </a:lnTo>
                  <a:lnTo>
                    <a:pt x="209" y="44"/>
                  </a:lnTo>
                  <a:lnTo>
                    <a:pt x="60" y="44"/>
                  </a:lnTo>
                  <a:lnTo>
                    <a:pt x="60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36" name="Group 5835">
            <a:extLst>
              <a:ext uri="{FF2B5EF4-FFF2-40B4-BE49-F238E27FC236}">
                <a16:creationId xmlns:a16="http://schemas.microsoft.com/office/drawing/2014/main" id="{84225080-C932-D144-8928-D8B1EB3E4D3C}"/>
              </a:ext>
            </a:extLst>
          </p:cNvPr>
          <p:cNvGrpSpPr/>
          <p:nvPr/>
        </p:nvGrpSpPr>
        <p:grpSpPr>
          <a:xfrm>
            <a:off x="9110224" y="4123662"/>
            <a:ext cx="310561" cy="313491"/>
            <a:chOff x="9110224" y="4123662"/>
            <a:chExt cx="310561" cy="313491"/>
          </a:xfrm>
        </p:grpSpPr>
        <p:sp>
          <p:nvSpPr>
            <p:cNvPr id="5203" name="Freeform 83"/>
            <p:cNvSpPr>
              <a:spLocks noChangeArrowheads="1"/>
            </p:cNvSpPr>
            <p:nvPr/>
          </p:nvSpPr>
          <p:spPr bwMode="auto">
            <a:xfrm>
              <a:off x="9110224" y="4123662"/>
              <a:ext cx="310561" cy="313491"/>
            </a:xfrm>
            <a:custGeom>
              <a:avLst/>
              <a:gdLst>
                <a:gd name="T0" fmla="*/ 471 w 935"/>
                <a:gd name="T1" fmla="*/ 0 h 942"/>
                <a:gd name="T2" fmla="*/ 471 w 935"/>
                <a:gd name="T3" fmla="*/ 0 h 942"/>
                <a:gd name="T4" fmla="*/ 934 w 935"/>
                <a:gd name="T5" fmla="*/ 471 h 942"/>
                <a:gd name="T6" fmla="*/ 471 w 935"/>
                <a:gd name="T7" fmla="*/ 933 h 942"/>
                <a:gd name="T8" fmla="*/ 0 w 935"/>
                <a:gd name="T9" fmla="*/ 471 h 942"/>
                <a:gd name="T10" fmla="*/ 471 w 935"/>
                <a:gd name="T11" fmla="*/ 0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5" h="942">
                  <a:moveTo>
                    <a:pt x="471" y="0"/>
                  </a:moveTo>
                  <a:lnTo>
                    <a:pt x="471" y="0"/>
                  </a:lnTo>
                  <a:cubicBezTo>
                    <a:pt x="725" y="0"/>
                    <a:pt x="934" y="209"/>
                    <a:pt x="934" y="471"/>
                  </a:cubicBezTo>
                  <a:cubicBezTo>
                    <a:pt x="934" y="724"/>
                    <a:pt x="725" y="941"/>
                    <a:pt x="471" y="933"/>
                  </a:cubicBezTo>
                  <a:cubicBezTo>
                    <a:pt x="209" y="941"/>
                    <a:pt x="0" y="724"/>
                    <a:pt x="0" y="471"/>
                  </a:cubicBezTo>
                  <a:cubicBezTo>
                    <a:pt x="0" y="209"/>
                    <a:pt x="209" y="0"/>
                    <a:pt x="471" y="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04" name="Freeform 84"/>
            <p:cNvSpPr>
              <a:spLocks noChangeArrowheads="1"/>
            </p:cNvSpPr>
            <p:nvPr/>
          </p:nvSpPr>
          <p:spPr bwMode="auto">
            <a:xfrm>
              <a:off x="9157101" y="4158820"/>
              <a:ext cx="218273" cy="121588"/>
            </a:xfrm>
            <a:custGeom>
              <a:avLst/>
              <a:gdLst>
                <a:gd name="T0" fmla="*/ 0 w 658"/>
                <a:gd name="T1" fmla="*/ 366 h 367"/>
                <a:gd name="T2" fmla="*/ 0 w 658"/>
                <a:gd name="T3" fmla="*/ 366 h 367"/>
                <a:gd name="T4" fmla="*/ 97 w 658"/>
                <a:gd name="T5" fmla="*/ 134 h 367"/>
                <a:gd name="T6" fmla="*/ 560 w 658"/>
                <a:gd name="T7" fmla="*/ 134 h 367"/>
                <a:gd name="T8" fmla="*/ 657 w 658"/>
                <a:gd name="T9" fmla="*/ 3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8" h="367">
                  <a:moveTo>
                    <a:pt x="0" y="366"/>
                  </a:moveTo>
                  <a:lnTo>
                    <a:pt x="0" y="366"/>
                  </a:lnTo>
                  <a:cubicBezTo>
                    <a:pt x="0" y="283"/>
                    <a:pt x="30" y="194"/>
                    <a:pt x="97" y="134"/>
                  </a:cubicBezTo>
                  <a:cubicBezTo>
                    <a:pt x="224" y="0"/>
                    <a:pt x="433" y="0"/>
                    <a:pt x="560" y="134"/>
                  </a:cubicBezTo>
                  <a:cubicBezTo>
                    <a:pt x="627" y="194"/>
                    <a:pt x="657" y="283"/>
                    <a:pt x="657" y="366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05" name="Line 85"/>
            <p:cNvSpPr>
              <a:spLocks noChangeShapeType="1"/>
            </p:cNvSpPr>
            <p:nvPr/>
          </p:nvSpPr>
          <p:spPr bwMode="auto">
            <a:xfrm>
              <a:off x="9227417" y="4251110"/>
              <a:ext cx="29299" cy="36622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206" name="Freeform 86"/>
            <p:cNvSpPr>
              <a:spLocks noChangeArrowheads="1"/>
            </p:cNvSpPr>
            <p:nvPr/>
          </p:nvSpPr>
          <p:spPr bwMode="auto">
            <a:xfrm>
              <a:off x="9253785" y="4284802"/>
              <a:ext cx="23438" cy="20509"/>
            </a:xfrm>
            <a:custGeom>
              <a:avLst/>
              <a:gdLst>
                <a:gd name="T0" fmla="*/ 60 w 69"/>
                <a:gd name="T1" fmla="*/ 8 h 61"/>
                <a:gd name="T2" fmla="*/ 60 w 69"/>
                <a:gd name="T3" fmla="*/ 8 h 61"/>
                <a:gd name="T4" fmla="*/ 60 w 69"/>
                <a:gd name="T5" fmla="*/ 53 h 61"/>
                <a:gd name="T6" fmla="*/ 15 w 69"/>
                <a:gd name="T7" fmla="*/ 53 h 61"/>
                <a:gd name="T8" fmla="*/ 15 w 69"/>
                <a:gd name="T9" fmla="*/ 8 h 61"/>
                <a:gd name="T10" fmla="*/ 60 w 69"/>
                <a:gd name="T11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61">
                  <a:moveTo>
                    <a:pt x="60" y="8"/>
                  </a:moveTo>
                  <a:lnTo>
                    <a:pt x="60" y="8"/>
                  </a:lnTo>
                  <a:cubicBezTo>
                    <a:pt x="68" y="23"/>
                    <a:pt x="68" y="38"/>
                    <a:pt x="60" y="53"/>
                  </a:cubicBezTo>
                  <a:cubicBezTo>
                    <a:pt x="45" y="60"/>
                    <a:pt x="30" y="60"/>
                    <a:pt x="15" y="53"/>
                  </a:cubicBezTo>
                  <a:cubicBezTo>
                    <a:pt x="0" y="38"/>
                    <a:pt x="0" y="23"/>
                    <a:pt x="15" y="8"/>
                  </a:cubicBezTo>
                  <a:cubicBezTo>
                    <a:pt x="30" y="0"/>
                    <a:pt x="45" y="0"/>
                    <a:pt x="60" y="8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37" name="Group 5836">
            <a:extLst>
              <a:ext uri="{FF2B5EF4-FFF2-40B4-BE49-F238E27FC236}">
                <a16:creationId xmlns:a16="http://schemas.microsoft.com/office/drawing/2014/main" id="{80A1C7F9-EC5A-5D4C-BD93-38F12EF6C692}"/>
              </a:ext>
            </a:extLst>
          </p:cNvPr>
          <p:cNvGrpSpPr/>
          <p:nvPr/>
        </p:nvGrpSpPr>
        <p:grpSpPr>
          <a:xfrm>
            <a:off x="9750390" y="4205697"/>
            <a:ext cx="310561" cy="149421"/>
            <a:chOff x="9750390" y="4205697"/>
            <a:chExt cx="310561" cy="149421"/>
          </a:xfrm>
        </p:grpSpPr>
        <p:sp>
          <p:nvSpPr>
            <p:cNvPr id="5305" name="Freeform 185"/>
            <p:cNvSpPr>
              <a:spLocks noChangeArrowheads="1"/>
            </p:cNvSpPr>
            <p:nvPr/>
          </p:nvSpPr>
          <p:spPr bwMode="auto">
            <a:xfrm>
              <a:off x="9750390" y="4205697"/>
              <a:ext cx="310561" cy="149421"/>
            </a:xfrm>
            <a:custGeom>
              <a:avLst/>
              <a:gdLst>
                <a:gd name="T0" fmla="*/ 0 w 934"/>
                <a:gd name="T1" fmla="*/ 224 h 448"/>
                <a:gd name="T2" fmla="*/ 0 w 934"/>
                <a:gd name="T3" fmla="*/ 224 h 448"/>
                <a:gd name="T4" fmla="*/ 463 w 934"/>
                <a:gd name="T5" fmla="*/ 447 h 448"/>
                <a:gd name="T6" fmla="*/ 933 w 934"/>
                <a:gd name="T7" fmla="*/ 224 h 448"/>
                <a:gd name="T8" fmla="*/ 463 w 934"/>
                <a:gd name="T9" fmla="*/ 0 h 448"/>
                <a:gd name="T10" fmla="*/ 0 w 934"/>
                <a:gd name="T11" fmla="*/ 224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4" h="448">
                  <a:moveTo>
                    <a:pt x="0" y="224"/>
                  </a:moveTo>
                  <a:lnTo>
                    <a:pt x="0" y="224"/>
                  </a:lnTo>
                  <a:cubicBezTo>
                    <a:pt x="0" y="224"/>
                    <a:pt x="164" y="447"/>
                    <a:pt x="463" y="447"/>
                  </a:cubicBezTo>
                  <a:cubicBezTo>
                    <a:pt x="769" y="447"/>
                    <a:pt x="933" y="224"/>
                    <a:pt x="933" y="224"/>
                  </a:cubicBezTo>
                  <a:cubicBezTo>
                    <a:pt x="933" y="224"/>
                    <a:pt x="769" y="0"/>
                    <a:pt x="463" y="0"/>
                  </a:cubicBezTo>
                  <a:cubicBezTo>
                    <a:pt x="164" y="0"/>
                    <a:pt x="0" y="224"/>
                    <a:pt x="0" y="22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06" name="Freeform 186"/>
            <p:cNvSpPr>
              <a:spLocks noChangeArrowheads="1"/>
            </p:cNvSpPr>
            <p:nvPr/>
          </p:nvSpPr>
          <p:spPr bwMode="auto">
            <a:xfrm>
              <a:off x="9869047" y="4245250"/>
              <a:ext cx="70316" cy="70316"/>
            </a:xfrm>
            <a:custGeom>
              <a:avLst/>
              <a:gdLst>
                <a:gd name="T0" fmla="*/ 209 w 210"/>
                <a:gd name="T1" fmla="*/ 105 h 210"/>
                <a:gd name="T2" fmla="*/ 209 w 210"/>
                <a:gd name="T3" fmla="*/ 105 h 210"/>
                <a:gd name="T4" fmla="*/ 104 w 210"/>
                <a:gd name="T5" fmla="*/ 0 h 210"/>
                <a:gd name="T6" fmla="*/ 0 w 210"/>
                <a:gd name="T7" fmla="*/ 105 h 210"/>
                <a:gd name="T8" fmla="*/ 104 w 210"/>
                <a:gd name="T9" fmla="*/ 209 h 210"/>
                <a:gd name="T10" fmla="*/ 209 w 210"/>
                <a:gd name="T11" fmla="*/ 105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" h="210">
                  <a:moveTo>
                    <a:pt x="209" y="105"/>
                  </a:moveTo>
                  <a:lnTo>
                    <a:pt x="209" y="105"/>
                  </a:lnTo>
                  <a:cubicBezTo>
                    <a:pt x="209" y="45"/>
                    <a:pt x="164" y="0"/>
                    <a:pt x="104" y="0"/>
                  </a:cubicBezTo>
                  <a:cubicBezTo>
                    <a:pt x="52" y="0"/>
                    <a:pt x="0" y="45"/>
                    <a:pt x="0" y="105"/>
                  </a:cubicBezTo>
                  <a:cubicBezTo>
                    <a:pt x="0" y="164"/>
                    <a:pt x="52" y="209"/>
                    <a:pt x="104" y="209"/>
                  </a:cubicBezTo>
                  <a:cubicBezTo>
                    <a:pt x="164" y="209"/>
                    <a:pt x="209" y="164"/>
                    <a:pt x="209" y="105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38" name="Group 5837">
            <a:extLst>
              <a:ext uri="{FF2B5EF4-FFF2-40B4-BE49-F238E27FC236}">
                <a16:creationId xmlns:a16="http://schemas.microsoft.com/office/drawing/2014/main" id="{855BC246-D3EC-444B-BEBD-4DC66588F34A}"/>
              </a:ext>
            </a:extLst>
          </p:cNvPr>
          <p:cNvGrpSpPr/>
          <p:nvPr/>
        </p:nvGrpSpPr>
        <p:grpSpPr>
          <a:xfrm>
            <a:off x="10387625" y="4164679"/>
            <a:ext cx="310561" cy="231456"/>
            <a:chOff x="10387625" y="4164679"/>
            <a:chExt cx="310561" cy="231456"/>
          </a:xfrm>
        </p:grpSpPr>
        <p:sp>
          <p:nvSpPr>
            <p:cNvPr id="5307" name="Freeform 187"/>
            <p:cNvSpPr>
              <a:spLocks noChangeArrowheads="1"/>
            </p:cNvSpPr>
            <p:nvPr/>
          </p:nvSpPr>
          <p:spPr bwMode="auto">
            <a:xfrm>
              <a:off x="10387625" y="4205697"/>
              <a:ext cx="310561" cy="149421"/>
            </a:xfrm>
            <a:custGeom>
              <a:avLst/>
              <a:gdLst>
                <a:gd name="T0" fmla="*/ 0 w 934"/>
                <a:gd name="T1" fmla="*/ 224 h 448"/>
                <a:gd name="T2" fmla="*/ 0 w 934"/>
                <a:gd name="T3" fmla="*/ 224 h 448"/>
                <a:gd name="T4" fmla="*/ 470 w 934"/>
                <a:gd name="T5" fmla="*/ 447 h 448"/>
                <a:gd name="T6" fmla="*/ 933 w 934"/>
                <a:gd name="T7" fmla="*/ 224 h 448"/>
                <a:gd name="T8" fmla="*/ 470 w 934"/>
                <a:gd name="T9" fmla="*/ 0 h 448"/>
                <a:gd name="T10" fmla="*/ 0 w 934"/>
                <a:gd name="T11" fmla="*/ 224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4" h="448">
                  <a:moveTo>
                    <a:pt x="0" y="224"/>
                  </a:moveTo>
                  <a:lnTo>
                    <a:pt x="0" y="224"/>
                  </a:lnTo>
                  <a:cubicBezTo>
                    <a:pt x="0" y="224"/>
                    <a:pt x="171" y="447"/>
                    <a:pt x="470" y="447"/>
                  </a:cubicBezTo>
                  <a:cubicBezTo>
                    <a:pt x="769" y="447"/>
                    <a:pt x="933" y="224"/>
                    <a:pt x="933" y="224"/>
                  </a:cubicBezTo>
                  <a:cubicBezTo>
                    <a:pt x="933" y="224"/>
                    <a:pt x="769" y="0"/>
                    <a:pt x="470" y="0"/>
                  </a:cubicBezTo>
                  <a:cubicBezTo>
                    <a:pt x="171" y="0"/>
                    <a:pt x="0" y="224"/>
                    <a:pt x="0" y="22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08" name="Freeform 188"/>
            <p:cNvSpPr>
              <a:spLocks noChangeArrowheads="1"/>
            </p:cNvSpPr>
            <p:nvPr/>
          </p:nvSpPr>
          <p:spPr bwMode="auto">
            <a:xfrm>
              <a:off x="10509213" y="4245250"/>
              <a:ext cx="70316" cy="70316"/>
            </a:xfrm>
            <a:custGeom>
              <a:avLst/>
              <a:gdLst>
                <a:gd name="T0" fmla="*/ 209 w 210"/>
                <a:gd name="T1" fmla="*/ 105 h 210"/>
                <a:gd name="T2" fmla="*/ 209 w 210"/>
                <a:gd name="T3" fmla="*/ 105 h 210"/>
                <a:gd name="T4" fmla="*/ 105 w 210"/>
                <a:gd name="T5" fmla="*/ 0 h 210"/>
                <a:gd name="T6" fmla="*/ 0 w 210"/>
                <a:gd name="T7" fmla="*/ 105 h 210"/>
                <a:gd name="T8" fmla="*/ 105 w 210"/>
                <a:gd name="T9" fmla="*/ 209 h 210"/>
                <a:gd name="T10" fmla="*/ 209 w 210"/>
                <a:gd name="T11" fmla="*/ 105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" h="210">
                  <a:moveTo>
                    <a:pt x="209" y="105"/>
                  </a:moveTo>
                  <a:lnTo>
                    <a:pt x="209" y="105"/>
                  </a:lnTo>
                  <a:cubicBezTo>
                    <a:pt x="209" y="45"/>
                    <a:pt x="165" y="0"/>
                    <a:pt x="105" y="0"/>
                  </a:cubicBezTo>
                  <a:cubicBezTo>
                    <a:pt x="45" y="0"/>
                    <a:pt x="0" y="45"/>
                    <a:pt x="0" y="105"/>
                  </a:cubicBezTo>
                  <a:cubicBezTo>
                    <a:pt x="0" y="164"/>
                    <a:pt x="45" y="209"/>
                    <a:pt x="105" y="209"/>
                  </a:cubicBezTo>
                  <a:cubicBezTo>
                    <a:pt x="165" y="209"/>
                    <a:pt x="209" y="164"/>
                    <a:pt x="209" y="105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09" name="Line 189"/>
            <p:cNvSpPr>
              <a:spLocks noChangeShapeType="1"/>
            </p:cNvSpPr>
            <p:nvPr/>
          </p:nvSpPr>
          <p:spPr bwMode="auto">
            <a:xfrm flipV="1">
              <a:off x="10430108" y="4164679"/>
              <a:ext cx="228526" cy="231456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1040761" y="4112843"/>
            <a:ext cx="271009" cy="307631"/>
            <a:chOff x="14470031" y="13420684"/>
            <a:chExt cx="542018" cy="615262"/>
          </a:xfrm>
        </p:grpSpPr>
        <p:sp>
          <p:nvSpPr>
            <p:cNvPr id="5315" name="Freeform 195"/>
            <p:cNvSpPr>
              <a:spLocks noChangeArrowheads="1"/>
            </p:cNvSpPr>
            <p:nvPr/>
          </p:nvSpPr>
          <p:spPr bwMode="auto">
            <a:xfrm>
              <a:off x="14470031" y="13420684"/>
              <a:ext cx="542018" cy="398456"/>
            </a:xfrm>
            <a:custGeom>
              <a:avLst/>
              <a:gdLst>
                <a:gd name="T0" fmla="*/ 0 w 815"/>
                <a:gd name="T1" fmla="*/ 597 h 598"/>
                <a:gd name="T2" fmla="*/ 97 w 815"/>
                <a:gd name="T3" fmla="*/ 0 h 598"/>
                <a:gd name="T4" fmla="*/ 724 w 815"/>
                <a:gd name="T5" fmla="*/ 0 h 598"/>
                <a:gd name="T6" fmla="*/ 814 w 815"/>
                <a:gd name="T7" fmla="*/ 597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5" h="598">
                  <a:moveTo>
                    <a:pt x="0" y="597"/>
                  </a:moveTo>
                  <a:lnTo>
                    <a:pt x="97" y="0"/>
                  </a:lnTo>
                  <a:lnTo>
                    <a:pt x="724" y="0"/>
                  </a:lnTo>
                  <a:lnTo>
                    <a:pt x="814" y="597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16" name="Freeform 196"/>
            <p:cNvSpPr>
              <a:spLocks noChangeArrowheads="1"/>
            </p:cNvSpPr>
            <p:nvPr/>
          </p:nvSpPr>
          <p:spPr bwMode="auto">
            <a:xfrm>
              <a:off x="14470031" y="13816211"/>
              <a:ext cx="542018" cy="219735"/>
            </a:xfrm>
            <a:custGeom>
              <a:avLst/>
              <a:gdLst>
                <a:gd name="T0" fmla="*/ 814 w 815"/>
                <a:gd name="T1" fmla="*/ 0 h 330"/>
                <a:gd name="T2" fmla="*/ 814 w 815"/>
                <a:gd name="T3" fmla="*/ 329 h 330"/>
                <a:gd name="T4" fmla="*/ 0 w 815"/>
                <a:gd name="T5" fmla="*/ 329 h 330"/>
                <a:gd name="T6" fmla="*/ 0 w 815"/>
                <a:gd name="T7" fmla="*/ 0 h 330"/>
                <a:gd name="T8" fmla="*/ 814 w 815"/>
                <a:gd name="T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5" h="330">
                  <a:moveTo>
                    <a:pt x="814" y="0"/>
                  </a:moveTo>
                  <a:lnTo>
                    <a:pt x="814" y="329"/>
                  </a:lnTo>
                  <a:lnTo>
                    <a:pt x="0" y="329"/>
                  </a:lnTo>
                  <a:lnTo>
                    <a:pt x="0" y="0"/>
                  </a:lnTo>
                  <a:lnTo>
                    <a:pt x="814" y="0"/>
                  </a:lnTo>
                </a:path>
              </a:pathLst>
            </a:custGeom>
            <a:noFill/>
            <a:ln w="6350" cap="flat">
              <a:solidFill>
                <a:schemeClr val="accent1"/>
              </a:solidFill>
              <a:bevel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17" name="Freeform 197"/>
            <p:cNvSpPr>
              <a:spLocks noChangeArrowheads="1"/>
            </p:cNvSpPr>
            <p:nvPr/>
          </p:nvSpPr>
          <p:spPr bwMode="auto">
            <a:xfrm>
              <a:off x="14871417" y="13895315"/>
              <a:ext cx="61526" cy="58597"/>
            </a:xfrm>
            <a:custGeom>
              <a:avLst/>
              <a:gdLst>
                <a:gd name="T0" fmla="*/ 90 w 91"/>
                <a:gd name="T1" fmla="*/ 44 h 90"/>
                <a:gd name="T2" fmla="*/ 90 w 91"/>
                <a:gd name="T3" fmla="*/ 44 h 90"/>
                <a:gd name="T4" fmla="*/ 45 w 91"/>
                <a:gd name="T5" fmla="*/ 0 h 90"/>
                <a:gd name="T6" fmla="*/ 0 w 91"/>
                <a:gd name="T7" fmla="*/ 44 h 90"/>
                <a:gd name="T8" fmla="*/ 45 w 91"/>
                <a:gd name="T9" fmla="*/ 89 h 90"/>
                <a:gd name="T10" fmla="*/ 90 w 91"/>
                <a:gd name="T11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90">
                  <a:moveTo>
                    <a:pt x="90" y="44"/>
                  </a:moveTo>
                  <a:lnTo>
                    <a:pt x="90" y="44"/>
                  </a:lnTo>
                  <a:cubicBezTo>
                    <a:pt x="90" y="22"/>
                    <a:pt x="67" y="0"/>
                    <a:pt x="45" y="0"/>
                  </a:cubicBezTo>
                  <a:cubicBezTo>
                    <a:pt x="22" y="0"/>
                    <a:pt x="0" y="22"/>
                    <a:pt x="0" y="44"/>
                  </a:cubicBezTo>
                  <a:cubicBezTo>
                    <a:pt x="0" y="67"/>
                    <a:pt x="22" y="89"/>
                    <a:pt x="45" y="89"/>
                  </a:cubicBezTo>
                  <a:cubicBezTo>
                    <a:pt x="67" y="89"/>
                    <a:pt x="90" y="67"/>
                    <a:pt x="90" y="4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18" name="Freeform 198"/>
            <p:cNvSpPr>
              <a:spLocks noChangeArrowheads="1"/>
            </p:cNvSpPr>
            <p:nvPr/>
          </p:nvSpPr>
          <p:spPr bwMode="auto">
            <a:xfrm>
              <a:off x="14642891" y="13558388"/>
              <a:ext cx="199228" cy="120122"/>
            </a:xfrm>
            <a:custGeom>
              <a:avLst/>
              <a:gdLst>
                <a:gd name="T0" fmla="*/ 195 w 300"/>
                <a:gd name="T1" fmla="*/ 179 h 180"/>
                <a:gd name="T2" fmla="*/ 195 w 300"/>
                <a:gd name="T3" fmla="*/ 179 h 180"/>
                <a:gd name="T4" fmla="*/ 254 w 300"/>
                <a:gd name="T5" fmla="*/ 179 h 180"/>
                <a:gd name="T6" fmla="*/ 299 w 300"/>
                <a:gd name="T7" fmla="*/ 135 h 180"/>
                <a:gd name="T8" fmla="*/ 254 w 300"/>
                <a:gd name="T9" fmla="*/ 90 h 180"/>
                <a:gd name="T10" fmla="*/ 150 w 300"/>
                <a:gd name="T11" fmla="*/ 0 h 180"/>
                <a:gd name="T12" fmla="*/ 45 w 300"/>
                <a:gd name="T13" fmla="*/ 90 h 180"/>
                <a:gd name="T14" fmla="*/ 45 w 300"/>
                <a:gd name="T15" fmla="*/ 90 h 180"/>
                <a:gd name="T16" fmla="*/ 0 w 300"/>
                <a:gd name="T17" fmla="*/ 135 h 180"/>
                <a:gd name="T18" fmla="*/ 45 w 300"/>
                <a:gd name="T19" fmla="*/ 179 h 180"/>
                <a:gd name="T20" fmla="*/ 202 w 300"/>
                <a:gd name="T21" fmla="*/ 17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0" h="180">
                  <a:moveTo>
                    <a:pt x="195" y="179"/>
                  </a:moveTo>
                  <a:lnTo>
                    <a:pt x="195" y="179"/>
                  </a:lnTo>
                  <a:cubicBezTo>
                    <a:pt x="254" y="179"/>
                    <a:pt x="254" y="179"/>
                    <a:pt x="254" y="179"/>
                  </a:cubicBezTo>
                  <a:cubicBezTo>
                    <a:pt x="284" y="179"/>
                    <a:pt x="299" y="164"/>
                    <a:pt x="299" y="135"/>
                  </a:cubicBezTo>
                  <a:cubicBezTo>
                    <a:pt x="299" y="120"/>
                    <a:pt x="284" y="90"/>
                    <a:pt x="254" y="90"/>
                  </a:cubicBezTo>
                  <a:cubicBezTo>
                    <a:pt x="254" y="37"/>
                    <a:pt x="202" y="0"/>
                    <a:pt x="150" y="0"/>
                  </a:cubicBezTo>
                  <a:cubicBezTo>
                    <a:pt x="97" y="0"/>
                    <a:pt x="53" y="45"/>
                    <a:pt x="45" y="90"/>
                  </a:cubicBezTo>
                  <a:lnTo>
                    <a:pt x="45" y="90"/>
                  </a:lnTo>
                  <a:cubicBezTo>
                    <a:pt x="15" y="90"/>
                    <a:pt x="0" y="120"/>
                    <a:pt x="0" y="135"/>
                  </a:cubicBezTo>
                  <a:cubicBezTo>
                    <a:pt x="0" y="164"/>
                    <a:pt x="15" y="179"/>
                    <a:pt x="45" y="179"/>
                  </a:cubicBezTo>
                  <a:cubicBezTo>
                    <a:pt x="202" y="179"/>
                    <a:pt x="202" y="179"/>
                    <a:pt x="202" y="17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7881163" y="4151144"/>
            <a:ext cx="260754" cy="317886"/>
            <a:chOff x="15759151" y="8302288"/>
            <a:chExt cx="521508" cy="635771"/>
          </a:xfrm>
        </p:grpSpPr>
        <p:sp>
          <p:nvSpPr>
            <p:cNvPr id="5337" name="Line 217"/>
            <p:cNvSpPr>
              <a:spLocks noChangeShapeType="1"/>
            </p:cNvSpPr>
            <p:nvPr/>
          </p:nvSpPr>
          <p:spPr bwMode="auto">
            <a:xfrm>
              <a:off x="15817747" y="8489798"/>
              <a:ext cx="2931" cy="445332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38" name="Line 218"/>
            <p:cNvSpPr>
              <a:spLocks noChangeShapeType="1"/>
            </p:cNvSpPr>
            <p:nvPr/>
          </p:nvSpPr>
          <p:spPr bwMode="auto">
            <a:xfrm>
              <a:off x="16219134" y="8302290"/>
              <a:ext cx="2929" cy="445332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39" name="Line 219"/>
            <p:cNvSpPr>
              <a:spLocks noChangeShapeType="1"/>
            </p:cNvSpPr>
            <p:nvPr/>
          </p:nvSpPr>
          <p:spPr bwMode="auto">
            <a:xfrm>
              <a:off x="16016975" y="8680235"/>
              <a:ext cx="2931" cy="25782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40" name="Line 220"/>
            <p:cNvSpPr>
              <a:spLocks noChangeShapeType="1"/>
            </p:cNvSpPr>
            <p:nvPr/>
          </p:nvSpPr>
          <p:spPr bwMode="auto">
            <a:xfrm>
              <a:off x="16016975" y="8302290"/>
              <a:ext cx="2931" cy="257824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41" name="Freeform 221"/>
            <p:cNvSpPr>
              <a:spLocks noChangeArrowheads="1"/>
            </p:cNvSpPr>
            <p:nvPr/>
          </p:nvSpPr>
          <p:spPr bwMode="auto">
            <a:xfrm>
              <a:off x="15759151" y="8372607"/>
              <a:ext cx="120124" cy="120122"/>
            </a:xfrm>
            <a:custGeom>
              <a:avLst/>
              <a:gdLst>
                <a:gd name="T0" fmla="*/ 179 w 180"/>
                <a:gd name="T1" fmla="*/ 90 h 180"/>
                <a:gd name="T2" fmla="*/ 179 w 180"/>
                <a:gd name="T3" fmla="*/ 90 h 180"/>
                <a:gd name="T4" fmla="*/ 89 w 180"/>
                <a:gd name="T5" fmla="*/ 179 h 180"/>
                <a:gd name="T6" fmla="*/ 0 w 180"/>
                <a:gd name="T7" fmla="*/ 90 h 180"/>
                <a:gd name="T8" fmla="*/ 89 w 180"/>
                <a:gd name="T9" fmla="*/ 0 h 180"/>
                <a:gd name="T10" fmla="*/ 179 w 180"/>
                <a:gd name="T11" fmla="*/ 9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0" h="180">
                  <a:moveTo>
                    <a:pt x="179" y="90"/>
                  </a:moveTo>
                  <a:lnTo>
                    <a:pt x="179" y="90"/>
                  </a:lnTo>
                  <a:cubicBezTo>
                    <a:pt x="179" y="134"/>
                    <a:pt x="142" y="179"/>
                    <a:pt x="89" y="179"/>
                  </a:cubicBezTo>
                  <a:cubicBezTo>
                    <a:pt x="37" y="179"/>
                    <a:pt x="0" y="134"/>
                    <a:pt x="0" y="90"/>
                  </a:cubicBezTo>
                  <a:cubicBezTo>
                    <a:pt x="0" y="37"/>
                    <a:pt x="37" y="0"/>
                    <a:pt x="89" y="0"/>
                  </a:cubicBezTo>
                  <a:cubicBezTo>
                    <a:pt x="142" y="0"/>
                    <a:pt x="179" y="37"/>
                    <a:pt x="179" y="9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42" name="Freeform 222"/>
            <p:cNvSpPr>
              <a:spLocks noChangeArrowheads="1"/>
            </p:cNvSpPr>
            <p:nvPr/>
          </p:nvSpPr>
          <p:spPr bwMode="auto">
            <a:xfrm>
              <a:off x="16154677" y="8747622"/>
              <a:ext cx="125982" cy="120122"/>
            </a:xfrm>
            <a:custGeom>
              <a:avLst/>
              <a:gdLst>
                <a:gd name="T0" fmla="*/ 187 w 188"/>
                <a:gd name="T1" fmla="*/ 89 h 180"/>
                <a:gd name="T2" fmla="*/ 187 w 188"/>
                <a:gd name="T3" fmla="*/ 89 h 180"/>
                <a:gd name="T4" fmla="*/ 97 w 188"/>
                <a:gd name="T5" fmla="*/ 179 h 180"/>
                <a:gd name="T6" fmla="*/ 0 w 188"/>
                <a:gd name="T7" fmla="*/ 89 h 180"/>
                <a:gd name="T8" fmla="*/ 97 w 188"/>
                <a:gd name="T9" fmla="*/ 0 h 180"/>
                <a:gd name="T10" fmla="*/ 187 w 188"/>
                <a:gd name="T11" fmla="*/ 8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8" h="180">
                  <a:moveTo>
                    <a:pt x="187" y="89"/>
                  </a:moveTo>
                  <a:lnTo>
                    <a:pt x="187" y="89"/>
                  </a:lnTo>
                  <a:cubicBezTo>
                    <a:pt x="187" y="141"/>
                    <a:pt x="142" y="179"/>
                    <a:pt x="97" y="179"/>
                  </a:cubicBezTo>
                  <a:cubicBezTo>
                    <a:pt x="45" y="179"/>
                    <a:pt x="0" y="141"/>
                    <a:pt x="0" y="89"/>
                  </a:cubicBezTo>
                  <a:cubicBezTo>
                    <a:pt x="0" y="37"/>
                    <a:pt x="45" y="0"/>
                    <a:pt x="97" y="0"/>
                  </a:cubicBezTo>
                  <a:cubicBezTo>
                    <a:pt x="142" y="0"/>
                    <a:pt x="187" y="37"/>
                    <a:pt x="187" y="8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43" name="Freeform 223"/>
            <p:cNvSpPr>
              <a:spLocks noChangeArrowheads="1"/>
            </p:cNvSpPr>
            <p:nvPr/>
          </p:nvSpPr>
          <p:spPr bwMode="auto">
            <a:xfrm>
              <a:off x="15955451" y="8560114"/>
              <a:ext cx="120122" cy="120122"/>
            </a:xfrm>
            <a:custGeom>
              <a:avLst/>
              <a:gdLst>
                <a:gd name="T0" fmla="*/ 180 w 181"/>
                <a:gd name="T1" fmla="*/ 89 h 180"/>
                <a:gd name="T2" fmla="*/ 180 w 181"/>
                <a:gd name="T3" fmla="*/ 89 h 180"/>
                <a:gd name="T4" fmla="*/ 90 w 181"/>
                <a:gd name="T5" fmla="*/ 179 h 180"/>
                <a:gd name="T6" fmla="*/ 0 w 181"/>
                <a:gd name="T7" fmla="*/ 89 h 180"/>
                <a:gd name="T8" fmla="*/ 90 w 181"/>
                <a:gd name="T9" fmla="*/ 0 h 180"/>
                <a:gd name="T10" fmla="*/ 180 w 181"/>
                <a:gd name="T11" fmla="*/ 8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1" h="180">
                  <a:moveTo>
                    <a:pt x="180" y="89"/>
                  </a:moveTo>
                  <a:lnTo>
                    <a:pt x="180" y="89"/>
                  </a:lnTo>
                  <a:cubicBezTo>
                    <a:pt x="180" y="142"/>
                    <a:pt x="142" y="179"/>
                    <a:pt x="90" y="179"/>
                  </a:cubicBezTo>
                  <a:cubicBezTo>
                    <a:pt x="45" y="179"/>
                    <a:pt x="0" y="142"/>
                    <a:pt x="0" y="89"/>
                  </a:cubicBezTo>
                  <a:cubicBezTo>
                    <a:pt x="0" y="37"/>
                    <a:pt x="45" y="0"/>
                    <a:pt x="90" y="0"/>
                  </a:cubicBezTo>
                  <a:cubicBezTo>
                    <a:pt x="142" y="0"/>
                    <a:pt x="180" y="37"/>
                    <a:pt x="180" y="8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44" name="Line 224"/>
            <p:cNvSpPr>
              <a:spLocks noChangeShapeType="1"/>
            </p:cNvSpPr>
            <p:nvPr/>
          </p:nvSpPr>
          <p:spPr bwMode="auto">
            <a:xfrm>
              <a:off x="15817747" y="8302288"/>
              <a:ext cx="2931" cy="70317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345" name="Line 225"/>
            <p:cNvSpPr>
              <a:spLocks noChangeShapeType="1"/>
            </p:cNvSpPr>
            <p:nvPr/>
          </p:nvSpPr>
          <p:spPr bwMode="auto">
            <a:xfrm>
              <a:off x="16219134" y="8867742"/>
              <a:ext cx="2929" cy="70317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19" name="Group 5818">
            <a:extLst>
              <a:ext uri="{FF2B5EF4-FFF2-40B4-BE49-F238E27FC236}">
                <a16:creationId xmlns:a16="http://schemas.microsoft.com/office/drawing/2014/main" id="{65C1C922-B3E6-1F47-AFC5-4523CB57342B}"/>
              </a:ext>
            </a:extLst>
          </p:cNvPr>
          <p:cNvGrpSpPr/>
          <p:nvPr/>
        </p:nvGrpSpPr>
        <p:grpSpPr>
          <a:xfrm>
            <a:off x="7210235" y="4151145"/>
            <a:ext cx="322280" cy="316421"/>
            <a:chOff x="7210235" y="4151145"/>
            <a:chExt cx="322280" cy="316421"/>
          </a:xfrm>
        </p:grpSpPr>
        <p:sp>
          <p:nvSpPr>
            <p:cNvPr id="5792" name="Line 672"/>
            <p:cNvSpPr>
              <a:spLocks noChangeShapeType="1"/>
            </p:cNvSpPr>
            <p:nvPr/>
          </p:nvSpPr>
          <p:spPr bwMode="auto">
            <a:xfrm>
              <a:off x="7372841" y="4388461"/>
              <a:ext cx="1465" cy="7910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93" name="Line 673"/>
            <p:cNvSpPr>
              <a:spLocks noChangeShapeType="1"/>
            </p:cNvSpPr>
            <p:nvPr/>
          </p:nvSpPr>
          <p:spPr bwMode="auto">
            <a:xfrm>
              <a:off x="7372841" y="4151145"/>
              <a:ext cx="1465" cy="7910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94" name="Line 674"/>
            <p:cNvSpPr>
              <a:spLocks noChangeShapeType="1"/>
            </p:cNvSpPr>
            <p:nvPr/>
          </p:nvSpPr>
          <p:spPr bwMode="auto">
            <a:xfrm flipH="1">
              <a:off x="7210235" y="4309356"/>
              <a:ext cx="84965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95" name="Line 675"/>
            <p:cNvSpPr>
              <a:spLocks noChangeShapeType="1"/>
            </p:cNvSpPr>
            <p:nvPr/>
          </p:nvSpPr>
          <p:spPr bwMode="auto">
            <a:xfrm flipH="1">
              <a:off x="7450480" y="4309356"/>
              <a:ext cx="82035" cy="1465"/>
            </a:xfrm>
            <a:prstGeom prst="line">
              <a:avLst/>
            </a:pr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96" name="Freeform 676"/>
            <p:cNvSpPr>
              <a:spLocks noChangeArrowheads="1"/>
            </p:cNvSpPr>
            <p:nvPr/>
          </p:nvSpPr>
          <p:spPr bwMode="auto">
            <a:xfrm>
              <a:off x="7254182" y="4190697"/>
              <a:ext cx="238781" cy="238781"/>
            </a:xfrm>
            <a:custGeom>
              <a:avLst/>
              <a:gdLst>
                <a:gd name="T0" fmla="*/ 717 w 718"/>
                <a:gd name="T1" fmla="*/ 358 h 718"/>
                <a:gd name="T2" fmla="*/ 717 w 718"/>
                <a:gd name="T3" fmla="*/ 358 h 718"/>
                <a:gd name="T4" fmla="*/ 359 w 718"/>
                <a:gd name="T5" fmla="*/ 0 h 718"/>
                <a:gd name="T6" fmla="*/ 0 w 718"/>
                <a:gd name="T7" fmla="*/ 358 h 718"/>
                <a:gd name="T8" fmla="*/ 359 w 718"/>
                <a:gd name="T9" fmla="*/ 717 h 718"/>
                <a:gd name="T10" fmla="*/ 717 w 718"/>
                <a:gd name="T11" fmla="*/ 358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8" h="718">
                  <a:moveTo>
                    <a:pt x="717" y="358"/>
                  </a:moveTo>
                  <a:lnTo>
                    <a:pt x="717" y="358"/>
                  </a:lnTo>
                  <a:cubicBezTo>
                    <a:pt x="717" y="157"/>
                    <a:pt x="553" y="0"/>
                    <a:pt x="359" y="0"/>
                  </a:cubicBezTo>
                  <a:cubicBezTo>
                    <a:pt x="157" y="0"/>
                    <a:pt x="0" y="157"/>
                    <a:pt x="0" y="358"/>
                  </a:cubicBezTo>
                  <a:cubicBezTo>
                    <a:pt x="0" y="560"/>
                    <a:pt x="157" y="717"/>
                    <a:pt x="359" y="717"/>
                  </a:cubicBezTo>
                  <a:cubicBezTo>
                    <a:pt x="553" y="717"/>
                    <a:pt x="717" y="560"/>
                    <a:pt x="717" y="358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grpSp>
        <p:nvGrpSpPr>
          <p:cNvPr id="5835" name="Group 5834">
            <a:extLst>
              <a:ext uri="{FF2B5EF4-FFF2-40B4-BE49-F238E27FC236}">
                <a16:creationId xmlns:a16="http://schemas.microsoft.com/office/drawing/2014/main" id="{BF29EC9E-4CE8-314E-9BCC-8ECA25DC2D97}"/>
              </a:ext>
            </a:extLst>
          </p:cNvPr>
          <p:cNvGrpSpPr/>
          <p:nvPr/>
        </p:nvGrpSpPr>
        <p:grpSpPr>
          <a:xfrm>
            <a:off x="8478847" y="4137961"/>
            <a:ext cx="339859" cy="339859"/>
            <a:chOff x="8478847" y="4137961"/>
            <a:chExt cx="339859" cy="339859"/>
          </a:xfrm>
        </p:grpSpPr>
        <p:sp>
          <p:nvSpPr>
            <p:cNvPr id="5797" name="Freeform 677"/>
            <p:cNvSpPr>
              <a:spLocks noChangeArrowheads="1"/>
            </p:cNvSpPr>
            <p:nvPr/>
          </p:nvSpPr>
          <p:spPr bwMode="auto">
            <a:xfrm>
              <a:off x="8478847" y="4137961"/>
              <a:ext cx="339859" cy="339859"/>
            </a:xfrm>
            <a:custGeom>
              <a:avLst/>
              <a:gdLst>
                <a:gd name="T0" fmla="*/ 843 w 1024"/>
                <a:gd name="T1" fmla="*/ 187 h 1024"/>
                <a:gd name="T2" fmla="*/ 843 w 1024"/>
                <a:gd name="T3" fmla="*/ 187 h 1024"/>
                <a:gd name="T4" fmla="*/ 843 w 1024"/>
                <a:gd name="T5" fmla="*/ 844 h 1024"/>
                <a:gd name="T6" fmla="*/ 187 w 1024"/>
                <a:gd name="T7" fmla="*/ 844 h 1024"/>
                <a:gd name="T8" fmla="*/ 187 w 1024"/>
                <a:gd name="T9" fmla="*/ 187 h 1024"/>
                <a:gd name="T10" fmla="*/ 843 w 1024"/>
                <a:gd name="T11" fmla="*/ 187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4" h="1024">
                  <a:moveTo>
                    <a:pt x="843" y="187"/>
                  </a:moveTo>
                  <a:lnTo>
                    <a:pt x="843" y="187"/>
                  </a:lnTo>
                  <a:cubicBezTo>
                    <a:pt x="1023" y="366"/>
                    <a:pt x="1023" y="665"/>
                    <a:pt x="843" y="844"/>
                  </a:cubicBezTo>
                  <a:cubicBezTo>
                    <a:pt x="664" y="1023"/>
                    <a:pt x="366" y="1023"/>
                    <a:pt x="187" y="844"/>
                  </a:cubicBezTo>
                  <a:cubicBezTo>
                    <a:pt x="0" y="665"/>
                    <a:pt x="0" y="366"/>
                    <a:pt x="187" y="187"/>
                  </a:cubicBezTo>
                  <a:cubicBezTo>
                    <a:pt x="366" y="0"/>
                    <a:pt x="664" y="0"/>
                    <a:pt x="843" y="187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98" name="Freeform 678"/>
            <p:cNvSpPr>
              <a:spLocks noChangeArrowheads="1"/>
            </p:cNvSpPr>
            <p:nvPr/>
          </p:nvSpPr>
          <p:spPr bwMode="auto">
            <a:xfrm>
              <a:off x="8522794" y="4183374"/>
              <a:ext cx="253430" cy="253429"/>
            </a:xfrm>
            <a:custGeom>
              <a:avLst/>
              <a:gdLst>
                <a:gd name="T0" fmla="*/ 627 w 763"/>
                <a:gd name="T1" fmla="*/ 134 h 762"/>
                <a:gd name="T2" fmla="*/ 627 w 763"/>
                <a:gd name="T3" fmla="*/ 134 h 762"/>
                <a:gd name="T4" fmla="*/ 627 w 763"/>
                <a:gd name="T5" fmla="*/ 627 h 762"/>
                <a:gd name="T6" fmla="*/ 135 w 763"/>
                <a:gd name="T7" fmla="*/ 627 h 762"/>
                <a:gd name="T8" fmla="*/ 135 w 763"/>
                <a:gd name="T9" fmla="*/ 134 h 762"/>
                <a:gd name="T10" fmla="*/ 627 w 763"/>
                <a:gd name="T11" fmla="*/ 134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3" h="762">
                  <a:moveTo>
                    <a:pt x="627" y="134"/>
                  </a:moveTo>
                  <a:lnTo>
                    <a:pt x="627" y="134"/>
                  </a:lnTo>
                  <a:cubicBezTo>
                    <a:pt x="762" y="268"/>
                    <a:pt x="762" y="492"/>
                    <a:pt x="627" y="627"/>
                  </a:cubicBezTo>
                  <a:cubicBezTo>
                    <a:pt x="485" y="761"/>
                    <a:pt x="269" y="761"/>
                    <a:pt x="135" y="627"/>
                  </a:cubicBezTo>
                  <a:cubicBezTo>
                    <a:pt x="0" y="492"/>
                    <a:pt x="0" y="268"/>
                    <a:pt x="135" y="134"/>
                  </a:cubicBezTo>
                  <a:cubicBezTo>
                    <a:pt x="269" y="0"/>
                    <a:pt x="485" y="0"/>
                    <a:pt x="627" y="134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799" name="Freeform 679"/>
            <p:cNvSpPr>
              <a:spLocks noChangeArrowheads="1"/>
            </p:cNvSpPr>
            <p:nvPr/>
          </p:nvSpPr>
          <p:spPr bwMode="auto">
            <a:xfrm>
              <a:off x="8568207" y="4227321"/>
              <a:ext cx="164070" cy="164070"/>
            </a:xfrm>
            <a:custGeom>
              <a:avLst/>
              <a:gdLst>
                <a:gd name="T0" fmla="*/ 403 w 493"/>
                <a:gd name="T1" fmla="*/ 90 h 494"/>
                <a:gd name="T2" fmla="*/ 403 w 493"/>
                <a:gd name="T3" fmla="*/ 90 h 494"/>
                <a:gd name="T4" fmla="*/ 403 w 493"/>
                <a:gd name="T5" fmla="*/ 403 h 494"/>
                <a:gd name="T6" fmla="*/ 82 w 493"/>
                <a:gd name="T7" fmla="*/ 403 h 494"/>
                <a:gd name="T8" fmla="*/ 82 w 493"/>
                <a:gd name="T9" fmla="*/ 90 h 494"/>
                <a:gd name="T10" fmla="*/ 403 w 493"/>
                <a:gd name="T11" fmla="*/ 90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3" h="494">
                  <a:moveTo>
                    <a:pt x="403" y="90"/>
                  </a:moveTo>
                  <a:lnTo>
                    <a:pt x="403" y="90"/>
                  </a:lnTo>
                  <a:cubicBezTo>
                    <a:pt x="492" y="172"/>
                    <a:pt x="492" y="313"/>
                    <a:pt x="403" y="403"/>
                  </a:cubicBezTo>
                  <a:cubicBezTo>
                    <a:pt x="313" y="493"/>
                    <a:pt x="171" y="493"/>
                    <a:pt x="82" y="403"/>
                  </a:cubicBezTo>
                  <a:cubicBezTo>
                    <a:pt x="0" y="313"/>
                    <a:pt x="0" y="172"/>
                    <a:pt x="82" y="90"/>
                  </a:cubicBezTo>
                  <a:cubicBezTo>
                    <a:pt x="171" y="0"/>
                    <a:pt x="313" y="0"/>
                    <a:pt x="403" y="90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  <p:sp>
          <p:nvSpPr>
            <p:cNvPr id="5800" name="Freeform 680"/>
            <p:cNvSpPr>
              <a:spLocks noChangeArrowheads="1"/>
            </p:cNvSpPr>
            <p:nvPr/>
          </p:nvSpPr>
          <p:spPr bwMode="auto">
            <a:xfrm>
              <a:off x="8610689" y="4269802"/>
              <a:ext cx="77641" cy="77641"/>
            </a:xfrm>
            <a:custGeom>
              <a:avLst/>
              <a:gdLst>
                <a:gd name="T0" fmla="*/ 194 w 232"/>
                <a:gd name="T1" fmla="*/ 45 h 232"/>
                <a:gd name="T2" fmla="*/ 194 w 232"/>
                <a:gd name="T3" fmla="*/ 45 h 232"/>
                <a:gd name="T4" fmla="*/ 194 w 232"/>
                <a:gd name="T5" fmla="*/ 194 h 232"/>
                <a:gd name="T6" fmla="*/ 44 w 232"/>
                <a:gd name="T7" fmla="*/ 194 h 232"/>
                <a:gd name="T8" fmla="*/ 44 w 232"/>
                <a:gd name="T9" fmla="*/ 45 h 232"/>
                <a:gd name="T10" fmla="*/ 194 w 232"/>
                <a:gd name="T11" fmla="*/ 4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2" h="232">
                  <a:moveTo>
                    <a:pt x="194" y="45"/>
                  </a:moveTo>
                  <a:lnTo>
                    <a:pt x="194" y="45"/>
                  </a:lnTo>
                  <a:cubicBezTo>
                    <a:pt x="231" y="82"/>
                    <a:pt x="231" y="149"/>
                    <a:pt x="194" y="194"/>
                  </a:cubicBezTo>
                  <a:cubicBezTo>
                    <a:pt x="149" y="231"/>
                    <a:pt x="82" y="231"/>
                    <a:pt x="44" y="194"/>
                  </a:cubicBezTo>
                  <a:cubicBezTo>
                    <a:pt x="0" y="149"/>
                    <a:pt x="0" y="82"/>
                    <a:pt x="44" y="45"/>
                  </a:cubicBezTo>
                  <a:cubicBezTo>
                    <a:pt x="82" y="0"/>
                    <a:pt x="149" y="0"/>
                    <a:pt x="194" y="45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Montserrat Light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C9758242-F04E-5F4A-A84C-DC4A64346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ice &amp; </a:t>
            </a:r>
            <a:r>
              <a:rPr lang="en-US" dirty="0" err="1"/>
              <a:t>Misc</a:t>
            </a:r>
            <a:endParaRPr lang="en-US" dirty="0"/>
          </a:p>
        </p:txBody>
      </p:sp>
      <p:sp>
        <p:nvSpPr>
          <p:cNvPr id="32" name="Footer Placeholder 31">
            <a:extLst>
              <a:ext uri="{FF2B5EF4-FFF2-40B4-BE49-F238E27FC236}">
                <a16:creationId xmlns:a16="http://schemas.microsoft.com/office/drawing/2014/main" id="{359BD26D-8CA4-5541-8313-ACC704A4E1E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5" name="Slide Number Placeholder 34">
            <a:extLst>
              <a:ext uri="{FF2B5EF4-FFF2-40B4-BE49-F238E27FC236}">
                <a16:creationId xmlns:a16="http://schemas.microsoft.com/office/drawing/2014/main" id="{4C1C62DA-8701-AB45-A4A4-105C27ACBE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29D581-EC8F-A342-B502-42421D0A8A52}" type="slidenum">
              <a:rPr lang="en-US" smtClean="0"/>
              <a:pPr/>
              <a:t>64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7012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637310" y="1797589"/>
            <a:ext cx="914162" cy="914400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813" tIns="44813" rIns="44813" bIns="44813" numCol="1" spcCol="38100" rtlCol="0" anchor="ctr">
            <a:spAutoFit/>
          </a:bodyPr>
          <a:lstStyle/>
          <a:p>
            <a:pPr algn="ctr" defTabSz="728184" hangingPunct="0"/>
            <a:endParaRPr lang="en-US" sz="3176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634410" y="3195783"/>
            <a:ext cx="914162" cy="914400"/>
          </a:xfrm>
          <a:prstGeom prst="rect">
            <a:avLst/>
          </a:prstGeom>
          <a:solidFill>
            <a:srgbClr val="14080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813" tIns="44813" rIns="44813" bIns="44813" numCol="1" spcCol="38100" rtlCol="0" anchor="ctr">
            <a:spAutoFit/>
          </a:bodyPr>
          <a:lstStyle/>
          <a:p>
            <a:pPr algn="ctr" defTabSz="728184" hangingPunct="0"/>
            <a:endParaRPr lang="en-US" sz="3176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614449" y="3195783"/>
            <a:ext cx="914162" cy="914400"/>
          </a:xfrm>
          <a:prstGeom prst="rect">
            <a:avLst/>
          </a:prstGeom>
          <a:solidFill>
            <a:schemeClr val="accent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813" tIns="44813" rIns="44813" bIns="44813" numCol="1" spcCol="38100" rtlCol="0" anchor="ctr">
            <a:spAutoFit/>
          </a:bodyPr>
          <a:lstStyle/>
          <a:p>
            <a:pPr algn="ctr" defTabSz="728184" hangingPunct="0"/>
            <a:endParaRPr lang="en-US" sz="3176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614448" y="1797589"/>
            <a:ext cx="914162" cy="914400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813" tIns="44813" rIns="44813" bIns="44813" numCol="1" spcCol="38100" rtlCol="0" anchor="ctr">
            <a:spAutoFit/>
          </a:bodyPr>
          <a:lstStyle/>
          <a:p>
            <a:pPr algn="ctr" defTabSz="728184" hangingPunct="0"/>
            <a:endParaRPr lang="en-US" sz="3176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2" name="Shape 228"/>
          <p:cNvSpPr/>
          <p:nvPr/>
        </p:nvSpPr>
        <p:spPr>
          <a:xfrm>
            <a:off x="459528" y="2107805"/>
            <a:ext cx="1109185" cy="2937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3526" tIns="23526" rIns="23526" bIns="23526" anchor="ctr">
            <a:spAutoFit/>
          </a:bodyPr>
          <a:lstStyle/>
          <a:p>
            <a:pPr algn="r">
              <a:defRPr sz="2400" b="1" spc="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lang="en-US" sz="1600" dirty="0">
                <a:latin typeface="+mj-lt"/>
                <a:ea typeface="Futura" charset="0"/>
                <a:cs typeface="Futura" charset="0"/>
              </a:rPr>
              <a:t>Primary</a:t>
            </a:r>
            <a:endParaRPr sz="1600" dirty="0">
              <a:latin typeface="+mj-lt"/>
              <a:ea typeface="Futura" charset="0"/>
              <a:cs typeface="Futura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5E4DD4-1BE9-434C-9F85-5798F9F61B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9F8180-C5AD-8649-B5D9-6FA09EC65D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65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67D0AC36-3011-4C4E-ABC4-F6F4450E8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or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E898E10-EA91-8046-B7FA-CF7DBAE4B6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6" name="Shape 228">
            <a:extLst>
              <a:ext uri="{FF2B5EF4-FFF2-40B4-BE49-F238E27FC236}">
                <a16:creationId xmlns:a16="http://schemas.microsoft.com/office/drawing/2014/main" id="{32D2E0B5-863F-154F-AC4D-D352C72A48D8}"/>
              </a:ext>
            </a:extLst>
          </p:cNvPr>
          <p:cNvSpPr/>
          <p:nvPr/>
        </p:nvSpPr>
        <p:spPr>
          <a:xfrm>
            <a:off x="145754" y="3464582"/>
            <a:ext cx="1422957" cy="2937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3526" tIns="23526" rIns="23526" bIns="23526" anchor="ctr">
            <a:spAutoFit/>
          </a:bodyPr>
          <a:lstStyle/>
          <a:p>
            <a:pPr algn="r">
              <a:defRPr sz="2400" b="1" spc="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lang="en-US" sz="1600" dirty="0">
                <a:latin typeface="+mj-lt"/>
                <a:ea typeface="Futura" charset="0"/>
                <a:cs typeface="Futura" charset="0"/>
              </a:rPr>
              <a:t>Secondary</a:t>
            </a:r>
            <a:endParaRPr sz="1600" dirty="0">
              <a:latin typeface="+mj-lt"/>
              <a:ea typeface="Futura" charset="0"/>
              <a:cs typeface="Futura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02EDCB-503C-1546-A8F8-B2C74B07970E}"/>
              </a:ext>
            </a:extLst>
          </p:cNvPr>
          <p:cNvSpPr txBox="1"/>
          <p:nvPr/>
        </p:nvSpPr>
        <p:spPr>
          <a:xfrm>
            <a:off x="2567909" y="1797589"/>
            <a:ext cx="10301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Foldax Red</a:t>
            </a:r>
          </a:p>
          <a:p>
            <a:r>
              <a:rPr lang="en-US" sz="800" dirty="0"/>
              <a:t>PANTONE RED 032</a:t>
            </a:r>
          </a:p>
          <a:p>
            <a:r>
              <a:rPr lang="en-US" sz="800" dirty="0"/>
              <a:t>R235 G38 B40</a:t>
            </a:r>
          </a:p>
          <a:p>
            <a:r>
              <a:rPr lang="en-US" sz="800" dirty="0"/>
              <a:t>HEX #EB2628</a:t>
            </a:r>
          </a:p>
          <a:p>
            <a:r>
              <a:rPr lang="en-US" sz="800" dirty="0"/>
              <a:t>C0 M83 Y82 K7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537C836-B86C-9C4E-ABF6-9457174D0AE7}"/>
              </a:ext>
            </a:extLst>
          </p:cNvPr>
          <p:cNvSpPr txBox="1"/>
          <p:nvPr/>
        </p:nvSpPr>
        <p:spPr>
          <a:xfrm>
            <a:off x="4545046" y="1797590"/>
            <a:ext cx="10330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Foldax Blue</a:t>
            </a:r>
          </a:p>
          <a:p>
            <a:r>
              <a:rPr lang="en-US" sz="800" dirty="0"/>
              <a:t>PANTONE 285</a:t>
            </a:r>
          </a:p>
          <a:p>
            <a:r>
              <a:rPr lang="en-US" sz="800" dirty="0"/>
              <a:t>R35 G131 B193</a:t>
            </a:r>
          </a:p>
          <a:p>
            <a:r>
              <a:rPr lang="en-US" sz="800" dirty="0"/>
              <a:t>HEX #2383C1</a:t>
            </a:r>
          </a:p>
          <a:p>
            <a:r>
              <a:rPr lang="en-US" sz="800" dirty="0"/>
              <a:t>C81 M32 Y0 K24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9099F39-8597-024E-8CBA-E1E376ECB6E1}"/>
              </a:ext>
            </a:extLst>
          </p:cNvPr>
          <p:cNvSpPr txBox="1"/>
          <p:nvPr/>
        </p:nvSpPr>
        <p:spPr>
          <a:xfrm>
            <a:off x="2565009" y="3195783"/>
            <a:ext cx="10330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Dark </a:t>
            </a:r>
            <a:r>
              <a:rPr lang="en-US" sz="800" b="1" dirty="0" err="1"/>
              <a:t>Aubergine</a:t>
            </a:r>
            <a:endParaRPr lang="en-US" sz="800" b="1" dirty="0"/>
          </a:p>
          <a:p>
            <a:r>
              <a:rPr lang="en-US" sz="800" dirty="0"/>
              <a:t>PANTONE BLK 5 2X</a:t>
            </a:r>
          </a:p>
          <a:p>
            <a:r>
              <a:rPr lang="en-US" sz="800" dirty="0"/>
              <a:t>R20 G8 B12</a:t>
            </a:r>
          </a:p>
          <a:p>
            <a:r>
              <a:rPr lang="en-US" sz="800" dirty="0"/>
              <a:t>HEX #14080C</a:t>
            </a:r>
          </a:p>
          <a:p>
            <a:r>
              <a:rPr lang="en-US" sz="800" dirty="0"/>
              <a:t>C0 M59 Y39 K92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462B4F3-494A-F94D-978B-4707E04C198D}"/>
              </a:ext>
            </a:extLst>
          </p:cNvPr>
          <p:cNvSpPr txBox="1"/>
          <p:nvPr/>
        </p:nvSpPr>
        <p:spPr>
          <a:xfrm>
            <a:off x="4545046" y="3195783"/>
            <a:ext cx="10330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Dark Blue</a:t>
            </a:r>
          </a:p>
          <a:p>
            <a:r>
              <a:rPr lang="en-US" sz="800" dirty="0"/>
              <a:t>PANTONE 276</a:t>
            </a:r>
          </a:p>
          <a:p>
            <a:r>
              <a:rPr lang="en-US" sz="800" dirty="0"/>
              <a:t>R36 G36 B73</a:t>
            </a:r>
          </a:p>
          <a:p>
            <a:r>
              <a:rPr lang="en-US" sz="800" dirty="0"/>
              <a:t>HEX #242449</a:t>
            </a:r>
          </a:p>
          <a:p>
            <a:r>
              <a:rPr lang="en-US" sz="800" dirty="0"/>
              <a:t>C50 M50 Y0 K71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A8372A0-FEA5-AB47-8EB7-75E1EC5AB31C}"/>
              </a:ext>
            </a:extLst>
          </p:cNvPr>
          <p:cNvSpPr/>
          <p:nvPr/>
        </p:nvSpPr>
        <p:spPr>
          <a:xfrm>
            <a:off x="5578049" y="3195783"/>
            <a:ext cx="914162" cy="914400"/>
          </a:xfrm>
          <a:prstGeom prst="rect">
            <a:avLst/>
          </a:prstGeom>
          <a:solidFill>
            <a:schemeClr val="accent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813" tIns="44813" rIns="44813" bIns="44813" numCol="1" spcCol="38100" rtlCol="0" anchor="ctr">
            <a:spAutoFit/>
          </a:bodyPr>
          <a:lstStyle/>
          <a:p>
            <a:pPr algn="ctr" defTabSz="728184" hangingPunct="0"/>
            <a:endParaRPr lang="en-US" sz="3176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642B4CF-081C-6847-87D2-5920EEF47A8F}"/>
              </a:ext>
            </a:extLst>
          </p:cNvPr>
          <p:cNvSpPr/>
          <p:nvPr/>
        </p:nvSpPr>
        <p:spPr>
          <a:xfrm>
            <a:off x="1634410" y="4593977"/>
            <a:ext cx="914162" cy="9144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813" tIns="44813" rIns="44813" bIns="44813" numCol="1" spcCol="38100" rtlCol="0" anchor="ctr">
            <a:spAutoFit/>
          </a:bodyPr>
          <a:lstStyle/>
          <a:p>
            <a:pPr algn="ctr" defTabSz="728184" hangingPunct="0"/>
            <a:endParaRPr lang="en-US" sz="3176" dirty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8A801B9-ABBC-0A4E-A1D6-FF8D3F64BCE3}"/>
              </a:ext>
            </a:extLst>
          </p:cNvPr>
          <p:cNvSpPr txBox="1"/>
          <p:nvPr/>
        </p:nvSpPr>
        <p:spPr>
          <a:xfrm>
            <a:off x="6508648" y="3195783"/>
            <a:ext cx="10301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Azure</a:t>
            </a:r>
          </a:p>
          <a:p>
            <a:r>
              <a:rPr lang="en-US" sz="800" dirty="0"/>
              <a:t>PANTONE 299</a:t>
            </a:r>
          </a:p>
          <a:p>
            <a:r>
              <a:rPr lang="en-US" sz="800" dirty="0"/>
              <a:t>R0 G153 B255</a:t>
            </a:r>
          </a:p>
          <a:p>
            <a:r>
              <a:rPr lang="en-US" sz="800" dirty="0"/>
              <a:t>HEX #0099FF</a:t>
            </a:r>
          </a:p>
          <a:p>
            <a:r>
              <a:rPr lang="en-US" sz="800" dirty="0"/>
              <a:t>C100 M40 Y0 K0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68F6887-3EE9-574F-8486-84B568493B0D}"/>
              </a:ext>
            </a:extLst>
          </p:cNvPr>
          <p:cNvSpPr txBox="1"/>
          <p:nvPr/>
        </p:nvSpPr>
        <p:spPr>
          <a:xfrm>
            <a:off x="2565008" y="4593977"/>
            <a:ext cx="10330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Ash Grey</a:t>
            </a:r>
          </a:p>
          <a:p>
            <a:r>
              <a:rPr lang="en-US" sz="800" dirty="0"/>
              <a:t>PANTONE 442</a:t>
            </a:r>
          </a:p>
          <a:p>
            <a:r>
              <a:rPr lang="en-US" sz="800" dirty="0"/>
              <a:t>R183 G183 B183</a:t>
            </a:r>
          </a:p>
          <a:p>
            <a:r>
              <a:rPr lang="en-US" sz="800" dirty="0"/>
              <a:t>HEX #B7B7B7</a:t>
            </a:r>
          </a:p>
          <a:p>
            <a:r>
              <a:rPr lang="en-US" sz="800" dirty="0"/>
              <a:t>C0 M0 Y0 K28</a:t>
            </a:r>
          </a:p>
        </p:txBody>
      </p:sp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EB0A9703-8D9C-F245-AAFB-3EAD99E4D986}"/>
              </a:ext>
            </a:extLst>
          </p:cNvPr>
          <p:cNvGraphicFramePr>
            <a:graphicFrameLocks noGrp="1"/>
          </p:cNvGraphicFramePr>
          <p:nvPr/>
        </p:nvGraphicFramePr>
        <p:xfrm>
          <a:off x="2320032" y="3195783"/>
          <a:ext cx="228541" cy="914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541">
                  <a:extLst>
                    <a:ext uri="{9D8B030D-6E8A-4147-A177-3AD203B41FA5}">
                      <a16:colId xmlns:a16="http://schemas.microsoft.com/office/drawing/2014/main" val="765286603"/>
                    </a:ext>
                  </a:extLst>
                </a:gridCol>
              </a:tblGrid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7412982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13344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083057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1563112"/>
                  </a:ext>
                </a:extLst>
              </a:tr>
            </a:tbl>
          </a:graphicData>
        </a:graphic>
      </p:graphicFrame>
      <p:graphicFrame>
        <p:nvGraphicFramePr>
          <p:cNvPr id="42" name="Table 41">
            <a:extLst>
              <a:ext uri="{FF2B5EF4-FFF2-40B4-BE49-F238E27FC236}">
                <a16:creationId xmlns:a16="http://schemas.microsoft.com/office/drawing/2014/main" id="{45A0FF82-434B-FB48-B0E5-01969FBEB726}"/>
              </a:ext>
            </a:extLst>
          </p:cNvPr>
          <p:cNvGraphicFramePr>
            <a:graphicFrameLocks noGrp="1"/>
          </p:cNvGraphicFramePr>
          <p:nvPr/>
        </p:nvGraphicFramePr>
        <p:xfrm>
          <a:off x="4300070" y="3195783"/>
          <a:ext cx="228541" cy="914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541">
                  <a:extLst>
                    <a:ext uri="{9D8B030D-6E8A-4147-A177-3AD203B41FA5}">
                      <a16:colId xmlns:a16="http://schemas.microsoft.com/office/drawing/2014/main" val="765286603"/>
                    </a:ext>
                  </a:extLst>
                </a:gridCol>
              </a:tblGrid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7412982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13344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083057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1563112"/>
                  </a:ext>
                </a:extLst>
              </a:tr>
            </a:tbl>
          </a:graphicData>
        </a:graphic>
      </p:graphicFrame>
      <p:graphicFrame>
        <p:nvGraphicFramePr>
          <p:cNvPr id="43" name="Table 42">
            <a:extLst>
              <a:ext uri="{FF2B5EF4-FFF2-40B4-BE49-F238E27FC236}">
                <a16:creationId xmlns:a16="http://schemas.microsoft.com/office/drawing/2014/main" id="{12DD9CBA-AB75-5C47-8EB2-E25D503D5E01}"/>
              </a:ext>
            </a:extLst>
          </p:cNvPr>
          <p:cNvGraphicFramePr>
            <a:graphicFrameLocks noGrp="1"/>
          </p:cNvGraphicFramePr>
          <p:nvPr/>
        </p:nvGraphicFramePr>
        <p:xfrm>
          <a:off x="6263671" y="3195783"/>
          <a:ext cx="228541" cy="914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541">
                  <a:extLst>
                    <a:ext uri="{9D8B030D-6E8A-4147-A177-3AD203B41FA5}">
                      <a16:colId xmlns:a16="http://schemas.microsoft.com/office/drawing/2014/main" val="765286603"/>
                    </a:ext>
                  </a:extLst>
                </a:gridCol>
              </a:tblGrid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7412982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13344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083057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1563112"/>
                  </a:ext>
                </a:extLst>
              </a:tr>
            </a:tbl>
          </a:graphicData>
        </a:graphic>
      </p:graphicFrame>
      <p:graphicFrame>
        <p:nvGraphicFramePr>
          <p:cNvPr id="46" name="Table 45">
            <a:extLst>
              <a:ext uri="{FF2B5EF4-FFF2-40B4-BE49-F238E27FC236}">
                <a16:creationId xmlns:a16="http://schemas.microsoft.com/office/drawing/2014/main" id="{78DE69F6-BF93-E74E-9283-06AC0C6CA048}"/>
              </a:ext>
            </a:extLst>
          </p:cNvPr>
          <p:cNvGraphicFramePr>
            <a:graphicFrameLocks noGrp="1"/>
          </p:cNvGraphicFramePr>
          <p:nvPr/>
        </p:nvGraphicFramePr>
        <p:xfrm>
          <a:off x="4300069" y="1797589"/>
          <a:ext cx="228541" cy="914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541">
                  <a:extLst>
                    <a:ext uri="{9D8B030D-6E8A-4147-A177-3AD203B41FA5}">
                      <a16:colId xmlns:a16="http://schemas.microsoft.com/office/drawing/2014/main" val="765286603"/>
                    </a:ext>
                  </a:extLst>
                </a:gridCol>
              </a:tblGrid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7412982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13344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083057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1563112"/>
                  </a:ext>
                </a:extLst>
              </a:tr>
            </a:tbl>
          </a:graphicData>
        </a:graphic>
      </p:graphicFrame>
      <p:graphicFrame>
        <p:nvGraphicFramePr>
          <p:cNvPr id="47" name="Table 46">
            <a:extLst>
              <a:ext uri="{FF2B5EF4-FFF2-40B4-BE49-F238E27FC236}">
                <a16:creationId xmlns:a16="http://schemas.microsoft.com/office/drawing/2014/main" id="{AE627DE7-03FA-5C4E-9DD5-CDF0861ED191}"/>
              </a:ext>
            </a:extLst>
          </p:cNvPr>
          <p:cNvGraphicFramePr>
            <a:graphicFrameLocks noGrp="1"/>
          </p:cNvGraphicFramePr>
          <p:nvPr/>
        </p:nvGraphicFramePr>
        <p:xfrm>
          <a:off x="2320032" y="4593977"/>
          <a:ext cx="228541" cy="914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541">
                  <a:extLst>
                    <a:ext uri="{9D8B030D-6E8A-4147-A177-3AD203B41FA5}">
                      <a16:colId xmlns:a16="http://schemas.microsoft.com/office/drawing/2014/main" val="765286603"/>
                    </a:ext>
                  </a:extLst>
                </a:gridCol>
              </a:tblGrid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7412982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13344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083057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1563112"/>
                  </a:ext>
                </a:extLst>
              </a:tr>
            </a:tbl>
          </a:graphicData>
        </a:graphic>
      </p:graphicFrame>
      <p:sp>
        <p:nvSpPr>
          <p:cNvPr id="25" name="Shape 228">
            <a:extLst>
              <a:ext uri="{FF2B5EF4-FFF2-40B4-BE49-F238E27FC236}">
                <a16:creationId xmlns:a16="http://schemas.microsoft.com/office/drawing/2014/main" id="{F07F2627-3BA3-5247-BF7B-AAD9747E6F83}"/>
              </a:ext>
            </a:extLst>
          </p:cNvPr>
          <p:cNvSpPr/>
          <p:nvPr/>
        </p:nvSpPr>
        <p:spPr>
          <a:xfrm>
            <a:off x="145754" y="4854130"/>
            <a:ext cx="1422957" cy="2937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3526" tIns="23526" rIns="23526" bIns="23526" anchor="ctr">
            <a:spAutoFit/>
          </a:bodyPr>
          <a:lstStyle/>
          <a:p>
            <a:pPr algn="r">
              <a:defRPr sz="2400" b="1" spc="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lang="en-US" sz="1600" dirty="0">
                <a:latin typeface="+mj-lt"/>
                <a:ea typeface="Futura" charset="0"/>
                <a:cs typeface="Futura" charset="0"/>
              </a:rPr>
              <a:t>Neutral</a:t>
            </a:r>
            <a:endParaRPr sz="1600" dirty="0">
              <a:latin typeface="+mj-lt"/>
              <a:ea typeface="Futura" charset="0"/>
              <a:cs typeface="Futura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E0A16C8-5E8B-E741-928D-D84FA300FE70}"/>
              </a:ext>
            </a:extLst>
          </p:cNvPr>
          <p:cNvSpPr/>
          <p:nvPr/>
        </p:nvSpPr>
        <p:spPr>
          <a:xfrm>
            <a:off x="3630884" y="4593977"/>
            <a:ext cx="914162" cy="914400"/>
          </a:xfrm>
          <a:prstGeom prst="rect">
            <a:avLst/>
          </a:prstGeom>
          <a:solidFill>
            <a:srgbClr val="0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813" tIns="44813" rIns="44813" bIns="44813" numCol="1" spcCol="38100" rtlCol="0" anchor="ctr">
            <a:spAutoFit/>
          </a:bodyPr>
          <a:lstStyle/>
          <a:p>
            <a:pPr algn="ctr" defTabSz="728184" hangingPunct="0"/>
            <a:endParaRPr lang="en-US" sz="3176" dirty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57DAEC9-E475-2C4A-AE76-71065E649906}"/>
              </a:ext>
            </a:extLst>
          </p:cNvPr>
          <p:cNvSpPr txBox="1"/>
          <p:nvPr/>
        </p:nvSpPr>
        <p:spPr>
          <a:xfrm>
            <a:off x="4561482" y="4593977"/>
            <a:ext cx="10330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Black</a:t>
            </a:r>
          </a:p>
          <a:p>
            <a:r>
              <a:rPr lang="en-US" sz="800" dirty="0"/>
              <a:t>PANTONE Black 6 2X</a:t>
            </a:r>
          </a:p>
          <a:p>
            <a:r>
              <a:rPr lang="en-US" sz="800" dirty="0"/>
              <a:t>R0 G0 B0</a:t>
            </a:r>
          </a:p>
          <a:p>
            <a:r>
              <a:rPr lang="en-US" sz="800" dirty="0"/>
              <a:t>HEX #000000</a:t>
            </a:r>
          </a:p>
          <a:p>
            <a:r>
              <a:rPr lang="en-US" sz="800" dirty="0"/>
              <a:t>C100 M100 Y100 K100</a:t>
            </a:r>
          </a:p>
        </p:txBody>
      </p: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81767C14-8F67-6F4B-A760-18797BD48676}"/>
              </a:ext>
            </a:extLst>
          </p:cNvPr>
          <p:cNvGraphicFramePr>
            <a:graphicFrameLocks noGrp="1"/>
          </p:cNvGraphicFramePr>
          <p:nvPr/>
        </p:nvGraphicFramePr>
        <p:xfrm>
          <a:off x="4316506" y="4593977"/>
          <a:ext cx="228541" cy="914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541">
                  <a:extLst>
                    <a:ext uri="{9D8B030D-6E8A-4147-A177-3AD203B41FA5}">
                      <a16:colId xmlns:a16="http://schemas.microsoft.com/office/drawing/2014/main" val="765286603"/>
                    </a:ext>
                  </a:extLst>
                </a:gridCol>
              </a:tblGrid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7412982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13344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083057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1563112"/>
                  </a:ext>
                </a:extLst>
              </a:tr>
            </a:tbl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62F70872-9A2C-E34E-8D02-01A9C1F48704}"/>
              </a:ext>
            </a:extLst>
          </p:cNvPr>
          <p:cNvSpPr/>
          <p:nvPr/>
        </p:nvSpPr>
        <p:spPr>
          <a:xfrm>
            <a:off x="5575150" y="4593977"/>
            <a:ext cx="914162" cy="914400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>
                <a:lumMod val="8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4813" tIns="44813" rIns="44813" bIns="44813" numCol="1" spcCol="38100" rtlCol="0" anchor="ctr">
            <a:spAutoFit/>
          </a:bodyPr>
          <a:lstStyle/>
          <a:p>
            <a:pPr algn="ctr" defTabSz="728184" hangingPunct="0"/>
            <a:endParaRPr lang="en-US" sz="3176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4031DBC-D788-2049-9FA6-F4CC89FFE651}"/>
              </a:ext>
            </a:extLst>
          </p:cNvPr>
          <p:cNvSpPr txBox="1"/>
          <p:nvPr/>
        </p:nvSpPr>
        <p:spPr>
          <a:xfrm>
            <a:off x="6505748" y="4593977"/>
            <a:ext cx="10330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White</a:t>
            </a:r>
          </a:p>
          <a:p>
            <a:r>
              <a:rPr lang="en-US" sz="800" dirty="0"/>
              <a:t>PANTONE --</a:t>
            </a:r>
          </a:p>
          <a:p>
            <a:r>
              <a:rPr lang="en-US" sz="800" dirty="0"/>
              <a:t>R255 G255 B255</a:t>
            </a:r>
          </a:p>
          <a:p>
            <a:r>
              <a:rPr lang="en-US" sz="800" dirty="0"/>
              <a:t>HEX #FFFFFF</a:t>
            </a:r>
          </a:p>
          <a:p>
            <a:r>
              <a:rPr lang="en-US" sz="800" dirty="0"/>
              <a:t>C0 M0 Y0 K0</a:t>
            </a:r>
          </a:p>
        </p:txBody>
      </p:sp>
      <p:graphicFrame>
        <p:nvGraphicFramePr>
          <p:cNvPr id="45" name="Table 44">
            <a:extLst>
              <a:ext uri="{FF2B5EF4-FFF2-40B4-BE49-F238E27FC236}">
                <a16:creationId xmlns:a16="http://schemas.microsoft.com/office/drawing/2014/main" id="{B6F24336-4C8A-5943-AD34-E9F02C0E6E8D}"/>
              </a:ext>
            </a:extLst>
          </p:cNvPr>
          <p:cNvGraphicFramePr>
            <a:graphicFrameLocks noGrp="1"/>
          </p:cNvGraphicFramePr>
          <p:nvPr/>
        </p:nvGraphicFramePr>
        <p:xfrm>
          <a:off x="6260771" y="4593977"/>
          <a:ext cx="228541" cy="914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541">
                  <a:extLst>
                    <a:ext uri="{9D8B030D-6E8A-4147-A177-3AD203B41FA5}">
                      <a16:colId xmlns:a16="http://schemas.microsoft.com/office/drawing/2014/main" val="765286603"/>
                    </a:ext>
                  </a:extLst>
                </a:gridCol>
              </a:tblGrid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7412982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13344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083057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1563112"/>
                  </a:ext>
                </a:extLst>
              </a:tr>
            </a:tbl>
          </a:graphicData>
        </a:graphic>
      </p:graphicFrame>
      <p:graphicFrame>
        <p:nvGraphicFramePr>
          <p:cNvPr id="51" name="Table 50">
            <a:extLst>
              <a:ext uri="{FF2B5EF4-FFF2-40B4-BE49-F238E27FC236}">
                <a16:creationId xmlns:a16="http://schemas.microsoft.com/office/drawing/2014/main" id="{3E81C999-6A50-A34D-BDDE-7EB9FB5EFE3C}"/>
              </a:ext>
            </a:extLst>
          </p:cNvPr>
          <p:cNvGraphicFramePr>
            <a:graphicFrameLocks noGrp="1"/>
          </p:cNvGraphicFramePr>
          <p:nvPr/>
        </p:nvGraphicFramePr>
        <p:xfrm>
          <a:off x="2328830" y="1797589"/>
          <a:ext cx="228541" cy="914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541">
                  <a:extLst>
                    <a:ext uri="{9D8B030D-6E8A-4147-A177-3AD203B41FA5}">
                      <a16:colId xmlns:a16="http://schemas.microsoft.com/office/drawing/2014/main" val="765286603"/>
                    </a:ext>
                  </a:extLst>
                </a:gridCol>
              </a:tblGrid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7412982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13344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083057"/>
                  </a:ext>
                </a:extLst>
              </a:tr>
              <a:tr h="228541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1563112"/>
                  </a:ext>
                </a:extLst>
              </a:tr>
            </a:tbl>
          </a:graphicData>
        </a:graphic>
      </p:graphicFrame>
      <p:sp>
        <p:nvSpPr>
          <p:cNvPr id="34" name="Freeform 1">
            <a:extLst>
              <a:ext uri="{FF2B5EF4-FFF2-40B4-BE49-F238E27FC236}">
                <a16:creationId xmlns:a16="http://schemas.microsoft.com/office/drawing/2014/main" id="{E2EE4770-41EF-4749-BEDC-11FC56287C29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-1592580" y="5417820"/>
            <a:ext cx="1738334" cy="1270319"/>
          </a:xfrm>
          <a:custGeom>
            <a:avLst/>
            <a:gdLst>
              <a:gd name="T0" fmla="*/ 3842 w 27998"/>
              <a:gd name="T1" fmla="*/ 0 h 19489"/>
              <a:gd name="T2" fmla="*/ 3842 w 27998"/>
              <a:gd name="T3" fmla="*/ 0 h 19489"/>
              <a:gd name="T4" fmla="*/ 3842 w 27998"/>
              <a:gd name="T5" fmla="*/ 15159 h 19489"/>
              <a:gd name="T6" fmla="*/ 0 w 27998"/>
              <a:gd name="T7" fmla="*/ 19488 h 19489"/>
              <a:gd name="T8" fmla="*/ 25506 w 27998"/>
              <a:gd name="T9" fmla="*/ 19488 h 19489"/>
              <a:gd name="T10" fmla="*/ 27997 w 27998"/>
              <a:gd name="T11" fmla="*/ 17039 h 19489"/>
              <a:gd name="T12" fmla="*/ 27997 w 27998"/>
              <a:gd name="T13" fmla="*/ 0 h 19489"/>
              <a:gd name="T14" fmla="*/ 3842 w 27998"/>
              <a:gd name="T15" fmla="*/ 0 h 194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998" h="19489">
                <a:moveTo>
                  <a:pt x="3842" y="0"/>
                </a:moveTo>
                <a:lnTo>
                  <a:pt x="3842" y="0"/>
                </a:lnTo>
                <a:cubicBezTo>
                  <a:pt x="3842" y="15159"/>
                  <a:pt x="3842" y="15159"/>
                  <a:pt x="3842" y="15159"/>
                </a:cubicBezTo>
                <a:cubicBezTo>
                  <a:pt x="0" y="19488"/>
                  <a:pt x="0" y="19488"/>
                  <a:pt x="0" y="19488"/>
                </a:cubicBezTo>
                <a:cubicBezTo>
                  <a:pt x="7896" y="19488"/>
                  <a:pt x="23859" y="19488"/>
                  <a:pt x="25506" y="19488"/>
                </a:cubicBezTo>
                <a:cubicBezTo>
                  <a:pt x="27828" y="19488"/>
                  <a:pt x="27955" y="17165"/>
                  <a:pt x="27997" y="17039"/>
                </a:cubicBezTo>
                <a:cubicBezTo>
                  <a:pt x="27997" y="0"/>
                  <a:pt x="27997" y="0"/>
                  <a:pt x="27997" y="0"/>
                </a:cubicBezTo>
                <a:cubicBezTo>
                  <a:pt x="3842" y="0"/>
                  <a:pt x="3842" y="0"/>
                  <a:pt x="3842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66D288B-59CF-0C44-B6AC-EA35F22A6E65}"/>
              </a:ext>
            </a:extLst>
          </p:cNvPr>
          <p:cNvSpPr txBox="1"/>
          <p:nvPr/>
        </p:nvSpPr>
        <p:spPr>
          <a:xfrm>
            <a:off x="-1583986" y="5472642"/>
            <a:ext cx="1478280" cy="1230080"/>
          </a:xfrm>
          <a:prstGeom prst="rect">
            <a:avLst/>
          </a:prstGeom>
          <a:noFill/>
        </p:spPr>
        <p:txBody>
          <a:bodyPr wrap="square" lIns="36576" tIns="36576" rIns="36576" bIns="36576" rtlCol="0">
            <a:spAutoFit/>
          </a:bodyPr>
          <a:lstStyle/>
          <a:p>
            <a:pPr>
              <a:lnSpc>
                <a:spcPct val="90000"/>
              </a:lnSpc>
              <a:spcAft>
                <a:spcPts val="100"/>
              </a:spcAft>
            </a:pPr>
            <a:r>
              <a:rPr lang="en-US" sz="800" b="1" dirty="0">
                <a:solidFill>
                  <a:schemeClr val="bg1"/>
                </a:solidFill>
              </a:rPr>
              <a:t>How to Use Color Palette</a:t>
            </a:r>
          </a:p>
          <a:p>
            <a:pPr marL="120650" indent="-120650">
              <a:lnSpc>
                <a:spcPct val="90000"/>
              </a:lnSpc>
              <a:spcAft>
                <a:spcPts val="100"/>
              </a:spcAft>
              <a:buFont typeface="+mj-lt"/>
              <a:buAutoNum type="arabicPeriod"/>
            </a:pPr>
            <a:r>
              <a:rPr lang="en-US" sz="700" b="0" dirty="0">
                <a:solidFill>
                  <a:schemeClr val="bg1"/>
                </a:solidFill>
              </a:rPr>
              <a:t>Select the brand color you’d like</a:t>
            </a:r>
            <a:endParaRPr lang="en-US" sz="700" dirty="0">
              <a:solidFill>
                <a:schemeClr val="bg1"/>
              </a:solidFill>
            </a:endParaRPr>
          </a:p>
          <a:p>
            <a:pPr marL="233363" lvl="1" indent="-112713">
              <a:lnSpc>
                <a:spcPct val="90000"/>
              </a:lnSpc>
              <a:spcAft>
                <a:spcPts val="100"/>
              </a:spcAft>
              <a:buFont typeface="+mj-lt"/>
              <a:buAutoNum type="alphaLcParenR"/>
            </a:pPr>
            <a:r>
              <a:rPr lang="en-US" sz="600" b="1" dirty="0">
                <a:solidFill>
                  <a:schemeClr val="bg1"/>
                </a:solidFill>
              </a:rPr>
              <a:t>Home-</a:t>
            </a:r>
            <a:r>
              <a:rPr lang="en-US" sz="600" b="0" dirty="0">
                <a:solidFill>
                  <a:schemeClr val="bg1"/>
                </a:solidFill>
              </a:rPr>
              <a:t>&gt; </a:t>
            </a:r>
            <a:r>
              <a:rPr lang="en-US" sz="600" b="1" dirty="0">
                <a:solidFill>
                  <a:schemeClr val="bg1"/>
                </a:solidFill>
              </a:rPr>
              <a:t>Format</a:t>
            </a:r>
            <a:r>
              <a:rPr lang="en-US" sz="600" b="0" dirty="0">
                <a:solidFill>
                  <a:schemeClr val="bg1"/>
                </a:solidFill>
              </a:rPr>
              <a:t> Paintbrush</a:t>
            </a:r>
            <a:endParaRPr lang="en-US" sz="600" dirty="0">
              <a:solidFill>
                <a:schemeClr val="bg1"/>
              </a:solidFill>
            </a:endParaRPr>
          </a:p>
          <a:p>
            <a:pPr marL="233363" lvl="1" indent="-112713">
              <a:lnSpc>
                <a:spcPct val="90000"/>
              </a:lnSpc>
              <a:spcAft>
                <a:spcPts val="100"/>
              </a:spcAft>
              <a:buFont typeface="+mj-lt"/>
              <a:buAutoNum type="alphaLcParenR"/>
            </a:pPr>
            <a:r>
              <a:rPr lang="en-US" sz="600" dirty="0">
                <a:solidFill>
                  <a:schemeClr val="bg1"/>
                </a:solidFill>
              </a:rPr>
              <a:t>Select the text or object you’d like to apply the color to</a:t>
            </a:r>
          </a:p>
          <a:p>
            <a:pPr marL="120650" lvl="1">
              <a:lnSpc>
                <a:spcPct val="90000"/>
              </a:lnSpc>
              <a:spcAft>
                <a:spcPts val="100"/>
              </a:spcAft>
            </a:pPr>
            <a:endParaRPr lang="en-US" sz="600" dirty="0">
              <a:solidFill>
                <a:schemeClr val="bg1"/>
              </a:solidFill>
            </a:endParaRPr>
          </a:p>
          <a:p>
            <a:pPr marL="120650" indent="-120650">
              <a:lnSpc>
                <a:spcPct val="90000"/>
              </a:lnSpc>
              <a:spcAft>
                <a:spcPts val="100"/>
              </a:spcAft>
              <a:buFont typeface="+mj-lt"/>
              <a:buAutoNum type="arabicPeriod"/>
            </a:pPr>
            <a:r>
              <a:rPr lang="en-US" sz="700" b="0" dirty="0">
                <a:solidFill>
                  <a:schemeClr val="bg1"/>
                </a:solidFill>
              </a:rPr>
              <a:t>Select the HEX code of the color you’d like</a:t>
            </a:r>
          </a:p>
          <a:p>
            <a:pPr marL="233363" lvl="1" indent="-112713">
              <a:lnSpc>
                <a:spcPct val="90000"/>
              </a:lnSpc>
              <a:spcAft>
                <a:spcPts val="100"/>
              </a:spcAft>
              <a:buFont typeface="+mj-lt"/>
              <a:buAutoNum type="alphaLcParenR"/>
            </a:pPr>
            <a:r>
              <a:rPr lang="en-US" sz="600" b="1" dirty="0">
                <a:solidFill>
                  <a:schemeClr val="bg1"/>
                </a:solidFill>
              </a:rPr>
              <a:t>Shape Format-</a:t>
            </a:r>
            <a:r>
              <a:rPr lang="en-US" sz="600" dirty="0">
                <a:solidFill>
                  <a:schemeClr val="bg1"/>
                </a:solidFill>
              </a:rPr>
              <a:t>&gt; </a:t>
            </a:r>
            <a:r>
              <a:rPr lang="en-US" sz="600" b="1" dirty="0">
                <a:solidFill>
                  <a:schemeClr val="bg1"/>
                </a:solidFill>
              </a:rPr>
              <a:t>Shape Fill-&gt;More Fill Colors…</a:t>
            </a:r>
            <a:endParaRPr lang="en-US" sz="600" dirty="0">
              <a:solidFill>
                <a:schemeClr val="bg1"/>
              </a:solidFill>
            </a:endParaRPr>
          </a:p>
          <a:p>
            <a:pPr marL="233363" lvl="1" indent="-112713">
              <a:lnSpc>
                <a:spcPct val="90000"/>
              </a:lnSpc>
              <a:spcAft>
                <a:spcPts val="100"/>
              </a:spcAft>
              <a:buFont typeface="+mj-lt"/>
              <a:buAutoNum type="alphaLcParenR"/>
            </a:pPr>
            <a:r>
              <a:rPr lang="en-US" sz="600" dirty="0">
                <a:solidFill>
                  <a:schemeClr val="bg1"/>
                </a:solidFill>
              </a:rPr>
              <a:t>Paste the HEX Code into the </a:t>
            </a:r>
            <a:r>
              <a:rPr lang="en-US" sz="600" b="1" dirty="0">
                <a:solidFill>
                  <a:schemeClr val="bg1"/>
                </a:solidFill>
              </a:rPr>
              <a:t>Hex Color #</a:t>
            </a:r>
            <a:r>
              <a:rPr lang="en-US" sz="600" dirty="0">
                <a:solidFill>
                  <a:schemeClr val="bg1"/>
                </a:solidFill>
              </a:rPr>
              <a:t> box </a:t>
            </a:r>
            <a:endParaRPr lang="en-US" sz="7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5225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88B4518-1F4A-944D-BC71-E1757D63AB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21FB75-72EF-9544-B576-1BC00ABCFC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66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3E965EB-8DA5-304B-805D-E8C8F165C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Bulle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14E7F9-1E7A-7E42-A253-3C1576D955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riangle 3">
            <a:extLst>
              <a:ext uri="{FF2B5EF4-FFF2-40B4-BE49-F238E27FC236}">
                <a16:creationId xmlns:a16="http://schemas.microsoft.com/office/drawing/2014/main" id="{3C40F0AD-6109-3E46-984C-FE1005EB910F}"/>
              </a:ext>
            </a:extLst>
          </p:cNvPr>
          <p:cNvSpPr>
            <a:spLocks noChangeAspect="1"/>
          </p:cNvSpPr>
          <p:nvPr/>
        </p:nvSpPr>
        <p:spPr>
          <a:xfrm rot="5400000">
            <a:off x="1001785" y="1692169"/>
            <a:ext cx="1371600" cy="997163"/>
          </a:xfrm>
          <a:custGeom>
            <a:avLst/>
            <a:gdLst>
              <a:gd name="connsiteX0" fmla="*/ 0 w 1603513"/>
              <a:gd name="connsiteY0" fmla="*/ 1382339 h 1382339"/>
              <a:gd name="connsiteX1" fmla="*/ 801757 w 1603513"/>
              <a:gd name="connsiteY1" fmla="*/ 0 h 1382339"/>
              <a:gd name="connsiteX2" fmla="*/ 1603513 w 1603513"/>
              <a:gd name="connsiteY2" fmla="*/ 1382339 h 1382339"/>
              <a:gd name="connsiteX3" fmla="*/ 0 w 1603513"/>
              <a:gd name="connsiteY3" fmla="*/ 1382339 h 1382339"/>
              <a:gd name="connsiteX0" fmla="*/ 17474 w 1638461"/>
              <a:gd name="connsiteY0" fmla="*/ 1382339 h 1382339"/>
              <a:gd name="connsiteX1" fmla="*/ 819231 w 1638461"/>
              <a:gd name="connsiteY1" fmla="*/ 0 h 1382339"/>
              <a:gd name="connsiteX2" fmla="*/ 1620987 w 1638461"/>
              <a:gd name="connsiteY2" fmla="*/ 1382339 h 1382339"/>
              <a:gd name="connsiteX3" fmla="*/ 17474 w 1638461"/>
              <a:gd name="connsiteY3" fmla="*/ 1382339 h 1382339"/>
              <a:gd name="connsiteX0" fmla="*/ 17474 w 1768586"/>
              <a:gd name="connsiteY0" fmla="*/ 1382339 h 1382339"/>
              <a:gd name="connsiteX1" fmla="*/ 819231 w 1768586"/>
              <a:gd name="connsiteY1" fmla="*/ 0 h 1382339"/>
              <a:gd name="connsiteX2" fmla="*/ 1620987 w 1768586"/>
              <a:gd name="connsiteY2" fmla="*/ 1382339 h 1382339"/>
              <a:gd name="connsiteX3" fmla="*/ 17474 w 1768586"/>
              <a:gd name="connsiteY3" fmla="*/ 1382339 h 1382339"/>
              <a:gd name="connsiteX0" fmla="*/ 147599 w 1898711"/>
              <a:gd name="connsiteY0" fmla="*/ 1382339 h 1382339"/>
              <a:gd name="connsiteX1" fmla="*/ 949356 w 1898711"/>
              <a:gd name="connsiteY1" fmla="*/ 0 h 1382339"/>
              <a:gd name="connsiteX2" fmla="*/ 1751112 w 1898711"/>
              <a:gd name="connsiteY2" fmla="*/ 1382339 h 1382339"/>
              <a:gd name="connsiteX3" fmla="*/ 147599 w 1898711"/>
              <a:gd name="connsiteY3" fmla="*/ 1382339 h 138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8711" h="1382339">
                <a:moveTo>
                  <a:pt x="147599" y="1382339"/>
                </a:moveTo>
                <a:cubicBezTo>
                  <a:pt x="-386905" y="1382339"/>
                  <a:pt x="682104" y="0"/>
                  <a:pt x="949356" y="0"/>
                </a:cubicBezTo>
                <a:cubicBezTo>
                  <a:pt x="1216608" y="0"/>
                  <a:pt x="2285616" y="1382339"/>
                  <a:pt x="1751112" y="1382339"/>
                </a:cubicBezTo>
                <a:lnTo>
                  <a:pt x="147599" y="13823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202A6C-3EBC-5F4D-ABFC-A39A4EBF598A}"/>
              </a:ext>
            </a:extLst>
          </p:cNvPr>
          <p:cNvSpPr/>
          <p:nvPr/>
        </p:nvSpPr>
        <p:spPr>
          <a:xfrm>
            <a:off x="7715632" y="1104900"/>
            <a:ext cx="4476368" cy="2171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riangle 3">
            <a:extLst>
              <a:ext uri="{FF2B5EF4-FFF2-40B4-BE49-F238E27FC236}">
                <a16:creationId xmlns:a16="http://schemas.microsoft.com/office/drawing/2014/main" id="{9B08FE45-BEE2-E946-8BE9-3033573BE6C7}"/>
              </a:ext>
            </a:extLst>
          </p:cNvPr>
          <p:cNvSpPr>
            <a:spLocks noChangeAspect="1"/>
          </p:cNvSpPr>
          <p:nvPr/>
        </p:nvSpPr>
        <p:spPr>
          <a:xfrm rot="5400000">
            <a:off x="3412814" y="1692169"/>
            <a:ext cx="1371600" cy="997163"/>
          </a:xfrm>
          <a:custGeom>
            <a:avLst/>
            <a:gdLst>
              <a:gd name="connsiteX0" fmla="*/ 0 w 1603513"/>
              <a:gd name="connsiteY0" fmla="*/ 1382339 h 1382339"/>
              <a:gd name="connsiteX1" fmla="*/ 801757 w 1603513"/>
              <a:gd name="connsiteY1" fmla="*/ 0 h 1382339"/>
              <a:gd name="connsiteX2" fmla="*/ 1603513 w 1603513"/>
              <a:gd name="connsiteY2" fmla="*/ 1382339 h 1382339"/>
              <a:gd name="connsiteX3" fmla="*/ 0 w 1603513"/>
              <a:gd name="connsiteY3" fmla="*/ 1382339 h 1382339"/>
              <a:gd name="connsiteX0" fmla="*/ 17474 w 1638461"/>
              <a:gd name="connsiteY0" fmla="*/ 1382339 h 1382339"/>
              <a:gd name="connsiteX1" fmla="*/ 819231 w 1638461"/>
              <a:gd name="connsiteY1" fmla="*/ 0 h 1382339"/>
              <a:gd name="connsiteX2" fmla="*/ 1620987 w 1638461"/>
              <a:gd name="connsiteY2" fmla="*/ 1382339 h 1382339"/>
              <a:gd name="connsiteX3" fmla="*/ 17474 w 1638461"/>
              <a:gd name="connsiteY3" fmla="*/ 1382339 h 1382339"/>
              <a:gd name="connsiteX0" fmla="*/ 17474 w 1768586"/>
              <a:gd name="connsiteY0" fmla="*/ 1382339 h 1382339"/>
              <a:gd name="connsiteX1" fmla="*/ 819231 w 1768586"/>
              <a:gd name="connsiteY1" fmla="*/ 0 h 1382339"/>
              <a:gd name="connsiteX2" fmla="*/ 1620987 w 1768586"/>
              <a:gd name="connsiteY2" fmla="*/ 1382339 h 1382339"/>
              <a:gd name="connsiteX3" fmla="*/ 17474 w 1768586"/>
              <a:gd name="connsiteY3" fmla="*/ 1382339 h 1382339"/>
              <a:gd name="connsiteX0" fmla="*/ 147599 w 1898711"/>
              <a:gd name="connsiteY0" fmla="*/ 1382339 h 1382339"/>
              <a:gd name="connsiteX1" fmla="*/ 949356 w 1898711"/>
              <a:gd name="connsiteY1" fmla="*/ 0 h 1382339"/>
              <a:gd name="connsiteX2" fmla="*/ 1751112 w 1898711"/>
              <a:gd name="connsiteY2" fmla="*/ 1382339 h 1382339"/>
              <a:gd name="connsiteX3" fmla="*/ 147599 w 1898711"/>
              <a:gd name="connsiteY3" fmla="*/ 1382339 h 138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8711" h="1382339">
                <a:moveTo>
                  <a:pt x="147599" y="1382339"/>
                </a:moveTo>
                <a:cubicBezTo>
                  <a:pt x="-386905" y="1382339"/>
                  <a:pt x="682104" y="0"/>
                  <a:pt x="949356" y="0"/>
                </a:cubicBezTo>
                <a:cubicBezTo>
                  <a:pt x="1216608" y="0"/>
                  <a:pt x="2285616" y="1382339"/>
                  <a:pt x="1751112" y="1382339"/>
                </a:cubicBezTo>
                <a:lnTo>
                  <a:pt x="147599" y="138233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" name="Triangle 3">
            <a:extLst>
              <a:ext uri="{FF2B5EF4-FFF2-40B4-BE49-F238E27FC236}">
                <a16:creationId xmlns:a16="http://schemas.microsoft.com/office/drawing/2014/main" id="{2C995A31-CEDE-9B4A-A683-3B0537D3BA6C}"/>
              </a:ext>
            </a:extLst>
          </p:cNvPr>
          <p:cNvSpPr>
            <a:spLocks noChangeAspect="1"/>
          </p:cNvSpPr>
          <p:nvPr/>
        </p:nvSpPr>
        <p:spPr>
          <a:xfrm rot="5400000">
            <a:off x="5559689" y="1692169"/>
            <a:ext cx="1371600" cy="997163"/>
          </a:xfrm>
          <a:custGeom>
            <a:avLst/>
            <a:gdLst>
              <a:gd name="connsiteX0" fmla="*/ 0 w 1603513"/>
              <a:gd name="connsiteY0" fmla="*/ 1382339 h 1382339"/>
              <a:gd name="connsiteX1" fmla="*/ 801757 w 1603513"/>
              <a:gd name="connsiteY1" fmla="*/ 0 h 1382339"/>
              <a:gd name="connsiteX2" fmla="*/ 1603513 w 1603513"/>
              <a:gd name="connsiteY2" fmla="*/ 1382339 h 1382339"/>
              <a:gd name="connsiteX3" fmla="*/ 0 w 1603513"/>
              <a:gd name="connsiteY3" fmla="*/ 1382339 h 1382339"/>
              <a:gd name="connsiteX0" fmla="*/ 17474 w 1638461"/>
              <a:gd name="connsiteY0" fmla="*/ 1382339 h 1382339"/>
              <a:gd name="connsiteX1" fmla="*/ 819231 w 1638461"/>
              <a:gd name="connsiteY1" fmla="*/ 0 h 1382339"/>
              <a:gd name="connsiteX2" fmla="*/ 1620987 w 1638461"/>
              <a:gd name="connsiteY2" fmla="*/ 1382339 h 1382339"/>
              <a:gd name="connsiteX3" fmla="*/ 17474 w 1638461"/>
              <a:gd name="connsiteY3" fmla="*/ 1382339 h 1382339"/>
              <a:gd name="connsiteX0" fmla="*/ 17474 w 1768586"/>
              <a:gd name="connsiteY0" fmla="*/ 1382339 h 1382339"/>
              <a:gd name="connsiteX1" fmla="*/ 819231 w 1768586"/>
              <a:gd name="connsiteY1" fmla="*/ 0 h 1382339"/>
              <a:gd name="connsiteX2" fmla="*/ 1620987 w 1768586"/>
              <a:gd name="connsiteY2" fmla="*/ 1382339 h 1382339"/>
              <a:gd name="connsiteX3" fmla="*/ 17474 w 1768586"/>
              <a:gd name="connsiteY3" fmla="*/ 1382339 h 1382339"/>
              <a:gd name="connsiteX0" fmla="*/ 147599 w 1898711"/>
              <a:gd name="connsiteY0" fmla="*/ 1382339 h 1382339"/>
              <a:gd name="connsiteX1" fmla="*/ 949356 w 1898711"/>
              <a:gd name="connsiteY1" fmla="*/ 0 h 1382339"/>
              <a:gd name="connsiteX2" fmla="*/ 1751112 w 1898711"/>
              <a:gd name="connsiteY2" fmla="*/ 1382339 h 1382339"/>
              <a:gd name="connsiteX3" fmla="*/ 147599 w 1898711"/>
              <a:gd name="connsiteY3" fmla="*/ 1382339 h 138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8711" h="1382339">
                <a:moveTo>
                  <a:pt x="147599" y="1382339"/>
                </a:moveTo>
                <a:cubicBezTo>
                  <a:pt x="-386905" y="1382339"/>
                  <a:pt x="682104" y="0"/>
                  <a:pt x="949356" y="0"/>
                </a:cubicBezTo>
                <a:cubicBezTo>
                  <a:pt x="1216608" y="0"/>
                  <a:pt x="2285616" y="1382339"/>
                  <a:pt x="1751112" y="1382339"/>
                </a:cubicBezTo>
                <a:lnTo>
                  <a:pt x="147599" y="138233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5" name="Triangle 3">
            <a:extLst>
              <a:ext uri="{FF2B5EF4-FFF2-40B4-BE49-F238E27FC236}">
                <a16:creationId xmlns:a16="http://schemas.microsoft.com/office/drawing/2014/main" id="{D01522D2-D17D-224A-BA4D-9A054FF36E02}"/>
              </a:ext>
            </a:extLst>
          </p:cNvPr>
          <p:cNvSpPr>
            <a:spLocks noChangeAspect="1"/>
          </p:cNvSpPr>
          <p:nvPr/>
        </p:nvSpPr>
        <p:spPr>
          <a:xfrm rot="5400000">
            <a:off x="8106980" y="1692169"/>
            <a:ext cx="1371600" cy="997163"/>
          </a:xfrm>
          <a:custGeom>
            <a:avLst/>
            <a:gdLst>
              <a:gd name="connsiteX0" fmla="*/ 0 w 1603513"/>
              <a:gd name="connsiteY0" fmla="*/ 1382339 h 1382339"/>
              <a:gd name="connsiteX1" fmla="*/ 801757 w 1603513"/>
              <a:gd name="connsiteY1" fmla="*/ 0 h 1382339"/>
              <a:gd name="connsiteX2" fmla="*/ 1603513 w 1603513"/>
              <a:gd name="connsiteY2" fmla="*/ 1382339 h 1382339"/>
              <a:gd name="connsiteX3" fmla="*/ 0 w 1603513"/>
              <a:gd name="connsiteY3" fmla="*/ 1382339 h 1382339"/>
              <a:gd name="connsiteX0" fmla="*/ 17474 w 1638461"/>
              <a:gd name="connsiteY0" fmla="*/ 1382339 h 1382339"/>
              <a:gd name="connsiteX1" fmla="*/ 819231 w 1638461"/>
              <a:gd name="connsiteY1" fmla="*/ 0 h 1382339"/>
              <a:gd name="connsiteX2" fmla="*/ 1620987 w 1638461"/>
              <a:gd name="connsiteY2" fmla="*/ 1382339 h 1382339"/>
              <a:gd name="connsiteX3" fmla="*/ 17474 w 1638461"/>
              <a:gd name="connsiteY3" fmla="*/ 1382339 h 1382339"/>
              <a:gd name="connsiteX0" fmla="*/ 17474 w 1768586"/>
              <a:gd name="connsiteY0" fmla="*/ 1382339 h 1382339"/>
              <a:gd name="connsiteX1" fmla="*/ 819231 w 1768586"/>
              <a:gd name="connsiteY1" fmla="*/ 0 h 1382339"/>
              <a:gd name="connsiteX2" fmla="*/ 1620987 w 1768586"/>
              <a:gd name="connsiteY2" fmla="*/ 1382339 h 1382339"/>
              <a:gd name="connsiteX3" fmla="*/ 17474 w 1768586"/>
              <a:gd name="connsiteY3" fmla="*/ 1382339 h 1382339"/>
              <a:gd name="connsiteX0" fmla="*/ 147599 w 1898711"/>
              <a:gd name="connsiteY0" fmla="*/ 1382339 h 1382339"/>
              <a:gd name="connsiteX1" fmla="*/ 949356 w 1898711"/>
              <a:gd name="connsiteY1" fmla="*/ 0 h 1382339"/>
              <a:gd name="connsiteX2" fmla="*/ 1751112 w 1898711"/>
              <a:gd name="connsiteY2" fmla="*/ 1382339 h 1382339"/>
              <a:gd name="connsiteX3" fmla="*/ 147599 w 1898711"/>
              <a:gd name="connsiteY3" fmla="*/ 1382339 h 138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8711" h="1382339">
                <a:moveTo>
                  <a:pt x="147599" y="1382339"/>
                </a:moveTo>
                <a:cubicBezTo>
                  <a:pt x="-386905" y="1382339"/>
                  <a:pt x="682104" y="0"/>
                  <a:pt x="949356" y="0"/>
                </a:cubicBezTo>
                <a:cubicBezTo>
                  <a:pt x="1216608" y="0"/>
                  <a:pt x="2285616" y="1382339"/>
                  <a:pt x="1751112" y="1382339"/>
                </a:cubicBezTo>
                <a:lnTo>
                  <a:pt x="147599" y="13823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6" name="Triangle 3">
            <a:extLst>
              <a:ext uri="{FF2B5EF4-FFF2-40B4-BE49-F238E27FC236}">
                <a16:creationId xmlns:a16="http://schemas.microsoft.com/office/drawing/2014/main" id="{21ACBA3B-A9CA-5B49-AB3D-45EDD133D0D4}"/>
              </a:ext>
            </a:extLst>
          </p:cNvPr>
          <p:cNvSpPr>
            <a:spLocks noChangeAspect="1"/>
          </p:cNvSpPr>
          <p:nvPr/>
        </p:nvSpPr>
        <p:spPr>
          <a:xfrm rot="5400000">
            <a:off x="10407158" y="1692169"/>
            <a:ext cx="1371600" cy="997163"/>
          </a:xfrm>
          <a:custGeom>
            <a:avLst/>
            <a:gdLst>
              <a:gd name="connsiteX0" fmla="*/ 0 w 1603513"/>
              <a:gd name="connsiteY0" fmla="*/ 1382339 h 1382339"/>
              <a:gd name="connsiteX1" fmla="*/ 801757 w 1603513"/>
              <a:gd name="connsiteY1" fmla="*/ 0 h 1382339"/>
              <a:gd name="connsiteX2" fmla="*/ 1603513 w 1603513"/>
              <a:gd name="connsiteY2" fmla="*/ 1382339 h 1382339"/>
              <a:gd name="connsiteX3" fmla="*/ 0 w 1603513"/>
              <a:gd name="connsiteY3" fmla="*/ 1382339 h 1382339"/>
              <a:gd name="connsiteX0" fmla="*/ 17474 w 1638461"/>
              <a:gd name="connsiteY0" fmla="*/ 1382339 h 1382339"/>
              <a:gd name="connsiteX1" fmla="*/ 819231 w 1638461"/>
              <a:gd name="connsiteY1" fmla="*/ 0 h 1382339"/>
              <a:gd name="connsiteX2" fmla="*/ 1620987 w 1638461"/>
              <a:gd name="connsiteY2" fmla="*/ 1382339 h 1382339"/>
              <a:gd name="connsiteX3" fmla="*/ 17474 w 1638461"/>
              <a:gd name="connsiteY3" fmla="*/ 1382339 h 1382339"/>
              <a:gd name="connsiteX0" fmla="*/ 17474 w 1768586"/>
              <a:gd name="connsiteY0" fmla="*/ 1382339 h 1382339"/>
              <a:gd name="connsiteX1" fmla="*/ 819231 w 1768586"/>
              <a:gd name="connsiteY1" fmla="*/ 0 h 1382339"/>
              <a:gd name="connsiteX2" fmla="*/ 1620987 w 1768586"/>
              <a:gd name="connsiteY2" fmla="*/ 1382339 h 1382339"/>
              <a:gd name="connsiteX3" fmla="*/ 17474 w 1768586"/>
              <a:gd name="connsiteY3" fmla="*/ 1382339 h 1382339"/>
              <a:gd name="connsiteX0" fmla="*/ 147599 w 1898711"/>
              <a:gd name="connsiteY0" fmla="*/ 1382339 h 1382339"/>
              <a:gd name="connsiteX1" fmla="*/ 949356 w 1898711"/>
              <a:gd name="connsiteY1" fmla="*/ 0 h 1382339"/>
              <a:gd name="connsiteX2" fmla="*/ 1751112 w 1898711"/>
              <a:gd name="connsiteY2" fmla="*/ 1382339 h 1382339"/>
              <a:gd name="connsiteX3" fmla="*/ 147599 w 1898711"/>
              <a:gd name="connsiteY3" fmla="*/ 1382339 h 138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8711" h="1382339">
                <a:moveTo>
                  <a:pt x="147599" y="1382339"/>
                </a:moveTo>
                <a:cubicBezTo>
                  <a:pt x="-386905" y="1382339"/>
                  <a:pt x="682104" y="0"/>
                  <a:pt x="949356" y="0"/>
                </a:cubicBezTo>
                <a:cubicBezTo>
                  <a:pt x="1216608" y="0"/>
                  <a:pt x="2285616" y="1382339"/>
                  <a:pt x="1751112" y="1382339"/>
                </a:cubicBezTo>
                <a:lnTo>
                  <a:pt x="147599" y="1382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7" name="Triangle 3">
            <a:extLst>
              <a:ext uri="{FF2B5EF4-FFF2-40B4-BE49-F238E27FC236}">
                <a16:creationId xmlns:a16="http://schemas.microsoft.com/office/drawing/2014/main" id="{A628D7E2-AA9E-C649-8BC3-48D8DAFCBD60}"/>
              </a:ext>
            </a:extLst>
          </p:cNvPr>
          <p:cNvSpPr>
            <a:spLocks noChangeAspect="1"/>
          </p:cNvSpPr>
          <p:nvPr/>
        </p:nvSpPr>
        <p:spPr>
          <a:xfrm rot="5400000">
            <a:off x="1001785" y="4566505"/>
            <a:ext cx="1371600" cy="997163"/>
          </a:xfrm>
          <a:custGeom>
            <a:avLst/>
            <a:gdLst>
              <a:gd name="connsiteX0" fmla="*/ 0 w 1603513"/>
              <a:gd name="connsiteY0" fmla="*/ 1382339 h 1382339"/>
              <a:gd name="connsiteX1" fmla="*/ 801757 w 1603513"/>
              <a:gd name="connsiteY1" fmla="*/ 0 h 1382339"/>
              <a:gd name="connsiteX2" fmla="*/ 1603513 w 1603513"/>
              <a:gd name="connsiteY2" fmla="*/ 1382339 h 1382339"/>
              <a:gd name="connsiteX3" fmla="*/ 0 w 1603513"/>
              <a:gd name="connsiteY3" fmla="*/ 1382339 h 1382339"/>
              <a:gd name="connsiteX0" fmla="*/ 17474 w 1638461"/>
              <a:gd name="connsiteY0" fmla="*/ 1382339 h 1382339"/>
              <a:gd name="connsiteX1" fmla="*/ 819231 w 1638461"/>
              <a:gd name="connsiteY1" fmla="*/ 0 h 1382339"/>
              <a:gd name="connsiteX2" fmla="*/ 1620987 w 1638461"/>
              <a:gd name="connsiteY2" fmla="*/ 1382339 h 1382339"/>
              <a:gd name="connsiteX3" fmla="*/ 17474 w 1638461"/>
              <a:gd name="connsiteY3" fmla="*/ 1382339 h 1382339"/>
              <a:gd name="connsiteX0" fmla="*/ 17474 w 1768586"/>
              <a:gd name="connsiteY0" fmla="*/ 1382339 h 1382339"/>
              <a:gd name="connsiteX1" fmla="*/ 819231 w 1768586"/>
              <a:gd name="connsiteY1" fmla="*/ 0 h 1382339"/>
              <a:gd name="connsiteX2" fmla="*/ 1620987 w 1768586"/>
              <a:gd name="connsiteY2" fmla="*/ 1382339 h 1382339"/>
              <a:gd name="connsiteX3" fmla="*/ 17474 w 1768586"/>
              <a:gd name="connsiteY3" fmla="*/ 1382339 h 1382339"/>
              <a:gd name="connsiteX0" fmla="*/ 147599 w 1898711"/>
              <a:gd name="connsiteY0" fmla="*/ 1382339 h 1382339"/>
              <a:gd name="connsiteX1" fmla="*/ 949356 w 1898711"/>
              <a:gd name="connsiteY1" fmla="*/ 0 h 1382339"/>
              <a:gd name="connsiteX2" fmla="*/ 1751112 w 1898711"/>
              <a:gd name="connsiteY2" fmla="*/ 1382339 h 1382339"/>
              <a:gd name="connsiteX3" fmla="*/ 147599 w 1898711"/>
              <a:gd name="connsiteY3" fmla="*/ 1382339 h 138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8711" h="1382339">
                <a:moveTo>
                  <a:pt x="147599" y="1382339"/>
                </a:moveTo>
                <a:cubicBezTo>
                  <a:pt x="-386905" y="1382339"/>
                  <a:pt x="682104" y="0"/>
                  <a:pt x="949356" y="0"/>
                </a:cubicBezTo>
                <a:cubicBezTo>
                  <a:pt x="1216608" y="0"/>
                  <a:pt x="2285616" y="1382339"/>
                  <a:pt x="1751112" y="1382339"/>
                </a:cubicBezTo>
                <a:lnTo>
                  <a:pt x="147599" y="138233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8" name="Triangle 3">
            <a:extLst>
              <a:ext uri="{FF2B5EF4-FFF2-40B4-BE49-F238E27FC236}">
                <a16:creationId xmlns:a16="http://schemas.microsoft.com/office/drawing/2014/main" id="{17994DB5-BB9A-2E48-BBDC-3CB03C029E2C}"/>
              </a:ext>
            </a:extLst>
          </p:cNvPr>
          <p:cNvSpPr>
            <a:spLocks noChangeAspect="1"/>
          </p:cNvSpPr>
          <p:nvPr/>
        </p:nvSpPr>
        <p:spPr>
          <a:xfrm rot="5400000">
            <a:off x="3412814" y="4566505"/>
            <a:ext cx="1371600" cy="997163"/>
          </a:xfrm>
          <a:custGeom>
            <a:avLst/>
            <a:gdLst>
              <a:gd name="connsiteX0" fmla="*/ 0 w 1603513"/>
              <a:gd name="connsiteY0" fmla="*/ 1382339 h 1382339"/>
              <a:gd name="connsiteX1" fmla="*/ 801757 w 1603513"/>
              <a:gd name="connsiteY1" fmla="*/ 0 h 1382339"/>
              <a:gd name="connsiteX2" fmla="*/ 1603513 w 1603513"/>
              <a:gd name="connsiteY2" fmla="*/ 1382339 h 1382339"/>
              <a:gd name="connsiteX3" fmla="*/ 0 w 1603513"/>
              <a:gd name="connsiteY3" fmla="*/ 1382339 h 1382339"/>
              <a:gd name="connsiteX0" fmla="*/ 17474 w 1638461"/>
              <a:gd name="connsiteY0" fmla="*/ 1382339 h 1382339"/>
              <a:gd name="connsiteX1" fmla="*/ 819231 w 1638461"/>
              <a:gd name="connsiteY1" fmla="*/ 0 h 1382339"/>
              <a:gd name="connsiteX2" fmla="*/ 1620987 w 1638461"/>
              <a:gd name="connsiteY2" fmla="*/ 1382339 h 1382339"/>
              <a:gd name="connsiteX3" fmla="*/ 17474 w 1638461"/>
              <a:gd name="connsiteY3" fmla="*/ 1382339 h 1382339"/>
              <a:gd name="connsiteX0" fmla="*/ 17474 w 1768586"/>
              <a:gd name="connsiteY0" fmla="*/ 1382339 h 1382339"/>
              <a:gd name="connsiteX1" fmla="*/ 819231 w 1768586"/>
              <a:gd name="connsiteY1" fmla="*/ 0 h 1382339"/>
              <a:gd name="connsiteX2" fmla="*/ 1620987 w 1768586"/>
              <a:gd name="connsiteY2" fmla="*/ 1382339 h 1382339"/>
              <a:gd name="connsiteX3" fmla="*/ 17474 w 1768586"/>
              <a:gd name="connsiteY3" fmla="*/ 1382339 h 1382339"/>
              <a:gd name="connsiteX0" fmla="*/ 147599 w 1898711"/>
              <a:gd name="connsiteY0" fmla="*/ 1382339 h 1382339"/>
              <a:gd name="connsiteX1" fmla="*/ 949356 w 1898711"/>
              <a:gd name="connsiteY1" fmla="*/ 0 h 1382339"/>
              <a:gd name="connsiteX2" fmla="*/ 1751112 w 1898711"/>
              <a:gd name="connsiteY2" fmla="*/ 1382339 h 1382339"/>
              <a:gd name="connsiteX3" fmla="*/ 147599 w 1898711"/>
              <a:gd name="connsiteY3" fmla="*/ 1382339 h 138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8711" h="1382339">
                <a:moveTo>
                  <a:pt x="147599" y="1382339"/>
                </a:moveTo>
                <a:cubicBezTo>
                  <a:pt x="-386905" y="1382339"/>
                  <a:pt x="682104" y="0"/>
                  <a:pt x="949356" y="0"/>
                </a:cubicBezTo>
                <a:cubicBezTo>
                  <a:pt x="1216608" y="0"/>
                  <a:pt x="2285616" y="1382339"/>
                  <a:pt x="1751112" y="1382339"/>
                </a:cubicBezTo>
                <a:lnTo>
                  <a:pt x="147599" y="138233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9" name="Triangle 3">
            <a:extLst>
              <a:ext uri="{FF2B5EF4-FFF2-40B4-BE49-F238E27FC236}">
                <a16:creationId xmlns:a16="http://schemas.microsoft.com/office/drawing/2014/main" id="{86CDCB2C-4C7D-D042-84BE-7D79818851FD}"/>
              </a:ext>
            </a:extLst>
          </p:cNvPr>
          <p:cNvSpPr>
            <a:spLocks noChangeAspect="1"/>
          </p:cNvSpPr>
          <p:nvPr/>
        </p:nvSpPr>
        <p:spPr>
          <a:xfrm rot="5400000">
            <a:off x="5559689" y="4566505"/>
            <a:ext cx="1371600" cy="997163"/>
          </a:xfrm>
          <a:custGeom>
            <a:avLst/>
            <a:gdLst>
              <a:gd name="connsiteX0" fmla="*/ 0 w 1603513"/>
              <a:gd name="connsiteY0" fmla="*/ 1382339 h 1382339"/>
              <a:gd name="connsiteX1" fmla="*/ 801757 w 1603513"/>
              <a:gd name="connsiteY1" fmla="*/ 0 h 1382339"/>
              <a:gd name="connsiteX2" fmla="*/ 1603513 w 1603513"/>
              <a:gd name="connsiteY2" fmla="*/ 1382339 h 1382339"/>
              <a:gd name="connsiteX3" fmla="*/ 0 w 1603513"/>
              <a:gd name="connsiteY3" fmla="*/ 1382339 h 1382339"/>
              <a:gd name="connsiteX0" fmla="*/ 17474 w 1638461"/>
              <a:gd name="connsiteY0" fmla="*/ 1382339 h 1382339"/>
              <a:gd name="connsiteX1" fmla="*/ 819231 w 1638461"/>
              <a:gd name="connsiteY1" fmla="*/ 0 h 1382339"/>
              <a:gd name="connsiteX2" fmla="*/ 1620987 w 1638461"/>
              <a:gd name="connsiteY2" fmla="*/ 1382339 h 1382339"/>
              <a:gd name="connsiteX3" fmla="*/ 17474 w 1638461"/>
              <a:gd name="connsiteY3" fmla="*/ 1382339 h 1382339"/>
              <a:gd name="connsiteX0" fmla="*/ 17474 w 1768586"/>
              <a:gd name="connsiteY0" fmla="*/ 1382339 h 1382339"/>
              <a:gd name="connsiteX1" fmla="*/ 819231 w 1768586"/>
              <a:gd name="connsiteY1" fmla="*/ 0 h 1382339"/>
              <a:gd name="connsiteX2" fmla="*/ 1620987 w 1768586"/>
              <a:gd name="connsiteY2" fmla="*/ 1382339 h 1382339"/>
              <a:gd name="connsiteX3" fmla="*/ 17474 w 1768586"/>
              <a:gd name="connsiteY3" fmla="*/ 1382339 h 1382339"/>
              <a:gd name="connsiteX0" fmla="*/ 147599 w 1898711"/>
              <a:gd name="connsiteY0" fmla="*/ 1382339 h 1382339"/>
              <a:gd name="connsiteX1" fmla="*/ 949356 w 1898711"/>
              <a:gd name="connsiteY1" fmla="*/ 0 h 1382339"/>
              <a:gd name="connsiteX2" fmla="*/ 1751112 w 1898711"/>
              <a:gd name="connsiteY2" fmla="*/ 1382339 h 1382339"/>
              <a:gd name="connsiteX3" fmla="*/ 147599 w 1898711"/>
              <a:gd name="connsiteY3" fmla="*/ 1382339 h 138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8711" h="1382339">
                <a:moveTo>
                  <a:pt x="147599" y="1382339"/>
                </a:moveTo>
                <a:cubicBezTo>
                  <a:pt x="-386905" y="1382339"/>
                  <a:pt x="682104" y="0"/>
                  <a:pt x="949356" y="0"/>
                </a:cubicBezTo>
                <a:cubicBezTo>
                  <a:pt x="1216608" y="0"/>
                  <a:pt x="2285616" y="1382339"/>
                  <a:pt x="1751112" y="1382339"/>
                </a:cubicBezTo>
                <a:lnTo>
                  <a:pt x="147599" y="138233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Freeform 1">
            <a:extLst>
              <a:ext uri="{FF2B5EF4-FFF2-40B4-BE49-F238E27FC236}">
                <a16:creationId xmlns:a16="http://schemas.microsoft.com/office/drawing/2014/main" id="{FB4F30D3-2196-404B-807C-F67523DA440B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-1592580" y="5358938"/>
            <a:ext cx="1947256" cy="1263101"/>
          </a:xfrm>
          <a:custGeom>
            <a:avLst/>
            <a:gdLst>
              <a:gd name="T0" fmla="*/ 3842 w 27998"/>
              <a:gd name="T1" fmla="*/ 0 h 19489"/>
              <a:gd name="T2" fmla="*/ 3842 w 27998"/>
              <a:gd name="T3" fmla="*/ 0 h 19489"/>
              <a:gd name="T4" fmla="*/ 3842 w 27998"/>
              <a:gd name="T5" fmla="*/ 15159 h 19489"/>
              <a:gd name="T6" fmla="*/ 0 w 27998"/>
              <a:gd name="T7" fmla="*/ 19488 h 19489"/>
              <a:gd name="T8" fmla="*/ 25506 w 27998"/>
              <a:gd name="T9" fmla="*/ 19488 h 19489"/>
              <a:gd name="T10" fmla="*/ 27997 w 27998"/>
              <a:gd name="T11" fmla="*/ 17039 h 19489"/>
              <a:gd name="T12" fmla="*/ 27997 w 27998"/>
              <a:gd name="T13" fmla="*/ 0 h 19489"/>
              <a:gd name="T14" fmla="*/ 3842 w 27998"/>
              <a:gd name="T15" fmla="*/ 0 h 194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998" h="19489">
                <a:moveTo>
                  <a:pt x="3842" y="0"/>
                </a:moveTo>
                <a:lnTo>
                  <a:pt x="3842" y="0"/>
                </a:lnTo>
                <a:cubicBezTo>
                  <a:pt x="3842" y="15159"/>
                  <a:pt x="3842" y="15159"/>
                  <a:pt x="3842" y="15159"/>
                </a:cubicBezTo>
                <a:cubicBezTo>
                  <a:pt x="0" y="19488"/>
                  <a:pt x="0" y="19488"/>
                  <a:pt x="0" y="19488"/>
                </a:cubicBezTo>
                <a:cubicBezTo>
                  <a:pt x="7896" y="19488"/>
                  <a:pt x="23859" y="19488"/>
                  <a:pt x="25506" y="19488"/>
                </a:cubicBezTo>
                <a:cubicBezTo>
                  <a:pt x="27828" y="19488"/>
                  <a:pt x="27955" y="17165"/>
                  <a:pt x="27997" y="17039"/>
                </a:cubicBezTo>
                <a:cubicBezTo>
                  <a:pt x="27997" y="0"/>
                  <a:pt x="27997" y="0"/>
                  <a:pt x="27997" y="0"/>
                </a:cubicBezTo>
                <a:cubicBezTo>
                  <a:pt x="3842" y="0"/>
                  <a:pt x="3842" y="0"/>
                  <a:pt x="3842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4ECEE91-970A-FC49-ABB0-51042F789D09}"/>
              </a:ext>
            </a:extLst>
          </p:cNvPr>
          <p:cNvSpPr txBox="1"/>
          <p:nvPr/>
        </p:nvSpPr>
        <p:spPr>
          <a:xfrm>
            <a:off x="-1583987" y="5368502"/>
            <a:ext cx="1667113" cy="1229054"/>
          </a:xfrm>
          <a:prstGeom prst="rect">
            <a:avLst/>
          </a:prstGeom>
          <a:noFill/>
        </p:spPr>
        <p:txBody>
          <a:bodyPr wrap="square" lIns="36576" tIns="36576" rIns="36576" bIns="36576" rtlCol="0">
            <a:spAutoFit/>
          </a:bodyPr>
          <a:lstStyle/>
          <a:p>
            <a:pPr>
              <a:lnSpc>
                <a:spcPct val="90000"/>
              </a:lnSpc>
              <a:spcAft>
                <a:spcPts val="100"/>
              </a:spcAft>
            </a:pPr>
            <a:r>
              <a:rPr lang="en-US" sz="800" b="1" dirty="0">
                <a:solidFill>
                  <a:schemeClr val="bg1"/>
                </a:solidFill>
              </a:rPr>
              <a:t>How to Use Your Bullet</a:t>
            </a:r>
          </a:p>
          <a:p>
            <a:pPr marL="120650" indent="-120650">
              <a:lnSpc>
                <a:spcPct val="90000"/>
              </a:lnSpc>
              <a:spcAft>
                <a:spcPts val="100"/>
              </a:spcAft>
              <a:buFont typeface="+mj-lt"/>
              <a:buAutoNum type="arabicPeriod"/>
            </a:pPr>
            <a:r>
              <a:rPr lang="en-US" sz="700" b="0" dirty="0">
                <a:solidFill>
                  <a:schemeClr val="bg1"/>
                </a:solidFill>
              </a:rPr>
              <a:t>As a shape</a:t>
            </a:r>
            <a:endParaRPr lang="en-US" sz="700" dirty="0">
              <a:solidFill>
                <a:schemeClr val="bg1"/>
              </a:solidFill>
            </a:endParaRPr>
          </a:p>
          <a:p>
            <a:pPr marL="233363" lvl="1" indent="-112713">
              <a:lnSpc>
                <a:spcPct val="90000"/>
              </a:lnSpc>
              <a:spcAft>
                <a:spcPts val="100"/>
              </a:spcAft>
              <a:buFont typeface="+mj-lt"/>
              <a:buAutoNum type="alphaLcParenR"/>
            </a:pPr>
            <a:r>
              <a:rPr lang="en-US" sz="600" b="1" dirty="0">
                <a:solidFill>
                  <a:schemeClr val="bg1"/>
                </a:solidFill>
              </a:rPr>
              <a:t>Copy the bullet and paste where desired</a:t>
            </a:r>
            <a:endParaRPr lang="en-US" sz="600" dirty="0">
              <a:solidFill>
                <a:schemeClr val="bg1"/>
              </a:solidFill>
            </a:endParaRPr>
          </a:p>
          <a:p>
            <a:pPr marL="233363" lvl="1" indent="-112713">
              <a:lnSpc>
                <a:spcPct val="90000"/>
              </a:lnSpc>
              <a:spcAft>
                <a:spcPts val="100"/>
              </a:spcAft>
              <a:buFont typeface="+mj-lt"/>
              <a:buAutoNum type="alphaLcParenR"/>
            </a:pPr>
            <a:r>
              <a:rPr lang="en-US" sz="600" dirty="0">
                <a:solidFill>
                  <a:schemeClr val="bg1"/>
                </a:solidFill>
              </a:rPr>
              <a:t>Align with text box </a:t>
            </a:r>
          </a:p>
          <a:p>
            <a:pPr marL="120650" lvl="1">
              <a:lnSpc>
                <a:spcPct val="90000"/>
              </a:lnSpc>
              <a:spcAft>
                <a:spcPts val="100"/>
              </a:spcAft>
            </a:pPr>
            <a:endParaRPr lang="en-US" sz="600" dirty="0">
              <a:solidFill>
                <a:schemeClr val="bg1"/>
              </a:solidFill>
            </a:endParaRPr>
          </a:p>
          <a:p>
            <a:pPr marL="120650" indent="-120650">
              <a:lnSpc>
                <a:spcPct val="90000"/>
              </a:lnSpc>
              <a:spcAft>
                <a:spcPts val="100"/>
              </a:spcAft>
              <a:buFont typeface="+mj-lt"/>
              <a:buAutoNum type="arabicPeriod"/>
            </a:pPr>
            <a:r>
              <a:rPr lang="en-US" sz="700" b="0" dirty="0">
                <a:solidFill>
                  <a:schemeClr val="bg1"/>
                </a:solidFill>
              </a:rPr>
              <a:t>As an inlin</a:t>
            </a:r>
            <a:r>
              <a:rPr lang="en-US" sz="700" dirty="0">
                <a:solidFill>
                  <a:schemeClr val="bg1"/>
                </a:solidFill>
              </a:rPr>
              <a:t>e text bullet</a:t>
            </a:r>
            <a:endParaRPr lang="en-US" sz="700" b="0" dirty="0">
              <a:solidFill>
                <a:schemeClr val="bg1"/>
              </a:solidFill>
            </a:endParaRPr>
          </a:p>
          <a:p>
            <a:pPr marL="233363" lvl="1" indent="-112713">
              <a:lnSpc>
                <a:spcPct val="90000"/>
              </a:lnSpc>
              <a:spcAft>
                <a:spcPts val="100"/>
              </a:spcAft>
              <a:buFont typeface="+mj-lt"/>
              <a:buAutoNum type="alphaLcParenR"/>
            </a:pPr>
            <a:r>
              <a:rPr lang="en-US" sz="600" dirty="0">
                <a:solidFill>
                  <a:schemeClr val="bg1"/>
                </a:solidFill>
              </a:rPr>
              <a:t>Right click on desired </a:t>
            </a:r>
            <a:r>
              <a:rPr lang="en-US" sz="600" dirty="0" err="1">
                <a:solidFill>
                  <a:schemeClr val="bg1"/>
                </a:solidFill>
              </a:rPr>
              <a:t>bullet</a:t>
            </a:r>
            <a:r>
              <a:rPr lang="en-US" sz="600" dirty="0" err="1">
                <a:solidFill>
                  <a:schemeClr val="bg1"/>
                </a:solidFill>
                <a:sym typeface="Wingdings" pitchFamily="2" charset="2"/>
              </a:rPr>
              <a:t>Save</a:t>
            </a:r>
            <a:r>
              <a:rPr lang="en-US" sz="600" dirty="0">
                <a:solidFill>
                  <a:schemeClr val="bg1"/>
                </a:solidFill>
                <a:sym typeface="Wingdings" pitchFamily="2" charset="2"/>
              </a:rPr>
              <a:t> as Picture… (Select Type PNG)</a:t>
            </a:r>
          </a:p>
          <a:p>
            <a:pPr marL="233363" lvl="1" indent="-112713">
              <a:lnSpc>
                <a:spcPct val="90000"/>
              </a:lnSpc>
              <a:spcAft>
                <a:spcPts val="100"/>
              </a:spcAft>
              <a:buFont typeface="+mj-lt"/>
              <a:buAutoNum type="alphaLcParenR"/>
            </a:pPr>
            <a:r>
              <a:rPr lang="en-US" sz="600" dirty="0">
                <a:solidFill>
                  <a:schemeClr val="bg1"/>
                </a:solidFill>
                <a:sym typeface="Wingdings" pitchFamily="2" charset="2"/>
              </a:rPr>
              <a:t>Select text and under Bullets and Numbering…, go to Customize: and Picture…</a:t>
            </a:r>
          </a:p>
          <a:p>
            <a:pPr marL="233363" lvl="1" indent="-112713">
              <a:lnSpc>
                <a:spcPct val="90000"/>
              </a:lnSpc>
              <a:spcAft>
                <a:spcPts val="100"/>
              </a:spcAft>
              <a:buFont typeface="+mj-lt"/>
              <a:buAutoNum type="alphaLcParenR"/>
            </a:pPr>
            <a:r>
              <a:rPr lang="en-US" sz="600" dirty="0">
                <a:solidFill>
                  <a:schemeClr val="bg1"/>
                </a:solidFill>
                <a:sym typeface="Wingdings" pitchFamily="2" charset="2"/>
              </a:rPr>
              <a:t>Select the PNG file you just saved </a:t>
            </a:r>
            <a:endParaRPr lang="en-US" sz="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729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E1818017-BB5F-0D49-9E52-D79D7A599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7185BF4E-527C-C64D-85BD-BC6958FEE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359FCEC-01C6-2742-86AB-FA4751032D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B85F6E98-9CB6-5946-8B09-EF1F0AC1A277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7889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C899247D-866D-724E-9169-2AFCE8C5E9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180232-BAB8-D24B-A525-021BF6BCB34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1217F9-DA2F-094A-A3C0-111FDFDF69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8045158-34A8-3A4E-BF8B-E02C8FF7C36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4109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9B4CFBD-3390-B445-9928-4CECF83CD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52567E-F580-7944-82E2-DA6F076BECE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00F1B42-FF04-B449-9DD1-36B182F1915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AA2B52-0155-274A-9AB3-6B108288BD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0 Foldax, Inc. All rights reserved. Confidential information.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B70A1E-BA4E-C44D-B250-0B26581D29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4364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8af3acd-1f04-4147-beed-3495d966975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e4dd7e0-1d3b-4799-a867-f164aeb36b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f2d31de-a741-43ea-a54a-b9a27acb235f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733607-9c33-4032-aad1-13af0724e23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738fa48-37b5-4d3d-9f2f-8b6ed2d1f3c6"/>
</p:tagLst>
</file>

<file path=ppt/theme/theme1.xml><?xml version="1.0" encoding="utf-8"?>
<a:theme xmlns:a="http://schemas.openxmlformats.org/drawingml/2006/main" name="Foldax Custom Theme">
  <a:themeElements>
    <a:clrScheme name="Foldax">
      <a:dk1>
        <a:srgbClr val="000000"/>
      </a:dk1>
      <a:lt1>
        <a:srgbClr val="FFFFFF"/>
      </a:lt1>
      <a:dk2>
        <a:srgbClr val="B7B7B7"/>
      </a:dk2>
      <a:lt2>
        <a:srgbClr val="E7EBF1"/>
      </a:lt2>
      <a:accent1>
        <a:srgbClr val="EB2628"/>
      </a:accent1>
      <a:accent2>
        <a:srgbClr val="2383C1"/>
      </a:accent2>
      <a:accent3>
        <a:srgbClr val="14080C"/>
      </a:accent3>
      <a:accent4>
        <a:srgbClr val="242449"/>
      </a:accent4>
      <a:accent5>
        <a:srgbClr val="0099FF"/>
      </a:accent5>
      <a:accent6>
        <a:srgbClr val="B7B7B7"/>
      </a:accent6>
      <a:hlink>
        <a:srgbClr val="0099FF"/>
      </a:hlink>
      <a:folHlink>
        <a:srgbClr val="EB2628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90000"/>
          </a:lnSpc>
          <a:defRPr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90000"/>
          </a:lnSpc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oldax PPT Template 200408" id="{DD21806C-15FE-45FA-9331-02B4929020AF}" vid="{21437168-1165-4662-86C0-1A467408B06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8024747-FE91-0548-9777-D903D7AE4362}">
  <we:reference id="wa104381063" version="1.0.0.0" store="en-US" storeType="OMEX"/>
  <we:alternateReferences>
    <we:reference id="wa104381063" version="1.0.0.0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817</TotalTime>
  <Words>4642</Words>
  <Application>Microsoft Office PowerPoint</Application>
  <PresentationFormat>Widescreen</PresentationFormat>
  <Paragraphs>1860</Paragraphs>
  <Slides>66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6</vt:i4>
      </vt:variant>
    </vt:vector>
  </HeadingPairs>
  <TitlesOfParts>
    <vt:vector size="77" baseType="lpstr">
      <vt:lpstr>Arial</vt:lpstr>
      <vt:lpstr>Calibri</vt:lpstr>
      <vt:lpstr>Corbel</vt:lpstr>
      <vt:lpstr>Franklin Gothic Book</vt:lpstr>
      <vt:lpstr>Franklin Gothic Medium</vt:lpstr>
      <vt:lpstr>Gill Sans</vt:lpstr>
      <vt:lpstr>Montserrat Light</vt:lpstr>
      <vt:lpstr>Raleway</vt:lpstr>
      <vt:lpstr>Termina</vt:lpstr>
      <vt:lpstr>Wingdings</vt:lpstr>
      <vt:lpstr>Foldax Custom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isclosur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eneral</vt:lpstr>
      <vt:lpstr>Electronics &amp; Misc</vt:lpstr>
      <vt:lpstr>E-commerce &amp; Web</vt:lpstr>
      <vt:lpstr>Arrows, Location, Weather</vt:lpstr>
      <vt:lpstr>Office &amp; Misc</vt:lpstr>
      <vt:lpstr>Colors</vt:lpstr>
      <vt:lpstr>Your Bullet</vt:lpstr>
    </vt:vector>
  </TitlesOfParts>
  <Manager>Slidedesignr</Manager>
  <Company>Slidedesignr</Company>
  <LinksUpToDate>false</LinksUpToDate>
  <SharedDoc>false</SharedDoc>
  <HyperlinkBase>www.slidedesignr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dax Custom Designed Template</dc:title>
  <dc:subject>Foldax Custom Designed Template</dc:subject>
  <dc:creator>Vashte S</dc:creator>
  <cp:keywords>Slidedesignr</cp:keywords>
  <dc:description>©2020 FOLDAX</dc:description>
  <cp:lastModifiedBy>Mike Numamoto</cp:lastModifiedBy>
  <cp:revision>4422</cp:revision>
  <cp:lastPrinted>2019-08-03T08:00:08Z</cp:lastPrinted>
  <dcterms:created xsi:type="dcterms:W3CDTF">2018-08-20T02:00:47Z</dcterms:created>
  <dcterms:modified xsi:type="dcterms:W3CDTF">2020-04-08T21:19:1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.03.26</vt:lpwstr>
  </property>
</Properties>
</file>